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theme/theme5.xml" ContentType="application/vnd.openxmlformats-officedocument.theme+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theme/theme7.xml" ContentType="application/vnd.openxmlformats-officedocument.theme+xml"/>
  <Override PartName="/ppt/slideLayouts/slideLayout20.xml" ContentType="application/vnd.openxmlformats-officedocument.presentationml.slideLayout+xml"/>
  <Override PartName="/ppt/theme/theme8.xml" ContentType="application/vnd.openxmlformats-officedocument.theme+xml"/>
  <Override PartName="/ppt/slideLayouts/slideLayout21.xml" ContentType="application/vnd.openxmlformats-officedocument.presentationml.slideLayout+xml"/>
  <Override PartName="/ppt/theme/theme9.xml" ContentType="application/vnd.openxmlformats-officedocument.theme+xml"/>
  <Override PartName="/ppt/slideLayouts/slideLayout22.xml" ContentType="application/vnd.openxmlformats-officedocument.presentationml.slideLayout+xml"/>
  <Override PartName="/ppt/theme/theme10.xml" ContentType="application/vnd.openxmlformats-officedocument.theme+xml"/>
  <Override PartName="/ppt/slideLayouts/slideLayout23.xml" ContentType="application/vnd.openxmlformats-officedocument.presentationml.slideLayout+xml"/>
  <Override PartName="/ppt/theme/theme11.xml" ContentType="application/vnd.openxmlformats-officedocument.theme+xml"/>
  <Override PartName="/ppt/slideLayouts/slideLayout24.xml" ContentType="application/vnd.openxmlformats-officedocument.presentationml.slideLayout+xml"/>
  <Override PartName="/ppt/theme/theme12.xml" ContentType="application/vnd.openxmlformats-officedocument.theme+xml"/>
  <Override PartName="/ppt/slideLayouts/slideLayout25.xml" ContentType="application/vnd.openxmlformats-officedocument.presentationml.slideLayout+xml"/>
  <Override PartName="/ppt/theme/theme13.xml" ContentType="application/vnd.openxmlformats-officedocument.theme+xml"/>
  <Override PartName="/ppt/slideLayouts/slideLayout26.xml" ContentType="application/vnd.openxmlformats-officedocument.presentationml.slideLayout+xml"/>
  <Override PartName="/ppt/theme/theme14.xml" ContentType="application/vnd.openxmlformats-officedocument.theme+xml"/>
  <Override PartName="/ppt/slideLayouts/slideLayout2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 id="2147483662" r:id="rId7"/>
    <p:sldMasterId id="2147483666" r:id="rId8"/>
    <p:sldMasterId id="2147483668" r:id="rId9"/>
    <p:sldMasterId id="2147483670" r:id="rId10"/>
    <p:sldMasterId id="2147483672" r:id="rId11"/>
    <p:sldMasterId id="2147483674" r:id="rId12"/>
    <p:sldMasterId id="2147483676" r:id="rId13"/>
    <p:sldMasterId id="2147483678" r:id="rId14"/>
    <p:sldMasterId id="2147483680" r:id="rId15"/>
    <p:sldMasterId id="2147483682" r:id="rId16"/>
    <p:sldMasterId id="2147483684" r:id="rId17"/>
    <p:sldMasterId id="2147483686" r:id="rId18"/>
    <p:sldMasterId id="2147483688" r:id="rId19"/>
  </p:sldMasterIdLst>
  <p:notesMasterIdLst>
    <p:notesMasterId r:id="rId50"/>
  </p:notesMasterIdLst>
  <p:sldIdLst>
    <p:sldId id="256" r:id="rId20"/>
    <p:sldId id="280" r:id="rId21"/>
    <p:sldId id="281" r:id="rId22"/>
    <p:sldId id="257" r:id="rId23"/>
    <p:sldId id="258" r:id="rId24"/>
    <p:sldId id="259" r:id="rId25"/>
    <p:sldId id="260" r:id="rId26"/>
    <p:sldId id="261" r:id="rId27"/>
    <p:sldId id="284" r:id="rId28"/>
    <p:sldId id="282" r:id="rId29"/>
    <p:sldId id="262" r:id="rId30"/>
    <p:sldId id="283" r:id="rId31"/>
    <p:sldId id="263" r:id="rId32"/>
    <p:sldId id="264" r:id="rId33"/>
    <p:sldId id="265" r:id="rId34"/>
    <p:sldId id="266" r:id="rId35"/>
    <p:sldId id="267" r:id="rId36"/>
    <p:sldId id="268" r:id="rId37"/>
    <p:sldId id="269" r:id="rId38"/>
    <p:sldId id="270" r:id="rId39"/>
    <p:sldId id="271" r:id="rId40"/>
    <p:sldId id="272" r:id="rId41"/>
    <p:sldId id="273" r:id="rId42"/>
    <p:sldId id="274" r:id="rId43"/>
    <p:sldId id="275" r:id="rId44"/>
    <p:sldId id="276" r:id="rId45"/>
    <p:sldId id="277" r:id="rId46"/>
    <p:sldId id="278" r:id="rId47"/>
    <p:sldId id="285" r:id="rId48"/>
    <p:sldId id="279" r:id="rId4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che, Thomas"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3A66"/>
    <a:srgbClr val="002060"/>
    <a:srgbClr val="2235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76" autoAdjust="0"/>
    <p:restoredTop sz="94662" autoAdjust="0"/>
  </p:normalViewPr>
  <p:slideViewPr>
    <p:cSldViewPr>
      <p:cViewPr varScale="1">
        <p:scale>
          <a:sx n="73" d="100"/>
          <a:sy n="73" d="100"/>
        </p:scale>
        <p:origin x="1296"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8" Type="http://schemas.openxmlformats.org/officeDocument/2006/relationships/slideMaster" Target="slideMasters/slideMaster4.xml"/><Relationship Id="rId51" Type="http://schemas.openxmlformats.org/officeDocument/2006/relationships/commentAuthors" Target="commentAuthor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UKLDNNAS902\RESTRICTED\FAIM\Presentations\FIF%20Fund%20Presentations\FIF%20Global%20Special%20Situations%20Fund\Master%20Backup%20Spreadsheet\Podger%20Annualised%20Performance%20valu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386594738125337E-2"/>
          <c:y val="1.7028166148022016E-2"/>
          <c:w val="0.91210811404814129"/>
          <c:h val="0.81467900343438104"/>
        </c:manualLayout>
      </c:layout>
      <c:lineChart>
        <c:grouping val="standard"/>
        <c:varyColors val="0"/>
        <c:ser>
          <c:idx val="0"/>
          <c:order val="0"/>
          <c:tx>
            <c:strRef>
              <c:f>raw!$B$10</c:f>
              <c:strCache>
                <c:ptCount val="1"/>
                <c:pt idx="0">
                  <c:v>Jeremy Podger</c:v>
                </c:pt>
              </c:strCache>
            </c:strRef>
          </c:tx>
          <c:marker>
            <c:symbol val="none"/>
          </c:marker>
          <c:cat>
            <c:numRef>
              <c:f>raw!$A$11:$A$500</c:f>
              <c:numCache>
                <c:formatCode>m/d/yyyy</c:formatCode>
                <c:ptCount val="490"/>
                <c:pt idx="0">
                  <c:v>35155</c:v>
                </c:pt>
                <c:pt idx="1">
                  <c:v>35185</c:v>
                </c:pt>
                <c:pt idx="2">
                  <c:v>35216</c:v>
                </c:pt>
                <c:pt idx="3">
                  <c:v>35246</c:v>
                </c:pt>
                <c:pt idx="4">
                  <c:v>35277</c:v>
                </c:pt>
                <c:pt idx="5">
                  <c:v>35308</c:v>
                </c:pt>
                <c:pt idx="6">
                  <c:v>35338</c:v>
                </c:pt>
                <c:pt idx="7">
                  <c:v>35369</c:v>
                </c:pt>
                <c:pt idx="8">
                  <c:v>35399</c:v>
                </c:pt>
                <c:pt idx="9">
                  <c:v>35430</c:v>
                </c:pt>
                <c:pt idx="10">
                  <c:v>35461</c:v>
                </c:pt>
                <c:pt idx="11">
                  <c:v>35489</c:v>
                </c:pt>
                <c:pt idx="12">
                  <c:v>35520</c:v>
                </c:pt>
                <c:pt idx="13">
                  <c:v>35550</c:v>
                </c:pt>
                <c:pt idx="14">
                  <c:v>35581</c:v>
                </c:pt>
                <c:pt idx="15">
                  <c:v>35611</c:v>
                </c:pt>
                <c:pt idx="16">
                  <c:v>35642</c:v>
                </c:pt>
                <c:pt idx="17">
                  <c:v>35673</c:v>
                </c:pt>
                <c:pt idx="18">
                  <c:v>35703</c:v>
                </c:pt>
                <c:pt idx="19">
                  <c:v>35734</c:v>
                </c:pt>
                <c:pt idx="20">
                  <c:v>35764</c:v>
                </c:pt>
                <c:pt idx="21">
                  <c:v>35795</c:v>
                </c:pt>
                <c:pt idx="22">
                  <c:v>35826</c:v>
                </c:pt>
                <c:pt idx="23">
                  <c:v>35854</c:v>
                </c:pt>
                <c:pt idx="24">
                  <c:v>35885</c:v>
                </c:pt>
                <c:pt idx="25">
                  <c:v>35915</c:v>
                </c:pt>
                <c:pt idx="26">
                  <c:v>35946</c:v>
                </c:pt>
                <c:pt idx="27">
                  <c:v>35976</c:v>
                </c:pt>
                <c:pt idx="28">
                  <c:v>36007</c:v>
                </c:pt>
                <c:pt idx="29">
                  <c:v>36038</c:v>
                </c:pt>
                <c:pt idx="30">
                  <c:v>36068</c:v>
                </c:pt>
                <c:pt idx="31">
                  <c:v>36099</c:v>
                </c:pt>
                <c:pt idx="32">
                  <c:v>36129</c:v>
                </c:pt>
                <c:pt idx="33">
                  <c:v>36160</c:v>
                </c:pt>
                <c:pt idx="34">
                  <c:v>36191</c:v>
                </c:pt>
                <c:pt idx="35">
                  <c:v>36219</c:v>
                </c:pt>
                <c:pt idx="36">
                  <c:v>36250</c:v>
                </c:pt>
                <c:pt idx="37">
                  <c:v>36280</c:v>
                </c:pt>
                <c:pt idx="38">
                  <c:v>36311</c:v>
                </c:pt>
                <c:pt idx="39">
                  <c:v>36341</c:v>
                </c:pt>
                <c:pt idx="40">
                  <c:v>36372</c:v>
                </c:pt>
                <c:pt idx="41">
                  <c:v>36403</c:v>
                </c:pt>
                <c:pt idx="42">
                  <c:v>36433</c:v>
                </c:pt>
                <c:pt idx="43">
                  <c:v>36464</c:v>
                </c:pt>
                <c:pt idx="44">
                  <c:v>36494</c:v>
                </c:pt>
                <c:pt idx="45">
                  <c:v>36525</c:v>
                </c:pt>
                <c:pt idx="46">
                  <c:v>36556</c:v>
                </c:pt>
                <c:pt idx="47">
                  <c:v>36585</c:v>
                </c:pt>
                <c:pt idx="48">
                  <c:v>36616</c:v>
                </c:pt>
                <c:pt idx="49">
                  <c:v>36646</c:v>
                </c:pt>
                <c:pt idx="50">
                  <c:v>36677</c:v>
                </c:pt>
                <c:pt idx="51">
                  <c:v>36707</c:v>
                </c:pt>
                <c:pt idx="52">
                  <c:v>36738</c:v>
                </c:pt>
                <c:pt idx="53">
                  <c:v>36769</c:v>
                </c:pt>
                <c:pt idx="54">
                  <c:v>36799</c:v>
                </c:pt>
                <c:pt idx="55">
                  <c:v>36830</c:v>
                </c:pt>
                <c:pt idx="56">
                  <c:v>36860</c:v>
                </c:pt>
                <c:pt idx="57">
                  <c:v>36891</c:v>
                </c:pt>
                <c:pt idx="58">
                  <c:v>36922</c:v>
                </c:pt>
                <c:pt idx="59">
                  <c:v>36950</c:v>
                </c:pt>
                <c:pt idx="60">
                  <c:v>36981</c:v>
                </c:pt>
                <c:pt idx="61">
                  <c:v>37011</c:v>
                </c:pt>
                <c:pt idx="62">
                  <c:v>37042</c:v>
                </c:pt>
                <c:pt idx="63">
                  <c:v>37072</c:v>
                </c:pt>
                <c:pt idx="64">
                  <c:v>37103</c:v>
                </c:pt>
                <c:pt idx="65">
                  <c:v>37134</c:v>
                </c:pt>
                <c:pt idx="66">
                  <c:v>37164</c:v>
                </c:pt>
                <c:pt idx="67">
                  <c:v>37195</c:v>
                </c:pt>
                <c:pt idx="68">
                  <c:v>37225</c:v>
                </c:pt>
                <c:pt idx="69">
                  <c:v>37256</c:v>
                </c:pt>
                <c:pt idx="70">
                  <c:v>37287</c:v>
                </c:pt>
                <c:pt idx="71">
                  <c:v>37315</c:v>
                </c:pt>
                <c:pt idx="72">
                  <c:v>37346</c:v>
                </c:pt>
                <c:pt idx="73">
                  <c:v>37376</c:v>
                </c:pt>
                <c:pt idx="74">
                  <c:v>37407</c:v>
                </c:pt>
                <c:pt idx="75">
                  <c:v>37437</c:v>
                </c:pt>
                <c:pt idx="76">
                  <c:v>37468</c:v>
                </c:pt>
                <c:pt idx="77">
                  <c:v>37499</c:v>
                </c:pt>
                <c:pt idx="78">
                  <c:v>37529</c:v>
                </c:pt>
                <c:pt idx="79">
                  <c:v>37560</c:v>
                </c:pt>
                <c:pt idx="80">
                  <c:v>37590</c:v>
                </c:pt>
                <c:pt idx="81">
                  <c:v>37621</c:v>
                </c:pt>
                <c:pt idx="82">
                  <c:v>37652</c:v>
                </c:pt>
                <c:pt idx="83">
                  <c:v>37680</c:v>
                </c:pt>
                <c:pt idx="84">
                  <c:v>37711</c:v>
                </c:pt>
                <c:pt idx="85">
                  <c:v>37741</c:v>
                </c:pt>
                <c:pt idx="86">
                  <c:v>37772</c:v>
                </c:pt>
                <c:pt idx="87">
                  <c:v>37802</c:v>
                </c:pt>
                <c:pt idx="88">
                  <c:v>37833</c:v>
                </c:pt>
                <c:pt idx="89">
                  <c:v>37864</c:v>
                </c:pt>
                <c:pt idx="90">
                  <c:v>37894</c:v>
                </c:pt>
                <c:pt idx="91">
                  <c:v>37925</c:v>
                </c:pt>
                <c:pt idx="92">
                  <c:v>37955</c:v>
                </c:pt>
                <c:pt idx="93">
                  <c:v>37986</c:v>
                </c:pt>
                <c:pt idx="94">
                  <c:v>38017</c:v>
                </c:pt>
                <c:pt idx="95">
                  <c:v>38046</c:v>
                </c:pt>
                <c:pt idx="96">
                  <c:v>38077</c:v>
                </c:pt>
                <c:pt idx="97">
                  <c:v>38107</c:v>
                </c:pt>
                <c:pt idx="98">
                  <c:v>38138</c:v>
                </c:pt>
                <c:pt idx="99">
                  <c:v>38168</c:v>
                </c:pt>
                <c:pt idx="100">
                  <c:v>38199</c:v>
                </c:pt>
                <c:pt idx="101">
                  <c:v>38230</c:v>
                </c:pt>
                <c:pt idx="102">
                  <c:v>38260</c:v>
                </c:pt>
                <c:pt idx="103">
                  <c:v>38291</c:v>
                </c:pt>
                <c:pt idx="104">
                  <c:v>38321</c:v>
                </c:pt>
                <c:pt idx="105">
                  <c:v>38352</c:v>
                </c:pt>
                <c:pt idx="106">
                  <c:v>38383</c:v>
                </c:pt>
                <c:pt idx="107">
                  <c:v>38411</c:v>
                </c:pt>
                <c:pt idx="108">
                  <c:v>38442</c:v>
                </c:pt>
                <c:pt idx="109">
                  <c:v>38472</c:v>
                </c:pt>
                <c:pt idx="110">
                  <c:v>38503</c:v>
                </c:pt>
                <c:pt idx="111">
                  <c:v>38533</c:v>
                </c:pt>
                <c:pt idx="112">
                  <c:v>38564</c:v>
                </c:pt>
                <c:pt idx="113">
                  <c:v>38595</c:v>
                </c:pt>
                <c:pt idx="114">
                  <c:v>38625</c:v>
                </c:pt>
                <c:pt idx="115">
                  <c:v>38656</c:v>
                </c:pt>
                <c:pt idx="116">
                  <c:v>38686</c:v>
                </c:pt>
                <c:pt idx="117">
                  <c:v>38717</c:v>
                </c:pt>
                <c:pt idx="118">
                  <c:v>38748</c:v>
                </c:pt>
                <c:pt idx="119">
                  <c:v>38776</c:v>
                </c:pt>
                <c:pt idx="120">
                  <c:v>38807</c:v>
                </c:pt>
                <c:pt idx="121">
                  <c:v>38837</c:v>
                </c:pt>
                <c:pt idx="122">
                  <c:v>38868</c:v>
                </c:pt>
                <c:pt idx="123">
                  <c:v>38898</c:v>
                </c:pt>
                <c:pt idx="124">
                  <c:v>38929</c:v>
                </c:pt>
                <c:pt idx="125">
                  <c:v>38960</c:v>
                </c:pt>
                <c:pt idx="126">
                  <c:v>38990</c:v>
                </c:pt>
                <c:pt idx="127">
                  <c:v>39021</c:v>
                </c:pt>
                <c:pt idx="128">
                  <c:v>39051</c:v>
                </c:pt>
                <c:pt idx="129">
                  <c:v>39082</c:v>
                </c:pt>
                <c:pt idx="130">
                  <c:v>39113</c:v>
                </c:pt>
                <c:pt idx="131">
                  <c:v>39141</c:v>
                </c:pt>
                <c:pt idx="132">
                  <c:v>39172</c:v>
                </c:pt>
                <c:pt idx="133">
                  <c:v>39202</c:v>
                </c:pt>
                <c:pt idx="134">
                  <c:v>39233</c:v>
                </c:pt>
                <c:pt idx="135">
                  <c:v>39263</c:v>
                </c:pt>
                <c:pt idx="136">
                  <c:v>39294</c:v>
                </c:pt>
                <c:pt idx="137">
                  <c:v>39325</c:v>
                </c:pt>
                <c:pt idx="138">
                  <c:v>39355</c:v>
                </c:pt>
                <c:pt idx="139">
                  <c:v>39386</c:v>
                </c:pt>
                <c:pt idx="140">
                  <c:v>39416</c:v>
                </c:pt>
                <c:pt idx="141">
                  <c:v>39447</c:v>
                </c:pt>
                <c:pt idx="142">
                  <c:v>39478</c:v>
                </c:pt>
                <c:pt idx="143">
                  <c:v>39507</c:v>
                </c:pt>
                <c:pt idx="144">
                  <c:v>39538</c:v>
                </c:pt>
                <c:pt idx="145">
                  <c:v>39568</c:v>
                </c:pt>
                <c:pt idx="146">
                  <c:v>39599</c:v>
                </c:pt>
                <c:pt idx="147">
                  <c:v>39629</c:v>
                </c:pt>
                <c:pt idx="148">
                  <c:v>39660</c:v>
                </c:pt>
                <c:pt idx="149">
                  <c:v>39691</c:v>
                </c:pt>
                <c:pt idx="150">
                  <c:v>39721</c:v>
                </c:pt>
                <c:pt idx="151">
                  <c:v>39752</c:v>
                </c:pt>
                <c:pt idx="152">
                  <c:v>39782</c:v>
                </c:pt>
                <c:pt idx="153">
                  <c:v>39813</c:v>
                </c:pt>
                <c:pt idx="154">
                  <c:v>39844</c:v>
                </c:pt>
                <c:pt idx="155">
                  <c:v>39872</c:v>
                </c:pt>
                <c:pt idx="156">
                  <c:v>39903</c:v>
                </c:pt>
                <c:pt idx="157">
                  <c:v>39933</c:v>
                </c:pt>
                <c:pt idx="158">
                  <c:v>39964</c:v>
                </c:pt>
                <c:pt idx="159">
                  <c:v>39994</c:v>
                </c:pt>
                <c:pt idx="160">
                  <c:v>40025</c:v>
                </c:pt>
                <c:pt idx="161">
                  <c:v>40056</c:v>
                </c:pt>
                <c:pt idx="162">
                  <c:v>40086</c:v>
                </c:pt>
                <c:pt idx="163">
                  <c:v>40117</c:v>
                </c:pt>
                <c:pt idx="164">
                  <c:v>40147</c:v>
                </c:pt>
                <c:pt idx="165">
                  <c:v>40178</c:v>
                </c:pt>
                <c:pt idx="166">
                  <c:v>40209</c:v>
                </c:pt>
                <c:pt idx="167">
                  <c:v>40237</c:v>
                </c:pt>
                <c:pt idx="168">
                  <c:v>40268</c:v>
                </c:pt>
                <c:pt idx="169">
                  <c:v>40298</c:v>
                </c:pt>
                <c:pt idx="170">
                  <c:v>40329</c:v>
                </c:pt>
                <c:pt idx="171">
                  <c:v>40359</c:v>
                </c:pt>
                <c:pt idx="172">
                  <c:v>40390</c:v>
                </c:pt>
                <c:pt idx="173">
                  <c:v>40421</c:v>
                </c:pt>
                <c:pt idx="174">
                  <c:v>40451</c:v>
                </c:pt>
                <c:pt idx="175">
                  <c:v>40482</c:v>
                </c:pt>
                <c:pt idx="176">
                  <c:v>40512</c:v>
                </c:pt>
                <c:pt idx="177">
                  <c:v>40543</c:v>
                </c:pt>
                <c:pt idx="178">
                  <c:v>40574</c:v>
                </c:pt>
                <c:pt idx="179">
                  <c:v>40602</c:v>
                </c:pt>
                <c:pt idx="180">
                  <c:v>40633</c:v>
                </c:pt>
                <c:pt idx="181">
                  <c:v>40663</c:v>
                </c:pt>
                <c:pt idx="182">
                  <c:v>40694</c:v>
                </c:pt>
                <c:pt idx="183">
                  <c:v>40724</c:v>
                </c:pt>
                <c:pt idx="184">
                  <c:v>40755</c:v>
                </c:pt>
                <c:pt idx="185">
                  <c:v>40786</c:v>
                </c:pt>
                <c:pt idx="186">
                  <c:v>40816</c:v>
                </c:pt>
                <c:pt idx="187">
                  <c:v>40847</c:v>
                </c:pt>
                <c:pt idx="188">
                  <c:v>40877</c:v>
                </c:pt>
                <c:pt idx="189">
                  <c:v>40908</c:v>
                </c:pt>
                <c:pt idx="190">
                  <c:v>40939</c:v>
                </c:pt>
                <c:pt idx="191">
                  <c:v>40968</c:v>
                </c:pt>
                <c:pt idx="192">
                  <c:v>40999</c:v>
                </c:pt>
                <c:pt idx="193">
                  <c:v>41029</c:v>
                </c:pt>
                <c:pt idx="194">
                  <c:v>41060</c:v>
                </c:pt>
                <c:pt idx="195">
                  <c:v>41090</c:v>
                </c:pt>
                <c:pt idx="196">
                  <c:v>41121</c:v>
                </c:pt>
                <c:pt idx="197">
                  <c:v>41152</c:v>
                </c:pt>
                <c:pt idx="198">
                  <c:v>41182</c:v>
                </c:pt>
                <c:pt idx="199">
                  <c:v>41213</c:v>
                </c:pt>
                <c:pt idx="200">
                  <c:v>41243</c:v>
                </c:pt>
                <c:pt idx="201">
                  <c:v>41274</c:v>
                </c:pt>
                <c:pt idx="202">
                  <c:v>41305</c:v>
                </c:pt>
                <c:pt idx="203">
                  <c:v>41333</c:v>
                </c:pt>
                <c:pt idx="204">
                  <c:v>41364</c:v>
                </c:pt>
                <c:pt idx="205">
                  <c:v>41394</c:v>
                </c:pt>
                <c:pt idx="206">
                  <c:v>41425</c:v>
                </c:pt>
                <c:pt idx="207">
                  <c:v>41455</c:v>
                </c:pt>
                <c:pt idx="208">
                  <c:v>41486</c:v>
                </c:pt>
                <c:pt idx="209">
                  <c:v>41517</c:v>
                </c:pt>
                <c:pt idx="210">
                  <c:v>41547</c:v>
                </c:pt>
                <c:pt idx="211">
                  <c:v>41578</c:v>
                </c:pt>
                <c:pt idx="212">
                  <c:v>41608</c:v>
                </c:pt>
                <c:pt idx="213">
                  <c:v>41639</c:v>
                </c:pt>
                <c:pt idx="214">
                  <c:v>41670</c:v>
                </c:pt>
                <c:pt idx="215">
                  <c:v>41698</c:v>
                </c:pt>
                <c:pt idx="216">
                  <c:v>41729</c:v>
                </c:pt>
                <c:pt idx="217">
                  <c:v>41759</c:v>
                </c:pt>
                <c:pt idx="218">
                  <c:v>41790</c:v>
                </c:pt>
                <c:pt idx="219">
                  <c:v>41820</c:v>
                </c:pt>
                <c:pt idx="220">
                  <c:v>41851</c:v>
                </c:pt>
                <c:pt idx="221">
                  <c:v>41882</c:v>
                </c:pt>
                <c:pt idx="222">
                  <c:v>41912</c:v>
                </c:pt>
                <c:pt idx="223">
                  <c:v>41943</c:v>
                </c:pt>
                <c:pt idx="224">
                  <c:v>41973</c:v>
                </c:pt>
                <c:pt idx="225">
                  <c:v>42004</c:v>
                </c:pt>
                <c:pt idx="226">
                  <c:v>42035</c:v>
                </c:pt>
                <c:pt idx="227">
                  <c:v>42063</c:v>
                </c:pt>
                <c:pt idx="228">
                  <c:v>42064</c:v>
                </c:pt>
                <c:pt idx="229">
                  <c:v>42124</c:v>
                </c:pt>
                <c:pt idx="230">
                  <c:v>42155</c:v>
                </c:pt>
                <c:pt idx="231">
                  <c:v>42185</c:v>
                </c:pt>
                <c:pt idx="232">
                  <c:v>42216</c:v>
                </c:pt>
                <c:pt idx="233">
                  <c:v>42247</c:v>
                </c:pt>
                <c:pt idx="234">
                  <c:v>42277</c:v>
                </c:pt>
                <c:pt idx="235">
                  <c:v>42308</c:v>
                </c:pt>
                <c:pt idx="236">
                  <c:v>42338</c:v>
                </c:pt>
                <c:pt idx="237">
                  <c:v>42369</c:v>
                </c:pt>
                <c:pt idx="238">
                  <c:v>42400</c:v>
                </c:pt>
                <c:pt idx="239">
                  <c:v>42429</c:v>
                </c:pt>
                <c:pt idx="240">
                  <c:v>42460</c:v>
                </c:pt>
                <c:pt idx="241">
                  <c:v>42490</c:v>
                </c:pt>
                <c:pt idx="242">
                  <c:v>42521</c:v>
                </c:pt>
                <c:pt idx="243">
                  <c:v>42551</c:v>
                </c:pt>
                <c:pt idx="244">
                  <c:v>42582</c:v>
                </c:pt>
                <c:pt idx="245">
                  <c:v>42613</c:v>
                </c:pt>
                <c:pt idx="246">
                  <c:v>42643</c:v>
                </c:pt>
                <c:pt idx="247">
                  <c:v>42674</c:v>
                </c:pt>
                <c:pt idx="248">
                  <c:v>42704</c:v>
                </c:pt>
                <c:pt idx="249">
                  <c:v>42735</c:v>
                </c:pt>
                <c:pt idx="250">
                  <c:v>42766</c:v>
                </c:pt>
                <c:pt idx="251">
                  <c:v>42794</c:v>
                </c:pt>
                <c:pt idx="252">
                  <c:v>42825</c:v>
                </c:pt>
                <c:pt idx="253">
                  <c:v>42855</c:v>
                </c:pt>
                <c:pt idx="254">
                  <c:v>42886</c:v>
                </c:pt>
                <c:pt idx="255">
                  <c:v>42916</c:v>
                </c:pt>
                <c:pt idx="256">
                  <c:v>42947</c:v>
                </c:pt>
                <c:pt idx="257">
                  <c:v>42978</c:v>
                </c:pt>
                <c:pt idx="258">
                  <c:v>43008</c:v>
                </c:pt>
                <c:pt idx="259">
                  <c:v>43039</c:v>
                </c:pt>
                <c:pt idx="260">
                  <c:v>43069</c:v>
                </c:pt>
                <c:pt idx="261">
                  <c:v>43100</c:v>
                </c:pt>
                <c:pt idx="262">
                  <c:v>43131</c:v>
                </c:pt>
                <c:pt idx="263">
                  <c:v>43159</c:v>
                </c:pt>
                <c:pt idx="264">
                  <c:v>43190</c:v>
                </c:pt>
                <c:pt idx="265">
                  <c:v>43220</c:v>
                </c:pt>
                <c:pt idx="266">
                  <c:v>43251</c:v>
                </c:pt>
                <c:pt idx="267">
                  <c:v>43281</c:v>
                </c:pt>
                <c:pt idx="268">
                  <c:v>43312</c:v>
                </c:pt>
                <c:pt idx="269">
                  <c:v>43343</c:v>
                </c:pt>
                <c:pt idx="270">
                  <c:v>43373</c:v>
                </c:pt>
                <c:pt idx="271">
                  <c:v>43404</c:v>
                </c:pt>
                <c:pt idx="272">
                  <c:v>43434</c:v>
                </c:pt>
                <c:pt idx="273">
                  <c:v>43465</c:v>
                </c:pt>
                <c:pt idx="274">
                  <c:v>43496</c:v>
                </c:pt>
                <c:pt idx="275">
                  <c:v>43524</c:v>
                </c:pt>
                <c:pt idx="276">
                  <c:v>43555</c:v>
                </c:pt>
                <c:pt idx="277">
                  <c:v>43585</c:v>
                </c:pt>
                <c:pt idx="278">
                  <c:v>43616</c:v>
                </c:pt>
                <c:pt idx="279">
                  <c:v>43646</c:v>
                </c:pt>
                <c:pt idx="280">
                  <c:v>43677</c:v>
                </c:pt>
                <c:pt idx="281">
                  <c:v>43708</c:v>
                </c:pt>
                <c:pt idx="282">
                  <c:v>43738</c:v>
                </c:pt>
                <c:pt idx="283">
                  <c:v>43769</c:v>
                </c:pt>
                <c:pt idx="284">
                  <c:v>43799</c:v>
                </c:pt>
                <c:pt idx="285">
                  <c:v>43830</c:v>
                </c:pt>
                <c:pt idx="286">
                  <c:v>43861</c:v>
                </c:pt>
                <c:pt idx="287">
                  <c:v>43890</c:v>
                </c:pt>
                <c:pt idx="288">
                  <c:v>43921</c:v>
                </c:pt>
                <c:pt idx="289">
                  <c:v>43951</c:v>
                </c:pt>
                <c:pt idx="290">
                  <c:v>43982</c:v>
                </c:pt>
                <c:pt idx="291">
                  <c:v>44012</c:v>
                </c:pt>
                <c:pt idx="292">
                  <c:v>44043</c:v>
                </c:pt>
                <c:pt idx="293">
                  <c:v>44074</c:v>
                </c:pt>
                <c:pt idx="294">
                  <c:v>44104</c:v>
                </c:pt>
                <c:pt idx="295">
                  <c:v>44135</c:v>
                </c:pt>
                <c:pt idx="296">
                  <c:v>44165</c:v>
                </c:pt>
                <c:pt idx="297">
                  <c:v>44196</c:v>
                </c:pt>
                <c:pt idx="298">
                  <c:v>44227</c:v>
                </c:pt>
                <c:pt idx="299">
                  <c:v>44255</c:v>
                </c:pt>
                <c:pt idx="300">
                  <c:v>44286</c:v>
                </c:pt>
                <c:pt idx="301">
                  <c:v>44316</c:v>
                </c:pt>
                <c:pt idx="302">
                  <c:v>44347</c:v>
                </c:pt>
                <c:pt idx="303">
                  <c:v>44377</c:v>
                </c:pt>
                <c:pt idx="304">
                  <c:v>44408</c:v>
                </c:pt>
                <c:pt idx="305">
                  <c:v>44439</c:v>
                </c:pt>
                <c:pt idx="306">
                  <c:v>44469</c:v>
                </c:pt>
                <c:pt idx="307">
                  <c:v>44500</c:v>
                </c:pt>
                <c:pt idx="308">
                  <c:v>44530</c:v>
                </c:pt>
                <c:pt idx="309">
                  <c:v>44561</c:v>
                </c:pt>
                <c:pt idx="310">
                  <c:v>44592</c:v>
                </c:pt>
                <c:pt idx="311">
                  <c:v>44620</c:v>
                </c:pt>
                <c:pt idx="312">
                  <c:v>44651</c:v>
                </c:pt>
                <c:pt idx="313">
                  <c:v>44681</c:v>
                </c:pt>
                <c:pt idx="314">
                  <c:v>44712</c:v>
                </c:pt>
                <c:pt idx="315">
                  <c:v>44742</c:v>
                </c:pt>
                <c:pt idx="316">
                  <c:v>44773</c:v>
                </c:pt>
                <c:pt idx="317">
                  <c:v>44804</c:v>
                </c:pt>
                <c:pt idx="318">
                  <c:v>44834</c:v>
                </c:pt>
                <c:pt idx="319">
                  <c:v>44865</c:v>
                </c:pt>
              </c:numCache>
            </c:numRef>
          </c:cat>
          <c:val>
            <c:numRef>
              <c:f>raw!$B$11:$B$500</c:f>
              <c:numCache>
                <c:formatCode>0.00</c:formatCode>
                <c:ptCount val="490"/>
                <c:pt idx="0" formatCode="General">
                  <c:v>100</c:v>
                </c:pt>
                <c:pt idx="1">
                  <c:v>105.49047</c:v>
                </c:pt>
                <c:pt idx="2">
                  <c:v>104.485050879477</c:v>
                </c:pt>
                <c:pt idx="3">
                  <c:v>104.72984890518252</c:v>
                </c:pt>
                <c:pt idx="4">
                  <c:v>100.66445610336604</c:v>
                </c:pt>
                <c:pt idx="5">
                  <c:v>103.87305511009595</c:v>
                </c:pt>
                <c:pt idx="6">
                  <c:v>106.16366372138378</c:v>
                </c:pt>
                <c:pt idx="7">
                  <c:v>102.41300764577102</c:v>
                </c:pt>
                <c:pt idx="8">
                  <c:v>106.46965856772535</c:v>
                </c:pt>
                <c:pt idx="9">
                  <c:v>109.33729105765674</c:v>
                </c:pt>
                <c:pt idx="10">
                  <c:v>121.4985061952103</c:v>
                </c:pt>
                <c:pt idx="11">
                  <c:v>120.7903400020009</c:v>
                </c:pt>
                <c:pt idx="12">
                  <c:v>122.85363227377908</c:v>
                </c:pt>
                <c:pt idx="13">
                  <c:v>124.13881640635833</c:v>
                </c:pt>
                <c:pt idx="14">
                  <c:v>129.6992298569503</c:v>
                </c:pt>
                <c:pt idx="15">
                  <c:v>133.22257428562926</c:v>
                </c:pt>
                <c:pt idx="16">
                  <c:v>140.37417522940069</c:v>
                </c:pt>
                <c:pt idx="17">
                  <c:v>132.05103944461146</c:v>
                </c:pt>
                <c:pt idx="18">
                  <c:v>142.3587851224105</c:v>
                </c:pt>
                <c:pt idx="19">
                  <c:v>126.21959812483985</c:v>
                </c:pt>
                <c:pt idx="20">
                  <c:v>125.21418329401662</c:v>
                </c:pt>
                <c:pt idx="21">
                  <c:v>130.67843008162089</c:v>
                </c:pt>
                <c:pt idx="22">
                  <c:v>131.989853466705</c:v>
                </c:pt>
                <c:pt idx="23">
                  <c:v>139.76219477896004</c:v>
                </c:pt>
                <c:pt idx="24">
                  <c:v>147.20230943204268</c:v>
                </c:pt>
                <c:pt idx="25">
                  <c:v>149.39674258013179</c:v>
                </c:pt>
                <c:pt idx="26">
                  <c:v>156.80187597992693</c:v>
                </c:pt>
                <c:pt idx="27">
                  <c:v>148.14652218714815</c:v>
                </c:pt>
                <c:pt idx="28">
                  <c:v>157.17781565806885</c:v>
                </c:pt>
                <c:pt idx="29">
                  <c:v>127.19880362637684</c:v>
                </c:pt>
                <c:pt idx="30">
                  <c:v>122.77495643505509</c:v>
                </c:pt>
                <c:pt idx="31">
                  <c:v>132.81167407116877</c:v>
                </c:pt>
                <c:pt idx="32">
                  <c:v>142.97953662054633</c:v>
                </c:pt>
                <c:pt idx="33">
                  <c:v>146.00454037887357</c:v>
                </c:pt>
                <c:pt idx="34">
                  <c:v>151.51250326285043</c:v>
                </c:pt>
                <c:pt idx="35">
                  <c:v>149.02080439044121</c:v>
                </c:pt>
                <c:pt idx="36">
                  <c:v>145.50620832721441</c:v>
                </c:pt>
                <c:pt idx="37">
                  <c:v>153.12991880879383</c:v>
                </c:pt>
                <c:pt idx="38">
                  <c:v>148.65360970918329</c:v>
                </c:pt>
                <c:pt idx="39">
                  <c:v>156.68823325643785</c:v>
                </c:pt>
                <c:pt idx="40">
                  <c:v>157.82480269401006</c:v>
                </c:pt>
                <c:pt idx="41">
                  <c:v>157.30898389136522</c:v>
                </c:pt>
                <c:pt idx="42">
                  <c:v>151.21525858967024</c:v>
                </c:pt>
                <c:pt idx="43">
                  <c:v>156.61830075128603</c:v>
                </c:pt>
                <c:pt idx="44">
                  <c:v>174.31370982885954</c:v>
                </c:pt>
                <c:pt idx="45">
                  <c:v>190.78511778034701</c:v>
                </c:pt>
                <c:pt idx="46">
                  <c:v>183.07398396841273</c:v>
                </c:pt>
                <c:pt idx="47">
                  <c:v>195.934620116421</c:v>
                </c:pt>
                <c:pt idx="48">
                  <c:v>198.04162264730493</c:v>
                </c:pt>
                <c:pt idx="49">
                  <c:v>189.6223187520246</c:v>
                </c:pt>
                <c:pt idx="50">
                  <c:v>199.36177613669358</c:v>
                </c:pt>
                <c:pt idx="51">
                  <c:v>207.95594332710462</c:v>
                </c:pt>
                <c:pt idx="52">
                  <c:v>203.41842782608452</c:v>
                </c:pt>
                <c:pt idx="53">
                  <c:v>208.07833717072447</c:v>
                </c:pt>
                <c:pt idx="54">
                  <c:v>198.42629057572094</c:v>
                </c:pt>
                <c:pt idx="55">
                  <c:v>197.70064563108554</c:v>
                </c:pt>
                <c:pt idx="56">
                  <c:v>200.34095752355327</c:v>
                </c:pt>
                <c:pt idx="57">
                  <c:v>206.3472595664924</c:v>
                </c:pt>
                <c:pt idx="58">
                  <c:v>208.36684210004751</c:v>
                </c:pt>
                <c:pt idx="59">
                  <c:v>198.60114661787091</c:v>
                </c:pt>
                <c:pt idx="60">
                  <c:v>190.1119008854607</c:v>
                </c:pt>
                <c:pt idx="61">
                  <c:v>200.34971191599408</c:v>
                </c:pt>
                <c:pt idx="62">
                  <c:v>198.33886196240681</c:v>
                </c:pt>
                <c:pt idx="63">
                  <c:v>192.65605688945993</c:v>
                </c:pt>
                <c:pt idx="64">
                  <c:v>189.59608147227894</c:v>
                </c:pt>
                <c:pt idx="65">
                  <c:v>181.21174459780366</c:v>
                </c:pt>
                <c:pt idx="66">
                  <c:v>158.47175458584218</c:v>
                </c:pt>
                <c:pt idx="67">
                  <c:v>161.19949720317737</c:v>
                </c:pt>
                <c:pt idx="68">
                  <c:v>168.70955609857731</c:v>
                </c:pt>
                <c:pt idx="69">
                  <c:v>161.70564636096731</c:v>
                </c:pt>
                <c:pt idx="70">
                  <c:v>163.97434423828241</c:v>
                </c:pt>
                <c:pt idx="71">
                  <c:v>168.00107860717634</c:v>
                </c:pt>
                <c:pt idx="72">
                  <c:v>178.01350608935965</c:v>
                </c:pt>
                <c:pt idx="73">
                  <c:v>177.51120537922731</c:v>
                </c:pt>
                <c:pt idx="74">
                  <c:v>180.9519228242134</c:v>
                </c:pt>
                <c:pt idx="75">
                  <c:v>168.05129929511446</c:v>
                </c:pt>
                <c:pt idx="76">
                  <c:v>153.44286872946904</c:v>
                </c:pt>
                <c:pt idx="77">
                  <c:v>152.94057349868311</c:v>
                </c:pt>
                <c:pt idx="78">
                  <c:v>136.02158373162069</c:v>
                </c:pt>
                <c:pt idx="79">
                  <c:v>143.50579051601866</c:v>
                </c:pt>
                <c:pt idx="80">
                  <c:v>149.52496869226445</c:v>
                </c:pt>
                <c:pt idx="81">
                  <c:v>142.97001835224862</c:v>
                </c:pt>
                <c:pt idx="82">
                  <c:v>136.54900607601977</c:v>
                </c:pt>
                <c:pt idx="83">
                  <c:v>139.21954960745092</c:v>
                </c:pt>
                <c:pt idx="84">
                  <c:v>137.61220421941306</c:v>
                </c:pt>
                <c:pt idx="85">
                  <c:v>148.47015116283532</c:v>
                </c:pt>
                <c:pt idx="86">
                  <c:v>155.55251885465026</c:v>
                </c:pt>
                <c:pt idx="87">
                  <c:v>159.38670178139478</c:v>
                </c:pt>
                <c:pt idx="88">
                  <c:v>168.67080183478905</c:v>
                </c:pt>
                <c:pt idx="89">
                  <c:v>173.91978658664715</c:v>
                </c:pt>
                <c:pt idx="90">
                  <c:v>167.46351887699896</c:v>
                </c:pt>
                <c:pt idx="91">
                  <c:v>174.01961516292212</c:v>
                </c:pt>
                <c:pt idx="92">
                  <c:v>171.5236344206788</c:v>
                </c:pt>
                <c:pt idx="93">
                  <c:v>174.58536559981482</c:v>
                </c:pt>
                <c:pt idx="94">
                  <c:v>175.41735215958073</c:v>
                </c:pt>
                <c:pt idx="95">
                  <c:v>177.51397543606248</c:v>
                </c:pt>
                <c:pt idx="96">
                  <c:v>177.9798963673895</c:v>
                </c:pt>
                <c:pt idx="97">
                  <c:v>178.04646084863091</c:v>
                </c:pt>
                <c:pt idx="98">
                  <c:v>172.02282859449221</c:v>
                </c:pt>
                <c:pt idx="99">
                  <c:v>177.44741367367379</c:v>
                </c:pt>
                <c:pt idx="100">
                  <c:v>173.52041368536854</c:v>
                </c:pt>
                <c:pt idx="101">
                  <c:v>177.4474235756476</c:v>
                </c:pt>
                <c:pt idx="102">
                  <c:v>182.90529819576031</c:v>
                </c:pt>
                <c:pt idx="103">
                  <c:v>184.00353476824691</c:v>
                </c:pt>
                <c:pt idx="104">
                  <c:v>189.82748584825714</c:v>
                </c:pt>
                <c:pt idx="105">
                  <c:v>194.55320314295233</c:v>
                </c:pt>
                <c:pt idx="106">
                  <c:v>196.48342383729451</c:v>
                </c:pt>
                <c:pt idx="107">
                  <c:v>202.1077028996099</c:v>
                </c:pt>
                <c:pt idx="108">
                  <c:v>200.11091921650234</c:v>
                </c:pt>
                <c:pt idx="109">
                  <c:v>191.42490465699083</c:v>
                </c:pt>
                <c:pt idx="110">
                  <c:v>207.36589016226361</c:v>
                </c:pt>
                <c:pt idx="111">
                  <c:v>213.65575381584341</c:v>
                </c:pt>
                <c:pt idx="112">
                  <c:v>227.43355875641191</c:v>
                </c:pt>
                <c:pt idx="113">
                  <c:v>225.33693975166005</c:v>
                </c:pt>
                <c:pt idx="114">
                  <c:v>242.60910631840073</c:v>
                </c:pt>
                <c:pt idx="115">
                  <c:v>231.85975186201944</c:v>
                </c:pt>
                <c:pt idx="116">
                  <c:v>247.23497484334479</c:v>
                </c:pt>
                <c:pt idx="117">
                  <c:v>258.08416473291794</c:v>
                </c:pt>
                <c:pt idx="118">
                  <c:v>268.50072551411972</c:v>
                </c:pt>
                <c:pt idx="119">
                  <c:v>267.7685777357878</c:v>
                </c:pt>
                <c:pt idx="120">
                  <c:v>276.28819735046517</c:v>
                </c:pt>
                <c:pt idx="121">
                  <c:v>273.19318933492553</c:v>
                </c:pt>
                <c:pt idx="122">
                  <c:v>249.86410280553997</c:v>
                </c:pt>
                <c:pt idx="123">
                  <c:v>256.78628793684408</c:v>
                </c:pt>
                <c:pt idx="124">
                  <c:v>253.25863494905411</c:v>
                </c:pt>
                <c:pt idx="125">
                  <c:v>253.05896584126026</c:v>
                </c:pt>
                <c:pt idx="126">
                  <c:v>258.81636098490799</c:v>
                </c:pt>
                <c:pt idx="127">
                  <c:v>263.44223756806343</c:v>
                </c:pt>
                <c:pt idx="128">
                  <c:v>263.97470701863597</c:v>
                </c:pt>
                <c:pt idx="129">
                  <c:v>271.66231042378615</c:v>
                </c:pt>
                <c:pt idx="130">
                  <c:v>274.62421742810568</c:v>
                </c:pt>
                <c:pt idx="131">
                  <c:v>271.46263358738634</c:v>
                </c:pt>
                <c:pt idx="132">
                  <c:v>277.55281633312927</c:v>
                </c:pt>
                <c:pt idx="133">
                  <c:v>287.43688845197647</c:v>
                </c:pt>
                <c:pt idx="134">
                  <c:v>300.74878060471974</c:v>
                </c:pt>
                <c:pt idx="135">
                  <c:v>294.55873912743533</c:v>
                </c:pt>
                <c:pt idx="136">
                  <c:v>292.26244756481958</c:v>
                </c:pt>
                <c:pt idx="137">
                  <c:v>283.34347445248397</c:v>
                </c:pt>
                <c:pt idx="138">
                  <c:v>304.9087179587151</c:v>
                </c:pt>
                <c:pt idx="139">
                  <c:v>311.83090812817284</c:v>
                </c:pt>
                <c:pt idx="140">
                  <c:v>301.58074553018247</c:v>
                </c:pt>
                <c:pt idx="141">
                  <c:v>311.06545997710668</c:v>
                </c:pt>
                <c:pt idx="142">
                  <c:v>279.68268785093636</c:v>
                </c:pt>
                <c:pt idx="143">
                  <c:v>290.06596357393994</c:v>
                </c:pt>
                <c:pt idx="144">
                  <c:v>277.18671571869709</c:v>
                </c:pt>
                <c:pt idx="145">
                  <c:v>291.76321669421088</c:v>
                </c:pt>
                <c:pt idx="146">
                  <c:v>295.88988645481214</c:v>
                </c:pt>
                <c:pt idx="147">
                  <c:v>272.86033275720439</c:v>
                </c:pt>
                <c:pt idx="148">
                  <c:v>267.40247123726169</c:v>
                </c:pt>
                <c:pt idx="149">
                  <c:v>282.37834663890453</c:v>
                </c:pt>
                <c:pt idx="150">
                  <c:v>250.16358005445574</c:v>
                </c:pt>
                <c:pt idx="151">
                  <c:v>224.40508677242062</c:v>
                </c:pt>
                <c:pt idx="152">
                  <c:v>225.90267655950507</c:v>
                </c:pt>
                <c:pt idx="153">
                  <c:v>248.36648389711758</c:v>
                </c:pt>
                <c:pt idx="154">
                  <c:v>237.08465989592654</c:v>
                </c:pt>
                <c:pt idx="155">
                  <c:v>217.48290325965317</c:v>
                </c:pt>
                <c:pt idx="156">
                  <c:v>227.7663431090923</c:v>
                </c:pt>
                <c:pt idx="157">
                  <c:v>244.93867266463076</c:v>
                </c:pt>
                <c:pt idx="158">
                  <c:v>240.17968571182786</c:v>
                </c:pt>
                <c:pt idx="159">
                  <c:v>235.98643661492221</c:v>
                </c:pt>
                <c:pt idx="160">
                  <c:v>251.76102076637767</c:v>
                </c:pt>
                <c:pt idx="161">
                  <c:v>267.80184832399709</c:v>
                </c:pt>
                <c:pt idx="162">
                  <c:v>283.11052674195975</c:v>
                </c:pt>
                <c:pt idx="163">
                  <c:v>275.72241781399623</c:v>
                </c:pt>
                <c:pt idx="164">
                  <c:v>283.27690876744009</c:v>
                </c:pt>
                <c:pt idx="165">
                  <c:v>294.49218151783356</c:v>
                </c:pt>
                <c:pt idx="166">
                  <c:v>281.04717041985504</c:v>
                </c:pt>
                <c:pt idx="167">
                  <c:v>298.01983387924639</c:v>
                </c:pt>
                <c:pt idx="168">
                  <c:v>321.54858916996307</c:v>
                </c:pt>
                <c:pt idx="169">
                  <c:v>321.18250610119304</c:v>
                </c:pt>
                <c:pt idx="170">
                  <c:v>303.11162205091796</c:v>
                </c:pt>
                <c:pt idx="171">
                  <c:v>287.10408511227354</c:v>
                </c:pt>
                <c:pt idx="172">
                  <c:v>293.49378749930679</c:v>
                </c:pt>
                <c:pt idx="173">
                  <c:v>284.47498755386187</c:v>
                </c:pt>
                <c:pt idx="174">
                  <c:v>307.57111352837734</c:v>
                </c:pt>
                <c:pt idx="175">
                  <c:v>316.42350228950573</c:v>
                </c:pt>
                <c:pt idx="176">
                  <c:v>318.25388568084958</c:v>
                </c:pt>
                <c:pt idx="177">
                  <c:v>341.71607133945889</c:v>
                </c:pt>
                <c:pt idx="178">
                  <c:v>336.09180069288988</c:v>
                </c:pt>
                <c:pt idx="179">
                  <c:v>337.05692190775954</c:v>
                </c:pt>
                <c:pt idx="180">
                  <c:v>343.77942109813318</c:v>
                </c:pt>
                <c:pt idx="181">
                  <c:v>345.37686093414982</c:v>
                </c:pt>
                <c:pt idx="182">
                  <c:v>341.51641107105837</c:v>
                </c:pt>
                <c:pt idx="183">
                  <c:v>347.30709503389704</c:v>
                </c:pt>
                <c:pt idx="184">
                  <c:v>340.08539968401919</c:v>
                </c:pt>
                <c:pt idx="185">
                  <c:v>309.2018364362338</c:v>
                </c:pt>
                <c:pt idx="186">
                  <c:v>292.59525512510021</c:v>
                </c:pt>
                <c:pt idx="187">
                  <c:v>317.65486834554457</c:v>
                </c:pt>
                <c:pt idx="188">
                  <c:v>301.51422094065759</c:v>
                </c:pt>
                <c:pt idx="189">
                  <c:v>312.33013907424083</c:v>
                </c:pt>
                <c:pt idx="190">
                  <c:v>327.37258323233442</c:v>
                </c:pt>
                <c:pt idx="191">
                  <c:v>343.38012043464585</c:v>
                </c:pt>
                <c:pt idx="192">
                  <c:v>342.75427582714167</c:v>
                </c:pt>
                <c:pt idx="193">
                  <c:v>332.74074393427929</c:v>
                </c:pt>
                <c:pt idx="194">
                  <c:v>317.51186556589516</c:v>
                </c:pt>
                <c:pt idx="195">
                  <c:v>322.72725196730744</c:v>
                </c:pt>
                <c:pt idx="196">
                  <c:v>328.56845386428972</c:v>
                </c:pt>
                <c:pt idx="197">
                  <c:v>334.82689434611513</c:v>
                </c:pt>
                <c:pt idx="198">
                  <c:v>337.74748889742801</c:v>
                </c:pt>
                <c:pt idx="199">
                  <c:v>339.88620732137321</c:v>
                </c:pt>
                <c:pt idx="200">
                  <c:v>345.08738398614997</c:v>
                </c:pt>
                <c:pt idx="201">
                  <c:v>345.9919270370545</c:v>
                </c:pt>
                <c:pt idx="202">
                  <c:v>380.13883909373709</c:v>
                </c:pt>
                <c:pt idx="203">
                  <c:v>397.77766136652554</c:v>
                </c:pt>
                <c:pt idx="204">
                  <c:v>409.31070754688818</c:v>
                </c:pt>
                <c:pt idx="205">
                  <c:v>416.5471571320341</c:v>
                </c:pt>
                <c:pt idx="206">
                  <c:v>431.24614824876221</c:v>
                </c:pt>
                <c:pt idx="207">
                  <c:v>420.16536471873991</c:v>
                </c:pt>
                <c:pt idx="208">
                  <c:v>440.29170585413226</c:v>
                </c:pt>
                <c:pt idx="209">
                  <c:v>423.10518329113972</c:v>
                </c:pt>
                <c:pt idx="210">
                  <c:v>421.52221986889259</c:v>
                </c:pt>
                <c:pt idx="211">
                  <c:v>441.87470366748829</c:v>
                </c:pt>
                <c:pt idx="212">
                  <c:v>445.04064754432511</c:v>
                </c:pt>
                <c:pt idx="213">
                  <c:v>445.71906750744171</c:v>
                </c:pt>
                <c:pt idx="214">
                  <c:v>434.18599749187314</c:v>
                </c:pt>
                <c:pt idx="215">
                  <c:v>454.08617457071739</c:v>
                </c:pt>
                <c:pt idx="216">
                  <c:v>450.92024035299289</c:v>
                </c:pt>
                <c:pt idx="217">
                  <c:v>445.71905574861728</c:v>
                </c:pt>
                <c:pt idx="218">
                  <c:v>460.41806791290634</c:v>
                </c:pt>
                <c:pt idx="219">
                  <c:v>461.09649393597596</c:v>
                </c:pt>
                <c:pt idx="220">
                  <c:v>460.19196094382175</c:v>
                </c:pt>
                <c:pt idx="221">
                  <c:v>475.11709069793619</c:v>
                </c:pt>
                <c:pt idx="222">
                  <c:v>478.96145312560952</c:v>
                </c:pt>
                <c:pt idx="223">
                  <c:v>487.32857443869671</c:v>
                </c:pt>
                <c:pt idx="224">
                  <c:v>510.16854386691716</c:v>
                </c:pt>
                <c:pt idx="225">
                  <c:v>511.2992304106894</c:v>
                </c:pt>
                <c:pt idx="226">
                  <c:v>519.66633553682209</c:v>
                </c:pt>
                <c:pt idx="227">
                  <c:v>541.60176335963263</c:v>
                </c:pt>
                <c:pt idx="228">
                  <c:v>562.18035563989258</c:v>
                </c:pt>
                <c:pt idx="229">
                  <c:v>559.24054590614492</c:v>
                </c:pt>
                <c:pt idx="230">
                  <c:v>574.84408414963593</c:v>
                </c:pt>
                <c:pt idx="231">
                  <c:v>548.38585045729747</c:v>
                </c:pt>
                <c:pt idx="232">
                  <c:v>556.07454911221907</c:v>
                </c:pt>
                <c:pt idx="233">
                  <c:v>522.37993470567801</c:v>
                </c:pt>
                <c:pt idx="234">
                  <c:v>504.51501108068504</c:v>
                </c:pt>
                <c:pt idx="235">
                  <c:v>546.35065708702314</c:v>
                </c:pt>
                <c:pt idx="236">
                  <c:v>566.47695868759774</c:v>
                </c:pt>
                <c:pt idx="237">
                  <c:v>566.70309628950577</c:v>
                </c:pt>
                <c:pt idx="238">
                  <c:v>536.62668954137132</c:v>
                </c:pt>
                <c:pt idx="239">
                  <c:v>553.36096355336736</c:v>
                </c:pt>
                <c:pt idx="240">
                  <c:v>566.02473987647886</c:v>
                </c:pt>
                <c:pt idx="241">
                  <c:v>562.18041304818576</c:v>
                </c:pt>
                <c:pt idx="242">
                  <c:v>566.25088032886117</c:v>
                </c:pt>
                <c:pt idx="243">
                  <c:v>588.86473211076259</c:v>
                </c:pt>
                <c:pt idx="244">
                  <c:v>641.55499395114975</c:v>
                </c:pt>
                <c:pt idx="245">
                  <c:v>654.89715653835424</c:v>
                </c:pt>
                <c:pt idx="246">
                  <c:v>663.2642535897196</c:v>
                </c:pt>
                <c:pt idx="247">
                  <c:v>708.03969784177832</c:v>
                </c:pt>
                <c:pt idx="248">
                  <c:v>700.80324891395617</c:v>
                </c:pt>
                <c:pt idx="249">
                  <c:v>724.54779451333388</c:v>
                </c:pt>
                <c:pt idx="250">
                  <c:v>738.11611124206718</c:v>
                </c:pt>
                <c:pt idx="251">
                  <c:v>763.89592360136328</c:v>
                </c:pt>
                <c:pt idx="252">
                  <c:v>773.16763398448256</c:v>
                </c:pt>
                <c:pt idx="253">
                  <c:v>759.82546670862928</c:v>
                </c:pt>
                <c:pt idx="254">
                  <c:v>787.64047355097864</c:v>
                </c:pt>
                <c:pt idx="255">
                  <c:v>776.78584265687789</c:v>
                </c:pt>
                <c:pt idx="256">
                  <c:v>788.54505977877056</c:v>
                </c:pt>
                <c:pt idx="257">
                  <c:v>805.7315570656607</c:v>
                </c:pt>
                <c:pt idx="258">
                  <c:v>796.68601174026298</c:v>
                </c:pt>
                <c:pt idx="259">
                  <c:v>834.45115941758434</c:v>
                </c:pt>
                <c:pt idx="260">
                  <c:v>833.99888688917997</c:v>
                </c:pt>
                <c:pt idx="261">
                  <c:v>847.1149371836201</c:v>
                </c:pt>
                <c:pt idx="262">
                  <c:v>852.08995849820576</c:v>
                </c:pt>
                <c:pt idx="263">
                  <c:v>841.91370375084921</c:v>
                </c:pt>
                <c:pt idx="264">
                  <c:v>807.99291643535707</c:v>
                </c:pt>
                <c:pt idx="265">
                  <c:v>839.20002684683993</c:v>
                </c:pt>
                <c:pt idx="266">
                  <c:v>859.32639325070227</c:v>
                </c:pt>
                <c:pt idx="267">
                  <c:v>855.48202476521658</c:v>
                </c:pt>
                <c:pt idx="268">
                  <c:v>888.04594803790451</c:v>
                </c:pt>
                <c:pt idx="269">
                  <c:v>910.43367519253491</c:v>
                </c:pt>
                <c:pt idx="270">
                  <c:v>911.56434277375638</c:v>
                </c:pt>
                <c:pt idx="271">
                  <c:v>846.88876149752411</c:v>
                </c:pt>
                <c:pt idx="272">
                  <c:v>859.55254321482505</c:v>
                </c:pt>
                <c:pt idx="273">
                  <c:v>791.93713173164565</c:v>
                </c:pt>
                <c:pt idx="274">
                  <c:v>836.03417106929305</c:v>
                </c:pt>
                <c:pt idx="275">
                  <c:v>849.60250404524504</c:v>
                </c:pt>
                <c:pt idx="276">
                  <c:v>859.10029539821733</c:v>
                </c:pt>
                <c:pt idx="277">
                  <c:v>903.87574369407707</c:v>
                </c:pt>
                <c:pt idx="278">
                  <c:v>873.12091957701421</c:v>
                </c:pt>
                <c:pt idx="279">
                  <c:v>919.47936211404772</c:v>
                </c:pt>
                <c:pt idx="280">
                  <c:v>980.98903741790139</c:v>
                </c:pt>
                <c:pt idx="281">
                  <c:v>945.93751431972987</c:v>
                </c:pt>
                <c:pt idx="282">
                  <c:v>946.16368797940368</c:v>
                </c:pt>
                <c:pt idx="283">
                  <c:v>928.97719228547066</c:v>
                </c:pt>
                <c:pt idx="284">
                  <c:v>957.92291392673599</c:v>
                </c:pt>
                <c:pt idx="285">
                  <c:v>968.32528622594054</c:v>
                </c:pt>
                <c:pt idx="286">
                  <c:v>980.76294036486956</c:v>
                </c:pt>
                <c:pt idx="287">
                  <c:v>912.69524616731462</c:v>
                </c:pt>
                <c:pt idx="288">
                  <c:v>821.78751394616393</c:v>
                </c:pt>
                <c:pt idx="289">
                  <c:v>901.8405475784557</c:v>
                </c:pt>
                <c:pt idx="290">
                  <c:v>959.73203711294036</c:v>
                </c:pt>
                <c:pt idx="291">
                  <c:v>997.04488314463208</c:v>
                </c:pt>
                <c:pt idx="292">
                  <c:v>1004.0552054225104</c:v>
                </c:pt>
                <c:pt idx="293">
                  <c:v>1043.1772124465931</c:v>
                </c:pt>
                <c:pt idx="294">
                  <c:v>1020.5633211528971</c:v>
                </c:pt>
                <c:pt idx="295">
                  <c:v>1003.6028854876535</c:v>
                </c:pt>
                <c:pt idx="296">
                  <c:v>1117.3505340068043</c:v>
                </c:pt>
                <c:pt idx="297">
                  <c:v>1140.1905197425442</c:v>
                </c:pt>
                <c:pt idx="298">
                  <c:v>1146.2962399757655</c:v>
                </c:pt>
                <c:pt idx="299">
                  <c:v>1144.7133194979829</c:v>
                </c:pt>
                <c:pt idx="300">
                  <c:v>1197.6297531757521</c:v>
                </c:pt>
                <c:pt idx="301">
                  <c:v>1229.5153279613278</c:v>
                </c:pt>
                <c:pt idx="302">
                  <c:v>1211.8765781148618</c:v>
                </c:pt>
                <c:pt idx="303">
                  <c:v>1234.4904374378007</c:v>
                </c:pt>
                <c:pt idx="304">
                  <c:v>1234.9427547340781</c:v>
                </c:pt>
                <c:pt idx="305">
                  <c:v>1287.180709765054</c:v>
                </c:pt>
                <c:pt idx="306">
                  <c:v>1265.9236926517099</c:v>
                </c:pt>
                <c:pt idx="307">
                  <c:v>1274.7431298336758</c:v>
                </c:pt>
                <c:pt idx="308">
                  <c:v>1287.1807985514629</c:v>
                </c:pt>
                <c:pt idx="309">
                  <c:v>1329.920993376965</c:v>
                </c:pt>
                <c:pt idx="310">
                  <c:v>1255.9736623664244</c:v>
                </c:pt>
                <c:pt idx="311">
                  <c:v>1234.2644088071531</c:v>
                </c:pt>
                <c:pt idx="312">
                  <c:v>1293.7387970363754</c:v>
                </c:pt>
                <c:pt idx="313">
                  <c:v>1252.3554566400542</c:v>
                </c:pt>
                <c:pt idx="314">
                  <c:v>1252.8076821954467</c:v>
                </c:pt>
                <c:pt idx="315">
                  <c:v>1160.0908934976717</c:v>
                </c:pt>
                <c:pt idx="316">
                  <c:v>1239.2393708065331</c:v>
                </c:pt>
                <c:pt idx="317">
                  <c:v>1242.6314168123049</c:v>
                </c:pt>
                <c:pt idx="318">
                  <c:v>1169.362513372226</c:v>
                </c:pt>
                <c:pt idx="319">
                  <c:v>1200.3434868652585</c:v>
                </c:pt>
              </c:numCache>
            </c:numRef>
          </c:val>
          <c:smooth val="0"/>
          <c:extLst>
            <c:ext xmlns:c16="http://schemas.microsoft.com/office/drawing/2014/chart" uri="{C3380CC4-5D6E-409C-BE32-E72D297353CC}">
              <c16:uniqueId val="{00000000-9832-4307-B99E-CF69E847215F}"/>
            </c:ext>
          </c:extLst>
        </c:ser>
        <c:ser>
          <c:idx val="1"/>
          <c:order val="1"/>
          <c:tx>
            <c:strRef>
              <c:f>raw!$C$10</c:f>
              <c:strCache>
                <c:ptCount val="1"/>
                <c:pt idx="0">
                  <c:v>MSCI World</c:v>
                </c:pt>
              </c:strCache>
            </c:strRef>
          </c:tx>
          <c:marker>
            <c:symbol val="none"/>
          </c:marker>
          <c:cat>
            <c:numRef>
              <c:f>raw!$A$11:$A$500</c:f>
              <c:numCache>
                <c:formatCode>m/d/yyyy</c:formatCode>
                <c:ptCount val="490"/>
                <c:pt idx="0">
                  <c:v>35155</c:v>
                </c:pt>
                <c:pt idx="1">
                  <c:v>35185</c:v>
                </c:pt>
                <c:pt idx="2">
                  <c:v>35216</c:v>
                </c:pt>
                <c:pt idx="3">
                  <c:v>35246</c:v>
                </c:pt>
                <c:pt idx="4">
                  <c:v>35277</c:v>
                </c:pt>
                <c:pt idx="5">
                  <c:v>35308</c:v>
                </c:pt>
                <c:pt idx="6">
                  <c:v>35338</c:v>
                </c:pt>
                <c:pt idx="7">
                  <c:v>35369</c:v>
                </c:pt>
                <c:pt idx="8">
                  <c:v>35399</c:v>
                </c:pt>
                <c:pt idx="9">
                  <c:v>35430</c:v>
                </c:pt>
                <c:pt idx="10">
                  <c:v>35461</c:v>
                </c:pt>
                <c:pt idx="11">
                  <c:v>35489</c:v>
                </c:pt>
                <c:pt idx="12">
                  <c:v>35520</c:v>
                </c:pt>
                <c:pt idx="13">
                  <c:v>35550</c:v>
                </c:pt>
                <c:pt idx="14">
                  <c:v>35581</c:v>
                </c:pt>
                <c:pt idx="15">
                  <c:v>35611</c:v>
                </c:pt>
                <c:pt idx="16">
                  <c:v>35642</c:v>
                </c:pt>
                <c:pt idx="17">
                  <c:v>35673</c:v>
                </c:pt>
                <c:pt idx="18">
                  <c:v>35703</c:v>
                </c:pt>
                <c:pt idx="19">
                  <c:v>35734</c:v>
                </c:pt>
                <c:pt idx="20">
                  <c:v>35764</c:v>
                </c:pt>
                <c:pt idx="21">
                  <c:v>35795</c:v>
                </c:pt>
                <c:pt idx="22">
                  <c:v>35826</c:v>
                </c:pt>
                <c:pt idx="23">
                  <c:v>35854</c:v>
                </c:pt>
                <c:pt idx="24">
                  <c:v>35885</c:v>
                </c:pt>
                <c:pt idx="25">
                  <c:v>35915</c:v>
                </c:pt>
                <c:pt idx="26">
                  <c:v>35946</c:v>
                </c:pt>
                <c:pt idx="27">
                  <c:v>35976</c:v>
                </c:pt>
                <c:pt idx="28">
                  <c:v>36007</c:v>
                </c:pt>
                <c:pt idx="29">
                  <c:v>36038</c:v>
                </c:pt>
                <c:pt idx="30">
                  <c:v>36068</c:v>
                </c:pt>
                <c:pt idx="31">
                  <c:v>36099</c:v>
                </c:pt>
                <c:pt idx="32">
                  <c:v>36129</c:v>
                </c:pt>
                <c:pt idx="33">
                  <c:v>36160</c:v>
                </c:pt>
                <c:pt idx="34">
                  <c:v>36191</c:v>
                </c:pt>
                <c:pt idx="35">
                  <c:v>36219</c:v>
                </c:pt>
                <c:pt idx="36">
                  <c:v>36250</c:v>
                </c:pt>
                <c:pt idx="37">
                  <c:v>36280</c:v>
                </c:pt>
                <c:pt idx="38">
                  <c:v>36311</c:v>
                </c:pt>
                <c:pt idx="39">
                  <c:v>36341</c:v>
                </c:pt>
                <c:pt idx="40">
                  <c:v>36372</c:v>
                </c:pt>
                <c:pt idx="41">
                  <c:v>36403</c:v>
                </c:pt>
                <c:pt idx="42">
                  <c:v>36433</c:v>
                </c:pt>
                <c:pt idx="43">
                  <c:v>36464</c:v>
                </c:pt>
                <c:pt idx="44">
                  <c:v>36494</c:v>
                </c:pt>
                <c:pt idx="45">
                  <c:v>36525</c:v>
                </c:pt>
                <c:pt idx="46">
                  <c:v>36556</c:v>
                </c:pt>
                <c:pt idx="47">
                  <c:v>36585</c:v>
                </c:pt>
                <c:pt idx="48">
                  <c:v>36616</c:v>
                </c:pt>
                <c:pt idx="49">
                  <c:v>36646</c:v>
                </c:pt>
                <c:pt idx="50">
                  <c:v>36677</c:v>
                </c:pt>
                <c:pt idx="51">
                  <c:v>36707</c:v>
                </c:pt>
                <c:pt idx="52">
                  <c:v>36738</c:v>
                </c:pt>
                <c:pt idx="53">
                  <c:v>36769</c:v>
                </c:pt>
                <c:pt idx="54">
                  <c:v>36799</c:v>
                </c:pt>
                <c:pt idx="55">
                  <c:v>36830</c:v>
                </c:pt>
                <c:pt idx="56">
                  <c:v>36860</c:v>
                </c:pt>
                <c:pt idx="57">
                  <c:v>36891</c:v>
                </c:pt>
                <c:pt idx="58">
                  <c:v>36922</c:v>
                </c:pt>
                <c:pt idx="59">
                  <c:v>36950</c:v>
                </c:pt>
                <c:pt idx="60">
                  <c:v>36981</c:v>
                </c:pt>
                <c:pt idx="61">
                  <c:v>37011</c:v>
                </c:pt>
                <c:pt idx="62">
                  <c:v>37042</c:v>
                </c:pt>
                <c:pt idx="63">
                  <c:v>37072</c:v>
                </c:pt>
                <c:pt idx="64">
                  <c:v>37103</c:v>
                </c:pt>
                <c:pt idx="65">
                  <c:v>37134</c:v>
                </c:pt>
                <c:pt idx="66">
                  <c:v>37164</c:v>
                </c:pt>
                <c:pt idx="67">
                  <c:v>37195</c:v>
                </c:pt>
                <c:pt idx="68">
                  <c:v>37225</c:v>
                </c:pt>
                <c:pt idx="69">
                  <c:v>37256</c:v>
                </c:pt>
                <c:pt idx="70">
                  <c:v>37287</c:v>
                </c:pt>
                <c:pt idx="71">
                  <c:v>37315</c:v>
                </c:pt>
                <c:pt idx="72">
                  <c:v>37346</c:v>
                </c:pt>
                <c:pt idx="73">
                  <c:v>37376</c:v>
                </c:pt>
                <c:pt idx="74">
                  <c:v>37407</c:v>
                </c:pt>
                <c:pt idx="75">
                  <c:v>37437</c:v>
                </c:pt>
                <c:pt idx="76">
                  <c:v>37468</c:v>
                </c:pt>
                <c:pt idx="77">
                  <c:v>37499</c:v>
                </c:pt>
                <c:pt idx="78">
                  <c:v>37529</c:v>
                </c:pt>
                <c:pt idx="79">
                  <c:v>37560</c:v>
                </c:pt>
                <c:pt idx="80">
                  <c:v>37590</c:v>
                </c:pt>
                <c:pt idx="81">
                  <c:v>37621</c:v>
                </c:pt>
                <c:pt idx="82">
                  <c:v>37652</c:v>
                </c:pt>
                <c:pt idx="83">
                  <c:v>37680</c:v>
                </c:pt>
                <c:pt idx="84">
                  <c:v>37711</c:v>
                </c:pt>
                <c:pt idx="85">
                  <c:v>37741</c:v>
                </c:pt>
                <c:pt idx="86">
                  <c:v>37772</c:v>
                </c:pt>
                <c:pt idx="87">
                  <c:v>37802</c:v>
                </c:pt>
                <c:pt idx="88">
                  <c:v>37833</c:v>
                </c:pt>
                <c:pt idx="89">
                  <c:v>37864</c:v>
                </c:pt>
                <c:pt idx="90">
                  <c:v>37894</c:v>
                </c:pt>
                <c:pt idx="91">
                  <c:v>37925</c:v>
                </c:pt>
                <c:pt idx="92">
                  <c:v>37955</c:v>
                </c:pt>
                <c:pt idx="93">
                  <c:v>37986</c:v>
                </c:pt>
                <c:pt idx="94">
                  <c:v>38017</c:v>
                </c:pt>
                <c:pt idx="95">
                  <c:v>38046</c:v>
                </c:pt>
                <c:pt idx="96">
                  <c:v>38077</c:v>
                </c:pt>
                <c:pt idx="97">
                  <c:v>38107</c:v>
                </c:pt>
                <c:pt idx="98">
                  <c:v>38138</c:v>
                </c:pt>
                <c:pt idx="99">
                  <c:v>38168</c:v>
                </c:pt>
                <c:pt idx="100">
                  <c:v>38199</c:v>
                </c:pt>
                <c:pt idx="101">
                  <c:v>38230</c:v>
                </c:pt>
                <c:pt idx="102">
                  <c:v>38260</c:v>
                </c:pt>
                <c:pt idx="103">
                  <c:v>38291</c:v>
                </c:pt>
                <c:pt idx="104">
                  <c:v>38321</c:v>
                </c:pt>
                <c:pt idx="105">
                  <c:v>38352</c:v>
                </c:pt>
                <c:pt idx="106">
                  <c:v>38383</c:v>
                </c:pt>
                <c:pt idx="107">
                  <c:v>38411</c:v>
                </c:pt>
                <c:pt idx="108">
                  <c:v>38442</c:v>
                </c:pt>
                <c:pt idx="109">
                  <c:v>38472</c:v>
                </c:pt>
                <c:pt idx="110">
                  <c:v>38503</c:v>
                </c:pt>
                <c:pt idx="111">
                  <c:v>38533</c:v>
                </c:pt>
                <c:pt idx="112">
                  <c:v>38564</c:v>
                </c:pt>
                <c:pt idx="113">
                  <c:v>38595</c:v>
                </c:pt>
                <c:pt idx="114">
                  <c:v>38625</c:v>
                </c:pt>
                <c:pt idx="115">
                  <c:v>38656</c:v>
                </c:pt>
                <c:pt idx="116">
                  <c:v>38686</c:v>
                </c:pt>
                <c:pt idx="117">
                  <c:v>38717</c:v>
                </c:pt>
                <c:pt idx="118">
                  <c:v>38748</c:v>
                </c:pt>
                <c:pt idx="119">
                  <c:v>38776</c:v>
                </c:pt>
                <c:pt idx="120">
                  <c:v>38807</c:v>
                </c:pt>
                <c:pt idx="121">
                  <c:v>38837</c:v>
                </c:pt>
                <c:pt idx="122">
                  <c:v>38868</c:v>
                </c:pt>
                <c:pt idx="123">
                  <c:v>38898</c:v>
                </c:pt>
                <c:pt idx="124">
                  <c:v>38929</c:v>
                </c:pt>
                <c:pt idx="125">
                  <c:v>38960</c:v>
                </c:pt>
                <c:pt idx="126">
                  <c:v>38990</c:v>
                </c:pt>
                <c:pt idx="127">
                  <c:v>39021</c:v>
                </c:pt>
                <c:pt idx="128">
                  <c:v>39051</c:v>
                </c:pt>
                <c:pt idx="129">
                  <c:v>39082</c:v>
                </c:pt>
                <c:pt idx="130">
                  <c:v>39113</c:v>
                </c:pt>
                <c:pt idx="131">
                  <c:v>39141</c:v>
                </c:pt>
                <c:pt idx="132">
                  <c:v>39172</c:v>
                </c:pt>
                <c:pt idx="133">
                  <c:v>39202</c:v>
                </c:pt>
                <c:pt idx="134">
                  <c:v>39233</c:v>
                </c:pt>
                <c:pt idx="135">
                  <c:v>39263</c:v>
                </c:pt>
                <c:pt idx="136">
                  <c:v>39294</c:v>
                </c:pt>
                <c:pt idx="137">
                  <c:v>39325</c:v>
                </c:pt>
                <c:pt idx="138">
                  <c:v>39355</c:v>
                </c:pt>
                <c:pt idx="139">
                  <c:v>39386</c:v>
                </c:pt>
                <c:pt idx="140">
                  <c:v>39416</c:v>
                </c:pt>
                <c:pt idx="141">
                  <c:v>39447</c:v>
                </c:pt>
                <c:pt idx="142">
                  <c:v>39478</c:v>
                </c:pt>
                <c:pt idx="143">
                  <c:v>39507</c:v>
                </c:pt>
                <c:pt idx="144">
                  <c:v>39538</c:v>
                </c:pt>
                <c:pt idx="145">
                  <c:v>39568</c:v>
                </c:pt>
                <c:pt idx="146">
                  <c:v>39599</c:v>
                </c:pt>
                <c:pt idx="147">
                  <c:v>39629</c:v>
                </c:pt>
                <c:pt idx="148">
                  <c:v>39660</c:v>
                </c:pt>
                <c:pt idx="149">
                  <c:v>39691</c:v>
                </c:pt>
                <c:pt idx="150">
                  <c:v>39721</c:v>
                </c:pt>
                <c:pt idx="151">
                  <c:v>39752</c:v>
                </c:pt>
                <c:pt idx="152">
                  <c:v>39782</c:v>
                </c:pt>
                <c:pt idx="153">
                  <c:v>39813</c:v>
                </c:pt>
                <c:pt idx="154">
                  <c:v>39844</c:v>
                </c:pt>
                <c:pt idx="155">
                  <c:v>39872</c:v>
                </c:pt>
                <c:pt idx="156">
                  <c:v>39903</c:v>
                </c:pt>
                <c:pt idx="157">
                  <c:v>39933</c:v>
                </c:pt>
                <c:pt idx="158">
                  <c:v>39964</c:v>
                </c:pt>
                <c:pt idx="159">
                  <c:v>39994</c:v>
                </c:pt>
                <c:pt idx="160">
                  <c:v>40025</c:v>
                </c:pt>
                <c:pt idx="161">
                  <c:v>40056</c:v>
                </c:pt>
                <c:pt idx="162">
                  <c:v>40086</c:v>
                </c:pt>
                <c:pt idx="163">
                  <c:v>40117</c:v>
                </c:pt>
                <c:pt idx="164">
                  <c:v>40147</c:v>
                </c:pt>
                <c:pt idx="165">
                  <c:v>40178</c:v>
                </c:pt>
                <c:pt idx="166">
                  <c:v>40209</c:v>
                </c:pt>
                <c:pt idx="167">
                  <c:v>40237</c:v>
                </c:pt>
                <c:pt idx="168">
                  <c:v>40268</c:v>
                </c:pt>
                <c:pt idx="169">
                  <c:v>40298</c:v>
                </c:pt>
                <c:pt idx="170">
                  <c:v>40329</c:v>
                </c:pt>
                <c:pt idx="171">
                  <c:v>40359</c:v>
                </c:pt>
                <c:pt idx="172">
                  <c:v>40390</c:v>
                </c:pt>
                <c:pt idx="173">
                  <c:v>40421</c:v>
                </c:pt>
                <c:pt idx="174">
                  <c:v>40451</c:v>
                </c:pt>
                <c:pt idx="175">
                  <c:v>40482</c:v>
                </c:pt>
                <c:pt idx="176">
                  <c:v>40512</c:v>
                </c:pt>
                <c:pt idx="177">
                  <c:v>40543</c:v>
                </c:pt>
                <c:pt idx="178">
                  <c:v>40574</c:v>
                </c:pt>
                <c:pt idx="179">
                  <c:v>40602</c:v>
                </c:pt>
                <c:pt idx="180">
                  <c:v>40633</c:v>
                </c:pt>
                <c:pt idx="181">
                  <c:v>40663</c:v>
                </c:pt>
                <c:pt idx="182">
                  <c:v>40694</c:v>
                </c:pt>
                <c:pt idx="183">
                  <c:v>40724</c:v>
                </c:pt>
                <c:pt idx="184">
                  <c:v>40755</c:v>
                </c:pt>
                <c:pt idx="185">
                  <c:v>40786</c:v>
                </c:pt>
                <c:pt idx="186">
                  <c:v>40816</c:v>
                </c:pt>
                <c:pt idx="187">
                  <c:v>40847</c:v>
                </c:pt>
                <c:pt idx="188">
                  <c:v>40877</c:v>
                </c:pt>
                <c:pt idx="189">
                  <c:v>40908</c:v>
                </c:pt>
                <c:pt idx="190">
                  <c:v>40939</c:v>
                </c:pt>
                <c:pt idx="191">
                  <c:v>40968</c:v>
                </c:pt>
                <c:pt idx="192">
                  <c:v>40999</c:v>
                </c:pt>
                <c:pt idx="193">
                  <c:v>41029</c:v>
                </c:pt>
                <c:pt idx="194">
                  <c:v>41060</c:v>
                </c:pt>
                <c:pt idx="195">
                  <c:v>41090</c:v>
                </c:pt>
                <c:pt idx="196">
                  <c:v>41121</c:v>
                </c:pt>
                <c:pt idx="197">
                  <c:v>41152</c:v>
                </c:pt>
                <c:pt idx="198">
                  <c:v>41182</c:v>
                </c:pt>
                <c:pt idx="199">
                  <c:v>41213</c:v>
                </c:pt>
                <c:pt idx="200">
                  <c:v>41243</c:v>
                </c:pt>
                <c:pt idx="201">
                  <c:v>41274</c:v>
                </c:pt>
                <c:pt idx="202">
                  <c:v>41305</c:v>
                </c:pt>
                <c:pt idx="203">
                  <c:v>41333</c:v>
                </c:pt>
                <c:pt idx="204">
                  <c:v>41364</c:v>
                </c:pt>
                <c:pt idx="205">
                  <c:v>41394</c:v>
                </c:pt>
                <c:pt idx="206">
                  <c:v>41425</c:v>
                </c:pt>
                <c:pt idx="207">
                  <c:v>41455</c:v>
                </c:pt>
                <c:pt idx="208">
                  <c:v>41486</c:v>
                </c:pt>
                <c:pt idx="209">
                  <c:v>41517</c:v>
                </c:pt>
                <c:pt idx="210">
                  <c:v>41547</c:v>
                </c:pt>
                <c:pt idx="211">
                  <c:v>41578</c:v>
                </c:pt>
                <c:pt idx="212">
                  <c:v>41608</c:v>
                </c:pt>
                <c:pt idx="213">
                  <c:v>41639</c:v>
                </c:pt>
                <c:pt idx="214">
                  <c:v>41670</c:v>
                </c:pt>
                <c:pt idx="215">
                  <c:v>41698</c:v>
                </c:pt>
                <c:pt idx="216">
                  <c:v>41729</c:v>
                </c:pt>
                <c:pt idx="217">
                  <c:v>41759</c:v>
                </c:pt>
                <c:pt idx="218">
                  <c:v>41790</c:v>
                </c:pt>
                <c:pt idx="219">
                  <c:v>41820</c:v>
                </c:pt>
                <c:pt idx="220">
                  <c:v>41851</c:v>
                </c:pt>
                <c:pt idx="221">
                  <c:v>41882</c:v>
                </c:pt>
                <c:pt idx="222">
                  <c:v>41912</c:v>
                </c:pt>
                <c:pt idx="223">
                  <c:v>41943</c:v>
                </c:pt>
                <c:pt idx="224">
                  <c:v>41973</c:v>
                </c:pt>
                <c:pt idx="225">
                  <c:v>42004</c:v>
                </c:pt>
                <c:pt idx="226">
                  <c:v>42035</c:v>
                </c:pt>
                <c:pt idx="227">
                  <c:v>42063</c:v>
                </c:pt>
                <c:pt idx="228">
                  <c:v>42064</c:v>
                </c:pt>
                <c:pt idx="229">
                  <c:v>42124</c:v>
                </c:pt>
                <c:pt idx="230">
                  <c:v>42155</c:v>
                </c:pt>
                <c:pt idx="231">
                  <c:v>42185</c:v>
                </c:pt>
                <c:pt idx="232">
                  <c:v>42216</c:v>
                </c:pt>
                <c:pt idx="233">
                  <c:v>42247</c:v>
                </c:pt>
                <c:pt idx="234">
                  <c:v>42277</c:v>
                </c:pt>
                <c:pt idx="235">
                  <c:v>42308</c:v>
                </c:pt>
                <c:pt idx="236">
                  <c:v>42338</c:v>
                </c:pt>
                <c:pt idx="237">
                  <c:v>42369</c:v>
                </c:pt>
                <c:pt idx="238">
                  <c:v>42400</c:v>
                </c:pt>
                <c:pt idx="239">
                  <c:v>42429</c:v>
                </c:pt>
                <c:pt idx="240">
                  <c:v>42460</c:v>
                </c:pt>
                <c:pt idx="241">
                  <c:v>42490</c:v>
                </c:pt>
                <c:pt idx="242">
                  <c:v>42521</c:v>
                </c:pt>
                <c:pt idx="243">
                  <c:v>42551</c:v>
                </c:pt>
                <c:pt idx="244">
                  <c:v>42582</c:v>
                </c:pt>
                <c:pt idx="245">
                  <c:v>42613</c:v>
                </c:pt>
                <c:pt idx="246">
                  <c:v>42643</c:v>
                </c:pt>
                <c:pt idx="247">
                  <c:v>42674</c:v>
                </c:pt>
                <c:pt idx="248">
                  <c:v>42704</c:v>
                </c:pt>
                <c:pt idx="249">
                  <c:v>42735</c:v>
                </c:pt>
                <c:pt idx="250">
                  <c:v>42766</c:v>
                </c:pt>
                <c:pt idx="251">
                  <c:v>42794</c:v>
                </c:pt>
                <c:pt idx="252">
                  <c:v>42825</c:v>
                </c:pt>
                <c:pt idx="253">
                  <c:v>42855</c:v>
                </c:pt>
                <c:pt idx="254">
                  <c:v>42886</c:v>
                </c:pt>
                <c:pt idx="255">
                  <c:v>42916</c:v>
                </c:pt>
                <c:pt idx="256">
                  <c:v>42947</c:v>
                </c:pt>
                <c:pt idx="257">
                  <c:v>42978</c:v>
                </c:pt>
                <c:pt idx="258">
                  <c:v>43008</c:v>
                </c:pt>
                <c:pt idx="259">
                  <c:v>43039</c:v>
                </c:pt>
                <c:pt idx="260">
                  <c:v>43069</c:v>
                </c:pt>
                <c:pt idx="261">
                  <c:v>43100</c:v>
                </c:pt>
                <c:pt idx="262">
                  <c:v>43131</c:v>
                </c:pt>
                <c:pt idx="263">
                  <c:v>43159</c:v>
                </c:pt>
                <c:pt idx="264">
                  <c:v>43190</c:v>
                </c:pt>
                <c:pt idx="265">
                  <c:v>43220</c:v>
                </c:pt>
                <c:pt idx="266">
                  <c:v>43251</c:v>
                </c:pt>
                <c:pt idx="267">
                  <c:v>43281</c:v>
                </c:pt>
                <c:pt idx="268">
                  <c:v>43312</c:v>
                </c:pt>
                <c:pt idx="269">
                  <c:v>43343</c:v>
                </c:pt>
                <c:pt idx="270">
                  <c:v>43373</c:v>
                </c:pt>
                <c:pt idx="271">
                  <c:v>43404</c:v>
                </c:pt>
                <c:pt idx="272">
                  <c:v>43434</c:v>
                </c:pt>
                <c:pt idx="273">
                  <c:v>43465</c:v>
                </c:pt>
                <c:pt idx="274">
                  <c:v>43496</c:v>
                </c:pt>
                <c:pt idx="275">
                  <c:v>43524</c:v>
                </c:pt>
                <c:pt idx="276">
                  <c:v>43555</c:v>
                </c:pt>
                <c:pt idx="277">
                  <c:v>43585</c:v>
                </c:pt>
                <c:pt idx="278">
                  <c:v>43616</c:v>
                </c:pt>
                <c:pt idx="279">
                  <c:v>43646</c:v>
                </c:pt>
                <c:pt idx="280">
                  <c:v>43677</c:v>
                </c:pt>
                <c:pt idx="281">
                  <c:v>43708</c:v>
                </c:pt>
                <c:pt idx="282">
                  <c:v>43738</c:v>
                </c:pt>
                <c:pt idx="283">
                  <c:v>43769</c:v>
                </c:pt>
                <c:pt idx="284">
                  <c:v>43799</c:v>
                </c:pt>
                <c:pt idx="285">
                  <c:v>43830</c:v>
                </c:pt>
                <c:pt idx="286">
                  <c:v>43861</c:v>
                </c:pt>
                <c:pt idx="287">
                  <c:v>43890</c:v>
                </c:pt>
                <c:pt idx="288">
                  <c:v>43921</c:v>
                </c:pt>
                <c:pt idx="289">
                  <c:v>43951</c:v>
                </c:pt>
                <c:pt idx="290">
                  <c:v>43982</c:v>
                </c:pt>
                <c:pt idx="291">
                  <c:v>44012</c:v>
                </c:pt>
                <c:pt idx="292">
                  <c:v>44043</c:v>
                </c:pt>
                <c:pt idx="293">
                  <c:v>44074</c:v>
                </c:pt>
                <c:pt idx="294">
                  <c:v>44104</c:v>
                </c:pt>
                <c:pt idx="295">
                  <c:v>44135</c:v>
                </c:pt>
                <c:pt idx="296">
                  <c:v>44165</c:v>
                </c:pt>
                <c:pt idx="297">
                  <c:v>44196</c:v>
                </c:pt>
                <c:pt idx="298">
                  <c:v>44227</c:v>
                </c:pt>
                <c:pt idx="299">
                  <c:v>44255</c:v>
                </c:pt>
                <c:pt idx="300">
                  <c:v>44286</c:v>
                </c:pt>
                <c:pt idx="301">
                  <c:v>44316</c:v>
                </c:pt>
                <c:pt idx="302">
                  <c:v>44347</c:v>
                </c:pt>
                <c:pt idx="303">
                  <c:v>44377</c:v>
                </c:pt>
                <c:pt idx="304">
                  <c:v>44408</c:v>
                </c:pt>
                <c:pt idx="305">
                  <c:v>44439</c:v>
                </c:pt>
                <c:pt idx="306">
                  <c:v>44469</c:v>
                </c:pt>
                <c:pt idx="307">
                  <c:v>44500</c:v>
                </c:pt>
                <c:pt idx="308">
                  <c:v>44530</c:v>
                </c:pt>
                <c:pt idx="309">
                  <c:v>44561</c:v>
                </c:pt>
                <c:pt idx="310">
                  <c:v>44592</c:v>
                </c:pt>
                <c:pt idx="311">
                  <c:v>44620</c:v>
                </c:pt>
                <c:pt idx="312">
                  <c:v>44651</c:v>
                </c:pt>
                <c:pt idx="313">
                  <c:v>44681</c:v>
                </c:pt>
                <c:pt idx="314">
                  <c:v>44712</c:v>
                </c:pt>
                <c:pt idx="315">
                  <c:v>44742</c:v>
                </c:pt>
                <c:pt idx="316">
                  <c:v>44773</c:v>
                </c:pt>
                <c:pt idx="317">
                  <c:v>44804</c:v>
                </c:pt>
                <c:pt idx="318">
                  <c:v>44834</c:v>
                </c:pt>
                <c:pt idx="319">
                  <c:v>44865</c:v>
                </c:pt>
              </c:numCache>
            </c:numRef>
          </c:cat>
          <c:val>
            <c:numRef>
              <c:f>raw!$C$11:$C$500</c:f>
              <c:numCache>
                <c:formatCode>0.00</c:formatCode>
                <c:ptCount val="490"/>
                <c:pt idx="0" formatCode="General">
                  <c:v>100</c:v>
                </c:pt>
                <c:pt idx="1">
                  <c:v>104.09763303362895</c:v>
                </c:pt>
                <c:pt idx="2">
                  <c:v>100.88576129744158</c:v>
                </c:pt>
                <c:pt idx="3">
                  <c:v>101.08824141601356</c:v>
                </c:pt>
                <c:pt idx="4">
                  <c:v>97.289378296208199</c:v>
                </c:pt>
                <c:pt idx="5">
                  <c:v>98.016683693493931</c:v>
                </c:pt>
                <c:pt idx="6">
                  <c:v>101.80700293182339</c:v>
                </c:pt>
                <c:pt idx="7">
                  <c:v>98.406493193407329</c:v>
                </c:pt>
                <c:pt idx="8">
                  <c:v>100.69205128184178</c:v>
                </c:pt>
                <c:pt idx="9">
                  <c:v>97.266205927319703</c:v>
                </c:pt>
                <c:pt idx="10">
                  <c:v>105.10167181035527</c:v>
                </c:pt>
                <c:pt idx="11">
                  <c:v>104.401847673627</c:v>
                </c:pt>
                <c:pt idx="12">
                  <c:v>101.66288493802976</c:v>
                </c:pt>
                <c:pt idx="13">
                  <c:v>106.22135596359058</c:v>
                </c:pt>
                <c:pt idx="14">
                  <c:v>111.83620097875362</c:v>
                </c:pt>
                <c:pt idx="15">
                  <c:v>115.39748060478024</c:v>
                </c:pt>
                <c:pt idx="16">
                  <c:v>122.67004772410154</c:v>
                </c:pt>
                <c:pt idx="17">
                  <c:v>115.55224959276943</c:v>
                </c:pt>
                <c:pt idx="18">
                  <c:v>122.29240068058019</c:v>
                </c:pt>
                <c:pt idx="19">
                  <c:v>111.58857602650836</c:v>
                </c:pt>
                <c:pt idx="20">
                  <c:v>113.01110762482431</c:v>
                </c:pt>
                <c:pt idx="21">
                  <c:v>117.10763270699195</c:v>
                </c:pt>
                <c:pt idx="22">
                  <c:v>121.11811818140879</c:v>
                </c:pt>
                <c:pt idx="23">
                  <c:v>128.38881644655285</c:v>
                </c:pt>
                <c:pt idx="24">
                  <c:v>131.54579522742287</c:v>
                </c:pt>
                <c:pt idx="25">
                  <c:v>133.01836576683084</c:v>
                </c:pt>
                <c:pt idx="26">
                  <c:v>134.65596683230001</c:v>
                </c:pt>
                <c:pt idx="27">
                  <c:v>134.7092944725934</c:v>
                </c:pt>
                <c:pt idx="28">
                  <c:v>137.14540802046261</c:v>
                </c:pt>
                <c:pt idx="29">
                  <c:v>116.10265184605315</c:v>
                </c:pt>
                <c:pt idx="30">
                  <c:v>116.40516089414321</c:v>
                </c:pt>
                <c:pt idx="31">
                  <c:v>128.78021843612962</c:v>
                </c:pt>
                <c:pt idx="32">
                  <c:v>138.41068612494016</c:v>
                </c:pt>
                <c:pt idx="33">
                  <c:v>143.99928581076568</c:v>
                </c:pt>
                <c:pt idx="34">
                  <c:v>149.01400444486811</c:v>
                </c:pt>
                <c:pt idx="35">
                  <c:v>148.72178729524592</c:v>
                </c:pt>
                <c:pt idx="36">
                  <c:v>153.71112078719497</c:v>
                </c:pt>
                <c:pt idx="37">
                  <c:v>160.16681999042305</c:v>
                </c:pt>
                <c:pt idx="38">
                  <c:v>154.94593476447449</c:v>
                </c:pt>
                <c:pt idx="39">
                  <c:v>164.93027539882627</c:v>
                </c:pt>
                <c:pt idx="40">
                  <c:v>159.97637480607068</c:v>
                </c:pt>
                <c:pt idx="41">
                  <c:v>160.86271708043267</c:v>
                </c:pt>
                <c:pt idx="42">
                  <c:v>155.51858667001218</c:v>
                </c:pt>
                <c:pt idx="43">
                  <c:v>164.17917886740338</c:v>
                </c:pt>
                <c:pt idx="44">
                  <c:v>173.88354660303409</c:v>
                </c:pt>
                <c:pt idx="45">
                  <c:v>185.72131500380721</c:v>
                </c:pt>
                <c:pt idx="46">
                  <c:v>174.07118899274104</c:v>
                </c:pt>
                <c:pt idx="47">
                  <c:v>179.18445585324488</c:v>
                </c:pt>
                <c:pt idx="48">
                  <c:v>189.55442068787247</c:v>
                </c:pt>
                <c:pt idx="49">
                  <c:v>185.05650184407645</c:v>
                </c:pt>
                <c:pt idx="50">
                  <c:v>188.8072322175787</c:v>
                </c:pt>
                <c:pt idx="51">
                  <c:v>192.6679263832641</c:v>
                </c:pt>
                <c:pt idx="52">
                  <c:v>189.24477438310433</c:v>
                </c:pt>
                <c:pt idx="53">
                  <c:v>201.11246089875698</c:v>
                </c:pt>
                <c:pt idx="54">
                  <c:v>187.36729603694329</c:v>
                </c:pt>
                <c:pt idx="55">
                  <c:v>187.55487964641264</c:v>
                </c:pt>
                <c:pt idx="56">
                  <c:v>180.43116733441573</c:v>
                </c:pt>
                <c:pt idx="57">
                  <c:v>173.97271255000854</c:v>
                </c:pt>
                <c:pt idx="58">
                  <c:v>181.2934989031117</c:v>
                </c:pt>
                <c:pt idx="59">
                  <c:v>168.11477585853993</c:v>
                </c:pt>
                <c:pt idx="60">
                  <c:v>159.31834942683562</c:v>
                </c:pt>
                <c:pt idx="61">
                  <c:v>169.97531531618159</c:v>
                </c:pt>
                <c:pt idx="62">
                  <c:v>168.96530764300917</c:v>
                </c:pt>
                <c:pt idx="63">
                  <c:v>165.3005780636926</c:v>
                </c:pt>
                <c:pt idx="64">
                  <c:v>160.93961566898597</c:v>
                </c:pt>
                <c:pt idx="65">
                  <c:v>150.51860490970839</c:v>
                </c:pt>
                <c:pt idx="66">
                  <c:v>135.44191934759033</c:v>
                </c:pt>
                <c:pt idx="67">
                  <c:v>139.49080562490167</c:v>
                </c:pt>
                <c:pt idx="68">
                  <c:v>150.64145661035363</c:v>
                </c:pt>
                <c:pt idx="69">
                  <c:v>148.52317881856385</c:v>
                </c:pt>
                <c:pt idx="70">
                  <c:v>148.29670824586873</c:v>
                </c:pt>
                <c:pt idx="71">
                  <c:v>146.87811937384114</c:v>
                </c:pt>
                <c:pt idx="72">
                  <c:v>152.31565788922765</c:v>
                </c:pt>
                <c:pt idx="73">
                  <c:v>143.77568764094491</c:v>
                </c:pt>
                <c:pt idx="74">
                  <c:v>143.43404008615772</c:v>
                </c:pt>
                <c:pt idx="75">
                  <c:v>129.30788292300514</c:v>
                </c:pt>
                <c:pt idx="76">
                  <c:v>115.52404629800552</c:v>
                </c:pt>
                <c:pt idx="77">
                  <c:v>116.86565672816893</c:v>
                </c:pt>
                <c:pt idx="78">
                  <c:v>102.29985539834888</c:v>
                </c:pt>
                <c:pt idx="79">
                  <c:v>110.40600191092743</c:v>
                </c:pt>
                <c:pt idx="80">
                  <c:v>116.97708865892126</c:v>
                </c:pt>
                <c:pt idx="81">
                  <c:v>107.56864764824013</c:v>
                </c:pt>
                <c:pt idx="82">
                  <c:v>102.14487265329382</c:v>
                </c:pt>
                <c:pt idx="83">
                  <c:v>104.72856207866336</c:v>
                </c:pt>
                <c:pt idx="84">
                  <c:v>104.01625269864317</c:v>
                </c:pt>
                <c:pt idx="85">
                  <c:v>111.98651111578631</c:v>
                </c:pt>
                <c:pt idx="86">
                  <c:v>115.46606533555116</c:v>
                </c:pt>
                <c:pt idx="87">
                  <c:v>116.61089587206654</c:v>
                </c:pt>
                <c:pt idx="88">
                  <c:v>122.12391898289717</c:v>
                </c:pt>
                <c:pt idx="89">
                  <c:v>126.77471788824425</c:v>
                </c:pt>
                <c:pt idx="90">
                  <c:v>121.42317990638509</c:v>
                </c:pt>
                <c:pt idx="91">
                  <c:v>125.92196203010192</c:v>
                </c:pt>
                <c:pt idx="92">
                  <c:v>126.12460431779087</c:v>
                </c:pt>
                <c:pt idx="93">
                  <c:v>128.76286901763643</c:v>
                </c:pt>
                <c:pt idx="94">
                  <c:v>128.66727744741101</c:v>
                </c:pt>
                <c:pt idx="95">
                  <c:v>128.31436661013811</c:v>
                </c:pt>
                <c:pt idx="96">
                  <c:v>128.7071438927224</c:v>
                </c:pt>
                <c:pt idx="97">
                  <c:v>130.65642517300975</c:v>
                </c:pt>
                <c:pt idx="98">
                  <c:v>127.52595666561741</c:v>
                </c:pt>
                <c:pt idx="99">
                  <c:v>131.57561101002133</c:v>
                </c:pt>
                <c:pt idx="100">
                  <c:v>126.93342173263289</c:v>
                </c:pt>
                <c:pt idx="101">
                  <c:v>128.87311411098696</c:v>
                </c:pt>
                <c:pt idx="102">
                  <c:v>130.54097479821442</c:v>
                </c:pt>
                <c:pt idx="103">
                  <c:v>132.07522822402768</c:v>
                </c:pt>
                <c:pt idx="104">
                  <c:v>133.25419064357908</c:v>
                </c:pt>
                <c:pt idx="105">
                  <c:v>137.7353391287981</c:v>
                </c:pt>
                <c:pt idx="106">
                  <c:v>137.04600035948155</c:v>
                </c:pt>
                <c:pt idx="107">
                  <c:v>138.48058130738355</c:v>
                </c:pt>
                <c:pt idx="108">
                  <c:v>138.38652390292685</c:v>
                </c:pt>
                <c:pt idx="109">
                  <c:v>133.93359027171962</c:v>
                </c:pt>
                <c:pt idx="110">
                  <c:v>142.84525982078901</c:v>
                </c:pt>
                <c:pt idx="111">
                  <c:v>146.50243710096379</c:v>
                </c:pt>
                <c:pt idx="112">
                  <c:v>154.36218205735406</c:v>
                </c:pt>
                <c:pt idx="113">
                  <c:v>152.24226584307033</c:v>
                </c:pt>
                <c:pt idx="114">
                  <c:v>158.7979175026706</c:v>
                </c:pt>
                <c:pt idx="115">
                  <c:v>154.84389928074384</c:v>
                </c:pt>
                <c:pt idx="116">
                  <c:v>163.68827581165459</c:v>
                </c:pt>
                <c:pt idx="117">
                  <c:v>168.64652497084143</c:v>
                </c:pt>
                <c:pt idx="118">
                  <c:v>170.17047474170164</c:v>
                </c:pt>
                <c:pt idx="119">
                  <c:v>172.44791717041645</c:v>
                </c:pt>
                <c:pt idx="120">
                  <c:v>177.93736211919816</c:v>
                </c:pt>
                <c:pt idx="121">
                  <c:v>174.95689670871442</c:v>
                </c:pt>
                <c:pt idx="122">
                  <c:v>164.13685409111935</c:v>
                </c:pt>
                <c:pt idx="123">
                  <c:v>166.01702024576844</c:v>
                </c:pt>
                <c:pt idx="124">
                  <c:v>165.48663278980135</c:v>
                </c:pt>
                <c:pt idx="125">
                  <c:v>166.65029770972012</c:v>
                </c:pt>
                <c:pt idx="126">
                  <c:v>171.72642395371662</c:v>
                </c:pt>
                <c:pt idx="127">
                  <c:v>174.36124961841972</c:v>
                </c:pt>
                <c:pt idx="128">
                  <c:v>173.2003963147163</c:v>
                </c:pt>
                <c:pt idx="129">
                  <c:v>177.61512769657563</c:v>
                </c:pt>
                <c:pt idx="130">
                  <c:v>179.68728932317453</c:v>
                </c:pt>
                <c:pt idx="131">
                  <c:v>178.53879919427484</c:v>
                </c:pt>
                <c:pt idx="132">
                  <c:v>181.6573791214729</c:v>
                </c:pt>
                <c:pt idx="133">
                  <c:v>186.02136568201843</c:v>
                </c:pt>
                <c:pt idx="134">
                  <c:v>193.33498024878622</c:v>
                </c:pt>
                <c:pt idx="135">
                  <c:v>189.14181208239611</c:v>
                </c:pt>
                <c:pt idx="136">
                  <c:v>182.61151448751394</c:v>
                </c:pt>
                <c:pt idx="137">
                  <c:v>183.83008456395933</c:v>
                </c:pt>
                <c:pt idx="138">
                  <c:v>190.65336920975614</c:v>
                </c:pt>
                <c:pt idx="139">
                  <c:v>192.71775906259072</c:v>
                </c:pt>
                <c:pt idx="140">
                  <c:v>186.74864681915864</c:v>
                </c:pt>
                <c:pt idx="141">
                  <c:v>190.40755445403497</c:v>
                </c:pt>
                <c:pt idx="142">
                  <c:v>176.0877446857705</c:v>
                </c:pt>
                <c:pt idx="143">
                  <c:v>174.96067557785491</c:v>
                </c:pt>
                <c:pt idx="144">
                  <c:v>173.43189810940353</c:v>
                </c:pt>
                <c:pt idx="145">
                  <c:v>183.18929833755431</c:v>
                </c:pt>
                <c:pt idx="146">
                  <c:v>186.39156350922659</c:v>
                </c:pt>
                <c:pt idx="147">
                  <c:v>170.32207750386928</c:v>
                </c:pt>
                <c:pt idx="148">
                  <c:v>166.93752581281723</c:v>
                </c:pt>
                <c:pt idx="149">
                  <c:v>178.75544088142559</c:v>
                </c:pt>
                <c:pt idx="150">
                  <c:v>161.16333626662353</c:v>
                </c:pt>
                <c:pt idx="151">
                  <c:v>144.08096685141189</c:v>
                </c:pt>
                <c:pt idx="152">
                  <c:v>141.89413438212023</c:v>
                </c:pt>
                <c:pt idx="153">
                  <c:v>156.29588724618722</c:v>
                </c:pt>
                <c:pt idx="154">
                  <c:v>142.21392247584993</c:v>
                </c:pt>
                <c:pt idx="155">
                  <c:v>129.12013827610178</c:v>
                </c:pt>
                <c:pt idx="156">
                  <c:v>138.08306453681749</c:v>
                </c:pt>
                <c:pt idx="157">
                  <c:v>148.54993541223683</c:v>
                </c:pt>
                <c:pt idx="158">
                  <c:v>148.87536616498952</c:v>
                </c:pt>
                <c:pt idx="159">
                  <c:v>145.11603797894762</c:v>
                </c:pt>
                <c:pt idx="160">
                  <c:v>156.36226654571095</c:v>
                </c:pt>
                <c:pt idx="161">
                  <c:v>165.61474463559628</c:v>
                </c:pt>
                <c:pt idx="162">
                  <c:v>175.49419092201168</c:v>
                </c:pt>
                <c:pt idx="163">
                  <c:v>167.24969754134725</c:v>
                </c:pt>
                <c:pt idx="164">
                  <c:v>174.85301462332228</c:v>
                </c:pt>
                <c:pt idx="165">
                  <c:v>180.88470361233595</c:v>
                </c:pt>
                <c:pt idx="166">
                  <c:v>174.75552030427644</c:v>
                </c:pt>
                <c:pt idx="167">
                  <c:v>186.53343993753012</c:v>
                </c:pt>
                <c:pt idx="168">
                  <c:v>198.80323481520659</c:v>
                </c:pt>
                <c:pt idx="169">
                  <c:v>197.04565531315936</c:v>
                </c:pt>
                <c:pt idx="170">
                  <c:v>187.69694517125305</c:v>
                </c:pt>
                <c:pt idx="171">
                  <c:v>176.03371851135847</c:v>
                </c:pt>
                <c:pt idx="172">
                  <c:v>181.80079975950773</c:v>
                </c:pt>
                <c:pt idx="173">
                  <c:v>178.33795160990169</c:v>
                </c:pt>
                <c:pt idx="174">
                  <c:v>190.15491291992777</c:v>
                </c:pt>
                <c:pt idx="175">
                  <c:v>194.40527508177462</c:v>
                </c:pt>
                <c:pt idx="176">
                  <c:v>195.27150021157226</c:v>
                </c:pt>
                <c:pt idx="177">
                  <c:v>208.51571276771719</c:v>
                </c:pt>
                <c:pt idx="178">
                  <c:v>208.42253183169208</c:v>
                </c:pt>
                <c:pt idx="179">
                  <c:v>212.43747305620937</c:v>
                </c:pt>
                <c:pt idx="180">
                  <c:v>213.43180429150428</c:v>
                </c:pt>
                <c:pt idx="181">
                  <c:v>213.82864959007597</c:v>
                </c:pt>
                <c:pt idx="182">
                  <c:v>212.19022589581959</c:v>
                </c:pt>
                <c:pt idx="183">
                  <c:v>214.10287161984905</c:v>
                </c:pt>
                <c:pt idx="184">
                  <c:v>205.60370186108091</c:v>
                </c:pt>
                <c:pt idx="185">
                  <c:v>192.67348554097168</c:v>
                </c:pt>
                <c:pt idx="186">
                  <c:v>183.99169186051409</c:v>
                </c:pt>
                <c:pt idx="187">
                  <c:v>195.94190054528369</c:v>
                </c:pt>
                <c:pt idx="188">
                  <c:v>196.17795842838098</c:v>
                </c:pt>
                <c:pt idx="189">
                  <c:v>198.42804337672766</c:v>
                </c:pt>
                <c:pt idx="190">
                  <c:v>205.22172459732417</c:v>
                </c:pt>
                <c:pt idx="191">
                  <c:v>212.63448420477528</c:v>
                </c:pt>
                <c:pt idx="192">
                  <c:v>215.32693480824773</c:v>
                </c:pt>
                <c:pt idx="193">
                  <c:v>209.45995637077334</c:v>
                </c:pt>
                <c:pt idx="194">
                  <c:v>201.91056095402789</c:v>
                </c:pt>
                <c:pt idx="195">
                  <c:v>208.23400106015126</c:v>
                </c:pt>
                <c:pt idx="196">
                  <c:v>211.13259220032347</c:v>
                </c:pt>
                <c:pt idx="197">
                  <c:v>213.54776965524457</c:v>
                </c:pt>
                <c:pt idx="198">
                  <c:v>215.82154032335137</c:v>
                </c:pt>
                <c:pt idx="199">
                  <c:v>214.86156717982655</c:v>
                </c:pt>
                <c:pt idx="200">
                  <c:v>218.75576163566953</c:v>
                </c:pt>
                <c:pt idx="201">
                  <c:v>219.73727749858156</c:v>
                </c:pt>
                <c:pt idx="202">
                  <c:v>236.7639091293365</c:v>
                </c:pt>
                <c:pt idx="203">
                  <c:v>247.69774315551697</c:v>
                </c:pt>
                <c:pt idx="204">
                  <c:v>253.41885811473412</c:v>
                </c:pt>
                <c:pt idx="205">
                  <c:v>255.02471957291999</c:v>
                </c:pt>
                <c:pt idx="206">
                  <c:v>261.90298728873307</c:v>
                </c:pt>
                <c:pt idx="207">
                  <c:v>255.3488725304876</c:v>
                </c:pt>
                <c:pt idx="208">
                  <c:v>268.90609256302082</c:v>
                </c:pt>
                <c:pt idx="209">
                  <c:v>257.93165191341296</c:v>
                </c:pt>
                <c:pt idx="210">
                  <c:v>258.70701517738621</c:v>
                </c:pt>
                <c:pt idx="211">
                  <c:v>270.97564107989848</c:v>
                </c:pt>
                <c:pt idx="212">
                  <c:v>270.49640926246059</c:v>
                </c:pt>
                <c:pt idx="213">
                  <c:v>273.18400078833423</c:v>
                </c:pt>
                <c:pt idx="214">
                  <c:v>265.11787378184829</c:v>
                </c:pt>
                <c:pt idx="215">
                  <c:v>273.00496465826217</c:v>
                </c:pt>
                <c:pt idx="216">
                  <c:v>274.82957627005419</c:v>
                </c:pt>
                <c:pt idx="217">
                  <c:v>274.12325611169916</c:v>
                </c:pt>
                <c:pt idx="218">
                  <c:v>281.38564862997987</c:v>
                </c:pt>
                <c:pt idx="219">
                  <c:v>280.97617683398141</c:v>
                </c:pt>
                <c:pt idx="220">
                  <c:v>280.01876174950587</c:v>
                </c:pt>
                <c:pt idx="221">
                  <c:v>290.93863555865266</c:v>
                </c:pt>
                <c:pt idx="222">
                  <c:v>289.9568609973291</c:v>
                </c:pt>
                <c:pt idx="223">
                  <c:v>295.71675433649409</c:v>
                </c:pt>
                <c:pt idx="224">
                  <c:v>308.153195553204</c:v>
                </c:pt>
                <c:pt idx="225">
                  <c:v>304.50414130885326</c:v>
                </c:pt>
                <c:pt idx="226">
                  <c:v>310.40380107506002</c:v>
                </c:pt>
                <c:pt idx="227">
                  <c:v>319.34151693842944</c:v>
                </c:pt>
                <c:pt idx="228">
                  <c:v>327.24033509670926</c:v>
                </c:pt>
                <c:pt idx="229">
                  <c:v>323.52455968742061</c:v>
                </c:pt>
                <c:pt idx="230">
                  <c:v>326.93892945752975</c:v>
                </c:pt>
                <c:pt idx="231">
                  <c:v>309.84440573714954</c:v>
                </c:pt>
                <c:pt idx="232">
                  <c:v>317.871424419905</c:v>
                </c:pt>
                <c:pt idx="233">
                  <c:v>301.18138398829376</c:v>
                </c:pt>
                <c:pt idx="234">
                  <c:v>294.52035590626019</c:v>
                </c:pt>
                <c:pt idx="235">
                  <c:v>311.7590490879731</c:v>
                </c:pt>
                <c:pt idx="236">
                  <c:v>318.26604687493261</c:v>
                </c:pt>
                <c:pt idx="237">
                  <c:v>319.33169066616699</c:v>
                </c:pt>
                <c:pt idx="238">
                  <c:v>311.95433800333109</c:v>
                </c:pt>
                <c:pt idx="239">
                  <c:v>315.1667446420746</c:v>
                </c:pt>
                <c:pt idx="240">
                  <c:v>326.31962933056542</c:v>
                </c:pt>
                <c:pt idx="241">
                  <c:v>325.23705126346113</c:v>
                </c:pt>
                <c:pt idx="242">
                  <c:v>329.17664671491747</c:v>
                </c:pt>
                <c:pt idx="243">
                  <c:v>354.39145006441919</c:v>
                </c:pt>
                <c:pt idx="244">
                  <c:v>371.89198543408969</c:v>
                </c:pt>
                <c:pt idx="245">
                  <c:v>377.31575327941118</c:v>
                </c:pt>
                <c:pt idx="246">
                  <c:v>382.44491297266541</c:v>
                </c:pt>
                <c:pt idx="247">
                  <c:v>399.03723464491765</c:v>
                </c:pt>
                <c:pt idx="248">
                  <c:v>395.53864659704294</c:v>
                </c:pt>
                <c:pt idx="249">
                  <c:v>409.51179571395687</c:v>
                </c:pt>
                <c:pt idx="250">
                  <c:v>411.91221534172251</c:v>
                </c:pt>
                <c:pt idx="251">
                  <c:v>428.00038482385543</c:v>
                </c:pt>
                <c:pt idx="252">
                  <c:v>430.46550456913002</c:v>
                </c:pt>
                <c:pt idx="253">
                  <c:v>422.22174703733646</c:v>
                </c:pt>
                <c:pt idx="254">
                  <c:v>432.08516758050314</c:v>
                </c:pt>
                <c:pt idx="255">
                  <c:v>431.07665901996182</c:v>
                </c:pt>
                <c:pt idx="256">
                  <c:v>434.89730460653487</c:v>
                </c:pt>
                <c:pt idx="257">
                  <c:v>445.58614153184959</c:v>
                </c:pt>
                <c:pt idx="258">
                  <c:v>437.55302785448777</c:v>
                </c:pt>
                <c:pt idx="259">
                  <c:v>450.42180461494752</c:v>
                </c:pt>
                <c:pt idx="260">
                  <c:v>451.44266031233883</c:v>
                </c:pt>
                <c:pt idx="261">
                  <c:v>457.85127785656692</c:v>
                </c:pt>
                <c:pt idx="262">
                  <c:v>458.53849657756888</c:v>
                </c:pt>
                <c:pt idx="263">
                  <c:v>453.6435998558793</c:v>
                </c:pt>
                <c:pt idx="264">
                  <c:v>435.8622723001568</c:v>
                </c:pt>
                <c:pt idx="265">
                  <c:v>449.01584272527458</c:v>
                </c:pt>
                <c:pt idx="266">
                  <c:v>467.68654611317027</c:v>
                </c:pt>
                <c:pt idx="267">
                  <c:v>471.14584344064565</c:v>
                </c:pt>
                <c:pt idx="268">
                  <c:v>489.0109478766895</c:v>
                </c:pt>
                <c:pt idx="269">
                  <c:v>499.63318744449896</c:v>
                </c:pt>
                <c:pt idx="270">
                  <c:v>500.75654180035338</c:v>
                </c:pt>
                <c:pt idx="271">
                  <c:v>473.54104730654149</c:v>
                </c:pt>
                <c:pt idx="272">
                  <c:v>479.61186788561736</c:v>
                </c:pt>
                <c:pt idx="273">
                  <c:v>443.94601816302975</c:v>
                </c:pt>
                <c:pt idx="274">
                  <c:v>463.2648592008498</c:v>
                </c:pt>
                <c:pt idx="275">
                  <c:v>471.93486665823048</c:v>
                </c:pt>
                <c:pt idx="276">
                  <c:v>488.0609563379258</c:v>
                </c:pt>
                <c:pt idx="277">
                  <c:v>505.13677454786102</c:v>
                </c:pt>
                <c:pt idx="278">
                  <c:v>492.32206406328129</c:v>
                </c:pt>
                <c:pt idx="279">
                  <c:v>519.69055400399418</c:v>
                </c:pt>
                <c:pt idx="280">
                  <c:v>542.84345544194741</c:v>
                </c:pt>
                <c:pt idx="281">
                  <c:v>534.62414446049172</c:v>
                </c:pt>
                <c:pt idx="282">
                  <c:v>539.5980917557921</c:v>
                </c:pt>
                <c:pt idx="283">
                  <c:v>526.94796839188814</c:v>
                </c:pt>
                <c:pt idx="284">
                  <c:v>541.83388501532352</c:v>
                </c:pt>
                <c:pt idx="285">
                  <c:v>544.89961411354511</c:v>
                </c:pt>
                <c:pt idx="286">
                  <c:v>544.27345418649077</c:v>
                </c:pt>
                <c:pt idx="287">
                  <c:v>514.2226823816394</c:v>
                </c:pt>
                <c:pt idx="288">
                  <c:v>459.60713614917091</c:v>
                </c:pt>
                <c:pt idx="289">
                  <c:v>501.1687343533473</c:v>
                </c:pt>
                <c:pt idx="290">
                  <c:v>536.02869498114262</c:v>
                </c:pt>
                <c:pt idx="291">
                  <c:v>550.51328767836287</c:v>
                </c:pt>
                <c:pt idx="292">
                  <c:v>543.05155299161015</c:v>
                </c:pt>
                <c:pt idx="293">
                  <c:v>567.89141096604783</c:v>
                </c:pt>
                <c:pt idx="294">
                  <c:v>567.87209814064454</c:v>
                </c:pt>
                <c:pt idx="295">
                  <c:v>550.37434227281017</c:v>
                </c:pt>
                <c:pt idx="296">
                  <c:v>601.19427005850241</c:v>
                </c:pt>
                <c:pt idx="297">
                  <c:v>612.05831367177029</c:v>
                </c:pt>
                <c:pt idx="298">
                  <c:v>603.21696192793945</c:v>
                </c:pt>
                <c:pt idx="299">
                  <c:v>607.65520079650025</c:v>
                </c:pt>
                <c:pt idx="300">
                  <c:v>636.24761664854384</c:v>
                </c:pt>
                <c:pt idx="301">
                  <c:v>663.52519932363202</c:v>
                </c:pt>
                <c:pt idx="302">
                  <c:v>655.58228210900381</c:v>
                </c:pt>
                <c:pt idx="303">
                  <c:v>684.6493384974134</c:v>
                </c:pt>
                <c:pt idx="304">
                  <c:v>692.44488642068666</c:v>
                </c:pt>
                <c:pt idx="305">
                  <c:v>716.95068815689183</c:v>
                </c:pt>
                <c:pt idx="306">
                  <c:v>701.4063603232064</c:v>
                </c:pt>
                <c:pt idx="307">
                  <c:v>729.02286270868569</c:v>
                </c:pt>
                <c:pt idx="308">
                  <c:v>738.78291304958111</c:v>
                </c:pt>
                <c:pt idx="309">
                  <c:v>752.47193237690192</c:v>
                </c:pt>
                <c:pt idx="310">
                  <c:v>719.45344158259309</c:v>
                </c:pt>
                <c:pt idx="311">
                  <c:v>701.21048659216558</c:v>
                </c:pt>
                <c:pt idx="312">
                  <c:v>734.18070396659175</c:v>
                </c:pt>
                <c:pt idx="313">
                  <c:v>705.98510728189206</c:v>
                </c:pt>
                <c:pt idx="314">
                  <c:v>703.82324757851575</c:v>
                </c:pt>
                <c:pt idx="315">
                  <c:v>667.13008771472607</c:v>
                </c:pt>
                <c:pt idx="316">
                  <c:v>718.64604411032519</c:v>
                </c:pt>
                <c:pt idx="317">
                  <c:v>720.14172858581628</c:v>
                </c:pt>
                <c:pt idx="318">
                  <c:v>680.8789646645198</c:v>
                </c:pt>
                <c:pt idx="319">
                  <c:v>707.5595014912268</c:v>
                </c:pt>
              </c:numCache>
            </c:numRef>
          </c:val>
          <c:smooth val="0"/>
          <c:extLst>
            <c:ext xmlns:c16="http://schemas.microsoft.com/office/drawing/2014/chart" uri="{C3380CC4-5D6E-409C-BE32-E72D297353CC}">
              <c16:uniqueId val="{00000002-9832-4307-B99E-CF69E847215F}"/>
            </c:ext>
          </c:extLst>
        </c:ser>
        <c:ser>
          <c:idx val="3"/>
          <c:order val="2"/>
          <c:tx>
            <c:strRef>
              <c:f>raw!$E$10</c:f>
              <c:strCache>
                <c:ptCount val="1"/>
                <c:pt idx="0">
                  <c:v>MSCI ACWI </c:v>
                </c:pt>
              </c:strCache>
            </c:strRef>
          </c:tx>
          <c:marker>
            <c:symbol val="none"/>
          </c:marker>
          <c:cat>
            <c:numRef>
              <c:f>raw!$A$11:$A$500</c:f>
              <c:numCache>
                <c:formatCode>m/d/yyyy</c:formatCode>
                <c:ptCount val="490"/>
                <c:pt idx="0">
                  <c:v>35155</c:v>
                </c:pt>
                <c:pt idx="1">
                  <c:v>35185</c:v>
                </c:pt>
                <c:pt idx="2">
                  <c:v>35216</c:v>
                </c:pt>
                <c:pt idx="3">
                  <c:v>35246</c:v>
                </c:pt>
                <c:pt idx="4">
                  <c:v>35277</c:v>
                </c:pt>
                <c:pt idx="5">
                  <c:v>35308</c:v>
                </c:pt>
                <c:pt idx="6">
                  <c:v>35338</c:v>
                </c:pt>
                <c:pt idx="7">
                  <c:v>35369</c:v>
                </c:pt>
                <c:pt idx="8">
                  <c:v>35399</c:v>
                </c:pt>
                <c:pt idx="9">
                  <c:v>35430</c:v>
                </c:pt>
                <c:pt idx="10">
                  <c:v>35461</c:v>
                </c:pt>
                <c:pt idx="11">
                  <c:v>35489</c:v>
                </c:pt>
                <c:pt idx="12">
                  <c:v>35520</c:v>
                </c:pt>
                <c:pt idx="13">
                  <c:v>35550</c:v>
                </c:pt>
                <c:pt idx="14">
                  <c:v>35581</c:v>
                </c:pt>
                <c:pt idx="15">
                  <c:v>35611</c:v>
                </c:pt>
                <c:pt idx="16">
                  <c:v>35642</c:v>
                </c:pt>
                <c:pt idx="17">
                  <c:v>35673</c:v>
                </c:pt>
                <c:pt idx="18">
                  <c:v>35703</c:v>
                </c:pt>
                <c:pt idx="19">
                  <c:v>35734</c:v>
                </c:pt>
                <c:pt idx="20">
                  <c:v>35764</c:v>
                </c:pt>
                <c:pt idx="21">
                  <c:v>35795</c:v>
                </c:pt>
                <c:pt idx="22">
                  <c:v>35826</c:v>
                </c:pt>
                <c:pt idx="23">
                  <c:v>35854</c:v>
                </c:pt>
                <c:pt idx="24">
                  <c:v>35885</c:v>
                </c:pt>
                <c:pt idx="25">
                  <c:v>35915</c:v>
                </c:pt>
                <c:pt idx="26">
                  <c:v>35946</c:v>
                </c:pt>
                <c:pt idx="27">
                  <c:v>35976</c:v>
                </c:pt>
                <c:pt idx="28">
                  <c:v>36007</c:v>
                </c:pt>
                <c:pt idx="29">
                  <c:v>36038</c:v>
                </c:pt>
                <c:pt idx="30">
                  <c:v>36068</c:v>
                </c:pt>
                <c:pt idx="31">
                  <c:v>36099</c:v>
                </c:pt>
                <c:pt idx="32">
                  <c:v>36129</c:v>
                </c:pt>
                <c:pt idx="33">
                  <c:v>36160</c:v>
                </c:pt>
                <c:pt idx="34">
                  <c:v>36191</c:v>
                </c:pt>
                <c:pt idx="35">
                  <c:v>36219</c:v>
                </c:pt>
                <c:pt idx="36">
                  <c:v>36250</c:v>
                </c:pt>
                <c:pt idx="37">
                  <c:v>36280</c:v>
                </c:pt>
                <c:pt idx="38">
                  <c:v>36311</c:v>
                </c:pt>
                <c:pt idx="39">
                  <c:v>36341</c:v>
                </c:pt>
                <c:pt idx="40">
                  <c:v>36372</c:v>
                </c:pt>
                <c:pt idx="41">
                  <c:v>36403</c:v>
                </c:pt>
                <c:pt idx="42">
                  <c:v>36433</c:v>
                </c:pt>
                <c:pt idx="43">
                  <c:v>36464</c:v>
                </c:pt>
                <c:pt idx="44">
                  <c:v>36494</c:v>
                </c:pt>
                <c:pt idx="45">
                  <c:v>36525</c:v>
                </c:pt>
                <c:pt idx="46">
                  <c:v>36556</c:v>
                </c:pt>
                <c:pt idx="47">
                  <c:v>36585</c:v>
                </c:pt>
                <c:pt idx="48">
                  <c:v>36616</c:v>
                </c:pt>
                <c:pt idx="49">
                  <c:v>36646</c:v>
                </c:pt>
                <c:pt idx="50">
                  <c:v>36677</c:v>
                </c:pt>
                <c:pt idx="51">
                  <c:v>36707</c:v>
                </c:pt>
                <c:pt idx="52">
                  <c:v>36738</c:v>
                </c:pt>
                <c:pt idx="53">
                  <c:v>36769</c:v>
                </c:pt>
                <c:pt idx="54">
                  <c:v>36799</c:v>
                </c:pt>
                <c:pt idx="55">
                  <c:v>36830</c:v>
                </c:pt>
                <c:pt idx="56">
                  <c:v>36860</c:v>
                </c:pt>
                <c:pt idx="57">
                  <c:v>36891</c:v>
                </c:pt>
                <c:pt idx="58">
                  <c:v>36922</c:v>
                </c:pt>
                <c:pt idx="59">
                  <c:v>36950</c:v>
                </c:pt>
                <c:pt idx="60">
                  <c:v>36981</c:v>
                </c:pt>
                <c:pt idx="61">
                  <c:v>37011</c:v>
                </c:pt>
                <c:pt idx="62">
                  <c:v>37042</c:v>
                </c:pt>
                <c:pt idx="63">
                  <c:v>37072</c:v>
                </c:pt>
                <c:pt idx="64">
                  <c:v>37103</c:v>
                </c:pt>
                <c:pt idx="65">
                  <c:v>37134</c:v>
                </c:pt>
                <c:pt idx="66">
                  <c:v>37164</c:v>
                </c:pt>
                <c:pt idx="67">
                  <c:v>37195</c:v>
                </c:pt>
                <c:pt idx="68">
                  <c:v>37225</c:v>
                </c:pt>
                <c:pt idx="69">
                  <c:v>37256</c:v>
                </c:pt>
                <c:pt idx="70">
                  <c:v>37287</c:v>
                </c:pt>
                <c:pt idx="71">
                  <c:v>37315</c:v>
                </c:pt>
                <c:pt idx="72">
                  <c:v>37346</c:v>
                </c:pt>
                <c:pt idx="73">
                  <c:v>37376</c:v>
                </c:pt>
                <c:pt idx="74">
                  <c:v>37407</c:v>
                </c:pt>
                <c:pt idx="75">
                  <c:v>37437</c:v>
                </c:pt>
                <c:pt idx="76">
                  <c:v>37468</c:v>
                </c:pt>
                <c:pt idx="77">
                  <c:v>37499</c:v>
                </c:pt>
                <c:pt idx="78">
                  <c:v>37529</c:v>
                </c:pt>
                <c:pt idx="79">
                  <c:v>37560</c:v>
                </c:pt>
                <c:pt idx="80">
                  <c:v>37590</c:v>
                </c:pt>
                <c:pt idx="81">
                  <c:v>37621</c:v>
                </c:pt>
                <c:pt idx="82">
                  <c:v>37652</c:v>
                </c:pt>
                <c:pt idx="83">
                  <c:v>37680</c:v>
                </c:pt>
                <c:pt idx="84">
                  <c:v>37711</c:v>
                </c:pt>
                <c:pt idx="85">
                  <c:v>37741</c:v>
                </c:pt>
                <c:pt idx="86">
                  <c:v>37772</c:v>
                </c:pt>
                <c:pt idx="87">
                  <c:v>37802</c:v>
                </c:pt>
                <c:pt idx="88">
                  <c:v>37833</c:v>
                </c:pt>
                <c:pt idx="89">
                  <c:v>37864</c:v>
                </c:pt>
                <c:pt idx="90">
                  <c:v>37894</c:v>
                </c:pt>
                <c:pt idx="91">
                  <c:v>37925</c:v>
                </c:pt>
                <c:pt idx="92">
                  <c:v>37955</c:v>
                </c:pt>
                <c:pt idx="93">
                  <c:v>37986</c:v>
                </c:pt>
                <c:pt idx="94">
                  <c:v>38017</c:v>
                </c:pt>
                <c:pt idx="95">
                  <c:v>38046</c:v>
                </c:pt>
                <c:pt idx="96">
                  <c:v>38077</c:v>
                </c:pt>
                <c:pt idx="97">
                  <c:v>38107</c:v>
                </c:pt>
                <c:pt idx="98">
                  <c:v>38138</c:v>
                </c:pt>
                <c:pt idx="99">
                  <c:v>38168</c:v>
                </c:pt>
                <c:pt idx="100">
                  <c:v>38199</c:v>
                </c:pt>
                <c:pt idx="101">
                  <c:v>38230</c:v>
                </c:pt>
                <c:pt idx="102">
                  <c:v>38260</c:v>
                </c:pt>
                <c:pt idx="103">
                  <c:v>38291</c:v>
                </c:pt>
                <c:pt idx="104">
                  <c:v>38321</c:v>
                </c:pt>
                <c:pt idx="105">
                  <c:v>38352</c:v>
                </c:pt>
                <c:pt idx="106">
                  <c:v>38383</c:v>
                </c:pt>
                <c:pt idx="107">
                  <c:v>38411</c:v>
                </c:pt>
                <c:pt idx="108">
                  <c:v>38442</c:v>
                </c:pt>
                <c:pt idx="109">
                  <c:v>38472</c:v>
                </c:pt>
                <c:pt idx="110">
                  <c:v>38503</c:v>
                </c:pt>
                <c:pt idx="111">
                  <c:v>38533</c:v>
                </c:pt>
                <c:pt idx="112">
                  <c:v>38564</c:v>
                </c:pt>
                <c:pt idx="113">
                  <c:v>38595</c:v>
                </c:pt>
                <c:pt idx="114">
                  <c:v>38625</c:v>
                </c:pt>
                <c:pt idx="115">
                  <c:v>38656</c:v>
                </c:pt>
                <c:pt idx="116">
                  <c:v>38686</c:v>
                </c:pt>
                <c:pt idx="117">
                  <c:v>38717</c:v>
                </c:pt>
                <c:pt idx="118">
                  <c:v>38748</c:v>
                </c:pt>
                <c:pt idx="119">
                  <c:v>38776</c:v>
                </c:pt>
                <c:pt idx="120">
                  <c:v>38807</c:v>
                </c:pt>
                <c:pt idx="121">
                  <c:v>38837</c:v>
                </c:pt>
                <c:pt idx="122">
                  <c:v>38868</c:v>
                </c:pt>
                <c:pt idx="123">
                  <c:v>38898</c:v>
                </c:pt>
                <c:pt idx="124">
                  <c:v>38929</c:v>
                </c:pt>
                <c:pt idx="125">
                  <c:v>38960</c:v>
                </c:pt>
                <c:pt idx="126">
                  <c:v>38990</c:v>
                </c:pt>
                <c:pt idx="127">
                  <c:v>39021</c:v>
                </c:pt>
                <c:pt idx="128">
                  <c:v>39051</c:v>
                </c:pt>
                <c:pt idx="129">
                  <c:v>39082</c:v>
                </c:pt>
                <c:pt idx="130">
                  <c:v>39113</c:v>
                </c:pt>
                <c:pt idx="131">
                  <c:v>39141</c:v>
                </c:pt>
                <c:pt idx="132">
                  <c:v>39172</c:v>
                </c:pt>
                <c:pt idx="133">
                  <c:v>39202</c:v>
                </c:pt>
                <c:pt idx="134">
                  <c:v>39233</c:v>
                </c:pt>
                <c:pt idx="135">
                  <c:v>39263</c:v>
                </c:pt>
                <c:pt idx="136">
                  <c:v>39294</c:v>
                </c:pt>
                <c:pt idx="137">
                  <c:v>39325</c:v>
                </c:pt>
                <c:pt idx="138">
                  <c:v>39355</c:v>
                </c:pt>
                <c:pt idx="139">
                  <c:v>39386</c:v>
                </c:pt>
                <c:pt idx="140">
                  <c:v>39416</c:v>
                </c:pt>
                <c:pt idx="141">
                  <c:v>39447</c:v>
                </c:pt>
                <c:pt idx="142">
                  <c:v>39478</c:v>
                </c:pt>
                <c:pt idx="143">
                  <c:v>39507</c:v>
                </c:pt>
                <c:pt idx="144">
                  <c:v>39538</c:v>
                </c:pt>
                <c:pt idx="145">
                  <c:v>39568</c:v>
                </c:pt>
                <c:pt idx="146">
                  <c:v>39599</c:v>
                </c:pt>
                <c:pt idx="147">
                  <c:v>39629</c:v>
                </c:pt>
                <c:pt idx="148">
                  <c:v>39660</c:v>
                </c:pt>
                <c:pt idx="149">
                  <c:v>39691</c:v>
                </c:pt>
                <c:pt idx="150">
                  <c:v>39721</c:v>
                </c:pt>
                <c:pt idx="151">
                  <c:v>39752</c:v>
                </c:pt>
                <c:pt idx="152">
                  <c:v>39782</c:v>
                </c:pt>
                <c:pt idx="153">
                  <c:v>39813</c:v>
                </c:pt>
                <c:pt idx="154">
                  <c:v>39844</c:v>
                </c:pt>
                <c:pt idx="155">
                  <c:v>39872</c:v>
                </c:pt>
                <c:pt idx="156">
                  <c:v>39903</c:v>
                </c:pt>
                <c:pt idx="157">
                  <c:v>39933</c:v>
                </c:pt>
                <c:pt idx="158">
                  <c:v>39964</c:v>
                </c:pt>
                <c:pt idx="159">
                  <c:v>39994</c:v>
                </c:pt>
                <c:pt idx="160">
                  <c:v>40025</c:v>
                </c:pt>
                <c:pt idx="161">
                  <c:v>40056</c:v>
                </c:pt>
                <c:pt idx="162">
                  <c:v>40086</c:v>
                </c:pt>
                <c:pt idx="163">
                  <c:v>40117</c:v>
                </c:pt>
                <c:pt idx="164">
                  <c:v>40147</c:v>
                </c:pt>
                <c:pt idx="165">
                  <c:v>40178</c:v>
                </c:pt>
                <c:pt idx="166">
                  <c:v>40209</c:v>
                </c:pt>
                <c:pt idx="167">
                  <c:v>40237</c:v>
                </c:pt>
                <c:pt idx="168">
                  <c:v>40268</c:v>
                </c:pt>
                <c:pt idx="169">
                  <c:v>40298</c:v>
                </c:pt>
                <c:pt idx="170">
                  <c:v>40329</c:v>
                </c:pt>
                <c:pt idx="171">
                  <c:v>40359</c:v>
                </c:pt>
                <c:pt idx="172">
                  <c:v>40390</c:v>
                </c:pt>
                <c:pt idx="173">
                  <c:v>40421</c:v>
                </c:pt>
                <c:pt idx="174">
                  <c:v>40451</c:v>
                </c:pt>
                <c:pt idx="175">
                  <c:v>40482</c:v>
                </c:pt>
                <c:pt idx="176">
                  <c:v>40512</c:v>
                </c:pt>
                <c:pt idx="177">
                  <c:v>40543</c:v>
                </c:pt>
                <c:pt idx="178">
                  <c:v>40574</c:v>
                </c:pt>
                <c:pt idx="179">
                  <c:v>40602</c:v>
                </c:pt>
                <c:pt idx="180">
                  <c:v>40633</c:v>
                </c:pt>
                <c:pt idx="181">
                  <c:v>40663</c:v>
                </c:pt>
                <c:pt idx="182">
                  <c:v>40694</c:v>
                </c:pt>
                <c:pt idx="183">
                  <c:v>40724</c:v>
                </c:pt>
                <c:pt idx="184">
                  <c:v>40755</c:v>
                </c:pt>
                <c:pt idx="185">
                  <c:v>40786</c:v>
                </c:pt>
                <c:pt idx="186">
                  <c:v>40816</c:v>
                </c:pt>
                <c:pt idx="187">
                  <c:v>40847</c:v>
                </c:pt>
                <c:pt idx="188">
                  <c:v>40877</c:v>
                </c:pt>
                <c:pt idx="189">
                  <c:v>40908</c:v>
                </c:pt>
                <c:pt idx="190">
                  <c:v>40939</c:v>
                </c:pt>
                <c:pt idx="191">
                  <c:v>40968</c:v>
                </c:pt>
                <c:pt idx="192">
                  <c:v>40999</c:v>
                </c:pt>
                <c:pt idx="193">
                  <c:v>41029</c:v>
                </c:pt>
                <c:pt idx="194">
                  <c:v>41060</c:v>
                </c:pt>
                <c:pt idx="195">
                  <c:v>41090</c:v>
                </c:pt>
                <c:pt idx="196">
                  <c:v>41121</c:v>
                </c:pt>
                <c:pt idx="197">
                  <c:v>41152</c:v>
                </c:pt>
                <c:pt idx="198">
                  <c:v>41182</c:v>
                </c:pt>
                <c:pt idx="199">
                  <c:v>41213</c:v>
                </c:pt>
                <c:pt idx="200">
                  <c:v>41243</c:v>
                </c:pt>
                <c:pt idx="201">
                  <c:v>41274</c:v>
                </c:pt>
                <c:pt idx="202">
                  <c:v>41305</c:v>
                </c:pt>
                <c:pt idx="203">
                  <c:v>41333</c:v>
                </c:pt>
                <c:pt idx="204">
                  <c:v>41364</c:v>
                </c:pt>
                <c:pt idx="205">
                  <c:v>41394</c:v>
                </c:pt>
                <c:pt idx="206">
                  <c:v>41425</c:v>
                </c:pt>
                <c:pt idx="207">
                  <c:v>41455</c:v>
                </c:pt>
                <c:pt idx="208">
                  <c:v>41486</c:v>
                </c:pt>
                <c:pt idx="209">
                  <c:v>41517</c:v>
                </c:pt>
                <c:pt idx="210">
                  <c:v>41547</c:v>
                </c:pt>
                <c:pt idx="211">
                  <c:v>41578</c:v>
                </c:pt>
                <c:pt idx="212">
                  <c:v>41608</c:v>
                </c:pt>
                <c:pt idx="213">
                  <c:v>41639</c:v>
                </c:pt>
                <c:pt idx="214">
                  <c:v>41670</c:v>
                </c:pt>
                <c:pt idx="215">
                  <c:v>41698</c:v>
                </c:pt>
                <c:pt idx="216">
                  <c:v>41729</c:v>
                </c:pt>
                <c:pt idx="217">
                  <c:v>41759</c:v>
                </c:pt>
                <c:pt idx="218">
                  <c:v>41790</c:v>
                </c:pt>
                <c:pt idx="219">
                  <c:v>41820</c:v>
                </c:pt>
                <c:pt idx="220">
                  <c:v>41851</c:v>
                </c:pt>
                <c:pt idx="221">
                  <c:v>41882</c:v>
                </c:pt>
                <c:pt idx="222">
                  <c:v>41912</c:v>
                </c:pt>
                <c:pt idx="223">
                  <c:v>41943</c:v>
                </c:pt>
                <c:pt idx="224">
                  <c:v>41973</c:v>
                </c:pt>
                <c:pt idx="225">
                  <c:v>42004</c:v>
                </c:pt>
                <c:pt idx="226">
                  <c:v>42035</c:v>
                </c:pt>
                <c:pt idx="227">
                  <c:v>42063</c:v>
                </c:pt>
                <c:pt idx="228">
                  <c:v>42064</c:v>
                </c:pt>
                <c:pt idx="229">
                  <c:v>42124</c:v>
                </c:pt>
                <c:pt idx="230">
                  <c:v>42155</c:v>
                </c:pt>
                <c:pt idx="231">
                  <c:v>42185</c:v>
                </c:pt>
                <c:pt idx="232">
                  <c:v>42216</c:v>
                </c:pt>
                <c:pt idx="233">
                  <c:v>42247</c:v>
                </c:pt>
                <c:pt idx="234">
                  <c:v>42277</c:v>
                </c:pt>
                <c:pt idx="235">
                  <c:v>42308</c:v>
                </c:pt>
                <c:pt idx="236">
                  <c:v>42338</c:v>
                </c:pt>
                <c:pt idx="237">
                  <c:v>42369</c:v>
                </c:pt>
                <c:pt idx="238">
                  <c:v>42400</c:v>
                </c:pt>
                <c:pt idx="239">
                  <c:v>42429</c:v>
                </c:pt>
                <c:pt idx="240">
                  <c:v>42460</c:v>
                </c:pt>
                <c:pt idx="241">
                  <c:v>42490</c:v>
                </c:pt>
                <c:pt idx="242">
                  <c:v>42521</c:v>
                </c:pt>
                <c:pt idx="243">
                  <c:v>42551</c:v>
                </c:pt>
                <c:pt idx="244">
                  <c:v>42582</c:v>
                </c:pt>
                <c:pt idx="245">
                  <c:v>42613</c:v>
                </c:pt>
                <c:pt idx="246">
                  <c:v>42643</c:v>
                </c:pt>
                <c:pt idx="247">
                  <c:v>42674</c:v>
                </c:pt>
                <c:pt idx="248">
                  <c:v>42704</c:v>
                </c:pt>
                <c:pt idx="249">
                  <c:v>42735</c:v>
                </c:pt>
                <c:pt idx="250">
                  <c:v>42766</c:v>
                </c:pt>
                <c:pt idx="251">
                  <c:v>42794</c:v>
                </c:pt>
                <c:pt idx="252">
                  <c:v>42825</c:v>
                </c:pt>
                <c:pt idx="253">
                  <c:v>42855</c:v>
                </c:pt>
                <c:pt idx="254">
                  <c:v>42886</c:v>
                </c:pt>
                <c:pt idx="255">
                  <c:v>42916</c:v>
                </c:pt>
                <c:pt idx="256">
                  <c:v>42947</c:v>
                </c:pt>
                <c:pt idx="257">
                  <c:v>42978</c:v>
                </c:pt>
                <c:pt idx="258">
                  <c:v>43008</c:v>
                </c:pt>
                <c:pt idx="259">
                  <c:v>43039</c:v>
                </c:pt>
                <c:pt idx="260">
                  <c:v>43069</c:v>
                </c:pt>
                <c:pt idx="261">
                  <c:v>43100</c:v>
                </c:pt>
                <c:pt idx="262">
                  <c:v>43131</c:v>
                </c:pt>
                <c:pt idx="263">
                  <c:v>43159</c:v>
                </c:pt>
                <c:pt idx="264">
                  <c:v>43190</c:v>
                </c:pt>
                <c:pt idx="265">
                  <c:v>43220</c:v>
                </c:pt>
                <c:pt idx="266">
                  <c:v>43251</c:v>
                </c:pt>
                <c:pt idx="267">
                  <c:v>43281</c:v>
                </c:pt>
                <c:pt idx="268">
                  <c:v>43312</c:v>
                </c:pt>
                <c:pt idx="269">
                  <c:v>43343</c:v>
                </c:pt>
                <c:pt idx="270">
                  <c:v>43373</c:v>
                </c:pt>
                <c:pt idx="271">
                  <c:v>43404</c:v>
                </c:pt>
                <c:pt idx="272">
                  <c:v>43434</c:v>
                </c:pt>
                <c:pt idx="273">
                  <c:v>43465</c:v>
                </c:pt>
                <c:pt idx="274">
                  <c:v>43496</c:v>
                </c:pt>
                <c:pt idx="275">
                  <c:v>43524</c:v>
                </c:pt>
                <c:pt idx="276">
                  <c:v>43555</c:v>
                </c:pt>
                <c:pt idx="277">
                  <c:v>43585</c:v>
                </c:pt>
                <c:pt idx="278">
                  <c:v>43616</c:v>
                </c:pt>
                <c:pt idx="279">
                  <c:v>43646</c:v>
                </c:pt>
                <c:pt idx="280">
                  <c:v>43677</c:v>
                </c:pt>
                <c:pt idx="281">
                  <c:v>43708</c:v>
                </c:pt>
                <c:pt idx="282">
                  <c:v>43738</c:v>
                </c:pt>
                <c:pt idx="283">
                  <c:v>43769</c:v>
                </c:pt>
                <c:pt idx="284">
                  <c:v>43799</c:v>
                </c:pt>
                <c:pt idx="285">
                  <c:v>43830</c:v>
                </c:pt>
                <c:pt idx="286">
                  <c:v>43861</c:v>
                </c:pt>
                <c:pt idx="287">
                  <c:v>43890</c:v>
                </c:pt>
                <c:pt idx="288">
                  <c:v>43921</c:v>
                </c:pt>
                <c:pt idx="289">
                  <c:v>43951</c:v>
                </c:pt>
                <c:pt idx="290">
                  <c:v>43982</c:v>
                </c:pt>
                <c:pt idx="291">
                  <c:v>44012</c:v>
                </c:pt>
                <c:pt idx="292">
                  <c:v>44043</c:v>
                </c:pt>
                <c:pt idx="293">
                  <c:v>44074</c:v>
                </c:pt>
                <c:pt idx="294">
                  <c:v>44104</c:v>
                </c:pt>
                <c:pt idx="295">
                  <c:v>44135</c:v>
                </c:pt>
                <c:pt idx="296">
                  <c:v>44165</c:v>
                </c:pt>
                <c:pt idx="297">
                  <c:v>44196</c:v>
                </c:pt>
                <c:pt idx="298">
                  <c:v>44227</c:v>
                </c:pt>
                <c:pt idx="299">
                  <c:v>44255</c:v>
                </c:pt>
                <c:pt idx="300">
                  <c:v>44286</c:v>
                </c:pt>
                <c:pt idx="301">
                  <c:v>44316</c:v>
                </c:pt>
                <c:pt idx="302">
                  <c:v>44347</c:v>
                </c:pt>
                <c:pt idx="303">
                  <c:v>44377</c:v>
                </c:pt>
                <c:pt idx="304">
                  <c:v>44408</c:v>
                </c:pt>
                <c:pt idx="305">
                  <c:v>44439</c:v>
                </c:pt>
                <c:pt idx="306">
                  <c:v>44469</c:v>
                </c:pt>
                <c:pt idx="307">
                  <c:v>44500</c:v>
                </c:pt>
                <c:pt idx="308">
                  <c:v>44530</c:v>
                </c:pt>
                <c:pt idx="309">
                  <c:v>44561</c:v>
                </c:pt>
                <c:pt idx="310">
                  <c:v>44592</c:v>
                </c:pt>
                <c:pt idx="311">
                  <c:v>44620</c:v>
                </c:pt>
                <c:pt idx="312">
                  <c:v>44651</c:v>
                </c:pt>
                <c:pt idx="313">
                  <c:v>44681</c:v>
                </c:pt>
                <c:pt idx="314">
                  <c:v>44712</c:v>
                </c:pt>
                <c:pt idx="315">
                  <c:v>44742</c:v>
                </c:pt>
                <c:pt idx="316">
                  <c:v>44773</c:v>
                </c:pt>
                <c:pt idx="317">
                  <c:v>44804</c:v>
                </c:pt>
                <c:pt idx="318">
                  <c:v>44834</c:v>
                </c:pt>
                <c:pt idx="319">
                  <c:v>44865</c:v>
                </c:pt>
              </c:numCache>
            </c:numRef>
          </c:cat>
          <c:val>
            <c:numRef>
              <c:f>raw!$E$11:$E$500</c:f>
              <c:numCache>
                <c:formatCode>0.00</c:formatCode>
                <c:ptCount val="490"/>
                <c:pt idx="0" formatCode="General">
                  <c:v>100</c:v>
                </c:pt>
                <c:pt idx="1">
                  <c:v>104.21040700972387</c:v>
                </c:pt>
                <c:pt idx="2">
                  <c:v>101.03237888356686</c:v>
                </c:pt>
                <c:pt idx="3">
                  <c:v>101.29844184838981</c:v>
                </c:pt>
                <c:pt idx="4">
                  <c:v>97.308969447967698</c:v>
                </c:pt>
                <c:pt idx="5">
                  <c:v>98.137890799512178</c:v>
                </c:pt>
                <c:pt idx="6">
                  <c:v>101.73481919119629</c:v>
                </c:pt>
                <c:pt idx="7">
                  <c:v>98.064805277773758</c:v>
                </c:pt>
                <c:pt idx="8">
                  <c:v>100.11619539580063</c:v>
                </c:pt>
                <c:pt idx="9">
                  <c:v>96.878895272164769</c:v>
                </c:pt>
                <c:pt idx="10">
                  <c:v>105.19136628882012</c:v>
                </c:pt>
                <c:pt idx="11">
                  <c:v>104.7306104416576</c:v>
                </c:pt>
                <c:pt idx="12">
                  <c:v>101.97918283330083</c:v>
                </c:pt>
                <c:pt idx="13">
                  <c:v>106.51279647970706</c:v>
                </c:pt>
                <c:pt idx="14">
                  <c:v>111.94510607212914</c:v>
                </c:pt>
                <c:pt idx="15">
                  <c:v>115.67134898546165</c:v>
                </c:pt>
                <c:pt idx="16">
                  <c:v>122.88159560151506</c:v>
                </c:pt>
                <c:pt idx="17">
                  <c:v>115.36576172529534</c:v>
                </c:pt>
                <c:pt idx="18">
                  <c:v>121.99919205345144</c:v>
                </c:pt>
                <c:pt idx="19">
                  <c:v>110.5276748956105</c:v>
                </c:pt>
                <c:pt idx="20">
                  <c:v>111.69165971482302</c:v>
                </c:pt>
                <c:pt idx="21">
                  <c:v>115.86722214940218</c:v>
                </c:pt>
                <c:pt idx="22">
                  <c:v>119.17204885895804</c:v>
                </c:pt>
                <c:pt idx="23">
                  <c:v>126.43568534225089</c:v>
                </c:pt>
                <c:pt idx="24">
                  <c:v>129.61865496134618</c:v>
                </c:pt>
                <c:pt idx="25">
                  <c:v>131.03726218583853</c:v>
                </c:pt>
                <c:pt idx="26">
                  <c:v>131.80515657875111</c:v>
                </c:pt>
                <c:pt idx="27">
                  <c:v>131.14055089635292</c:v>
                </c:pt>
                <c:pt idx="28">
                  <c:v>133.79025243915751</c:v>
                </c:pt>
                <c:pt idx="29">
                  <c:v>112.39966483149873</c:v>
                </c:pt>
                <c:pt idx="30">
                  <c:v>112.9559622192094</c:v>
                </c:pt>
                <c:pt idx="31">
                  <c:v>125.09037324038022</c:v>
                </c:pt>
                <c:pt idx="32">
                  <c:v>134.6222728757842</c:v>
                </c:pt>
                <c:pt idx="33">
                  <c:v>139.75583683229226</c:v>
                </c:pt>
                <c:pt idx="34">
                  <c:v>143.96866186652218</c:v>
                </c:pt>
                <c:pt idx="35">
                  <c:v>143.88115724129176</c:v>
                </c:pt>
                <c:pt idx="36">
                  <c:v>149.40585358673164</c:v>
                </c:pt>
                <c:pt idx="37">
                  <c:v>156.43575595608141</c:v>
                </c:pt>
                <c:pt idx="38">
                  <c:v>151.68100686910435</c:v>
                </c:pt>
                <c:pt idx="39">
                  <c:v>161.9099990293397</c:v>
                </c:pt>
                <c:pt idx="40">
                  <c:v>157.12826499084787</c:v>
                </c:pt>
                <c:pt idx="41">
                  <c:v>157.88624323844951</c:v>
                </c:pt>
                <c:pt idx="42">
                  <c:v>152.53402694968267</c:v>
                </c:pt>
                <c:pt idx="43">
                  <c:v>160.82772565819678</c:v>
                </c:pt>
                <c:pt idx="44">
                  <c:v>170.72784923971156</c:v>
                </c:pt>
                <c:pt idx="45">
                  <c:v>182.80982333088846</c:v>
                </c:pt>
                <c:pt idx="46">
                  <c:v>172.05013722996702</c:v>
                </c:pt>
                <c:pt idx="47">
                  <c:v>177.23505698206787</c:v>
                </c:pt>
                <c:pt idx="48">
                  <c:v>187.03594144129559</c:v>
                </c:pt>
                <c:pt idx="49">
                  <c:v>182.16316156480494</c:v>
                </c:pt>
                <c:pt idx="50">
                  <c:v>185.91198469162433</c:v>
                </c:pt>
                <c:pt idx="51">
                  <c:v>189.76834214002145</c:v>
                </c:pt>
                <c:pt idx="52">
                  <c:v>186.12580057390059</c:v>
                </c:pt>
                <c:pt idx="53">
                  <c:v>197.59231827724727</c:v>
                </c:pt>
                <c:pt idx="54">
                  <c:v>183.74445787376126</c:v>
                </c:pt>
                <c:pt idx="55">
                  <c:v>183.34597845898676</c:v>
                </c:pt>
                <c:pt idx="56">
                  <c:v>176.15260842804511</c:v>
                </c:pt>
                <c:pt idx="57">
                  <c:v>169.89253775643607</c:v>
                </c:pt>
                <c:pt idx="58">
                  <c:v>178.08867433881554</c:v>
                </c:pt>
                <c:pt idx="59">
                  <c:v>165.22993040051156</c:v>
                </c:pt>
                <c:pt idx="60">
                  <c:v>156.33935271915701</c:v>
                </c:pt>
                <c:pt idx="61">
                  <c:v>166.66048599597292</c:v>
                </c:pt>
                <c:pt idx="62">
                  <c:v>165.98665393146317</c:v>
                </c:pt>
                <c:pt idx="63">
                  <c:v>162.5262931321185</c:v>
                </c:pt>
                <c:pt idx="64">
                  <c:v>157.85458288411155</c:v>
                </c:pt>
                <c:pt idx="65">
                  <c:v>147.97287818720193</c:v>
                </c:pt>
                <c:pt idx="66">
                  <c:v>132.69906294075207</c:v>
                </c:pt>
                <c:pt idx="67">
                  <c:v>136.95520610071407</c:v>
                </c:pt>
                <c:pt idx="68">
                  <c:v>148.25118934530036</c:v>
                </c:pt>
                <c:pt idx="69">
                  <c:v>146.62936127569859</c:v>
                </c:pt>
                <c:pt idx="70">
                  <c:v>146.8581612188654</c:v>
                </c:pt>
                <c:pt idx="71">
                  <c:v>145.66615614977297</c:v>
                </c:pt>
                <c:pt idx="72">
                  <c:v>151.21948559529358</c:v>
                </c:pt>
                <c:pt idx="73">
                  <c:v>143.08347573811955</c:v>
                </c:pt>
                <c:pt idx="74">
                  <c:v>142.70687754280149</c:v>
                </c:pt>
                <c:pt idx="75">
                  <c:v>128.62796517524097</c:v>
                </c:pt>
                <c:pt idx="76">
                  <c:v>114.98121654913672</c:v>
                </c:pt>
                <c:pt idx="77">
                  <c:v>116.41839348943385</c:v>
                </c:pt>
                <c:pt idx="78">
                  <c:v>101.95617137813012</c:v>
                </c:pt>
                <c:pt idx="79">
                  <c:v>110.03041142915521</c:v>
                </c:pt>
                <c:pt idx="80">
                  <c:v>116.6828939097548</c:v>
                </c:pt>
                <c:pt idx="81">
                  <c:v>107.40070865164134</c:v>
                </c:pt>
                <c:pt idx="82">
                  <c:v>102.12075065955311</c:v>
                </c:pt>
                <c:pt idx="83">
                  <c:v>104.70143213293447</c:v>
                </c:pt>
                <c:pt idx="84">
                  <c:v>103.93930014823283</c:v>
                </c:pt>
                <c:pt idx="85">
                  <c:v>111.97388077450725</c:v>
                </c:pt>
                <c:pt idx="86">
                  <c:v>115.59088487557803</c:v>
                </c:pt>
                <c:pt idx="87">
                  <c:v>116.96922625947269</c:v>
                </c:pt>
                <c:pt idx="88">
                  <c:v>122.73936388723423</c:v>
                </c:pt>
                <c:pt idx="89">
                  <c:v>127.69505046063469</c:v>
                </c:pt>
                <c:pt idx="90">
                  <c:v>122.34937704342148</c:v>
                </c:pt>
                <c:pt idx="91">
                  <c:v>127.05283499464957</c:v>
                </c:pt>
                <c:pt idx="92">
                  <c:v>127.28338509835289</c:v>
                </c:pt>
                <c:pt idx="93">
                  <c:v>130.03743055236635</c:v>
                </c:pt>
                <c:pt idx="94">
                  <c:v>130.08018925025965</c:v>
                </c:pt>
                <c:pt idx="95">
                  <c:v>129.94137257261505</c:v>
                </c:pt>
                <c:pt idx="96">
                  <c:v>130.51109377195547</c:v>
                </c:pt>
                <c:pt idx="97">
                  <c:v>132.15329779393809</c:v>
                </c:pt>
                <c:pt idx="98">
                  <c:v>128.90065921465666</c:v>
                </c:pt>
                <c:pt idx="99">
                  <c:v>132.95237025203414</c:v>
                </c:pt>
                <c:pt idx="100">
                  <c:v>128.38477030523998</c:v>
                </c:pt>
                <c:pt idx="101">
                  <c:v>130.61875573072561</c:v>
                </c:pt>
                <c:pt idx="102">
                  <c:v>132.58871631263136</c:v>
                </c:pt>
                <c:pt idx="103">
                  <c:v>134.1741028080034</c:v>
                </c:pt>
                <c:pt idx="104">
                  <c:v>135.6801949056611</c:v>
                </c:pt>
                <c:pt idx="105">
                  <c:v>140.35173845298812</c:v>
                </c:pt>
                <c:pt idx="106">
                  <c:v>139.86614684385276</c:v>
                </c:pt>
                <c:pt idx="107">
                  <c:v>141.80020898858996</c:v>
                </c:pt>
                <c:pt idx="108">
                  <c:v>141.38269666254936</c:v>
                </c:pt>
                <c:pt idx="109">
                  <c:v>136.88933413881176</c:v>
                </c:pt>
                <c:pt idx="110">
                  <c:v>146.23509526227099</c:v>
                </c:pt>
                <c:pt idx="111">
                  <c:v>150.26115963404331</c:v>
                </c:pt>
                <c:pt idx="112">
                  <c:v>158.67628993988643</c:v>
                </c:pt>
                <c:pt idx="113">
                  <c:v>156.57840886148713</c:v>
                </c:pt>
                <c:pt idx="114">
                  <c:v>164.02022579814786</c:v>
                </c:pt>
                <c:pt idx="115">
                  <c:v>159.52837492781603</c:v>
                </c:pt>
                <c:pt idx="116">
                  <c:v>169.22931716374151</c:v>
                </c:pt>
                <c:pt idx="117">
                  <c:v>174.81352583412342</c:v>
                </c:pt>
                <c:pt idx="118">
                  <c:v>177.20302352483193</c:v>
                </c:pt>
                <c:pt idx="119">
                  <c:v>179.65119747903367</c:v>
                </c:pt>
                <c:pt idx="120">
                  <c:v>185.27513255673514</c:v>
                </c:pt>
                <c:pt idx="121">
                  <c:v>182.7781961624359</c:v>
                </c:pt>
                <c:pt idx="122">
                  <c:v>170.68962395559402</c:v>
                </c:pt>
                <c:pt idx="123">
                  <c:v>172.69125451659667</c:v>
                </c:pt>
                <c:pt idx="124">
                  <c:v>172.2817564243249</c:v>
                </c:pt>
                <c:pt idx="125">
                  <c:v>173.57332448464891</c:v>
                </c:pt>
                <c:pt idx="126">
                  <c:v>178.86074859344447</c:v>
                </c:pt>
                <c:pt idx="127">
                  <c:v>181.78040564101408</c:v>
                </c:pt>
                <c:pt idx="128">
                  <c:v>181.32357301930577</c:v>
                </c:pt>
                <c:pt idx="129">
                  <c:v>186.35301042723793</c:v>
                </c:pt>
                <c:pt idx="130">
                  <c:v>188.2215175876801</c:v>
                </c:pt>
                <c:pt idx="131">
                  <c:v>187.08038738390135</c:v>
                </c:pt>
                <c:pt idx="132">
                  <c:v>190.75650600258879</c:v>
                </c:pt>
                <c:pt idx="133">
                  <c:v>195.47460767891909</c:v>
                </c:pt>
                <c:pt idx="134">
                  <c:v>203.7015552551502</c:v>
                </c:pt>
                <c:pt idx="135">
                  <c:v>200.31416324470067</c:v>
                </c:pt>
                <c:pt idx="136">
                  <c:v>194.80368002439826</c:v>
                </c:pt>
                <c:pt idx="137">
                  <c:v>195.79276430781707</c:v>
                </c:pt>
                <c:pt idx="138">
                  <c:v>204.30895598533738</c:v>
                </c:pt>
                <c:pt idx="139">
                  <c:v>208.23337568882627</c:v>
                </c:pt>
                <c:pt idx="140">
                  <c:v>201.16779596535164</c:v>
                </c:pt>
                <c:pt idx="141">
                  <c:v>205.54426333378709</c:v>
                </c:pt>
                <c:pt idx="142">
                  <c:v>189.00432071055192</c:v>
                </c:pt>
                <c:pt idx="143">
                  <c:v>189.51086922236649</c:v>
                </c:pt>
                <c:pt idx="144">
                  <c:v>186.97468231278179</c:v>
                </c:pt>
                <c:pt idx="145">
                  <c:v>198.23690220620563</c:v>
                </c:pt>
                <c:pt idx="146">
                  <c:v>202.00343660210771</c:v>
                </c:pt>
                <c:pt idx="147">
                  <c:v>184.18307144359127</c:v>
                </c:pt>
                <c:pt idx="148">
                  <c:v>180.29732703264992</c:v>
                </c:pt>
                <c:pt idx="149">
                  <c:v>191.67760328912263</c:v>
                </c:pt>
                <c:pt idx="150">
                  <c:v>171.70588294123556</c:v>
                </c:pt>
                <c:pt idx="151">
                  <c:v>151.93289161680238</c:v>
                </c:pt>
                <c:pt idx="152">
                  <c:v>149.57349807922222</c:v>
                </c:pt>
                <c:pt idx="153">
                  <c:v>165.4974357951406</c:v>
                </c:pt>
                <c:pt idx="154">
                  <c:v>150.99489956430907</c:v>
                </c:pt>
                <c:pt idx="155">
                  <c:v>137.86624221432615</c:v>
                </c:pt>
                <c:pt idx="156">
                  <c:v>148.46609363149656</c:v>
                </c:pt>
                <c:pt idx="157">
                  <c:v>160.69397381848611</c:v>
                </c:pt>
                <c:pt idx="158">
                  <c:v>162.55516069748631</c:v>
                </c:pt>
                <c:pt idx="159">
                  <c:v>158.3400614130652</c:v>
                </c:pt>
                <c:pt idx="160">
                  <c:v>171.19015639734283</c:v>
                </c:pt>
                <c:pt idx="161">
                  <c:v>180.43672760739102</c:v>
                </c:pt>
                <c:pt idx="162">
                  <c:v>192.36618985398863</c:v>
                </c:pt>
                <c:pt idx="163">
                  <c:v>183.80323665913161</c:v>
                </c:pt>
                <c:pt idx="164">
                  <c:v>192.29048269961774</c:v>
                </c:pt>
                <c:pt idx="165">
                  <c:v>199.51876705259735</c:v>
                </c:pt>
                <c:pt idx="166">
                  <c:v>192.41827194328593</c:v>
                </c:pt>
                <c:pt idx="167">
                  <c:v>205.18666095925354</c:v>
                </c:pt>
                <c:pt idx="168">
                  <c:v>219.27953313546874</c:v>
                </c:pt>
                <c:pt idx="169">
                  <c:v>217.78921640245397</c:v>
                </c:pt>
                <c:pt idx="170">
                  <c:v>207.88366044549809</c:v>
                </c:pt>
                <c:pt idx="171">
                  <c:v>195.7392905900609</c:v>
                </c:pt>
                <c:pt idx="172">
                  <c:v>202.26661408389856</c:v>
                </c:pt>
                <c:pt idx="173">
                  <c:v>198.98583433581757</c:v>
                </c:pt>
                <c:pt idx="174">
                  <c:v>212.70920354972461</c:v>
                </c:pt>
                <c:pt idx="175">
                  <c:v>217.26862318362637</c:v>
                </c:pt>
                <c:pt idx="176">
                  <c:v>218.1813828485113</c:v>
                </c:pt>
                <c:pt idx="177">
                  <c:v>232.97936235789888</c:v>
                </c:pt>
                <c:pt idx="178">
                  <c:v>231.35594589536655</c:v>
                </c:pt>
                <c:pt idx="179">
                  <c:v>234.56346496568531</c:v>
                </c:pt>
                <c:pt idx="180">
                  <c:v>237.86976869023329</c:v>
                </c:pt>
                <c:pt idx="181">
                  <c:v>238.0849381905789</c:v>
                </c:pt>
                <c:pt idx="182">
                  <c:v>236.30519270203564</c:v>
                </c:pt>
                <c:pt idx="183">
                  <c:v>238.54444506865423</c:v>
                </c:pt>
                <c:pt idx="184">
                  <c:v>229.58206903582828</c:v>
                </c:pt>
                <c:pt idx="185">
                  <c:v>214.63901189561102</c:v>
                </c:pt>
                <c:pt idx="186">
                  <c:v>203.24503511795939</c:v>
                </c:pt>
                <c:pt idx="187">
                  <c:v>217.22497279648499</c:v>
                </c:pt>
                <c:pt idx="188">
                  <c:v>216.3674530198777</c:v>
                </c:pt>
                <c:pt idx="189">
                  <c:v>218.60363739934434</c:v>
                </c:pt>
                <c:pt idx="190">
                  <c:v>227.86247668293393</c:v>
                </c:pt>
                <c:pt idx="191">
                  <c:v>236.53607341837829</c:v>
                </c:pt>
                <c:pt idx="192">
                  <c:v>238.17733563571886</c:v>
                </c:pt>
                <c:pt idx="193">
                  <c:v>231.82058502040863</c:v>
                </c:pt>
                <c:pt idx="194">
                  <c:v>222.86871288293986</c:v>
                </c:pt>
                <c:pt idx="195">
                  <c:v>229.61463849134793</c:v>
                </c:pt>
                <c:pt idx="196">
                  <c:v>233.07835175333307</c:v>
                </c:pt>
                <c:pt idx="197">
                  <c:v>235.03022161817583</c:v>
                </c:pt>
                <c:pt idx="198">
                  <c:v>238.55959018315528</c:v>
                </c:pt>
                <c:pt idx="199">
                  <c:v>237.58200093736016</c:v>
                </c:pt>
                <c:pt idx="200">
                  <c:v>241.99932757496595</c:v>
                </c:pt>
                <c:pt idx="201">
                  <c:v>244.11799976493225</c:v>
                </c:pt>
                <c:pt idx="202">
                  <c:v>261.88652484894561</c:v>
                </c:pt>
                <c:pt idx="203">
                  <c:v>273.61030807075701</c:v>
                </c:pt>
                <c:pt idx="204">
                  <c:v>278.65476510475668</c:v>
                </c:pt>
                <c:pt idx="205">
                  <c:v>279.80861272409021</c:v>
                </c:pt>
                <c:pt idx="206">
                  <c:v>286.70040365382857</c:v>
                </c:pt>
                <c:pt idx="207">
                  <c:v>278.32748372108352</c:v>
                </c:pt>
                <c:pt idx="208">
                  <c:v>291.86473125740048</c:v>
                </c:pt>
                <c:pt idx="209">
                  <c:v>280.20240096077714</c:v>
                </c:pt>
                <c:pt idx="210">
                  <c:v>281.58698784109333</c:v>
                </c:pt>
                <c:pt idx="211">
                  <c:v>295.30179338852548</c:v>
                </c:pt>
                <c:pt idx="212">
                  <c:v>293.85659742803352</c:v>
                </c:pt>
                <c:pt idx="213">
                  <c:v>295.74081660523416</c:v>
                </c:pt>
                <c:pt idx="214">
                  <c:v>286.19222653783714</c:v>
                </c:pt>
                <c:pt idx="215">
                  <c:v>294.35454771138052</c:v>
                </c:pt>
                <c:pt idx="216">
                  <c:v>297.36679628332695</c:v>
                </c:pt>
                <c:pt idx="217">
                  <c:v>296.5442176487511</c:v>
                </c:pt>
                <c:pt idx="218">
                  <c:v>305.1355264561567</c:v>
                </c:pt>
                <c:pt idx="219">
                  <c:v>305.10245314922798</c:v>
                </c:pt>
                <c:pt idx="220">
                  <c:v>305.33983980443651</c:v>
                </c:pt>
                <c:pt idx="221">
                  <c:v>317.39159058458489</c:v>
                </c:pt>
                <c:pt idx="222">
                  <c:v>314.72694809267284</c:v>
                </c:pt>
                <c:pt idx="223">
                  <c:v>321.23395957076355</c:v>
                </c:pt>
                <c:pt idx="224">
                  <c:v>333.79650938853001</c:v>
                </c:pt>
                <c:pt idx="225">
                  <c:v>328.92024904456139</c:v>
                </c:pt>
                <c:pt idx="226">
                  <c:v>336.21803287777158</c:v>
                </c:pt>
                <c:pt idx="227">
                  <c:v>345.09525503292463</c:v>
                </c:pt>
                <c:pt idx="228">
                  <c:v>353.90257306069265</c:v>
                </c:pt>
                <c:pt idx="229">
                  <c:v>351.95353950987715</c:v>
                </c:pt>
                <c:pt idx="230">
                  <c:v>354.2599696234563</c:v>
                </c:pt>
                <c:pt idx="231">
                  <c:v>335.78958106103943</c:v>
                </c:pt>
                <c:pt idx="232">
                  <c:v>341.47625565510583</c:v>
                </c:pt>
                <c:pt idx="233">
                  <c:v>322.86385785479126</c:v>
                </c:pt>
                <c:pt idx="234">
                  <c:v>316.0835283691809</c:v>
                </c:pt>
                <c:pt idx="235">
                  <c:v>334.43107202142767</c:v>
                </c:pt>
                <c:pt idx="236">
                  <c:v>340.43774736194405</c:v>
                </c:pt>
                <c:pt idx="237">
                  <c:v>341.5650766359467</c:v>
                </c:pt>
                <c:pt idx="238">
                  <c:v>333.58499628374932</c:v>
                </c:pt>
                <c:pt idx="239">
                  <c:v>337.40037351611602</c:v>
                </c:pt>
                <c:pt idx="240">
                  <c:v>351.6101395465418</c:v>
                </c:pt>
                <c:pt idx="241">
                  <c:v>350.2807229263708</c:v>
                </c:pt>
                <c:pt idx="242">
                  <c:v>353.28677303991907</c:v>
                </c:pt>
                <c:pt idx="243">
                  <c:v>382.53253280458034</c:v>
                </c:pt>
                <c:pt idx="244">
                  <c:v>401.86522894909109</c:v>
                </c:pt>
                <c:pt idx="245">
                  <c:v>408.95615948811962</c:v>
                </c:pt>
                <c:pt idx="246">
                  <c:v>415.03100432049973</c:v>
                </c:pt>
                <c:pt idx="247">
                  <c:v>434.19379596627419</c:v>
                </c:pt>
                <c:pt idx="248">
                  <c:v>427.71863480966357</c:v>
                </c:pt>
                <c:pt idx="249">
                  <c:v>441.99413240491799</c:v>
                </c:pt>
                <c:pt idx="250">
                  <c:v>446.070599350826</c:v>
                </c:pt>
                <c:pt idx="251">
                  <c:v>463.833257740222</c:v>
                </c:pt>
                <c:pt idx="252">
                  <c:v>467.54268794567201</c:v>
                </c:pt>
                <c:pt idx="253">
                  <c:v>459.14922596343087</c:v>
                </c:pt>
                <c:pt idx="254">
                  <c:v>470.70921442188842</c:v>
                </c:pt>
                <c:pt idx="255">
                  <c:v>470.1318835818646</c:v>
                </c:pt>
                <c:pt idx="256">
                  <c:v>476.32666912952425</c:v>
                </c:pt>
                <c:pt idx="257">
                  <c:v>489.45315004178372</c:v>
                </c:pt>
                <c:pt idx="258">
                  <c:v>479.3359601390913</c:v>
                </c:pt>
                <c:pt idx="259">
                  <c:v>494.44933745288319</c:v>
                </c:pt>
                <c:pt idx="260">
                  <c:v>494.67145412818138</c:v>
                </c:pt>
                <c:pt idx="261">
                  <c:v>503.14671387296954</c:v>
                </c:pt>
                <c:pt idx="262">
                  <c:v>505.73229705595122</c:v>
                </c:pt>
                <c:pt idx="263">
                  <c:v>500.23803637916694</c:v>
                </c:pt>
                <c:pt idx="264">
                  <c:v>481.11619793333847</c:v>
                </c:pt>
                <c:pt idx="265">
                  <c:v>494.96071710335764</c:v>
                </c:pt>
                <c:pt idx="266">
                  <c:v>513.41282813470082</c:v>
                </c:pt>
                <c:pt idx="267">
                  <c:v>514.86119286062853</c:v>
                </c:pt>
                <c:pt idx="268">
                  <c:v>533.99448777067664</c:v>
                </c:pt>
                <c:pt idx="269">
                  <c:v>543.40145065347565</c:v>
                </c:pt>
                <c:pt idx="270">
                  <c:v>544.18656778513378</c:v>
                </c:pt>
                <c:pt idx="271">
                  <c:v>513.89336126595674</c:v>
                </c:pt>
                <c:pt idx="272">
                  <c:v>522.40613385207769</c:v>
                </c:pt>
                <c:pt idx="273">
                  <c:v>486.69558793240145</c:v>
                </c:pt>
                <c:pt idx="274">
                  <c:v>508.57051870525498</c:v>
                </c:pt>
                <c:pt idx="275">
                  <c:v>516.64541745286579</c:v>
                </c:pt>
                <c:pt idx="276">
                  <c:v>534.33276193944903</c:v>
                </c:pt>
                <c:pt idx="277">
                  <c:v>552.40560129851315</c:v>
                </c:pt>
                <c:pt idx="278">
                  <c:v>537.9430489347493</c:v>
                </c:pt>
                <c:pt idx="279">
                  <c:v>567.87512733595179</c:v>
                </c:pt>
                <c:pt idx="280">
                  <c:v>592.18368376612011</c:v>
                </c:pt>
                <c:pt idx="281">
                  <c:v>581.54376288477567</c:v>
                </c:pt>
                <c:pt idx="282">
                  <c:v>587.08049988066</c:v>
                </c:pt>
                <c:pt idx="283">
                  <c:v>574.53541863988426</c:v>
                </c:pt>
                <c:pt idx="284">
                  <c:v>589.03493525506451</c:v>
                </c:pt>
                <c:pt idx="285">
                  <c:v>595.63054412653946</c:v>
                </c:pt>
                <c:pt idx="286">
                  <c:v>592.12786848695748</c:v>
                </c:pt>
                <c:pt idx="287">
                  <c:v>561.96647955375215</c:v>
                </c:pt>
                <c:pt idx="288">
                  <c:v>501.09032947908423</c:v>
                </c:pt>
                <c:pt idx="289">
                  <c:v>545.60854487319341</c:v>
                </c:pt>
                <c:pt idx="290">
                  <c:v>581.21521296078765</c:v>
                </c:pt>
                <c:pt idx="291">
                  <c:v>600.37325785715007</c:v>
                </c:pt>
                <c:pt idx="292">
                  <c:v>595.31388428320963</c:v>
                </c:pt>
                <c:pt idx="293">
                  <c:v>619.49136299865415</c:v>
                </c:pt>
                <c:pt idx="294">
                  <c:v>621.15423977158309</c:v>
                </c:pt>
                <c:pt idx="295">
                  <c:v>606.11995508475729</c:v>
                </c:pt>
                <c:pt idx="296">
                  <c:v>659.60507407845796</c:v>
                </c:pt>
                <c:pt idx="297">
                  <c:v>674.35943717679459</c:v>
                </c:pt>
                <c:pt idx="298">
                  <c:v>668.39883266681363</c:v>
                </c:pt>
                <c:pt idx="299">
                  <c:v>671.89672288780105</c:v>
                </c:pt>
                <c:pt idx="300">
                  <c:v>699.40540996220182</c:v>
                </c:pt>
                <c:pt idx="301">
                  <c:v>727.71490390016402</c:v>
                </c:pt>
                <c:pt idx="302">
                  <c:v>720.20470629214697</c:v>
                </c:pt>
                <c:pt idx="303">
                  <c:v>751.10085934489223</c:v>
                </c:pt>
                <c:pt idx="304">
                  <c:v>751.64329453657308</c:v>
                </c:pt>
                <c:pt idx="305">
                  <c:v>778.58774684690775</c:v>
                </c:pt>
                <c:pt idx="306">
                  <c:v>762.21503018875364</c:v>
                </c:pt>
                <c:pt idx="307">
                  <c:v>788.22151724758862</c:v>
                </c:pt>
                <c:pt idx="308">
                  <c:v>797.25265459694594</c:v>
                </c:pt>
                <c:pt idx="309">
                  <c:v>810.14074753830857</c:v>
                </c:pt>
                <c:pt idx="310">
                  <c:v>777.8509421309617</c:v>
                </c:pt>
                <c:pt idx="311">
                  <c:v>757.94334843020988</c:v>
                </c:pt>
                <c:pt idx="312">
                  <c:v>789.56932462117811</c:v>
                </c:pt>
                <c:pt idx="313">
                  <c:v>762.06644465854879</c:v>
                </c:pt>
                <c:pt idx="314">
                  <c:v>760.58599492188034</c:v>
                </c:pt>
                <c:pt idx="315">
                  <c:v>723.09452132042372</c:v>
                </c:pt>
                <c:pt idx="316">
                  <c:v>772.28535793964022</c:v>
                </c:pt>
                <c:pt idx="317">
                  <c:v>778.24038973677682</c:v>
                </c:pt>
                <c:pt idx="318">
                  <c:v>733.90374725904303</c:v>
                </c:pt>
                <c:pt idx="319">
                  <c:v>754.6854652448601</c:v>
                </c:pt>
              </c:numCache>
            </c:numRef>
          </c:val>
          <c:smooth val="0"/>
          <c:extLst>
            <c:ext xmlns:c16="http://schemas.microsoft.com/office/drawing/2014/chart" uri="{C3380CC4-5D6E-409C-BE32-E72D297353CC}">
              <c16:uniqueId val="{00000001-9832-4307-B99E-CF69E847215F}"/>
            </c:ext>
          </c:extLst>
        </c:ser>
        <c:ser>
          <c:idx val="2"/>
          <c:order val="3"/>
          <c:tx>
            <c:strRef>
              <c:f>raw!$D$10</c:f>
              <c:strCache>
                <c:ptCount val="1"/>
                <c:pt idx="0">
                  <c:v>IA Sector Average</c:v>
                </c:pt>
              </c:strCache>
            </c:strRef>
          </c:tx>
          <c:marker>
            <c:symbol val="none"/>
          </c:marker>
          <c:cat>
            <c:numRef>
              <c:f>raw!$A$11:$A$500</c:f>
              <c:numCache>
                <c:formatCode>m/d/yyyy</c:formatCode>
                <c:ptCount val="490"/>
                <c:pt idx="0">
                  <c:v>35155</c:v>
                </c:pt>
                <c:pt idx="1">
                  <c:v>35185</c:v>
                </c:pt>
                <c:pt idx="2">
                  <c:v>35216</c:v>
                </c:pt>
                <c:pt idx="3">
                  <c:v>35246</c:v>
                </c:pt>
                <c:pt idx="4">
                  <c:v>35277</c:v>
                </c:pt>
                <c:pt idx="5">
                  <c:v>35308</c:v>
                </c:pt>
                <c:pt idx="6">
                  <c:v>35338</c:v>
                </c:pt>
                <c:pt idx="7">
                  <c:v>35369</c:v>
                </c:pt>
                <c:pt idx="8">
                  <c:v>35399</c:v>
                </c:pt>
                <c:pt idx="9">
                  <c:v>35430</c:v>
                </c:pt>
                <c:pt idx="10">
                  <c:v>35461</c:v>
                </c:pt>
                <c:pt idx="11">
                  <c:v>35489</c:v>
                </c:pt>
                <c:pt idx="12">
                  <c:v>35520</c:v>
                </c:pt>
                <c:pt idx="13">
                  <c:v>35550</c:v>
                </c:pt>
                <c:pt idx="14">
                  <c:v>35581</c:v>
                </c:pt>
                <c:pt idx="15">
                  <c:v>35611</c:v>
                </c:pt>
                <c:pt idx="16">
                  <c:v>35642</c:v>
                </c:pt>
                <c:pt idx="17">
                  <c:v>35673</c:v>
                </c:pt>
                <c:pt idx="18">
                  <c:v>35703</c:v>
                </c:pt>
                <c:pt idx="19">
                  <c:v>35734</c:v>
                </c:pt>
                <c:pt idx="20">
                  <c:v>35764</c:v>
                </c:pt>
                <c:pt idx="21">
                  <c:v>35795</c:v>
                </c:pt>
                <c:pt idx="22">
                  <c:v>35826</c:v>
                </c:pt>
                <c:pt idx="23">
                  <c:v>35854</c:v>
                </c:pt>
                <c:pt idx="24">
                  <c:v>35885</c:v>
                </c:pt>
                <c:pt idx="25">
                  <c:v>35915</c:v>
                </c:pt>
                <c:pt idx="26">
                  <c:v>35946</c:v>
                </c:pt>
                <c:pt idx="27">
                  <c:v>35976</c:v>
                </c:pt>
                <c:pt idx="28">
                  <c:v>36007</c:v>
                </c:pt>
                <c:pt idx="29">
                  <c:v>36038</c:v>
                </c:pt>
                <c:pt idx="30">
                  <c:v>36068</c:v>
                </c:pt>
                <c:pt idx="31">
                  <c:v>36099</c:v>
                </c:pt>
                <c:pt idx="32">
                  <c:v>36129</c:v>
                </c:pt>
                <c:pt idx="33">
                  <c:v>36160</c:v>
                </c:pt>
                <c:pt idx="34">
                  <c:v>36191</c:v>
                </c:pt>
                <c:pt idx="35">
                  <c:v>36219</c:v>
                </c:pt>
                <c:pt idx="36">
                  <c:v>36250</c:v>
                </c:pt>
                <c:pt idx="37">
                  <c:v>36280</c:v>
                </c:pt>
                <c:pt idx="38">
                  <c:v>36311</c:v>
                </c:pt>
                <c:pt idx="39">
                  <c:v>36341</c:v>
                </c:pt>
                <c:pt idx="40">
                  <c:v>36372</c:v>
                </c:pt>
                <c:pt idx="41">
                  <c:v>36403</c:v>
                </c:pt>
                <c:pt idx="42">
                  <c:v>36433</c:v>
                </c:pt>
                <c:pt idx="43">
                  <c:v>36464</c:v>
                </c:pt>
                <c:pt idx="44">
                  <c:v>36494</c:v>
                </c:pt>
                <c:pt idx="45">
                  <c:v>36525</c:v>
                </c:pt>
                <c:pt idx="46">
                  <c:v>36556</c:v>
                </c:pt>
                <c:pt idx="47">
                  <c:v>36585</c:v>
                </c:pt>
                <c:pt idx="48">
                  <c:v>36616</c:v>
                </c:pt>
                <c:pt idx="49">
                  <c:v>36646</c:v>
                </c:pt>
                <c:pt idx="50">
                  <c:v>36677</c:v>
                </c:pt>
                <c:pt idx="51">
                  <c:v>36707</c:v>
                </c:pt>
                <c:pt idx="52">
                  <c:v>36738</c:v>
                </c:pt>
                <c:pt idx="53">
                  <c:v>36769</c:v>
                </c:pt>
                <c:pt idx="54">
                  <c:v>36799</c:v>
                </c:pt>
                <c:pt idx="55">
                  <c:v>36830</c:v>
                </c:pt>
                <c:pt idx="56">
                  <c:v>36860</c:v>
                </c:pt>
                <c:pt idx="57">
                  <c:v>36891</c:v>
                </c:pt>
                <c:pt idx="58">
                  <c:v>36922</c:v>
                </c:pt>
                <c:pt idx="59">
                  <c:v>36950</c:v>
                </c:pt>
                <c:pt idx="60">
                  <c:v>36981</c:v>
                </c:pt>
                <c:pt idx="61">
                  <c:v>37011</c:v>
                </c:pt>
                <c:pt idx="62">
                  <c:v>37042</c:v>
                </c:pt>
                <c:pt idx="63">
                  <c:v>37072</c:v>
                </c:pt>
                <c:pt idx="64">
                  <c:v>37103</c:v>
                </c:pt>
                <c:pt idx="65">
                  <c:v>37134</c:v>
                </c:pt>
                <c:pt idx="66">
                  <c:v>37164</c:v>
                </c:pt>
                <c:pt idx="67">
                  <c:v>37195</c:v>
                </c:pt>
                <c:pt idx="68">
                  <c:v>37225</c:v>
                </c:pt>
                <c:pt idx="69">
                  <c:v>37256</c:v>
                </c:pt>
                <c:pt idx="70">
                  <c:v>37287</c:v>
                </c:pt>
                <c:pt idx="71">
                  <c:v>37315</c:v>
                </c:pt>
                <c:pt idx="72">
                  <c:v>37346</c:v>
                </c:pt>
                <c:pt idx="73">
                  <c:v>37376</c:v>
                </c:pt>
                <c:pt idx="74">
                  <c:v>37407</c:v>
                </c:pt>
                <c:pt idx="75">
                  <c:v>37437</c:v>
                </c:pt>
                <c:pt idx="76">
                  <c:v>37468</c:v>
                </c:pt>
                <c:pt idx="77">
                  <c:v>37499</c:v>
                </c:pt>
                <c:pt idx="78">
                  <c:v>37529</c:v>
                </c:pt>
                <c:pt idx="79">
                  <c:v>37560</c:v>
                </c:pt>
                <c:pt idx="80">
                  <c:v>37590</c:v>
                </c:pt>
                <c:pt idx="81">
                  <c:v>37621</c:v>
                </c:pt>
                <c:pt idx="82">
                  <c:v>37652</c:v>
                </c:pt>
                <c:pt idx="83">
                  <c:v>37680</c:v>
                </c:pt>
                <c:pt idx="84">
                  <c:v>37711</c:v>
                </c:pt>
                <c:pt idx="85">
                  <c:v>37741</c:v>
                </c:pt>
                <c:pt idx="86">
                  <c:v>37772</c:v>
                </c:pt>
                <c:pt idx="87">
                  <c:v>37802</c:v>
                </c:pt>
                <c:pt idx="88">
                  <c:v>37833</c:v>
                </c:pt>
                <c:pt idx="89">
                  <c:v>37864</c:v>
                </c:pt>
                <c:pt idx="90">
                  <c:v>37894</c:v>
                </c:pt>
                <c:pt idx="91">
                  <c:v>37925</c:v>
                </c:pt>
                <c:pt idx="92">
                  <c:v>37955</c:v>
                </c:pt>
                <c:pt idx="93">
                  <c:v>37986</c:v>
                </c:pt>
                <c:pt idx="94">
                  <c:v>38017</c:v>
                </c:pt>
                <c:pt idx="95">
                  <c:v>38046</c:v>
                </c:pt>
                <c:pt idx="96">
                  <c:v>38077</c:v>
                </c:pt>
                <c:pt idx="97">
                  <c:v>38107</c:v>
                </c:pt>
                <c:pt idx="98">
                  <c:v>38138</c:v>
                </c:pt>
                <c:pt idx="99">
                  <c:v>38168</c:v>
                </c:pt>
                <c:pt idx="100">
                  <c:v>38199</c:v>
                </c:pt>
                <c:pt idx="101">
                  <c:v>38230</c:v>
                </c:pt>
                <c:pt idx="102">
                  <c:v>38260</c:v>
                </c:pt>
                <c:pt idx="103">
                  <c:v>38291</c:v>
                </c:pt>
                <c:pt idx="104">
                  <c:v>38321</c:v>
                </c:pt>
                <c:pt idx="105">
                  <c:v>38352</c:v>
                </c:pt>
                <c:pt idx="106">
                  <c:v>38383</c:v>
                </c:pt>
                <c:pt idx="107">
                  <c:v>38411</c:v>
                </c:pt>
                <c:pt idx="108">
                  <c:v>38442</c:v>
                </c:pt>
                <c:pt idx="109">
                  <c:v>38472</c:v>
                </c:pt>
                <c:pt idx="110">
                  <c:v>38503</c:v>
                </c:pt>
                <c:pt idx="111">
                  <c:v>38533</c:v>
                </c:pt>
                <c:pt idx="112">
                  <c:v>38564</c:v>
                </c:pt>
                <c:pt idx="113">
                  <c:v>38595</c:v>
                </c:pt>
                <c:pt idx="114">
                  <c:v>38625</c:v>
                </c:pt>
                <c:pt idx="115">
                  <c:v>38656</c:v>
                </c:pt>
                <c:pt idx="116">
                  <c:v>38686</c:v>
                </c:pt>
                <c:pt idx="117">
                  <c:v>38717</c:v>
                </c:pt>
                <c:pt idx="118">
                  <c:v>38748</c:v>
                </c:pt>
                <c:pt idx="119">
                  <c:v>38776</c:v>
                </c:pt>
                <c:pt idx="120">
                  <c:v>38807</c:v>
                </c:pt>
                <c:pt idx="121">
                  <c:v>38837</c:v>
                </c:pt>
                <c:pt idx="122">
                  <c:v>38868</c:v>
                </c:pt>
                <c:pt idx="123">
                  <c:v>38898</c:v>
                </c:pt>
                <c:pt idx="124">
                  <c:v>38929</c:v>
                </c:pt>
                <c:pt idx="125">
                  <c:v>38960</c:v>
                </c:pt>
                <c:pt idx="126">
                  <c:v>38990</c:v>
                </c:pt>
                <c:pt idx="127">
                  <c:v>39021</c:v>
                </c:pt>
                <c:pt idx="128">
                  <c:v>39051</c:v>
                </c:pt>
                <c:pt idx="129">
                  <c:v>39082</c:v>
                </c:pt>
                <c:pt idx="130">
                  <c:v>39113</c:v>
                </c:pt>
                <c:pt idx="131">
                  <c:v>39141</c:v>
                </c:pt>
                <c:pt idx="132">
                  <c:v>39172</c:v>
                </c:pt>
                <c:pt idx="133">
                  <c:v>39202</c:v>
                </c:pt>
                <c:pt idx="134">
                  <c:v>39233</c:v>
                </c:pt>
                <c:pt idx="135">
                  <c:v>39263</c:v>
                </c:pt>
                <c:pt idx="136">
                  <c:v>39294</c:v>
                </c:pt>
                <c:pt idx="137">
                  <c:v>39325</c:v>
                </c:pt>
                <c:pt idx="138">
                  <c:v>39355</c:v>
                </c:pt>
                <c:pt idx="139">
                  <c:v>39386</c:v>
                </c:pt>
                <c:pt idx="140">
                  <c:v>39416</c:v>
                </c:pt>
                <c:pt idx="141">
                  <c:v>39447</c:v>
                </c:pt>
                <c:pt idx="142">
                  <c:v>39478</c:v>
                </c:pt>
                <c:pt idx="143">
                  <c:v>39507</c:v>
                </c:pt>
                <c:pt idx="144">
                  <c:v>39538</c:v>
                </c:pt>
                <c:pt idx="145">
                  <c:v>39568</c:v>
                </c:pt>
                <c:pt idx="146">
                  <c:v>39599</c:v>
                </c:pt>
                <c:pt idx="147">
                  <c:v>39629</c:v>
                </c:pt>
                <c:pt idx="148">
                  <c:v>39660</c:v>
                </c:pt>
                <c:pt idx="149">
                  <c:v>39691</c:v>
                </c:pt>
                <c:pt idx="150">
                  <c:v>39721</c:v>
                </c:pt>
                <c:pt idx="151">
                  <c:v>39752</c:v>
                </c:pt>
                <c:pt idx="152">
                  <c:v>39782</c:v>
                </c:pt>
                <c:pt idx="153">
                  <c:v>39813</c:v>
                </c:pt>
                <c:pt idx="154">
                  <c:v>39844</c:v>
                </c:pt>
                <c:pt idx="155">
                  <c:v>39872</c:v>
                </c:pt>
                <c:pt idx="156">
                  <c:v>39903</c:v>
                </c:pt>
                <c:pt idx="157">
                  <c:v>39933</c:v>
                </c:pt>
                <c:pt idx="158">
                  <c:v>39964</c:v>
                </c:pt>
                <c:pt idx="159">
                  <c:v>39994</c:v>
                </c:pt>
                <c:pt idx="160">
                  <c:v>40025</c:v>
                </c:pt>
                <c:pt idx="161">
                  <c:v>40056</c:v>
                </c:pt>
                <c:pt idx="162">
                  <c:v>40086</c:v>
                </c:pt>
                <c:pt idx="163">
                  <c:v>40117</c:v>
                </c:pt>
                <c:pt idx="164">
                  <c:v>40147</c:v>
                </c:pt>
                <c:pt idx="165">
                  <c:v>40178</c:v>
                </c:pt>
                <c:pt idx="166">
                  <c:v>40209</c:v>
                </c:pt>
                <c:pt idx="167">
                  <c:v>40237</c:v>
                </c:pt>
                <c:pt idx="168">
                  <c:v>40268</c:v>
                </c:pt>
                <c:pt idx="169">
                  <c:v>40298</c:v>
                </c:pt>
                <c:pt idx="170">
                  <c:v>40329</c:v>
                </c:pt>
                <c:pt idx="171">
                  <c:v>40359</c:v>
                </c:pt>
                <c:pt idx="172">
                  <c:v>40390</c:v>
                </c:pt>
                <c:pt idx="173">
                  <c:v>40421</c:v>
                </c:pt>
                <c:pt idx="174">
                  <c:v>40451</c:v>
                </c:pt>
                <c:pt idx="175">
                  <c:v>40482</c:v>
                </c:pt>
                <c:pt idx="176">
                  <c:v>40512</c:v>
                </c:pt>
                <c:pt idx="177">
                  <c:v>40543</c:v>
                </c:pt>
                <c:pt idx="178">
                  <c:v>40574</c:v>
                </c:pt>
                <c:pt idx="179">
                  <c:v>40602</c:v>
                </c:pt>
                <c:pt idx="180">
                  <c:v>40633</c:v>
                </c:pt>
                <c:pt idx="181">
                  <c:v>40663</c:v>
                </c:pt>
                <c:pt idx="182">
                  <c:v>40694</c:v>
                </c:pt>
                <c:pt idx="183">
                  <c:v>40724</c:v>
                </c:pt>
                <c:pt idx="184">
                  <c:v>40755</c:v>
                </c:pt>
                <c:pt idx="185">
                  <c:v>40786</c:v>
                </c:pt>
                <c:pt idx="186">
                  <c:v>40816</c:v>
                </c:pt>
                <c:pt idx="187">
                  <c:v>40847</c:v>
                </c:pt>
                <c:pt idx="188">
                  <c:v>40877</c:v>
                </c:pt>
                <c:pt idx="189">
                  <c:v>40908</c:v>
                </c:pt>
                <c:pt idx="190">
                  <c:v>40939</c:v>
                </c:pt>
                <c:pt idx="191">
                  <c:v>40968</c:v>
                </c:pt>
                <c:pt idx="192">
                  <c:v>40999</c:v>
                </c:pt>
                <c:pt idx="193">
                  <c:v>41029</c:v>
                </c:pt>
                <c:pt idx="194">
                  <c:v>41060</c:v>
                </c:pt>
                <c:pt idx="195">
                  <c:v>41090</c:v>
                </c:pt>
                <c:pt idx="196">
                  <c:v>41121</c:v>
                </c:pt>
                <c:pt idx="197">
                  <c:v>41152</c:v>
                </c:pt>
                <c:pt idx="198">
                  <c:v>41182</c:v>
                </c:pt>
                <c:pt idx="199">
                  <c:v>41213</c:v>
                </c:pt>
                <c:pt idx="200">
                  <c:v>41243</c:v>
                </c:pt>
                <c:pt idx="201">
                  <c:v>41274</c:v>
                </c:pt>
                <c:pt idx="202">
                  <c:v>41305</c:v>
                </c:pt>
                <c:pt idx="203">
                  <c:v>41333</c:v>
                </c:pt>
                <c:pt idx="204">
                  <c:v>41364</c:v>
                </c:pt>
                <c:pt idx="205">
                  <c:v>41394</c:v>
                </c:pt>
                <c:pt idx="206">
                  <c:v>41425</c:v>
                </c:pt>
                <c:pt idx="207">
                  <c:v>41455</c:v>
                </c:pt>
                <c:pt idx="208">
                  <c:v>41486</c:v>
                </c:pt>
                <c:pt idx="209">
                  <c:v>41517</c:v>
                </c:pt>
                <c:pt idx="210">
                  <c:v>41547</c:v>
                </c:pt>
                <c:pt idx="211">
                  <c:v>41578</c:v>
                </c:pt>
                <c:pt idx="212">
                  <c:v>41608</c:v>
                </c:pt>
                <c:pt idx="213">
                  <c:v>41639</c:v>
                </c:pt>
                <c:pt idx="214">
                  <c:v>41670</c:v>
                </c:pt>
                <c:pt idx="215">
                  <c:v>41698</c:v>
                </c:pt>
                <c:pt idx="216">
                  <c:v>41729</c:v>
                </c:pt>
                <c:pt idx="217">
                  <c:v>41759</c:v>
                </c:pt>
                <c:pt idx="218">
                  <c:v>41790</c:v>
                </c:pt>
                <c:pt idx="219">
                  <c:v>41820</c:v>
                </c:pt>
                <c:pt idx="220">
                  <c:v>41851</c:v>
                </c:pt>
                <c:pt idx="221">
                  <c:v>41882</c:v>
                </c:pt>
                <c:pt idx="222">
                  <c:v>41912</c:v>
                </c:pt>
                <c:pt idx="223">
                  <c:v>41943</c:v>
                </c:pt>
                <c:pt idx="224">
                  <c:v>41973</c:v>
                </c:pt>
                <c:pt idx="225">
                  <c:v>42004</c:v>
                </c:pt>
                <c:pt idx="226">
                  <c:v>42035</c:v>
                </c:pt>
                <c:pt idx="227">
                  <c:v>42063</c:v>
                </c:pt>
                <c:pt idx="228">
                  <c:v>42064</c:v>
                </c:pt>
                <c:pt idx="229">
                  <c:v>42124</c:v>
                </c:pt>
                <c:pt idx="230">
                  <c:v>42155</c:v>
                </c:pt>
                <c:pt idx="231">
                  <c:v>42185</c:v>
                </c:pt>
                <c:pt idx="232">
                  <c:v>42216</c:v>
                </c:pt>
                <c:pt idx="233">
                  <c:v>42247</c:v>
                </c:pt>
                <c:pt idx="234">
                  <c:v>42277</c:v>
                </c:pt>
                <c:pt idx="235">
                  <c:v>42308</c:v>
                </c:pt>
                <c:pt idx="236">
                  <c:v>42338</c:v>
                </c:pt>
                <c:pt idx="237">
                  <c:v>42369</c:v>
                </c:pt>
                <c:pt idx="238">
                  <c:v>42400</c:v>
                </c:pt>
                <c:pt idx="239">
                  <c:v>42429</c:v>
                </c:pt>
                <c:pt idx="240">
                  <c:v>42460</c:v>
                </c:pt>
                <c:pt idx="241">
                  <c:v>42490</c:v>
                </c:pt>
                <c:pt idx="242">
                  <c:v>42521</c:v>
                </c:pt>
                <c:pt idx="243">
                  <c:v>42551</c:v>
                </c:pt>
                <c:pt idx="244">
                  <c:v>42582</c:v>
                </c:pt>
                <c:pt idx="245">
                  <c:v>42613</c:v>
                </c:pt>
                <c:pt idx="246">
                  <c:v>42643</c:v>
                </c:pt>
                <c:pt idx="247">
                  <c:v>42674</c:v>
                </c:pt>
                <c:pt idx="248">
                  <c:v>42704</c:v>
                </c:pt>
                <c:pt idx="249">
                  <c:v>42735</c:v>
                </c:pt>
                <c:pt idx="250">
                  <c:v>42766</c:v>
                </c:pt>
                <c:pt idx="251">
                  <c:v>42794</c:v>
                </c:pt>
                <c:pt idx="252">
                  <c:v>42825</c:v>
                </c:pt>
                <c:pt idx="253">
                  <c:v>42855</c:v>
                </c:pt>
                <c:pt idx="254">
                  <c:v>42886</c:v>
                </c:pt>
                <c:pt idx="255">
                  <c:v>42916</c:v>
                </c:pt>
                <c:pt idx="256">
                  <c:v>42947</c:v>
                </c:pt>
                <c:pt idx="257">
                  <c:v>42978</c:v>
                </c:pt>
                <c:pt idx="258">
                  <c:v>43008</c:v>
                </c:pt>
                <c:pt idx="259">
                  <c:v>43039</c:v>
                </c:pt>
                <c:pt idx="260">
                  <c:v>43069</c:v>
                </c:pt>
                <c:pt idx="261">
                  <c:v>43100</c:v>
                </c:pt>
                <c:pt idx="262">
                  <c:v>43131</c:v>
                </c:pt>
                <c:pt idx="263">
                  <c:v>43159</c:v>
                </c:pt>
                <c:pt idx="264">
                  <c:v>43190</c:v>
                </c:pt>
                <c:pt idx="265">
                  <c:v>43220</c:v>
                </c:pt>
                <c:pt idx="266">
                  <c:v>43251</c:v>
                </c:pt>
                <c:pt idx="267">
                  <c:v>43281</c:v>
                </c:pt>
                <c:pt idx="268">
                  <c:v>43312</c:v>
                </c:pt>
                <c:pt idx="269">
                  <c:v>43343</c:v>
                </c:pt>
                <c:pt idx="270">
                  <c:v>43373</c:v>
                </c:pt>
                <c:pt idx="271">
                  <c:v>43404</c:v>
                </c:pt>
                <c:pt idx="272">
                  <c:v>43434</c:v>
                </c:pt>
                <c:pt idx="273">
                  <c:v>43465</c:v>
                </c:pt>
                <c:pt idx="274">
                  <c:v>43496</c:v>
                </c:pt>
                <c:pt idx="275">
                  <c:v>43524</c:v>
                </c:pt>
                <c:pt idx="276">
                  <c:v>43555</c:v>
                </c:pt>
                <c:pt idx="277">
                  <c:v>43585</c:v>
                </c:pt>
                <c:pt idx="278">
                  <c:v>43616</c:v>
                </c:pt>
                <c:pt idx="279">
                  <c:v>43646</c:v>
                </c:pt>
                <c:pt idx="280">
                  <c:v>43677</c:v>
                </c:pt>
                <c:pt idx="281">
                  <c:v>43708</c:v>
                </c:pt>
                <c:pt idx="282">
                  <c:v>43738</c:v>
                </c:pt>
                <c:pt idx="283">
                  <c:v>43769</c:v>
                </c:pt>
                <c:pt idx="284">
                  <c:v>43799</c:v>
                </c:pt>
                <c:pt idx="285">
                  <c:v>43830</c:v>
                </c:pt>
                <c:pt idx="286">
                  <c:v>43861</c:v>
                </c:pt>
                <c:pt idx="287">
                  <c:v>43890</c:v>
                </c:pt>
                <c:pt idx="288">
                  <c:v>43921</c:v>
                </c:pt>
                <c:pt idx="289">
                  <c:v>43951</c:v>
                </c:pt>
                <c:pt idx="290">
                  <c:v>43982</c:v>
                </c:pt>
                <c:pt idx="291">
                  <c:v>44012</c:v>
                </c:pt>
                <c:pt idx="292">
                  <c:v>44043</c:v>
                </c:pt>
                <c:pt idx="293">
                  <c:v>44074</c:v>
                </c:pt>
                <c:pt idx="294">
                  <c:v>44104</c:v>
                </c:pt>
                <c:pt idx="295">
                  <c:v>44135</c:v>
                </c:pt>
                <c:pt idx="296">
                  <c:v>44165</c:v>
                </c:pt>
                <c:pt idx="297">
                  <c:v>44196</c:v>
                </c:pt>
                <c:pt idx="298">
                  <c:v>44227</c:v>
                </c:pt>
                <c:pt idx="299">
                  <c:v>44255</c:v>
                </c:pt>
                <c:pt idx="300">
                  <c:v>44286</c:v>
                </c:pt>
                <c:pt idx="301">
                  <c:v>44316</c:v>
                </c:pt>
                <c:pt idx="302">
                  <c:v>44347</c:v>
                </c:pt>
                <c:pt idx="303">
                  <c:v>44377</c:v>
                </c:pt>
                <c:pt idx="304">
                  <c:v>44408</c:v>
                </c:pt>
                <c:pt idx="305">
                  <c:v>44439</c:v>
                </c:pt>
                <c:pt idx="306">
                  <c:v>44469</c:v>
                </c:pt>
                <c:pt idx="307">
                  <c:v>44500</c:v>
                </c:pt>
                <c:pt idx="308">
                  <c:v>44530</c:v>
                </c:pt>
                <c:pt idx="309">
                  <c:v>44561</c:v>
                </c:pt>
                <c:pt idx="310">
                  <c:v>44592</c:v>
                </c:pt>
                <c:pt idx="311">
                  <c:v>44620</c:v>
                </c:pt>
                <c:pt idx="312">
                  <c:v>44651</c:v>
                </c:pt>
                <c:pt idx="313">
                  <c:v>44681</c:v>
                </c:pt>
                <c:pt idx="314">
                  <c:v>44712</c:v>
                </c:pt>
                <c:pt idx="315">
                  <c:v>44742</c:v>
                </c:pt>
                <c:pt idx="316">
                  <c:v>44773</c:v>
                </c:pt>
                <c:pt idx="317">
                  <c:v>44804</c:v>
                </c:pt>
                <c:pt idx="318">
                  <c:v>44834</c:v>
                </c:pt>
                <c:pt idx="319">
                  <c:v>44865</c:v>
                </c:pt>
              </c:numCache>
            </c:numRef>
          </c:cat>
          <c:val>
            <c:numRef>
              <c:f>raw!$D$11:$D$500</c:f>
              <c:numCache>
                <c:formatCode>0.00</c:formatCode>
                <c:ptCount val="490"/>
                <c:pt idx="0" formatCode="General">
                  <c:v>100</c:v>
                </c:pt>
                <c:pt idx="1">
                  <c:v>104.51608999999999</c:v>
                </c:pt>
                <c:pt idx="2">
                  <c:v>103.28890387765598</c:v>
                </c:pt>
                <c:pt idx="3">
                  <c:v>102.21550493077861</c:v>
                </c:pt>
                <c:pt idx="4">
                  <c:v>97.756741947092124</c:v>
                </c:pt>
                <c:pt idx="5">
                  <c:v>100.82266709343038</c:v>
                </c:pt>
                <c:pt idx="6">
                  <c:v>102.09250842093873</c:v>
                </c:pt>
                <c:pt idx="7">
                  <c:v>99.110641481234154</c:v>
                </c:pt>
                <c:pt idx="8">
                  <c:v>100.08281776352358</c:v>
                </c:pt>
                <c:pt idx="9">
                  <c:v>99.56952301605979</c:v>
                </c:pt>
                <c:pt idx="10">
                  <c:v>104.97898584723779</c:v>
                </c:pt>
                <c:pt idx="11">
                  <c:v>105.67875477109831</c:v>
                </c:pt>
                <c:pt idx="12">
                  <c:v>105.01051630105422</c:v>
                </c:pt>
                <c:pt idx="13">
                  <c:v>104.65776497469572</c:v>
                </c:pt>
                <c:pt idx="14">
                  <c:v>110.04362101271754</c:v>
                </c:pt>
                <c:pt idx="15">
                  <c:v>112.09338153259723</c:v>
                </c:pt>
                <c:pt idx="16">
                  <c:v>116.8615761682164</c:v>
                </c:pt>
                <c:pt idx="17">
                  <c:v>112.74857456418793</c:v>
                </c:pt>
                <c:pt idx="18">
                  <c:v>118.45350586398892</c:v>
                </c:pt>
                <c:pt idx="19">
                  <c:v>108.13352845400296</c:v>
                </c:pt>
                <c:pt idx="20">
                  <c:v>107.90088998088702</c:v>
                </c:pt>
                <c:pt idx="21">
                  <c:v>111.34372683786316</c:v>
                </c:pt>
                <c:pt idx="22">
                  <c:v>114.46112850186965</c:v>
                </c:pt>
                <c:pt idx="23">
                  <c:v>121.78273760150739</c:v>
                </c:pt>
                <c:pt idx="24">
                  <c:v>126.02306638550677</c:v>
                </c:pt>
                <c:pt idx="25">
                  <c:v>126.71066083801273</c:v>
                </c:pt>
                <c:pt idx="26">
                  <c:v>130.58979367997372</c:v>
                </c:pt>
                <c:pt idx="27">
                  <c:v>127.57892845586761</c:v>
                </c:pt>
                <c:pt idx="28">
                  <c:v>130.09607347219475</c:v>
                </c:pt>
                <c:pt idx="29">
                  <c:v>113.30603034516146</c:v>
                </c:pt>
                <c:pt idx="30">
                  <c:v>108.09130158817395</c:v>
                </c:pt>
                <c:pt idx="31">
                  <c:v>114.80291749551701</c:v>
                </c:pt>
                <c:pt idx="32">
                  <c:v>124.90124616513293</c:v>
                </c:pt>
                <c:pt idx="33">
                  <c:v>126.86685454640748</c:v>
                </c:pt>
                <c:pt idx="34">
                  <c:v>130.1241102901447</c:v>
                </c:pt>
                <c:pt idx="35">
                  <c:v>131.80679720995067</c:v>
                </c:pt>
                <c:pt idx="36">
                  <c:v>134.81576186073775</c:v>
                </c:pt>
                <c:pt idx="37">
                  <c:v>141.23320783052785</c:v>
                </c:pt>
                <c:pt idx="38">
                  <c:v>136.37872588765615</c:v>
                </c:pt>
                <c:pt idx="39">
                  <c:v>144.26153898481596</c:v>
                </c:pt>
                <c:pt idx="40">
                  <c:v>142.70839040379764</c:v>
                </c:pt>
                <c:pt idx="41">
                  <c:v>144.92184035147767</c:v>
                </c:pt>
                <c:pt idx="42">
                  <c:v>138.85909312910974</c:v>
                </c:pt>
                <c:pt idx="43">
                  <c:v>143.02067237837053</c:v>
                </c:pt>
                <c:pt idx="44">
                  <c:v>157.20923841060809</c:v>
                </c:pt>
                <c:pt idx="45">
                  <c:v>168.70219271477785</c:v>
                </c:pt>
                <c:pt idx="46">
                  <c:v>161.92920456254205</c:v>
                </c:pt>
                <c:pt idx="47">
                  <c:v>170.6485578618599</c:v>
                </c:pt>
                <c:pt idx="48">
                  <c:v>174.61115389425859</c:v>
                </c:pt>
                <c:pt idx="49">
                  <c:v>167.27301538516005</c:v>
                </c:pt>
                <c:pt idx="50">
                  <c:v>169.13235531497531</c:v>
                </c:pt>
                <c:pt idx="51">
                  <c:v>173.76500891970122</c:v>
                </c:pt>
                <c:pt idx="52">
                  <c:v>172.21309624853848</c:v>
                </c:pt>
                <c:pt idx="53">
                  <c:v>182.33566149686021</c:v>
                </c:pt>
                <c:pt idx="54">
                  <c:v>173.47706571869676</c:v>
                </c:pt>
                <c:pt idx="55">
                  <c:v>168.32621937879034</c:v>
                </c:pt>
                <c:pt idx="56">
                  <c:v>163.87838419054714</c:v>
                </c:pt>
                <c:pt idx="57">
                  <c:v>161.3045922276425</c:v>
                </c:pt>
                <c:pt idx="58">
                  <c:v>166.79141632364343</c:v>
                </c:pt>
                <c:pt idx="59">
                  <c:v>156.10345572390762</c:v>
                </c:pt>
                <c:pt idx="60">
                  <c:v>144.42418542528415</c:v>
                </c:pt>
                <c:pt idx="61">
                  <c:v>153.9658291989393</c:v>
                </c:pt>
                <c:pt idx="62">
                  <c:v>153.81184797315746</c:v>
                </c:pt>
                <c:pt idx="63">
                  <c:v>149.179865696185</c:v>
                </c:pt>
                <c:pt idx="64">
                  <c:v>142.46310191516056</c:v>
                </c:pt>
                <c:pt idx="65">
                  <c:v>135.7864974123556</c:v>
                </c:pt>
                <c:pt idx="66">
                  <c:v>119.39712148928324</c:v>
                </c:pt>
                <c:pt idx="67">
                  <c:v>125.41810341116911</c:v>
                </c:pt>
                <c:pt idx="68">
                  <c:v>134.02199851595114</c:v>
                </c:pt>
                <c:pt idx="69">
                  <c:v>133.60860766152868</c:v>
                </c:pt>
                <c:pt idx="70">
                  <c:v>131.4609695411165</c:v>
                </c:pt>
                <c:pt idx="71">
                  <c:v>130.34875715441083</c:v>
                </c:pt>
                <c:pt idx="72">
                  <c:v>135.46944290484328</c:v>
                </c:pt>
                <c:pt idx="73">
                  <c:v>130.14179548289164</c:v>
                </c:pt>
                <c:pt idx="74">
                  <c:v>130.29269489475405</c:v>
                </c:pt>
                <c:pt idx="75">
                  <c:v>117.88752741382451</c:v>
                </c:pt>
                <c:pt idx="76">
                  <c:v>106.07331096652068</c:v>
                </c:pt>
                <c:pt idx="77">
                  <c:v>106.91300851079384</c:v>
                </c:pt>
                <c:pt idx="78">
                  <c:v>95.839814393313901</c:v>
                </c:pt>
                <c:pt idx="79">
                  <c:v>100.37913302631306</c:v>
                </c:pt>
                <c:pt idx="80">
                  <c:v>105.14804525726016</c:v>
                </c:pt>
                <c:pt idx="81">
                  <c:v>97.321382052949588</c:v>
                </c:pt>
                <c:pt idx="82">
                  <c:v>91.578836583533246</c:v>
                </c:pt>
                <c:pt idx="83">
                  <c:v>92.472078239801704</c:v>
                </c:pt>
                <c:pt idx="84">
                  <c:v>93.680475616615951</c:v>
                </c:pt>
                <c:pt idx="85">
                  <c:v>99.404821079169267</c:v>
                </c:pt>
                <c:pt idx="86">
                  <c:v>102.36585212754711</c:v>
                </c:pt>
                <c:pt idx="87">
                  <c:v>105.03074235598355</c:v>
                </c:pt>
                <c:pt idx="88">
                  <c:v>109.43425075692629</c:v>
                </c:pt>
                <c:pt idx="89">
                  <c:v>114.28791147677271</c:v>
                </c:pt>
                <c:pt idx="90">
                  <c:v>111.29815114133147</c:v>
                </c:pt>
                <c:pt idx="91">
                  <c:v>115.17970755183075</c:v>
                </c:pt>
                <c:pt idx="92">
                  <c:v>115.15136182580224</c:v>
                </c:pt>
                <c:pt idx="93">
                  <c:v>117.57241920818974</c:v>
                </c:pt>
                <c:pt idx="94">
                  <c:v>118.69425996054852</c:v>
                </c:pt>
                <c:pt idx="95">
                  <c:v>118.7773696813729</c:v>
                </c:pt>
                <c:pt idx="96">
                  <c:v>119.27782625078841</c:v>
                </c:pt>
                <c:pt idx="97">
                  <c:v>120.74284422393109</c:v>
                </c:pt>
                <c:pt idx="98">
                  <c:v>116.58898852551729</c:v>
                </c:pt>
                <c:pt idx="99">
                  <c:v>120.03197794566434</c:v>
                </c:pt>
                <c:pt idx="100">
                  <c:v>115.6980793435626</c:v>
                </c:pt>
                <c:pt idx="101">
                  <c:v>117.35619479786695</c:v>
                </c:pt>
                <c:pt idx="102">
                  <c:v>120.06803827601711</c:v>
                </c:pt>
                <c:pt idx="103">
                  <c:v>121.12292003989872</c:v>
                </c:pt>
                <c:pt idx="104">
                  <c:v>124.28375587355191</c:v>
                </c:pt>
                <c:pt idx="105">
                  <c:v>127.30100504326971</c:v>
                </c:pt>
                <c:pt idx="106">
                  <c:v>127.89516975420867</c:v>
                </c:pt>
                <c:pt idx="107">
                  <c:v>131.1049164609791</c:v>
                </c:pt>
                <c:pt idx="108">
                  <c:v>129.92752875870127</c:v>
                </c:pt>
                <c:pt idx="109">
                  <c:v>124.66624340914642</c:v>
                </c:pt>
                <c:pt idx="110">
                  <c:v>132.77317701842415</c:v>
                </c:pt>
                <c:pt idx="111">
                  <c:v>136.31094487471546</c:v>
                </c:pt>
                <c:pt idx="112">
                  <c:v>144.32906816741945</c:v>
                </c:pt>
                <c:pt idx="113">
                  <c:v>142.64011497881748</c:v>
                </c:pt>
                <c:pt idx="114">
                  <c:v>149.62554374560614</c:v>
                </c:pt>
                <c:pt idx="115">
                  <c:v>143.4530711145774</c:v>
                </c:pt>
                <c:pt idx="116">
                  <c:v>153.59236287156995</c:v>
                </c:pt>
                <c:pt idx="117">
                  <c:v>159.36315048861687</c:v>
                </c:pt>
                <c:pt idx="118">
                  <c:v>163.99794086690741</c:v>
                </c:pt>
                <c:pt idx="119">
                  <c:v>166.87043040036764</c:v>
                </c:pt>
                <c:pt idx="120">
                  <c:v>171.39896014057283</c:v>
                </c:pt>
                <c:pt idx="121">
                  <c:v>171.0974008101015</c:v>
                </c:pt>
                <c:pt idx="122">
                  <c:v>157.41785564001242</c:v>
                </c:pt>
                <c:pt idx="123">
                  <c:v>159.22430424240937</c:v>
                </c:pt>
                <c:pt idx="124">
                  <c:v>158.66880248976847</c:v>
                </c:pt>
                <c:pt idx="125">
                  <c:v>159.41383185185916</c:v>
                </c:pt>
                <c:pt idx="126">
                  <c:v>163.15224562261713</c:v>
                </c:pt>
                <c:pt idx="127">
                  <c:v>166.42736380124555</c:v>
                </c:pt>
                <c:pt idx="128">
                  <c:v>167.24165960685227</c:v>
                </c:pt>
                <c:pt idx="129">
                  <c:v>171.78952895320523</c:v>
                </c:pt>
                <c:pt idx="130">
                  <c:v>173.05587546588382</c:v>
                </c:pt>
                <c:pt idx="131">
                  <c:v>173.76805231018858</c:v>
                </c:pt>
                <c:pt idx="132">
                  <c:v>176.57040968979499</c:v>
                </c:pt>
                <c:pt idx="133">
                  <c:v>182.11288422179376</c:v>
                </c:pt>
                <c:pt idx="134">
                  <c:v>187.532763980407</c:v>
                </c:pt>
                <c:pt idx="135">
                  <c:v>185.13176324988945</c:v>
                </c:pt>
                <c:pt idx="136">
                  <c:v>181.38280801772655</c:v>
                </c:pt>
                <c:pt idx="137">
                  <c:v>178.46499347654938</c:v>
                </c:pt>
                <c:pt idx="138">
                  <c:v>186.9909622283987</c:v>
                </c:pt>
                <c:pt idx="139">
                  <c:v>190.69923609763876</c:v>
                </c:pt>
                <c:pt idx="140">
                  <c:v>183.25719840892842</c:v>
                </c:pt>
                <c:pt idx="141">
                  <c:v>188.27787754801801</c:v>
                </c:pt>
                <c:pt idx="142">
                  <c:v>171.31404078094161</c:v>
                </c:pt>
                <c:pt idx="143">
                  <c:v>177.15024760243818</c:v>
                </c:pt>
                <c:pt idx="144">
                  <c:v>170.87151137666496</c:v>
                </c:pt>
                <c:pt idx="145">
                  <c:v>180.35402590051299</c:v>
                </c:pt>
                <c:pt idx="146">
                  <c:v>183.47779369991505</c:v>
                </c:pt>
                <c:pt idx="147">
                  <c:v>169.31881236009261</c:v>
                </c:pt>
                <c:pt idx="148">
                  <c:v>164.81769184795562</c:v>
                </c:pt>
                <c:pt idx="149">
                  <c:v>172.03423448551834</c:v>
                </c:pt>
                <c:pt idx="150">
                  <c:v>150.32126044497417</c:v>
                </c:pt>
                <c:pt idx="151">
                  <c:v>131.35664003447997</c:v>
                </c:pt>
                <c:pt idx="152">
                  <c:v>130.6546570144717</c:v>
                </c:pt>
                <c:pt idx="153">
                  <c:v>142.45922688293501</c:v>
                </c:pt>
                <c:pt idx="154">
                  <c:v>135.9198497617142</c:v>
                </c:pt>
                <c:pt idx="155">
                  <c:v>125.61769601314528</c:v>
                </c:pt>
                <c:pt idx="156">
                  <c:v>130.83100626246522</c:v>
                </c:pt>
                <c:pt idx="157">
                  <c:v>141.68846214257721</c:v>
                </c:pt>
                <c:pt idx="158">
                  <c:v>143.54079791470576</c:v>
                </c:pt>
                <c:pt idx="159">
                  <c:v>141.37127923278354</c:v>
                </c:pt>
                <c:pt idx="160">
                  <c:v>150.53165746471851</c:v>
                </c:pt>
                <c:pt idx="161">
                  <c:v>159.90377351163764</c:v>
                </c:pt>
                <c:pt idx="162">
                  <c:v>168.67738974705151</c:v>
                </c:pt>
                <c:pt idx="163">
                  <c:v>164.69800337135598</c:v>
                </c:pt>
                <c:pt idx="164">
                  <c:v>167.78612387416956</c:v>
                </c:pt>
                <c:pt idx="165">
                  <c:v>175.28842872401725</c:v>
                </c:pt>
                <c:pt idx="166">
                  <c:v>168.60366426388387</c:v>
                </c:pt>
                <c:pt idx="167">
                  <c:v>177.06613507878458</c:v>
                </c:pt>
                <c:pt idx="168">
                  <c:v>189.82135971838747</c:v>
                </c:pt>
                <c:pt idx="169">
                  <c:v>189.65560770708137</c:v>
                </c:pt>
                <c:pt idx="170">
                  <c:v>179.89107495091767</c:v>
                </c:pt>
                <c:pt idx="171">
                  <c:v>170.9144563435444</c:v>
                </c:pt>
                <c:pt idx="172">
                  <c:v>176.00680129596341</c:v>
                </c:pt>
                <c:pt idx="173">
                  <c:v>171.47145804016904</c:v>
                </c:pt>
                <c:pt idx="174">
                  <c:v>183.75275827938006</c:v>
                </c:pt>
                <c:pt idx="175">
                  <c:v>188.87122811180387</c:v>
                </c:pt>
                <c:pt idx="176">
                  <c:v>190.42055768312781</c:v>
                </c:pt>
                <c:pt idx="177">
                  <c:v>203.06756752632194</c:v>
                </c:pt>
                <c:pt idx="178">
                  <c:v>200.34589353228014</c:v>
                </c:pt>
                <c:pt idx="179">
                  <c:v>201.74949682777796</c:v>
                </c:pt>
                <c:pt idx="180">
                  <c:v>204.47018966724897</c:v>
                </c:pt>
                <c:pt idx="181">
                  <c:v>205.46387389499387</c:v>
                </c:pt>
                <c:pt idx="182">
                  <c:v>203.17517071090276</c:v>
                </c:pt>
                <c:pt idx="183">
                  <c:v>203.98023200732766</c:v>
                </c:pt>
                <c:pt idx="184">
                  <c:v>199.31387822981205</c:v>
                </c:pt>
                <c:pt idx="185">
                  <c:v>183.29518128758463</c:v>
                </c:pt>
                <c:pt idx="186">
                  <c:v>174.97064733422769</c:v>
                </c:pt>
                <c:pt idx="187">
                  <c:v>188.76804521509189</c:v>
                </c:pt>
                <c:pt idx="188">
                  <c:v>180.10544186656227</c:v>
                </c:pt>
                <c:pt idx="189">
                  <c:v>184.10484529810694</c:v>
                </c:pt>
                <c:pt idx="190">
                  <c:v>192.08232917068824</c:v>
                </c:pt>
                <c:pt idx="191">
                  <c:v>200.70478967776293</c:v>
                </c:pt>
                <c:pt idx="192">
                  <c:v>199.76143702531951</c:v>
                </c:pt>
                <c:pt idx="193">
                  <c:v>195.39161563810325</c:v>
                </c:pt>
                <c:pt idx="194">
                  <c:v>185.8040812244881</c:v>
                </c:pt>
                <c:pt idx="195">
                  <c:v>188.59077083469299</c:v>
                </c:pt>
                <c:pt idx="196">
                  <c:v>193.14063633554247</c:v>
                </c:pt>
                <c:pt idx="197">
                  <c:v>194.85325298605702</c:v>
                </c:pt>
                <c:pt idx="198">
                  <c:v>197.70590460977289</c:v>
                </c:pt>
                <c:pt idx="199">
                  <c:v>197.32660583177903</c:v>
                </c:pt>
                <c:pt idx="200">
                  <c:v>200.31122994296643</c:v>
                </c:pt>
                <c:pt idx="201">
                  <c:v>201.89372872176185</c:v>
                </c:pt>
                <c:pt idx="202">
                  <c:v>217.98251882736179</c:v>
                </c:pt>
                <c:pt idx="203">
                  <c:v>225.80275068155279</c:v>
                </c:pt>
                <c:pt idx="204">
                  <c:v>229.87171624883436</c:v>
                </c:pt>
                <c:pt idx="205">
                  <c:v>229.88555452615256</c:v>
                </c:pt>
                <c:pt idx="206">
                  <c:v>238.06242278075962</c:v>
                </c:pt>
                <c:pt idx="207">
                  <c:v>229.60808815430423</c:v>
                </c:pt>
                <c:pt idx="208">
                  <c:v>240.51984517089647</c:v>
                </c:pt>
                <c:pt idx="209">
                  <c:v>232.86041854547574</c:v>
                </c:pt>
                <c:pt idx="210">
                  <c:v>235.26423664612071</c:v>
                </c:pt>
                <c:pt idx="211">
                  <c:v>245.37297626063659</c:v>
                </c:pt>
                <c:pt idx="212">
                  <c:v>244.37092210018341</c:v>
                </c:pt>
                <c:pt idx="213">
                  <c:v>245.89227771281031</c:v>
                </c:pt>
                <c:pt idx="214">
                  <c:v>238.60154708939771</c:v>
                </c:pt>
                <c:pt idx="215">
                  <c:v>246.63867318202111</c:v>
                </c:pt>
                <c:pt idx="216">
                  <c:v>246.23675080020368</c:v>
                </c:pt>
                <c:pt idx="217">
                  <c:v>244.10771398175987</c:v>
                </c:pt>
                <c:pt idx="218">
                  <c:v>250.5514497185078</c:v>
                </c:pt>
                <c:pt idx="219">
                  <c:v>250.11120576620741</c:v>
                </c:pt>
                <c:pt idx="220">
                  <c:v>250.0309951025182</c:v>
                </c:pt>
                <c:pt idx="221">
                  <c:v>256.53492636262246</c:v>
                </c:pt>
                <c:pt idx="222">
                  <c:v>254.01236712471353</c:v>
                </c:pt>
                <c:pt idx="223">
                  <c:v>255.84138317419502</c:v>
                </c:pt>
                <c:pt idx="224">
                  <c:v>265.8618714607021</c:v>
                </c:pt>
                <c:pt idx="225">
                  <c:v>263.22694103884226</c:v>
                </c:pt>
                <c:pt idx="226">
                  <c:v>268.35246971205652</c:v>
                </c:pt>
                <c:pt idx="227">
                  <c:v>275.51823204028364</c:v>
                </c:pt>
                <c:pt idx="228">
                  <c:v>283.14047148150132</c:v>
                </c:pt>
                <c:pt idx="229">
                  <c:v>281.0862307328087</c:v>
                </c:pt>
                <c:pt idx="230">
                  <c:v>285.02711590492885</c:v>
                </c:pt>
                <c:pt idx="231">
                  <c:v>270.3434024775662</c:v>
                </c:pt>
                <c:pt idx="232">
                  <c:v>273.37998067721497</c:v>
                </c:pt>
                <c:pt idx="233">
                  <c:v>259.1938560719052</c:v>
                </c:pt>
                <c:pt idx="234">
                  <c:v>250.43872824335156</c:v>
                </c:pt>
                <c:pt idx="235">
                  <c:v>267.01306380497044</c:v>
                </c:pt>
                <c:pt idx="236">
                  <c:v>271.07921884451167</c:v>
                </c:pt>
                <c:pt idx="237">
                  <c:v>270.74183364873778</c:v>
                </c:pt>
                <c:pt idx="238">
                  <c:v>257.36022900136538</c:v>
                </c:pt>
                <c:pt idx="239">
                  <c:v>265.25104803868464</c:v>
                </c:pt>
                <c:pt idx="240">
                  <c:v>274.08778060367422</c:v>
                </c:pt>
                <c:pt idx="241">
                  <c:v>274.64152014682787</c:v>
                </c:pt>
                <c:pt idx="242">
                  <c:v>275.95787695289164</c:v>
                </c:pt>
                <c:pt idx="243">
                  <c:v>290.43459958205261</c:v>
                </c:pt>
                <c:pt idx="244">
                  <c:v>309.29306995865448</c:v>
                </c:pt>
                <c:pt idx="245">
                  <c:v>314.20393253553704</c:v>
                </c:pt>
                <c:pt idx="246">
                  <c:v>317.61383071337895</c:v>
                </c:pt>
                <c:pt idx="247">
                  <c:v>330.83329948426666</c:v>
                </c:pt>
                <c:pt idx="248">
                  <c:v>325.87215640853054</c:v>
                </c:pt>
                <c:pt idx="249">
                  <c:v>335.55958611259643</c:v>
                </c:pt>
                <c:pt idx="250">
                  <c:v>339.97809716309678</c:v>
                </c:pt>
                <c:pt idx="251">
                  <c:v>350.42172793992529</c:v>
                </c:pt>
                <c:pt idx="252">
                  <c:v>354.10170274119008</c:v>
                </c:pt>
                <c:pt idx="253">
                  <c:v>350.3502961870945</c:v>
                </c:pt>
                <c:pt idx="254">
                  <c:v>360.88134961407576</c:v>
                </c:pt>
                <c:pt idx="255">
                  <c:v>359.15485354057358</c:v>
                </c:pt>
                <c:pt idx="256">
                  <c:v>364.1781836742644</c:v>
                </c:pt>
                <c:pt idx="257">
                  <c:v>370.34794843258214</c:v>
                </c:pt>
                <c:pt idx="258">
                  <c:v>365.14052666794595</c:v>
                </c:pt>
                <c:pt idx="259">
                  <c:v>376.7029460890393</c:v>
                </c:pt>
                <c:pt idx="260">
                  <c:v>376.23859943551321</c:v>
                </c:pt>
                <c:pt idx="261">
                  <c:v>381.98024152397863</c:v>
                </c:pt>
                <c:pt idx="262">
                  <c:v>384.11551510711564</c:v>
                </c:pt>
                <c:pt idx="263">
                  <c:v>378.93414251228421</c:v>
                </c:pt>
                <c:pt idx="264">
                  <c:v>363.80546212638103</c:v>
                </c:pt>
                <c:pt idx="265">
                  <c:v>378.35229629059683</c:v>
                </c:pt>
                <c:pt idx="266">
                  <c:v>391.37399218747345</c:v>
                </c:pt>
                <c:pt idx="267">
                  <c:v>392.28548453682419</c:v>
                </c:pt>
                <c:pt idx="268">
                  <c:v>402.04558662064886</c:v>
                </c:pt>
                <c:pt idx="269">
                  <c:v>409.10015991540541</c:v>
                </c:pt>
                <c:pt idx="270">
                  <c:v>407.26561413045397</c:v>
                </c:pt>
                <c:pt idx="271">
                  <c:v>380.77830889284462</c:v>
                </c:pt>
                <c:pt idx="272">
                  <c:v>386.63013133100742</c:v>
                </c:pt>
                <c:pt idx="273">
                  <c:v>359.86428198344419</c:v>
                </c:pt>
                <c:pt idx="274">
                  <c:v>377.21560664806105</c:v>
                </c:pt>
                <c:pt idx="275">
                  <c:v>385.84377238360418</c:v>
                </c:pt>
                <c:pt idx="276">
                  <c:v>395.59419884924677</c:v>
                </c:pt>
                <c:pt idx="277">
                  <c:v>411.29663806242957</c:v>
                </c:pt>
                <c:pt idx="278">
                  <c:v>401.61586683302653</c:v>
                </c:pt>
                <c:pt idx="279">
                  <c:v>421.07973804163566</c:v>
                </c:pt>
                <c:pt idx="280">
                  <c:v>440.78945426761976</c:v>
                </c:pt>
                <c:pt idx="281">
                  <c:v>430.33088696515739</c:v>
                </c:pt>
                <c:pt idx="282">
                  <c:v>431.1749309187332</c:v>
                </c:pt>
                <c:pt idx="283">
                  <c:v>423.00521339061333</c:v>
                </c:pt>
                <c:pt idx="284">
                  <c:v>435.10229026256809</c:v>
                </c:pt>
                <c:pt idx="285">
                  <c:v>439.57244999405873</c:v>
                </c:pt>
                <c:pt idx="286">
                  <c:v>440.61428065778966</c:v>
                </c:pt>
                <c:pt idx="287">
                  <c:v>412.35658530350395</c:v>
                </c:pt>
                <c:pt idx="288">
                  <c:v>370.64440750317681</c:v>
                </c:pt>
                <c:pt idx="289">
                  <c:v>406.8545499586404</c:v>
                </c:pt>
                <c:pt idx="290">
                  <c:v>431.39499927577072</c:v>
                </c:pt>
                <c:pt idx="291">
                  <c:v>442.21844229460669</c:v>
                </c:pt>
                <c:pt idx="292">
                  <c:v>441.37557171089122</c:v>
                </c:pt>
                <c:pt idx="293">
                  <c:v>457.96074433105679</c:v>
                </c:pt>
                <c:pt idx="294">
                  <c:v>460.32808797914669</c:v>
                </c:pt>
                <c:pt idx="295">
                  <c:v>452.27186895572885</c:v>
                </c:pt>
                <c:pt idx="296">
                  <c:v>492.52308189669498</c:v>
                </c:pt>
                <c:pt idx="297">
                  <c:v>504.78761008911908</c:v>
                </c:pt>
                <c:pt idx="298">
                  <c:v>503.90171625995612</c:v>
                </c:pt>
                <c:pt idx="299">
                  <c:v>506.24920983042819</c:v>
                </c:pt>
                <c:pt idx="300">
                  <c:v>521.16507610406131</c:v>
                </c:pt>
                <c:pt idx="301">
                  <c:v>542.92775980910767</c:v>
                </c:pt>
                <c:pt idx="302">
                  <c:v>537.25545773226861</c:v>
                </c:pt>
                <c:pt idx="303">
                  <c:v>557.19662756692878</c:v>
                </c:pt>
                <c:pt idx="304">
                  <c:v>559.92825614964534</c:v>
                </c:pt>
                <c:pt idx="305">
                  <c:v>578.66236304962615</c:v>
                </c:pt>
                <c:pt idx="306">
                  <c:v>567.81508440483719</c:v>
                </c:pt>
                <c:pt idx="307">
                  <c:v>578.97370282005784</c:v>
                </c:pt>
                <c:pt idx="308">
                  <c:v>586.86627042400505</c:v>
                </c:pt>
                <c:pt idx="309">
                  <c:v>593.32429586090802</c:v>
                </c:pt>
                <c:pt idx="310">
                  <c:v>548.6960797294455</c:v>
                </c:pt>
                <c:pt idx="311">
                  <c:v>540.03484403420623</c:v>
                </c:pt>
                <c:pt idx="312">
                  <c:v>564.57984917408407</c:v>
                </c:pt>
                <c:pt idx="313">
                  <c:v>543.09437119663028</c:v>
                </c:pt>
                <c:pt idx="314">
                  <c:v>536.00829307900506</c:v>
                </c:pt>
                <c:pt idx="315">
                  <c:v>506.5956348832222</c:v>
                </c:pt>
                <c:pt idx="316">
                  <c:v>542.36317955544473</c:v>
                </c:pt>
                <c:pt idx="317">
                  <c:v>508.79866606244389</c:v>
                </c:pt>
                <c:pt idx="318">
                  <c:v>518.41988550228814</c:v>
                </c:pt>
                <c:pt idx="319">
                  <c:v>524.97935908436261</c:v>
                </c:pt>
              </c:numCache>
            </c:numRef>
          </c:val>
          <c:smooth val="0"/>
          <c:extLst>
            <c:ext xmlns:c16="http://schemas.microsoft.com/office/drawing/2014/chart" uri="{C3380CC4-5D6E-409C-BE32-E72D297353CC}">
              <c16:uniqueId val="{00000003-9832-4307-B99E-CF69E847215F}"/>
            </c:ext>
          </c:extLst>
        </c:ser>
        <c:dLbls>
          <c:showLegendKey val="0"/>
          <c:showVal val="0"/>
          <c:showCatName val="0"/>
          <c:showSerName val="0"/>
          <c:showPercent val="0"/>
          <c:showBubbleSize val="0"/>
        </c:dLbls>
        <c:smooth val="0"/>
        <c:axId val="175142016"/>
        <c:axId val="175143552"/>
      </c:lineChart>
      <c:dateAx>
        <c:axId val="175142016"/>
        <c:scaling>
          <c:orientation val="minMax"/>
          <c:max val="44835"/>
        </c:scaling>
        <c:delete val="0"/>
        <c:axPos val="b"/>
        <c:numFmt formatCode="mmm\-yy" sourceLinked="0"/>
        <c:majorTickMark val="out"/>
        <c:minorTickMark val="none"/>
        <c:tickLblPos val="nextTo"/>
        <c:txPr>
          <a:bodyPr rot="-5400000" vert="horz"/>
          <a:lstStyle/>
          <a:p>
            <a:pPr>
              <a:defRPr/>
            </a:pPr>
            <a:endParaRPr lang="fr-FR"/>
          </a:p>
        </c:txPr>
        <c:crossAx val="175143552"/>
        <c:crosses val="autoZero"/>
        <c:auto val="1"/>
        <c:lblOffset val="100"/>
        <c:baseTimeUnit val="months"/>
        <c:majorUnit val="6"/>
        <c:majorTimeUnit val="months"/>
        <c:minorUnit val="1"/>
        <c:minorTimeUnit val="months"/>
      </c:dateAx>
      <c:valAx>
        <c:axId val="175143552"/>
        <c:scaling>
          <c:orientation val="minMax"/>
          <c:min val="0"/>
        </c:scaling>
        <c:delete val="0"/>
        <c:axPos val="l"/>
        <c:title>
          <c:tx>
            <c:rich>
              <a:bodyPr rot="-5400000" vert="horz"/>
              <a:lstStyle/>
              <a:p>
                <a:pPr>
                  <a:defRPr/>
                </a:pPr>
                <a:r>
                  <a:rPr lang="en-US" dirty="0"/>
                  <a:t>Indexed Return</a:t>
                </a:r>
              </a:p>
            </c:rich>
          </c:tx>
          <c:layout>
            <c:manualLayout>
              <c:xMode val="edge"/>
              <c:yMode val="edge"/>
              <c:x val="1.4373585861793649E-3"/>
              <c:y val="0.334312231119063"/>
            </c:manualLayout>
          </c:layout>
          <c:overlay val="0"/>
        </c:title>
        <c:numFmt formatCode="0" sourceLinked="0"/>
        <c:majorTickMark val="out"/>
        <c:minorTickMark val="none"/>
        <c:tickLblPos val="nextTo"/>
        <c:crossAx val="175142016"/>
        <c:crosses val="autoZero"/>
        <c:crossBetween val="between"/>
        <c:majorUnit val="100"/>
        <c:minorUnit val="20"/>
      </c:valAx>
    </c:plotArea>
    <c:legend>
      <c:legendPos val="b"/>
      <c:layout>
        <c:manualLayout>
          <c:xMode val="edge"/>
          <c:yMode val="edge"/>
          <c:x val="8.7793035472273268E-2"/>
          <c:y val="0.96153227598367208"/>
          <c:w val="0.80651157581119959"/>
          <c:h val="3.8467826555284891E-2"/>
        </c:manualLayout>
      </c:layout>
      <c:overlay val="0"/>
    </c:legend>
    <c:plotVisOnly val="1"/>
    <c:dispBlanksAs val="gap"/>
    <c:showDLblsOverMax val="0"/>
  </c:chart>
  <c:txPr>
    <a:bodyPr/>
    <a:lstStyle/>
    <a:p>
      <a:pPr>
        <a:defRPr>
          <a:latin typeface="Arial"/>
          <a:ea typeface="Arial"/>
          <a:cs typeface="Arial"/>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A3C77A-745B-4524-BEFD-2902514B5661}" type="datetimeFigureOut">
              <a:rPr lang="fr-FR" smtClean="0"/>
              <a:t>30/11/2022</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6AFBFDE-74C7-46CE-9291-566CB52AB875}" type="slidenum">
              <a:rPr lang="fr-FR" smtClean="0"/>
              <a:t>‹N°›</a:t>
            </a:fld>
            <a:endParaRPr lang="fr-FR"/>
          </a:p>
        </p:txBody>
      </p:sp>
    </p:spTree>
    <p:extLst>
      <p:ext uri="{BB962C8B-B14F-4D97-AF65-F5344CB8AC3E}">
        <p14:creationId xmlns:p14="http://schemas.microsoft.com/office/powerpoint/2010/main" val="854815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defTabSz="914305">
              <a:buSzPct val="100000"/>
              <a:defRPr/>
            </a:pPr>
            <a:fld id="{1CE56DAA-BB3D-F946-9706-04EB48E9A0B2}" type="slidenum">
              <a:rPr lang="en-GB" b="0">
                <a:solidFill>
                  <a:prstClr val="black"/>
                </a:solidFill>
                <a:ea typeface="ＭＳ Ｐゴシック" pitchFamily="34" charset="-128"/>
                <a:cs typeface="Arial"/>
              </a:rPr>
              <a:pPr defTabSz="914305">
                <a:buSzPct val="100000"/>
                <a:defRPr/>
              </a:pPr>
              <a:t>15</a:t>
            </a:fld>
            <a:endParaRPr lang="en-GB" b="0" dirty="0">
              <a:solidFill>
                <a:prstClr val="black"/>
              </a:solidFill>
              <a:ea typeface="ＭＳ Ｐゴシック" pitchFamily="34" charset="-128"/>
              <a:cs typeface="Arial"/>
            </a:endParaRPr>
          </a:p>
        </p:txBody>
      </p:sp>
    </p:spTree>
    <p:extLst>
      <p:ext uri="{BB962C8B-B14F-4D97-AF65-F5344CB8AC3E}">
        <p14:creationId xmlns:p14="http://schemas.microsoft.com/office/powerpoint/2010/main" val="1260523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TextEdit="1"/>
          </p:cNvSpPr>
          <p:nvPr>
            <p:ph type="sldImg"/>
          </p:nvPr>
        </p:nvSpPr>
        <p:spPr bwMode="auto">
          <a:xfrm>
            <a:off x="1196975" y="706438"/>
            <a:ext cx="4516438" cy="3387725"/>
          </a:xfrm>
          <a:prstGeom prst="rect">
            <a:avLst/>
          </a:prstGeom>
          <a:noFill/>
          <a:ln>
            <a:solidFill>
              <a:srgbClr val="000000"/>
            </a:solidFill>
            <a:miter lim="800000"/>
            <a:headEnd/>
            <a:tailEnd/>
          </a:ln>
        </p:spPr>
      </p:sp>
      <p:sp>
        <p:nvSpPr>
          <p:cNvPr id="71683" name="Rectangle 3"/>
          <p:cNvSpPr>
            <a:spLocks noGrp="1"/>
          </p:cNvSpPr>
          <p:nvPr>
            <p:ph type="body" idx="1"/>
          </p:nvPr>
        </p:nvSpPr>
        <p:spPr bwMode="auto">
          <a:xfrm>
            <a:off x="932397" y="4376980"/>
            <a:ext cx="5031552" cy="460343"/>
          </a:xfrm>
          <a:noFill/>
        </p:spPr>
        <p:txBody>
          <a:bodyPr wrap="square" numCol="1" anchor="t" anchorCtr="0" compatLnSpc="1">
            <a:prstTxWarp prst="textNoShape">
              <a:avLst/>
            </a:prstTxWarp>
          </a:bodyPr>
          <a:lstStyle/>
          <a:p>
            <a:r>
              <a:rPr lang="fr-FR" dirty="0"/>
              <a:t>3 poches complémentaires avec des moteurs de performances distincts qui lui permet de s’adapter à chaque cycle de marché….</a:t>
            </a:r>
          </a:p>
          <a:p>
            <a:r>
              <a:rPr lang="fr-FR" dirty="0"/>
              <a:t>On se rend compte que ces 3 poches correspondent à des zones géographiques différentes…..</a:t>
            </a:r>
          </a:p>
          <a:p>
            <a:endParaRPr lang="fr-FR" dirty="0"/>
          </a:p>
          <a:p>
            <a:r>
              <a:rPr lang="fr-FR" sz="800" dirty="0"/>
              <a:t>Jeremy </a:t>
            </a:r>
            <a:r>
              <a:rPr lang="fr-FR" sz="800" dirty="0" err="1"/>
              <a:t>Podger</a:t>
            </a:r>
            <a:r>
              <a:rPr lang="fr-FR" sz="800" dirty="0"/>
              <a:t> s’appuie sur une approche centrée sur les valorisations pour identifier des sociétés affichant un potentiel d’appréciation significative des cours de leur titre. Ce potentiel peut découler d’une valorisation trop faible ou d’un manque de reconnaissance des perspectives de croissance à venir de l’entreprise ou encore des deux à la fois. Le gérant vise trois catégories de sociétés : changement, valeur et marque, chacune offrant des moteurs de performance distincts. Il en résulte un équilibre de style visant à générer des rendements relatifs soutenus dans divers environnements de marché.</a:t>
            </a:r>
          </a:p>
        </p:txBody>
      </p:sp>
    </p:spTree>
    <p:extLst>
      <p:ext uri="{BB962C8B-B14F-4D97-AF65-F5344CB8AC3E}">
        <p14:creationId xmlns:p14="http://schemas.microsoft.com/office/powerpoint/2010/main" val="1256674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Manual</a:t>
            </a:r>
          </a:p>
          <a:p>
            <a:endParaRPr lang="en-GB" dirty="0"/>
          </a:p>
          <a:p>
            <a:r>
              <a:rPr lang="en-GB" dirty="0"/>
              <a:t>Charting Tool</a:t>
            </a:r>
          </a:p>
          <a:p>
            <a:endParaRPr lang="en-GB" dirty="0"/>
          </a:p>
          <a:p>
            <a:r>
              <a:rPr lang="en-GB" dirty="0"/>
              <a:t>Charting Tool</a:t>
            </a:r>
          </a:p>
        </p:txBody>
      </p:sp>
      <p:sp>
        <p:nvSpPr>
          <p:cNvPr id="4" name="Slide Number Placeholder 3"/>
          <p:cNvSpPr>
            <a:spLocks noGrp="1"/>
          </p:cNvSpPr>
          <p:nvPr>
            <p:ph type="sldNum" sz="quarter" idx="10"/>
          </p:nvPr>
        </p:nvSpPr>
        <p:spPr/>
        <p:txBody>
          <a:bodyPr/>
          <a:lstStyle/>
          <a:p>
            <a:pPr>
              <a:defRPr/>
            </a:pPr>
            <a:fld id="{29452BBE-60A7-4998-820A-5E52FDCED3AE}" type="slidenum">
              <a:rPr lang="en-GB" smtClean="0">
                <a:solidFill>
                  <a:prstClr val="black"/>
                </a:solidFill>
              </a:rPr>
              <a:pPr>
                <a:defRPr/>
              </a:pPr>
              <a:t>27</a:t>
            </a:fld>
            <a:endParaRPr lang="en-GB" dirty="0">
              <a:solidFill>
                <a:prstClr val="black"/>
              </a:solidFill>
            </a:endParaRPr>
          </a:p>
        </p:txBody>
      </p:sp>
    </p:spTree>
    <p:extLst>
      <p:ext uri="{BB962C8B-B14F-4D97-AF65-F5344CB8AC3E}">
        <p14:creationId xmlns:p14="http://schemas.microsoft.com/office/powerpoint/2010/main" val="3055242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CF403B22-3365-4961-889A-2963BBC08DF8}" type="slidenum">
              <a:rPr lang="en-GB" smtClean="0">
                <a:solidFill>
                  <a:prstClr val="black"/>
                </a:solidFill>
              </a:rPr>
              <a:pPr>
                <a:defRPr/>
              </a:pPr>
              <a:t>28</a:t>
            </a:fld>
            <a:endParaRPr lang="fr-FR" dirty="0">
              <a:solidFill>
                <a:prstClr val="black"/>
              </a:solidFill>
            </a:endParaRPr>
          </a:p>
        </p:txBody>
      </p:sp>
    </p:spTree>
    <p:extLst>
      <p:ext uri="{BB962C8B-B14F-4D97-AF65-F5344CB8AC3E}">
        <p14:creationId xmlns:p14="http://schemas.microsoft.com/office/powerpoint/2010/main" val="1006936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pPr>
              <a:defRPr/>
            </a:pPr>
            <a:fld id="{1CE56DAA-BB3D-F946-9706-04EB48E9A0B2}" type="slidenum">
              <a:rPr lang="en-GB" smtClean="0">
                <a:solidFill>
                  <a:prstClr val="black"/>
                </a:solidFill>
              </a:rPr>
              <a:pPr>
                <a:defRPr/>
              </a:pPr>
              <a:t>16</a:t>
            </a:fld>
            <a:endParaRPr lang="en-GB" dirty="0">
              <a:solidFill>
                <a:prstClr val="black"/>
              </a:solidFill>
            </a:endParaRPr>
          </a:p>
        </p:txBody>
      </p:sp>
    </p:spTree>
    <p:extLst>
      <p:ext uri="{BB962C8B-B14F-4D97-AF65-F5344CB8AC3E}">
        <p14:creationId xmlns:p14="http://schemas.microsoft.com/office/powerpoint/2010/main" val="3944623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456569">
              <a:defRPr/>
            </a:pPr>
            <a:r>
              <a:rPr lang="en-GB" b="1" dirty="0"/>
              <a:t>Key Points</a:t>
            </a:r>
            <a:endParaRPr lang="en-GB" dirty="0"/>
          </a:p>
          <a:p>
            <a:pPr marL="171213" indent="-171213" defTabSz="456569">
              <a:buFont typeface="Arial" panose="020B0604020202020204" pitchFamily="34" charset="0"/>
              <a:buChar char="•"/>
              <a:defRPr/>
            </a:pPr>
            <a:r>
              <a:rPr lang="en-GB" dirty="0"/>
              <a:t>Fidelity International is a trading name of FIL Limited. We serve clients across Asia, Europe, the Middle East and South America.</a:t>
            </a:r>
          </a:p>
          <a:p>
            <a:pPr marL="171213" indent="-171213" defTabSz="456569">
              <a:buFont typeface="Arial" panose="020B0604020202020204" pitchFamily="34" charset="0"/>
              <a:buChar char="•"/>
              <a:defRPr/>
            </a:pPr>
            <a:r>
              <a:rPr lang="en-GB" dirty="0"/>
              <a:t>Fidelity Investments is the trading name of FMR LLC, a US company serving clients in North America.</a:t>
            </a:r>
          </a:p>
          <a:p>
            <a:pPr marL="171213" indent="-171213" defTabSz="456569">
              <a:buFont typeface="Arial" panose="020B0604020202020204" pitchFamily="34" charset="0"/>
              <a:buChar char="•"/>
              <a:defRPr/>
            </a:pPr>
            <a:r>
              <a:rPr lang="en-GB" dirty="0"/>
              <a:t>Fidelity International and Fidelity Investments are separate and independent companies that have overlapping ownership interests.</a:t>
            </a:r>
          </a:p>
          <a:p>
            <a:pPr marL="171213" indent="-171213" defTabSz="456569">
              <a:buFont typeface="Arial" panose="020B0604020202020204" pitchFamily="34" charset="0"/>
              <a:buChar char="•"/>
              <a:defRPr/>
            </a:pPr>
            <a:r>
              <a:rPr lang="en-GB" dirty="0"/>
              <a:t>Fidelity Canada (shown in light blue) is an FIL and FMR joint venture.</a:t>
            </a:r>
          </a:p>
          <a:p>
            <a:pPr marL="171213" indent="-171213" defTabSz="456569">
              <a:buFont typeface="Arial" panose="020B0604020202020204" pitchFamily="34" charset="0"/>
              <a:buChar char="•"/>
              <a:defRPr/>
            </a:pPr>
            <a:r>
              <a:rPr lang="en-GB" dirty="0"/>
              <a:t>Previously wholly owned by FMR, Fidelity Canada has been operationally separate since entering the joint venture in December 2015 and comprises Fidelity Investments Canada (FIC), Fidelity Clearing Canada (FCC), and Team Canada, a stand-alone Canadian equity investment team.</a:t>
            </a:r>
          </a:p>
          <a:p>
            <a:pPr marL="171213" indent="-171213" defTabSz="456569">
              <a:buFont typeface="Arial" panose="020B0604020202020204" pitchFamily="34" charset="0"/>
              <a:buChar char="•"/>
              <a:defRPr/>
            </a:pPr>
            <a:r>
              <a:rPr lang="en-GB" dirty="0"/>
              <a:t>We have a common heritage and a common outlook in terms of our singular focus on our clients. </a:t>
            </a:r>
            <a:br>
              <a:rPr lang="en-GB" dirty="0"/>
            </a:br>
            <a:r>
              <a:rPr lang="en-GB" dirty="0"/>
              <a:t>Fidelity International was initially a part of Fidelity Investments, but became wholly independent in 1980. The two companies collaborate on a commercial terms basis, when it is in their clients’ interests to do so – for example in the areas of serving institutional clients, pension funds and company pension schemes this means that the two companies often create a joint service offering across countries. Or that Fidelity International is the exclusive distributor for Fidelity Investments institutional product range outside of North America.</a:t>
            </a:r>
          </a:p>
          <a:p>
            <a:pPr marL="171213" indent="-171213" defTabSz="456569">
              <a:buFont typeface="Arial" panose="020B0604020202020204" pitchFamily="34" charset="0"/>
              <a:buChar char="•"/>
              <a:defRPr/>
            </a:pPr>
            <a:r>
              <a:rPr lang="en-GB" dirty="0"/>
              <a:t>Broadly, we serve all regions globally except for North America; whereas Fidelity Investments covers the USA and Canada. In late 2015, Fidelity International launched a joint venture with Fidelity Investments (FMR) to create a new, Canadian-focused organisation, Fidelity Canada, which remains operationally separate from the rest of Fidelity International.</a:t>
            </a:r>
          </a:p>
          <a:p>
            <a:pPr defTabSz="456569">
              <a:defRPr/>
            </a:pPr>
            <a:endParaRPr lang="en-GB" b="1" dirty="0"/>
          </a:p>
          <a:p>
            <a:pPr defTabSz="456569">
              <a:defRPr/>
            </a:pPr>
            <a:r>
              <a:rPr lang="en-GB" b="1" dirty="0"/>
              <a:t>Think</a:t>
            </a:r>
            <a:r>
              <a:rPr lang="en-GB" dirty="0"/>
              <a:t>:</a:t>
            </a:r>
            <a:r>
              <a:rPr lang="en-GB" baseline="0" dirty="0"/>
              <a:t> But wasn’t there another Fidelity? Right…</a:t>
            </a:r>
          </a:p>
          <a:p>
            <a:pPr defTabSz="456569">
              <a:defRPr/>
            </a:pPr>
            <a:endParaRPr lang="en-GB" dirty="0"/>
          </a:p>
          <a:p>
            <a:r>
              <a:rPr lang="en-GB" b="1" i="0" dirty="0"/>
              <a:t>Feel</a:t>
            </a:r>
            <a:r>
              <a:rPr lang="en-GB" dirty="0"/>
              <a:t>: Good to get this clarified</a:t>
            </a:r>
            <a:r>
              <a:rPr lang="en-GB" baseline="0" dirty="0"/>
              <a:t> as well.</a:t>
            </a:r>
          </a:p>
          <a:p>
            <a:endParaRPr lang="en-GB" dirty="0"/>
          </a:p>
          <a:p>
            <a:r>
              <a:rPr lang="en-GB" b="1" dirty="0"/>
              <a:t>Do</a:t>
            </a:r>
            <a:r>
              <a:rPr lang="en-GB" dirty="0"/>
              <a:t>: Make sure you always refer to </a:t>
            </a:r>
            <a:r>
              <a:rPr lang="en-GB" i="1" dirty="0"/>
              <a:t>Fidelity International </a:t>
            </a:r>
            <a:r>
              <a:rPr lang="en-GB" dirty="0"/>
              <a:t>when you think there could be a danger of confusion between the US Fidelity Investments and us. Volunteer to explain the difference and relationship to colleagues, clients, friends</a:t>
            </a:r>
            <a:r>
              <a:rPr lang="en-GB" baseline="0" dirty="0"/>
              <a:t> and family who are confused.</a:t>
            </a:r>
            <a:endParaRPr lang="en-GB" dirty="0"/>
          </a:p>
        </p:txBody>
      </p:sp>
      <p:sp>
        <p:nvSpPr>
          <p:cNvPr id="4" name="Espace réservé du numéro de diapositive 3"/>
          <p:cNvSpPr>
            <a:spLocks noGrp="1"/>
          </p:cNvSpPr>
          <p:nvPr>
            <p:ph type="sldNum" sz="quarter" idx="5"/>
          </p:nvPr>
        </p:nvSpPr>
        <p:spPr/>
        <p:txBody>
          <a:bodyPr/>
          <a:lstStyle/>
          <a:p>
            <a:fld id="{A16CFAD1-D197-4A88-B173-A6412E995EE5}"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1394292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defTabSz="685783">
              <a:spcAft>
                <a:spcPts val="600"/>
              </a:spcAft>
              <a:buFont typeface="Wingdings" pitchFamily="2" charset="2"/>
              <a:buChar char="§"/>
            </a:pPr>
            <a:r>
              <a:rPr lang="fr-FR" altLang="en-US" sz="1200" kern="1200" dirty="0">
                <a:solidFill>
                  <a:schemeClr val="tx1"/>
                </a:solidFill>
                <a:latin typeface="+mn-lt"/>
                <a:ea typeface="+mn-ea"/>
                <a:cs typeface="Arial" panose="020B0604020202020204" pitchFamily="34" charset="0"/>
              </a:rPr>
              <a:t>Gage de stabilité et vision de long terme</a:t>
            </a:r>
          </a:p>
          <a:p>
            <a:pPr marL="171450" indent="-171450" defTabSz="685783">
              <a:spcAft>
                <a:spcPts val="600"/>
              </a:spcAft>
              <a:buFont typeface="Wingdings" pitchFamily="2" charset="2"/>
              <a:buChar char="§"/>
            </a:pPr>
            <a:r>
              <a:rPr lang="fr-FR" altLang="en-US" sz="1200" kern="1200" dirty="0">
                <a:solidFill>
                  <a:schemeClr val="tx1"/>
                </a:solidFill>
                <a:latin typeface="+mn-lt"/>
                <a:ea typeface="+mn-ea"/>
                <a:cs typeface="Arial" panose="020B0604020202020204" pitchFamily="34" charset="0"/>
              </a:rPr>
              <a:t>Investir pour le compte des clients uniquement</a:t>
            </a:r>
          </a:p>
          <a:p>
            <a:pPr marL="171450" indent="-171450" defTabSz="685783">
              <a:spcAft>
                <a:spcPts val="600"/>
              </a:spcAft>
              <a:buFont typeface="Wingdings" pitchFamily="2" charset="2"/>
              <a:buChar char="§"/>
            </a:pPr>
            <a:r>
              <a:rPr lang="fr-FR" altLang="en-US" sz="1200" dirty="0">
                <a:latin typeface="+mj-lt"/>
                <a:cs typeface="Arial" panose="020B0604020202020204" pitchFamily="34" charset="0"/>
              </a:rPr>
              <a:t>Des convictions fondées sur le réseau propriétaire de recherche</a:t>
            </a:r>
          </a:p>
          <a:p>
            <a:pPr defTabSz="456569">
              <a:defRPr/>
            </a:pPr>
            <a:endParaRPr lang="en-GB" dirty="0"/>
          </a:p>
          <a:p>
            <a:pPr algn="just" defTabSz="685783">
              <a:spcAft>
                <a:spcPts val="600"/>
              </a:spcAft>
            </a:pPr>
            <a:r>
              <a:rPr lang="fr-FR" altLang="en-US" sz="1200" dirty="0">
                <a:latin typeface="+mj-lt"/>
                <a:cs typeface="Arial" panose="020B0604020202020204" pitchFamily="34" charset="0"/>
              </a:rPr>
              <a:t>* plus de </a:t>
            </a:r>
            <a:r>
              <a:rPr lang="fr-FR" altLang="en-US" sz="1200" b="1" dirty="0">
                <a:latin typeface="+mj-lt"/>
                <a:cs typeface="Arial" panose="020B0604020202020204" pitchFamily="34" charset="0"/>
              </a:rPr>
              <a:t>400 professionnels</a:t>
            </a:r>
            <a:r>
              <a:rPr lang="fr-FR" altLang="en-US" sz="1200" baseline="30000" dirty="0">
                <a:latin typeface="+mj-lt"/>
                <a:cs typeface="Arial" panose="020B0604020202020204" pitchFamily="34" charset="0"/>
              </a:rPr>
              <a:t>1</a:t>
            </a:r>
            <a:r>
              <a:rPr lang="fr-FR" altLang="en-US" sz="1200" b="1" dirty="0">
                <a:latin typeface="+mj-lt"/>
                <a:cs typeface="Arial" panose="020B0604020202020204" pitchFamily="34" charset="0"/>
              </a:rPr>
              <a:t> </a:t>
            </a:r>
            <a:r>
              <a:rPr lang="fr-FR" altLang="en-US" sz="1200" dirty="0">
                <a:latin typeface="+mj-lt"/>
                <a:cs typeface="Arial" panose="020B0604020202020204" pitchFamily="34" charset="0"/>
              </a:rPr>
              <a:t>de l’investissement </a:t>
            </a:r>
          </a:p>
          <a:p>
            <a:pPr marL="171450" indent="-171450" algn="just" defTabSz="685783" fontAlgn="auto">
              <a:spcAft>
                <a:spcPts val="600"/>
              </a:spcAft>
              <a:buFont typeface="Wingdings" pitchFamily="2" charset="2"/>
              <a:buChar char="§"/>
            </a:pPr>
            <a:r>
              <a:rPr lang="fr-FR" altLang="en-US" sz="1200" b="1" dirty="0">
                <a:latin typeface="+mj-lt"/>
                <a:cs typeface="Arial" panose="020B0604020202020204" pitchFamily="34" charset="0"/>
              </a:rPr>
              <a:t>180 analystes</a:t>
            </a:r>
            <a:r>
              <a:rPr lang="fr-FR" altLang="en-US" sz="1200" dirty="0">
                <a:latin typeface="+mj-lt"/>
                <a:cs typeface="Arial" panose="020B0604020202020204" pitchFamily="34" charset="0"/>
              </a:rPr>
              <a:t> sur toutes les classes d’actifs</a:t>
            </a:r>
          </a:p>
          <a:p>
            <a:pPr marL="171450" indent="-171450" algn="just" defTabSz="685783" fontAlgn="auto">
              <a:spcAft>
                <a:spcPts val="600"/>
              </a:spcAft>
              <a:buFont typeface="Wingdings" pitchFamily="2" charset="2"/>
              <a:buChar char="§"/>
            </a:pPr>
            <a:r>
              <a:rPr lang="fr-FR" altLang="en-US" sz="1200" dirty="0">
                <a:latin typeface="+mj-lt"/>
                <a:cs typeface="Arial" panose="020B0604020202020204" pitchFamily="34" charset="0"/>
              </a:rPr>
              <a:t>Une analyse ESG intégrée à la recherche fondamentale globale</a:t>
            </a:r>
          </a:p>
          <a:p>
            <a:pPr defTabSz="456569">
              <a:defRPr/>
            </a:pPr>
            <a:endParaRPr lang="en-GB" dirty="0"/>
          </a:p>
        </p:txBody>
      </p:sp>
      <p:sp>
        <p:nvSpPr>
          <p:cNvPr id="4" name="Espace réservé du numéro de diapositive 3"/>
          <p:cNvSpPr>
            <a:spLocks noGrp="1"/>
          </p:cNvSpPr>
          <p:nvPr>
            <p:ph type="sldNum" sz="quarter" idx="5"/>
          </p:nvPr>
        </p:nvSpPr>
        <p:spPr/>
        <p:txBody>
          <a:bodyPr/>
          <a:lstStyle/>
          <a:p>
            <a:pPr defTabSz="914400" fontAlgn="auto">
              <a:spcBef>
                <a:spcPts val="0"/>
              </a:spcBef>
              <a:spcAft>
                <a:spcPts val="0"/>
              </a:spcAft>
              <a:defRPr/>
            </a:pPr>
            <a:fld id="{A16CFAD1-D197-4A88-B173-A6412E995EE5}" type="slidenum">
              <a:rPr lang="en-GB" sz="1000" b="0" smtClean="0">
                <a:solidFill>
                  <a:srgbClr val="000000"/>
                </a:solidFill>
                <a:latin typeface="Arial"/>
                <a:cs typeface="+mn-cs"/>
              </a:rPr>
              <a:pPr defTabSz="914400" fontAlgn="auto">
                <a:spcBef>
                  <a:spcPts val="0"/>
                </a:spcBef>
                <a:spcAft>
                  <a:spcPts val="0"/>
                </a:spcAft>
                <a:defRPr/>
              </a:pPr>
              <a:t>18</a:t>
            </a:fld>
            <a:endParaRPr lang="en-GB" sz="1000" b="0">
              <a:solidFill>
                <a:srgbClr val="000000"/>
              </a:solidFill>
              <a:latin typeface="Arial"/>
              <a:cs typeface="+mn-cs"/>
            </a:endParaRPr>
          </a:p>
        </p:txBody>
      </p:sp>
    </p:spTree>
    <p:extLst>
      <p:ext uri="{BB962C8B-B14F-4D97-AF65-F5344CB8AC3E}">
        <p14:creationId xmlns:p14="http://schemas.microsoft.com/office/powerpoint/2010/main" val="1802345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2813" rtl="0" eaLnBrk="0" fontAlgn="base" latinLnBrk="0" hangingPunct="0">
              <a:lnSpc>
                <a:spcPct val="100000"/>
              </a:lnSpc>
              <a:spcBef>
                <a:spcPct val="30000"/>
              </a:spcBef>
              <a:spcAft>
                <a:spcPct val="0"/>
              </a:spcAft>
              <a:buClrTx/>
              <a:buSzTx/>
              <a:buFontTx/>
              <a:buNone/>
              <a:tabLst/>
              <a:defRPr/>
            </a:pPr>
            <a:r>
              <a:rPr lang="fr-FR" dirty="0"/>
              <a:t>Parler des projets de </a:t>
            </a:r>
            <a:r>
              <a:rPr lang="fr-FR" dirty="0" err="1"/>
              <a:t>Fidelity</a:t>
            </a:r>
            <a:r>
              <a:rPr lang="fr-FR" dirty="0"/>
              <a:t> en France</a:t>
            </a:r>
          </a:p>
        </p:txBody>
      </p:sp>
      <p:sp>
        <p:nvSpPr>
          <p:cNvPr id="4" name="Espace réservé du numéro de diapositive 3"/>
          <p:cNvSpPr>
            <a:spLocks noGrp="1"/>
          </p:cNvSpPr>
          <p:nvPr>
            <p:ph type="sldNum" sz="quarter" idx="5"/>
          </p:nvPr>
        </p:nvSpPr>
        <p:spPr/>
        <p:txBody>
          <a:bodyPr/>
          <a:lstStyle/>
          <a:p>
            <a:pPr defTabSz="914400" fontAlgn="auto">
              <a:spcBef>
                <a:spcPts val="0"/>
              </a:spcBef>
              <a:spcAft>
                <a:spcPts val="0"/>
              </a:spcAft>
              <a:defRPr/>
            </a:pPr>
            <a:fld id="{A16CFAD1-D197-4A88-B173-A6412E995EE5}" type="slidenum">
              <a:rPr lang="en-GB" sz="1000" b="0" smtClean="0">
                <a:solidFill>
                  <a:srgbClr val="000000"/>
                </a:solidFill>
                <a:latin typeface="Arial"/>
                <a:cs typeface="+mn-cs"/>
              </a:rPr>
              <a:pPr defTabSz="914400" fontAlgn="auto">
                <a:spcBef>
                  <a:spcPts val="0"/>
                </a:spcBef>
                <a:spcAft>
                  <a:spcPts val="0"/>
                </a:spcAft>
                <a:defRPr/>
              </a:pPr>
              <a:t>20</a:t>
            </a:fld>
            <a:endParaRPr lang="en-GB" sz="1000" b="0">
              <a:solidFill>
                <a:srgbClr val="000000"/>
              </a:solidFill>
              <a:latin typeface="Arial"/>
              <a:cs typeface="+mn-cs"/>
            </a:endParaRPr>
          </a:p>
        </p:txBody>
      </p:sp>
    </p:spTree>
    <p:extLst>
      <p:ext uri="{BB962C8B-B14F-4D97-AF65-F5344CB8AC3E}">
        <p14:creationId xmlns:p14="http://schemas.microsoft.com/office/powerpoint/2010/main" val="1772505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1CE56DAA-BB3D-F946-9706-04EB48E9A0B2}" type="slidenum">
              <a:rPr lang="en-GB" smtClean="0">
                <a:solidFill>
                  <a:prstClr val="black"/>
                </a:solidFill>
              </a:rPr>
              <a:pPr>
                <a:defRPr/>
              </a:pPr>
              <a:t>22</a:t>
            </a:fld>
            <a:endParaRPr lang="en-GB" dirty="0">
              <a:solidFill>
                <a:prstClr val="black"/>
              </a:solidFill>
            </a:endParaRPr>
          </a:p>
        </p:txBody>
      </p:sp>
      <p:sp>
        <p:nvSpPr>
          <p:cNvPr id="3" name="Notes Placeholder 2">
            <a:extLst>
              <a:ext uri="{FF2B5EF4-FFF2-40B4-BE49-F238E27FC236}">
                <a16:creationId xmlns:a16="http://schemas.microsoft.com/office/drawing/2014/main" id="{CBFCDABF-CB32-4680-A6EC-0870635C8E8A}"/>
              </a:ext>
            </a:extLst>
          </p:cNvPr>
          <p:cNvSpPr>
            <a:spLocks noGrp="1"/>
          </p:cNvSpPr>
          <p:nvPr>
            <p:ph type="body" idx="1"/>
          </p:nvPr>
        </p:nvSpPr>
        <p:spPr/>
        <p:txBody>
          <a:bodyPr/>
          <a:lstStyle/>
          <a:p>
            <a:r>
              <a:rPr lang="en-US" sz="1200" kern="1200" dirty="0">
                <a:solidFill>
                  <a:schemeClr val="tx1"/>
                </a:solidFill>
                <a:effectLst/>
                <a:latin typeface="Arial" charset="0"/>
                <a:ea typeface="ＭＳ Ｐゴシック" charset="0"/>
                <a:cs typeface="ＭＳ Ｐゴシック" charset="0"/>
              </a:rPr>
              <a:t>Linked to this is the strength of Fidelity’s global propriety research network—with analysts based in Europe, North America, and Asia—and combination of experienced career analysts covering the sector along with the fresh perspectives provided by our analyst rotation policy across sectors. This means companies across the whole sector receive consistent analyst coverage, unlike at many rival firms which may focus more on big names to the exclusion of smaller, lesser known stocks. This ties in with Hyun Ho’s bias towards investing in mid and small cap names, where he generally see better long term growth opportunities and M&amp;A potential in comparison with large and mega cap names; over his tenure substantial alpha has been generated from investments in companies which have later been bought out (LinkedIn, RedHat, </a:t>
            </a:r>
            <a:r>
              <a:rPr lang="en-US" sz="1200" kern="1200" dirty="0" err="1">
                <a:solidFill>
                  <a:schemeClr val="tx1"/>
                </a:solidFill>
                <a:effectLst/>
                <a:latin typeface="Arial" charset="0"/>
                <a:ea typeface="ＭＳ Ｐゴシック" charset="0"/>
                <a:cs typeface="ＭＳ Ｐゴシック" charset="0"/>
              </a:rPr>
              <a:t>etc</a:t>
            </a:r>
            <a:r>
              <a:rPr lang="en-US" sz="1200" kern="1200" dirty="0">
                <a:solidFill>
                  <a:schemeClr val="tx1"/>
                </a:solidFill>
                <a:effectLst/>
                <a:latin typeface="Arial" charset="0"/>
                <a:ea typeface="ＭＳ Ｐゴシック" charset="0"/>
                <a:cs typeface="ＭＳ Ｐゴシック" charset="0"/>
              </a:rPr>
              <a:t>), and where our global research base allows him to take a global approach to investing in the sector. The fund has more exposure to opportunities outside the US than many rivals, and our research has been very good at spotting emerging trends like China’s drive for technological self-sufficiency and the strength of certain Chinese businesses in areas like ecommerce and payments.       </a:t>
            </a:r>
            <a:endParaRPr lang="en-GB" dirty="0"/>
          </a:p>
        </p:txBody>
      </p:sp>
    </p:spTree>
    <p:extLst>
      <p:ext uri="{BB962C8B-B14F-4D97-AF65-F5344CB8AC3E}">
        <p14:creationId xmlns:p14="http://schemas.microsoft.com/office/powerpoint/2010/main" val="1003262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4090C0-F840-6A4E-BF95-FB7780DC5077}" type="slidenum">
              <a:rPr lang="en-US" smtClean="0">
                <a:solidFill>
                  <a:prstClr val="black"/>
                </a:solidFill>
              </a:rPr>
              <a:pPr/>
              <a:t>23</a:t>
            </a:fld>
            <a:endParaRPr lang="fr-FR" dirty="0">
              <a:solidFill>
                <a:prstClr val="black"/>
              </a:solidFill>
            </a:endParaRPr>
          </a:p>
        </p:txBody>
      </p:sp>
    </p:spTree>
    <p:extLst>
      <p:ext uri="{BB962C8B-B14F-4D97-AF65-F5344CB8AC3E}">
        <p14:creationId xmlns:p14="http://schemas.microsoft.com/office/powerpoint/2010/main" val="45406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2BB1306-A6E8-4A7C-A65A-AAA0848EBE6E}" type="slidenum">
              <a:rPr lang="en-GB" smtClean="0">
                <a:solidFill>
                  <a:prstClr val="black"/>
                </a:solidFill>
              </a:rPr>
              <a:pPr>
                <a:defRPr/>
              </a:pPr>
              <a:t>24</a:t>
            </a:fld>
            <a:endParaRPr lang="en-GB" dirty="0">
              <a:solidFill>
                <a:prstClr val="black"/>
              </a:solidFill>
            </a:endParaRPr>
          </a:p>
        </p:txBody>
      </p:sp>
    </p:spTree>
    <p:extLst>
      <p:ext uri="{BB962C8B-B14F-4D97-AF65-F5344CB8AC3E}">
        <p14:creationId xmlns:p14="http://schemas.microsoft.com/office/powerpoint/2010/main" val="1767839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p:cNvSpPr>
            <a:spLocks noGrp="1" noRot="1" noChangeAspect="1" noTextEdit="1"/>
          </p:cNvSpPr>
          <p:nvPr>
            <p:ph type="sldImg"/>
          </p:nvPr>
        </p:nvSpPr>
        <p:spPr bwMode="auto">
          <a:xfrm>
            <a:off x="1141413" y="685800"/>
            <a:ext cx="4575175" cy="3430588"/>
          </a:xfrm>
          <a:prstGeom prst="rect">
            <a:avLst/>
          </a:prstGeom>
          <a:noFill/>
          <a:ln>
            <a:solidFill>
              <a:srgbClr val="000000"/>
            </a:solidFill>
            <a:miter lim="800000"/>
            <a:headEnd/>
            <a:tailEnd/>
          </a:ln>
        </p:spPr>
      </p:sp>
      <p:sp>
        <p:nvSpPr>
          <p:cNvPr id="103426" name="Notes Placeholder 2"/>
          <p:cNvSpPr>
            <a:spLocks noGrp="1"/>
          </p:cNvSpPr>
          <p:nvPr>
            <p:ph type="body" idx="1"/>
          </p:nvPr>
        </p:nvSpPr>
        <p:spPr bwMode="auto">
          <a:xfrm>
            <a:off x="685483" y="4343913"/>
            <a:ext cx="5487041" cy="4115823"/>
          </a:xfrm>
          <a:noFill/>
        </p:spPr>
        <p:txBody>
          <a:bodyPr lIns="91397" tIns="45697" rIns="91397" bIns="45697"/>
          <a:lstStyle/>
          <a:p>
            <a:pPr defTabSz="914254">
              <a:spcBef>
                <a:spcPct val="0"/>
              </a:spcBef>
            </a:pPr>
            <a:r>
              <a:rPr lang="en-US" dirty="0" err="1">
                <a:latin typeface="Arial" charset="0"/>
              </a:rPr>
              <a:t>Fonds</a:t>
            </a:r>
            <a:r>
              <a:rPr lang="en-US" dirty="0">
                <a:latin typeface="Arial" charset="0"/>
              </a:rPr>
              <a:t> global qui </a:t>
            </a:r>
            <a:r>
              <a:rPr lang="en-US" dirty="0" err="1">
                <a:latin typeface="Arial" charset="0"/>
              </a:rPr>
              <a:t>investit</a:t>
            </a:r>
            <a:r>
              <a:rPr lang="en-US" dirty="0">
                <a:latin typeface="Arial" charset="0"/>
              </a:rPr>
              <a:t> sur les pays </a:t>
            </a:r>
            <a:r>
              <a:rPr lang="en-US" dirty="0" err="1">
                <a:latin typeface="Arial" charset="0"/>
              </a:rPr>
              <a:t>développés</a:t>
            </a:r>
            <a:endParaRPr lang="en-US" dirty="0">
              <a:latin typeface="Arial" charset="0"/>
            </a:endParaRPr>
          </a:p>
          <a:p>
            <a:pPr defTabSz="914254">
              <a:spcBef>
                <a:spcPct val="0"/>
              </a:spcBef>
            </a:pPr>
            <a:r>
              <a:rPr lang="en-US" dirty="0" err="1">
                <a:latin typeface="Arial" charset="0"/>
              </a:rPr>
              <a:t>Fonds</a:t>
            </a:r>
            <a:r>
              <a:rPr lang="en-US" dirty="0">
                <a:latin typeface="Arial" charset="0"/>
              </a:rPr>
              <a:t> de forte conviction avec </a:t>
            </a:r>
            <a:r>
              <a:rPr lang="en-US" dirty="0" err="1">
                <a:latin typeface="Arial" charset="0"/>
              </a:rPr>
              <a:t>une</a:t>
            </a:r>
            <a:r>
              <a:rPr lang="en-US" dirty="0">
                <a:latin typeface="Arial" charset="0"/>
              </a:rPr>
              <a:t> </a:t>
            </a:r>
            <a:r>
              <a:rPr lang="en-US" dirty="0" err="1">
                <a:latin typeface="Arial" charset="0"/>
              </a:rPr>
              <a:t>gestion</a:t>
            </a:r>
            <a:r>
              <a:rPr lang="en-US" dirty="0">
                <a:latin typeface="Arial" charset="0"/>
              </a:rPr>
              <a:t> active</a:t>
            </a:r>
          </a:p>
          <a:p>
            <a:pPr defTabSz="914254">
              <a:spcBef>
                <a:spcPct val="0"/>
              </a:spcBef>
            </a:pPr>
            <a:r>
              <a:rPr lang="en-US" dirty="0">
                <a:latin typeface="Arial" charset="0"/>
              </a:rPr>
              <a:t>Non </a:t>
            </a:r>
            <a:r>
              <a:rPr lang="en-US" dirty="0" err="1">
                <a:latin typeface="Arial" charset="0"/>
              </a:rPr>
              <a:t>contraint</a:t>
            </a:r>
            <a:r>
              <a:rPr lang="en-US" dirty="0">
                <a:latin typeface="Arial" charset="0"/>
              </a:rPr>
              <a:t> par rapport à son </a:t>
            </a:r>
            <a:r>
              <a:rPr lang="en-US" dirty="0" err="1">
                <a:latin typeface="Arial" charset="0"/>
              </a:rPr>
              <a:t>indice</a:t>
            </a:r>
            <a:r>
              <a:rPr lang="en-US" dirty="0">
                <a:latin typeface="Arial" charset="0"/>
              </a:rPr>
              <a:t> de </a:t>
            </a:r>
            <a:r>
              <a:rPr lang="en-US" dirty="0" err="1">
                <a:latin typeface="Arial" charset="0"/>
              </a:rPr>
              <a:t>réference</a:t>
            </a:r>
            <a:endParaRPr lang="en-US" dirty="0">
              <a:latin typeface="Arial" charset="0"/>
            </a:endParaRPr>
          </a:p>
          <a:p>
            <a:pPr defTabSz="914254">
              <a:spcBef>
                <a:spcPct val="0"/>
              </a:spcBef>
            </a:pPr>
            <a:r>
              <a:rPr lang="en-US" dirty="0">
                <a:latin typeface="Arial" charset="0"/>
              </a:rPr>
              <a:t>Et surtout </a:t>
            </a:r>
            <a:r>
              <a:rPr lang="en-US" dirty="0" err="1">
                <a:latin typeface="Arial" charset="0"/>
              </a:rPr>
              <a:t>une</a:t>
            </a:r>
            <a:r>
              <a:rPr lang="en-US" dirty="0">
                <a:latin typeface="Arial" charset="0"/>
              </a:rPr>
              <a:t> structure du </a:t>
            </a:r>
            <a:r>
              <a:rPr lang="en-US" dirty="0" err="1">
                <a:latin typeface="Arial" charset="0"/>
              </a:rPr>
              <a:t>portefeuille</a:t>
            </a:r>
            <a:r>
              <a:rPr lang="en-US" dirty="0">
                <a:latin typeface="Arial" charset="0"/>
              </a:rPr>
              <a:t> simple avec 3 </a:t>
            </a:r>
            <a:r>
              <a:rPr lang="en-US" dirty="0" err="1">
                <a:latin typeface="Arial" charset="0"/>
              </a:rPr>
              <a:t>poches</a:t>
            </a:r>
            <a:r>
              <a:rPr lang="en-US" dirty="0">
                <a:latin typeface="Arial" charset="0"/>
              </a:rPr>
              <a:t> </a:t>
            </a:r>
            <a:r>
              <a:rPr lang="en-US" dirty="0" err="1">
                <a:latin typeface="Arial" charset="0"/>
              </a:rPr>
              <a:t>dynamiques</a:t>
            </a:r>
            <a:r>
              <a:rPr lang="en-US" dirty="0">
                <a:latin typeface="Arial" charset="0"/>
              </a:rPr>
              <a:t>….</a:t>
            </a:r>
          </a:p>
        </p:txBody>
      </p:sp>
      <p:sp>
        <p:nvSpPr>
          <p:cNvPr id="103427" name="Slide Number Placeholder 3"/>
          <p:cNvSpPr txBox="1">
            <a:spLocks noGrp="1"/>
          </p:cNvSpPr>
          <p:nvPr/>
        </p:nvSpPr>
        <p:spPr bwMode="auto">
          <a:xfrm>
            <a:off x="3883853" y="8684901"/>
            <a:ext cx="2972547" cy="457640"/>
          </a:xfrm>
          <a:prstGeom prst="rect">
            <a:avLst/>
          </a:prstGeom>
          <a:noFill/>
          <a:ln w="9525">
            <a:noFill/>
            <a:miter lim="800000"/>
            <a:headEnd/>
            <a:tailEnd/>
          </a:ln>
        </p:spPr>
        <p:txBody>
          <a:bodyPr lIns="91537" tIns="45769" rIns="91537" bIns="45769" anchor="b"/>
          <a:lstStyle/>
          <a:p>
            <a:pPr algn="r" defTabSz="912813" eaLnBrk="0" fontAlgn="base" hangingPunct="0">
              <a:lnSpc>
                <a:spcPct val="110000"/>
              </a:lnSpc>
              <a:spcBef>
                <a:spcPct val="0"/>
              </a:spcBef>
              <a:spcAft>
                <a:spcPct val="0"/>
              </a:spcAft>
              <a:buClr>
                <a:srgbClr val="01286D"/>
              </a:buClr>
              <a:buSzPct val="80000"/>
              <a:buFont typeface="Wingdings" pitchFamily="2" charset="2"/>
              <a:buNone/>
              <a:defRPr/>
            </a:pPr>
            <a:fld id="{BB48A7AE-51BC-420B-9AD6-761EF71E7D71}" type="slidenum">
              <a:rPr lang="en-GB" sz="1200" b="1">
                <a:solidFill>
                  <a:srgbClr val="000000"/>
                </a:solidFill>
                <a:latin typeface="Arial" charset="0"/>
                <a:ea typeface="MS PGothic"/>
                <a:cs typeface="MS PGothic"/>
              </a:rPr>
              <a:pPr algn="r" defTabSz="912813" eaLnBrk="0" fontAlgn="base" hangingPunct="0">
                <a:lnSpc>
                  <a:spcPct val="110000"/>
                </a:lnSpc>
                <a:spcBef>
                  <a:spcPct val="0"/>
                </a:spcBef>
                <a:spcAft>
                  <a:spcPct val="0"/>
                </a:spcAft>
                <a:buClr>
                  <a:srgbClr val="01286D"/>
                </a:buClr>
                <a:buSzPct val="80000"/>
                <a:buFont typeface="Wingdings" pitchFamily="2" charset="2"/>
                <a:buNone/>
                <a:defRPr/>
              </a:pPr>
              <a:t>25</a:t>
            </a:fld>
            <a:endParaRPr lang="en-GB" sz="1200" b="1" dirty="0">
              <a:solidFill>
                <a:srgbClr val="000000"/>
              </a:solidFill>
              <a:latin typeface="Arial" charset="0"/>
              <a:ea typeface="MS PGothic"/>
              <a:cs typeface="MS PGothic"/>
            </a:endParaRPr>
          </a:p>
        </p:txBody>
      </p:sp>
    </p:spTree>
    <p:extLst>
      <p:ext uri="{BB962C8B-B14F-4D97-AF65-F5344CB8AC3E}">
        <p14:creationId xmlns:p14="http://schemas.microsoft.com/office/powerpoint/2010/main" val="3218584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32742513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2237959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2549082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42223"/>
            <a:ext cx="9144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912813" fontAlgn="base">
              <a:spcBef>
                <a:spcPct val="0"/>
              </a:spcBef>
              <a:spcAft>
                <a:spcPct val="0"/>
              </a:spcAft>
            </a:pPr>
            <a:endParaRPr lang="en-US" sz="1500" b="1" dirty="0" err="1">
              <a:solidFill>
                <a:srgbClr val="FFFFFF"/>
              </a:solidFill>
            </a:endParaRPr>
          </a:p>
        </p:txBody>
      </p:sp>
      <p:pic>
        <p:nvPicPr>
          <p:cNvPr id="14" name="Picture 9">
            <a:extLst>
              <a:ext uri="{FF2B5EF4-FFF2-40B4-BE49-F238E27FC236}">
                <a16:creationId xmlns:a16="http://schemas.microsoft.com/office/drawing/2014/main" id="{7F350792-87A8-F049-8B7D-49F4739641BF}"/>
              </a:ext>
            </a:extLst>
          </p:cNvPr>
          <p:cNvPicPr>
            <a:picLocks noChangeAspect="1"/>
          </p:cNvPicPr>
          <p:nvPr userDrawn="1"/>
        </p:nvPicPr>
        <p:blipFill rotWithShape="1">
          <a:blip r:embed="rId2" cstate="email">
            <a:alphaModFix amt="40000"/>
            <a:extLst>
              <a:ext uri="{28A0092B-C50C-407E-A947-70E740481C1C}">
                <a14:useLocalDpi xmlns:a14="http://schemas.microsoft.com/office/drawing/2010/main" val="0"/>
              </a:ext>
            </a:extLst>
          </a:blip>
          <a:srcRect r="50539"/>
          <a:stretch/>
        </p:blipFill>
        <p:spPr>
          <a:xfrm>
            <a:off x="5048165" y="1807199"/>
            <a:ext cx="4095836" cy="3405600"/>
          </a:xfrm>
          <a:prstGeom prst="rect">
            <a:avLst/>
          </a:prstGeom>
        </p:spPr>
      </p:pic>
      <p:sp>
        <p:nvSpPr>
          <p:cNvPr id="30" name="Freeform: Shape 29">
            <a:extLst>
              <a:ext uri="{FF2B5EF4-FFF2-40B4-BE49-F238E27FC236}">
                <a16:creationId xmlns:a16="http://schemas.microsoft.com/office/drawing/2014/main" id="{88AF24A0-71B1-475F-8122-C3EEF8F042B2}"/>
              </a:ext>
            </a:extLst>
          </p:cNvPr>
          <p:cNvSpPr/>
          <p:nvPr userDrawn="1"/>
        </p:nvSpPr>
        <p:spPr>
          <a:xfrm>
            <a:off x="0" y="1806577"/>
            <a:ext cx="5628320" cy="3409200"/>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algn="ctr" defTabSz="912813" fontAlgn="base">
              <a:spcBef>
                <a:spcPct val="0"/>
              </a:spcBef>
              <a:spcAft>
                <a:spcPct val="0"/>
              </a:spcAft>
            </a:pPr>
            <a:endParaRPr lang="en-US" sz="1500" b="1" dirty="0" err="1">
              <a:solidFill>
                <a:srgbClr val="FFFFFF"/>
              </a:solidFill>
            </a:endParaRPr>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972742" y="3161507"/>
            <a:ext cx="372071"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954883" y="3331030"/>
            <a:ext cx="4112981" cy="774701"/>
          </a:xfrm>
        </p:spPr>
        <p:txBody>
          <a:bodyPr/>
          <a:lstStyle>
            <a:lvl1pPr marL="0" indent="0" algn="l">
              <a:spcBef>
                <a:spcPts val="0"/>
              </a:spcBef>
              <a:buFont typeface="Arial" panose="020B0604020202020204" pitchFamily="34" charset="0"/>
              <a:buNone/>
              <a:defRPr sz="15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endParaRPr lang="en-US" dirty="0"/>
          </a:p>
          <a:p>
            <a:endParaRPr lang="en-US" dirty="0"/>
          </a:p>
        </p:txBody>
      </p:sp>
      <p:sp>
        <p:nvSpPr>
          <p:cNvPr id="12" name="Text Placeholder 11">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954884" y="4136875"/>
            <a:ext cx="4112981" cy="254000"/>
          </a:xfrm>
        </p:spPr>
        <p:txBody>
          <a:bodyPr/>
          <a:lstStyle>
            <a:lvl1pPr marL="0" indent="0">
              <a:buNone/>
              <a:defRPr>
                <a:solidFill>
                  <a:srgbClr val="94D6EF"/>
                </a:solidFill>
              </a:defRPr>
            </a:lvl1pPr>
          </a:lstStyle>
          <a:p>
            <a:pPr lvl="0"/>
            <a:r>
              <a:rPr lang="en-US" dirty="0"/>
              <a:t>Insert name of presenter</a:t>
            </a:r>
          </a:p>
        </p:txBody>
      </p:sp>
      <p:sp>
        <p:nvSpPr>
          <p:cNvPr id="13" name="Text Placeholder 11">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954884" y="4385772"/>
            <a:ext cx="4112981" cy="254000"/>
          </a:xfrm>
        </p:spPr>
        <p:txBody>
          <a:bodyPr/>
          <a:lstStyle>
            <a:lvl1pPr marL="0" indent="0">
              <a:buNone/>
              <a:defRPr>
                <a:solidFill>
                  <a:schemeClr val="bg1"/>
                </a:solidFill>
              </a:defRPr>
            </a:lvl1pPr>
          </a:lstStyle>
          <a:p>
            <a:pPr lvl="0"/>
            <a:r>
              <a:rPr lang="en-US" dirty="0"/>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954881" y="5467353"/>
            <a:ext cx="1244475" cy="254001"/>
          </a:xfrm>
        </p:spPr>
        <p:txBody>
          <a:bodyPr lIns="0" tIns="0" rIns="0" bIns="0"/>
          <a:lstStyle>
            <a:lvl1pPr>
              <a:defRPr sz="750">
                <a:solidFill>
                  <a:schemeClr val="tx1"/>
                </a:solidFill>
              </a:defRPr>
            </a:lvl1pPr>
          </a:lstStyle>
          <a:p>
            <a:r>
              <a:rPr lang="en-GB" dirty="0">
                <a:solidFill>
                  <a:srgbClr val="20242B"/>
                </a:solidFill>
              </a:rPr>
              <a:t>Mars 2020</a:t>
            </a:r>
            <a:endParaRPr lang="es-ES_tradnl" dirty="0">
              <a:solidFill>
                <a:srgbClr val="20242B"/>
              </a:solidFill>
            </a:endParaRPr>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s-ES_tradnl" dirty="0"/>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p:spPr>
        <p:txBody>
          <a:bodyPr/>
          <a:lstStyle>
            <a:lvl1pPr>
              <a:defRPr sz="100">
                <a:noFill/>
              </a:defRPr>
            </a:lvl1pPr>
          </a:lstStyle>
          <a:p>
            <a:fld id="{793E3E21-9F49-4D85-BC8F-2C5B8DFBB14E}" type="slidenum">
              <a:rPr lang="es-ES_tradnl" smtClean="0"/>
              <a:pPr/>
              <a:t>‹N°›</a:t>
            </a:fld>
            <a:endParaRPr lang="es-ES_tradnl" dirty="0"/>
          </a:p>
        </p:txBody>
      </p:sp>
      <p:pic>
        <p:nvPicPr>
          <p:cNvPr id="15" name="Picture 14">
            <a:extLst>
              <a:ext uri="{FF2B5EF4-FFF2-40B4-BE49-F238E27FC236}">
                <a16:creationId xmlns:a16="http://schemas.microsoft.com/office/drawing/2014/main" id="{641E3124-3D16-438D-A93A-5BA725FDC28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313" y="554767"/>
            <a:ext cx="1794541" cy="566992"/>
          </a:xfrm>
          <a:prstGeom prst="rect">
            <a:avLst/>
          </a:prstGeom>
        </p:spPr>
      </p:pic>
      <p:sp>
        <p:nvSpPr>
          <p:cNvPr id="18" name="disclaimer" descr="{&quot;templafy&quot;:{&quot;id&quot;:&quot;a74c1fa1-10a2-4fb7-95af-be201d155328&quot;}}" title="text">
            <a:extLst>
              <a:ext uri="{FF2B5EF4-FFF2-40B4-BE49-F238E27FC236}">
                <a16:creationId xmlns:a16="http://schemas.microsoft.com/office/drawing/2014/main" id="{4CBF9EB3-A0D4-42A2-9992-684E36DE392E}"/>
              </a:ext>
            </a:extLst>
          </p:cNvPr>
          <p:cNvSpPr/>
          <p:nvPr userDrawn="1"/>
        </p:nvSpPr>
        <p:spPr>
          <a:xfrm>
            <a:off x="957600" y="6361281"/>
            <a:ext cx="7920000" cy="162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defTabSz="912813" fontAlgn="base">
              <a:spcBef>
                <a:spcPct val="0"/>
              </a:spcBef>
              <a:spcAft>
                <a:spcPct val="0"/>
              </a:spcAft>
            </a:pPr>
            <a:r>
              <a:rPr lang="fr-FR" sz="1200" b="1" dirty="0">
                <a:solidFill>
                  <a:srgbClr val="525C6C"/>
                </a:solidFill>
              </a:rPr>
              <a:t>Ce document à caractère promotionnel est exclusivement destiné aux professionnels de l'investissement et ne doit pas être diffusé à des investisseurs particuliers</a:t>
            </a:r>
            <a:endParaRPr lang="en-GB" sz="1200" b="1" dirty="0">
              <a:solidFill>
                <a:srgbClr val="525C6C"/>
              </a:solidFill>
            </a:endParaRPr>
          </a:p>
        </p:txBody>
      </p:sp>
    </p:spTree>
    <p:extLst>
      <p:ext uri="{BB962C8B-B14F-4D97-AF65-F5344CB8AC3E}">
        <p14:creationId xmlns:p14="http://schemas.microsoft.com/office/powerpoint/2010/main" val="217788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5" name="Text Placeholder 35"/>
          <p:cNvSpPr>
            <a:spLocks noGrp="1"/>
          </p:cNvSpPr>
          <p:nvPr>
            <p:ph type="body" sz="quarter" idx="13" hasCustomPrompt="1"/>
          </p:nvPr>
        </p:nvSpPr>
        <p:spPr>
          <a:xfrm>
            <a:off x="471904" y="1665288"/>
            <a:ext cx="8208546" cy="3998863"/>
          </a:xfrm>
          <a:prstGeom prst="rect">
            <a:avLst/>
          </a:prstGeom>
        </p:spPr>
        <p:txBody>
          <a:bodyPr vert="horz" lIns="0" tIns="0" rIns="0" bIns="0"/>
          <a:lstStyle>
            <a:lvl1pPr marL="0" indent="0">
              <a:spcBef>
                <a:spcPts val="0"/>
              </a:spcBef>
              <a:buNone/>
              <a:defRPr lang="en-US" sz="1200" b="0" kern="1200" dirty="0">
                <a:solidFill>
                  <a:schemeClr val="tx1"/>
                </a:solidFill>
                <a:latin typeface="+mn-lt"/>
                <a:ea typeface="ＭＳ Ｐゴシック" charset="0"/>
                <a:cs typeface="ＭＳ Ｐゴシック" charset="0"/>
              </a:defRPr>
            </a:lvl1pPr>
          </a:lstStyle>
          <a:p>
            <a:pPr lvl="0"/>
            <a:r>
              <a:rPr lang="en-AU" dirty="0"/>
              <a:t>Click to add text click to add text click to add text click to add text</a:t>
            </a:r>
            <a:endParaRPr lang="en-US" dirty="0"/>
          </a:p>
        </p:txBody>
      </p:sp>
      <p:sp>
        <p:nvSpPr>
          <p:cNvPr id="10" name="Text Placeholder 37"/>
          <p:cNvSpPr>
            <a:spLocks noGrp="1"/>
          </p:cNvSpPr>
          <p:nvPr>
            <p:ph type="body" sz="quarter" idx="14" hasCustomPrompt="1"/>
          </p:nvPr>
        </p:nvSpPr>
        <p:spPr>
          <a:xfrm>
            <a:off x="469062" y="5746803"/>
            <a:ext cx="8203784"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dirty="0"/>
              <a:t>Click to edit source</a:t>
            </a:r>
            <a:endParaRPr lang="en-US" dirty="0"/>
          </a:p>
        </p:txBody>
      </p:sp>
      <p:sp>
        <p:nvSpPr>
          <p:cNvPr id="11" name="Text Placeholder 29"/>
          <p:cNvSpPr>
            <a:spLocks noGrp="1"/>
          </p:cNvSpPr>
          <p:nvPr>
            <p:ph type="body" sz="quarter" idx="10" hasCustomPrompt="1"/>
          </p:nvPr>
        </p:nvSpPr>
        <p:spPr>
          <a:xfrm>
            <a:off x="469062" y="768983"/>
            <a:ext cx="8203451"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dirty="0"/>
              <a:t>Click to edit subtitle</a:t>
            </a:r>
            <a:endParaRPr lang="en-US" dirty="0"/>
          </a:p>
        </p:txBody>
      </p:sp>
      <p:sp>
        <p:nvSpPr>
          <p:cNvPr id="12" name="Title 9"/>
          <p:cNvSpPr>
            <a:spLocks noGrp="1"/>
          </p:cNvSpPr>
          <p:nvPr>
            <p:ph type="title" hasCustomPrompt="1"/>
          </p:nvPr>
        </p:nvSpPr>
        <p:spPr>
          <a:xfrm>
            <a:off x="469062" y="24905"/>
            <a:ext cx="8203451"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dirty="0"/>
              <a:t>Click to edit title</a:t>
            </a:r>
            <a:endParaRPr lang="en-US" dirty="0"/>
          </a:p>
        </p:txBody>
      </p:sp>
      <p:sp>
        <p:nvSpPr>
          <p:cNvPr id="14" name="Text Placeholder 31"/>
          <p:cNvSpPr>
            <a:spLocks noGrp="1"/>
          </p:cNvSpPr>
          <p:nvPr>
            <p:ph type="body" sz="quarter" idx="11" hasCustomPrompt="1"/>
          </p:nvPr>
        </p:nvSpPr>
        <p:spPr>
          <a:xfrm>
            <a:off x="469062" y="1290776"/>
            <a:ext cx="8203784"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dirty="0"/>
              <a:t>Click to edit heading</a:t>
            </a:r>
            <a:endParaRPr lang="en-US" dirty="0"/>
          </a:p>
        </p:txBody>
      </p:sp>
    </p:spTree>
    <p:extLst>
      <p:ext uri="{BB962C8B-B14F-4D97-AF65-F5344CB8AC3E}">
        <p14:creationId xmlns:p14="http://schemas.microsoft.com/office/powerpoint/2010/main" val="42224560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91449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500" tIns="20250" rIns="40500" bIns="20250" numCol="1" spcCol="0" rtlCol="0" fromWordArt="0" anchor="ctr" anchorCtr="0" forceAA="0" compatLnSpc="1">
            <a:prstTxWarp prst="textNoShape">
              <a:avLst/>
            </a:prstTxWarp>
            <a:noAutofit/>
          </a:bodyPr>
          <a:lstStyle/>
          <a:p>
            <a:pPr algn="ctr" defTabSz="912813" fontAlgn="base">
              <a:spcBef>
                <a:spcPct val="0"/>
              </a:spcBef>
              <a:spcAft>
                <a:spcPct val="0"/>
              </a:spcAft>
            </a:pPr>
            <a:endParaRPr lang="da-DK" sz="1125" b="1" err="1">
              <a:solidFill>
                <a:prstClr val="white"/>
              </a:solidFill>
            </a:endParaRPr>
          </a:p>
        </p:txBody>
      </p:sp>
      <p:sp>
        <p:nvSpPr>
          <p:cNvPr id="2" name="text" descr="{&quot;templafy&quot;:{&quot;id&quot;:&quot;ba1ce746-e5af-4aae-b07e-e2a67333fdd3&quot;}}" title="Translations.PPTitle"/>
          <p:cNvSpPr>
            <a:spLocks noGrp="1"/>
          </p:cNvSpPr>
          <p:nvPr>
            <p:ph type="ctrTitle" hasCustomPrompt="1"/>
          </p:nvPr>
        </p:nvSpPr>
        <p:spPr>
          <a:xfrm>
            <a:off x="752476" y="2540000"/>
            <a:ext cx="7923213" cy="958850"/>
          </a:xfrm>
        </p:spPr>
        <p:txBody>
          <a:bodyPr anchor="b"/>
          <a:lstStyle>
            <a:lvl1pPr algn="l">
              <a:defRPr sz="1800" b="1">
                <a:solidFill>
                  <a:schemeClr val="bg1"/>
                </a:solidFill>
              </a:defRPr>
            </a:lvl1pPr>
          </a:lstStyle>
          <a:p>
            <a:endParaRPr lang="da-DK"/>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752477" y="3698082"/>
            <a:ext cx="442317"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B845BF3C-6230-4BE7-9936-1C136072016F}"/>
              </a:ext>
            </a:extLst>
          </p:cNvPr>
          <p:cNvSpPr>
            <a:spLocks noGrp="1"/>
          </p:cNvSpPr>
          <p:nvPr>
            <p:ph type="ftr" sz="quarter" idx="11"/>
          </p:nvPr>
        </p:nvSpPr>
        <p:spPr>
          <a:xfrm>
            <a:off x="0" y="6876000"/>
            <a:ext cx="0" cy="0"/>
          </a:xfrm>
          <a:prstGeom prst="rect">
            <a:avLst/>
          </a:prstGeom>
        </p:spPr>
        <p:txBody>
          <a:bodyPr/>
          <a:lstStyle>
            <a:lvl1pPr>
              <a:defRPr sz="100">
                <a:noFill/>
              </a:defRPr>
            </a:lvl1pPr>
          </a:lstStyle>
          <a:p>
            <a:endParaRPr lang="da-DK"/>
          </a:p>
        </p:txBody>
      </p:sp>
      <p:sp>
        <p:nvSpPr>
          <p:cNvPr id="8" name="Date Placeholder 7">
            <a:extLst>
              <a:ext uri="{FF2B5EF4-FFF2-40B4-BE49-F238E27FC236}">
                <a16:creationId xmlns:a16="http://schemas.microsoft.com/office/drawing/2014/main" id="{503860B1-5E16-44F3-A3B3-9673F580B235}"/>
              </a:ext>
            </a:extLst>
          </p:cNvPr>
          <p:cNvSpPr>
            <a:spLocks noGrp="1"/>
          </p:cNvSpPr>
          <p:nvPr>
            <p:ph type="dt" sz="half" idx="10"/>
          </p:nvPr>
        </p:nvSpPr>
        <p:spPr/>
        <p:txBody>
          <a:bodyPr/>
          <a:lstStyle/>
          <a:p>
            <a:pPr defTabSz="912813" fontAlgn="base">
              <a:spcBef>
                <a:spcPct val="0"/>
              </a:spcBef>
              <a:spcAft>
                <a:spcPct val="0"/>
              </a:spcAft>
            </a:pPr>
            <a:fld id="{9251DA4B-73AB-4FB9-BD8F-CFF0B2518813}" type="datetime6">
              <a:rPr lang="da-DK" sz="2400" b="1" smtClean="0">
                <a:solidFill>
                  <a:srgbClr val="415464"/>
                </a:solidFill>
                <a:ea typeface="ＭＳ Ｐゴシック" charset="0"/>
              </a:rPr>
              <a:pPr defTabSz="912813" fontAlgn="base">
                <a:spcBef>
                  <a:spcPct val="0"/>
                </a:spcBef>
                <a:spcAft>
                  <a:spcPct val="0"/>
                </a:spcAft>
              </a:pPr>
              <a:t>30.11.2022</a:t>
            </a:fld>
            <a:endParaRPr lang="da-DK" sz="2400" b="1">
              <a:solidFill>
                <a:srgbClr val="415464"/>
              </a:solidFill>
              <a:ea typeface="ＭＳ Ｐゴシック" charset="0"/>
            </a:endParaRPr>
          </a:p>
        </p:txBody>
      </p:sp>
      <p:sp>
        <p:nvSpPr>
          <p:cNvPr id="10" name="Slide Number Placeholder 9">
            <a:extLst>
              <a:ext uri="{FF2B5EF4-FFF2-40B4-BE49-F238E27FC236}">
                <a16:creationId xmlns:a16="http://schemas.microsoft.com/office/drawing/2014/main" id="{A6E89291-A03F-45BA-BBBB-219C7CF88D59}"/>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defTabSz="912813" fontAlgn="base">
              <a:spcBef>
                <a:spcPct val="0"/>
              </a:spcBef>
              <a:spcAft>
                <a:spcPct val="0"/>
              </a:spcAft>
            </a:pPr>
            <a:fld id="{793E3E21-9F49-4D85-BC8F-2C5B8DFBB14E}" type="slidenum">
              <a:rPr lang="da-DK" b="1" smtClean="0">
                <a:ea typeface="ＭＳ Ｐゴシック" charset="0"/>
              </a:rPr>
              <a:pPr defTabSz="912813" fontAlgn="base">
                <a:spcBef>
                  <a:spcPct val="0"/>
                </a:spcBef>
                <a:spcAft>
                  <a:spcPct val="0"/>
                </a:spcAft>
              </a:pPr>
              <a:t>‹N°›</a:t>
            </a:fld>
            <a:endParaRPr lang="da-DK" b="1">
              <a:ea typeface="ＭＳ Ｐゴシック" charset="0"/>
            </a:endParaRPr>
          </a:p>
        </p:txBody>
      </p:sp>
      <p:pic>
        <p:nvPicPr>
          <p:cNvPr id="11" name="Picture 10">
            <a:extLst>
              <a:ext uri="{FF2B5EF4-FFF2-40B4-BE49-F238E27FC236}">
                <a16:creationId xmlns:a16="http://schemas.microsoft.com/office/drawing/2014/main" id="{DFCD2949-47A8-44F2-A6CC-B513D0D671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2336" y="6369149"/>
            <a:ext cx="864000" cy="363978"/>
          </a:xfrm>
          <a:prstGeom prst="rect">
            <a:avLst/>
          </a:prstGeom>
        </p:spPr>
      </p:pic>
    </p:spTree>
    <p:extLst>
      <p:ext uri="{BB962C8B-B14F-4D97-AF65-F5344CB8AC3E}">
        <p14:creationId xmlns:p14="http://schemas.microsoft.com/office/powerpoint/2010/main" val="9254049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descr="{&quot;templafy&quot;:{&quot;id&quot;:&quot;1b233f7c-632d-4446-a2c6-df90498f252b&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466541" y="25200"/>
            <a:ext cx="8208000" cy="694800"/>
          </a:xfrm>
        </p:spPr>
        <p:txBody>
          <a:bodyPr/>
          <a:lstStyle>
            <a:lvl1pPr>
              <a:defRPr/>
            </a:lvl1pPr>
          </a:lstStyle>
          <a:p>
            <a:r>
              <a:rPr lang="en-GB" dirty="0"/>
              <a:t>Click to add title</a:t>
            </a:r>
          </a:p>
        </p:txBody>
      </p:sp>
      <p:sp>
        <p:nvSpPr>
          <p:cNvPr id="10" name="text" descr="{&quot;templafy&quot;:{&quot;id&quot;:&quot;425ea1f9-1c57-444f-b3c7-2eada3a8a93c&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466541" y="766800"/>
            <a:ext cx="8208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90f2ae99-138f-4cf3-bf82-3266296b4887&quot;}}" title="Translations.PPText"/>
          <p:cNvSpPr>
            <a:spLocks noGrp="1"/>
          </p:cNvSpPr>
          <p:nvPr>
            <p:ph idx="1" hasCustomPrompt="1"/>
          </p:nvPr>
        </p:nvSpPr>
        <p:spPr>
          <a:xfrm>
            <a:off x="468313" y="1562400"/>
            <a:ext cx="8207364" cy="3897313"/>
          </a:xfrm>
        </p:spPr>
        <p:txBody>
          <a:bodyPr/>
          <a:lstStyle/>
          <a:p>
            <a:pPr lvl="0"/>
            <a:r>
              <a:rPr lang="en-GB"/>
              <a:t>Click to add text</a:t>
            </a:r>
          </a:p>
        </p:txBody>
      </p:sp>
      <p:sp>
        <p:nvSpPr>
          <p:cNvPr id="7" name="text" descr="{&quot;templafy&quot;:{&quot;id&quot;:&quot;fc30f50e-fab1-42f2-bed0-24b013d6c4de&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68313" y="5948705"/>
            <a:ext cx="820736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p:txBody>
          <a:bodyPr/>
          <a:lstStyle/>
          <a:p>
            <a:pPr defTabSz="912813" fontAlgn="base">
              <a:spcBef>
                <a:spcPct val="0"/>
              </a:spcBef>
              <a:spcAft>
                <a:spcPct val="0"/>
              </a:spcAft>
            </a:pPr>
            <a:fld id="{43A78DB0-C861-4285-9A34-17CC935A32C6}" type="datetime6">
              <a:rPr lang="en-GB" sz="2400" b="1" smtClean="0">
                <a:solidFill>
                  <a:srgbClr val="415464"/>
                </a:solidFill>
                <a:ea typeface="ＭＳ Ｐゴシック" charset="0"/>
              </a:rPr>
              <a:pPr defTabSz="912813" fontAlgn="base">
                <a:spcBef>
                  <a:spcPct val="0"/>
                </a:spcBef>
                <a:spcAft>
                  <a:spcPct val="0"/>
                </a:spcAft>
              </a:pPr>
              <a:t>November 22</a:t>
            </a:fld>
            <a:endParaRPr lang="en-GB" sz="2400" b="1" dirty="0">
              <a:solidFill>
                <a:srgbClr val="415464"/>
              </a:solidFill>
              <a:ea typeface="ＭＳ Ｐゴシック" charset="0"/>
            </a:endParaRPr>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p:txBody>
          <a:bodyPr/>
          <a:lstStyle/>
          <a:p>
            <a:endParaRPr lang="en-GB" dirty="0">
              <a:solidFill>
                <a:srgbClr val="415464">
                  <a:tint val="75000"/>
                </a:srgbClr>
              </a:solidFill>
            </a:endParaRPr>
          </a:p>
        </p:txBody>
      </p:sp>
    </p:spTree>
    <p:extLst>
      <p:ext uri="{BB962C8B-B14F-4D97-AF65-F5344CB8AC3E}">
        <p14:creationId xmlns:p14="http://schemas.microsoft.com/office/powerpoint/2010/main" val="589393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descr="{&quot;templafy&quot;:{&quot;id&quot;:&quot;1b233f7c-632d-4446-a2c6-df90498f252b&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466541" y="25200"/>
            <a:ext cx="8208000" cy="694800"/>
          </a:xfrm>
        </p:spPr>
        <p:txBody>
          <a:bodyPr/>
          <a:lstStyle>
            <a:lvl1pPr>
              <a:defRPr/>
            </a:lvl1pPr>
          </a:lstStyle>
          <a:p>
            <a:r>
              <a:rPr lang="en-GB" dirty="0"/>
              <a:t>Click to add title</a:t>
            </a:r>
          </a:p>
        </p:txBody>
      </p:sp>
      <p:sp>
        <p:nvSpPr>
          <p:cNvPr id="10" name="text" descr="{&quot;templafy&quot;:{&quot;id&quot;:&quot;425ea1f9-1c57-444f-b3c7-2eada3a8a93c&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466541" y="766800"/>
            <a:ext cx="8208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90f2ae99-138f-4cf3-bf82-3266296b4887&quot;}}" title="Translations.PPText"/>
          <p:cNvSpPr>
            <a:spLocks noGrp="1"/>
          </p:cNvSpPr>
          <p:nvPr>
            <p:ph idx="1" hasCustomPrompt="1"/>
          </p:nvPr>
        </p:nvSpPr>
        <p:spPr>
          <a:xfrm>
            <a:off x="468313" y="1562400"/>
            <a:ext cx="8207364" cy="3897313"/>
          </a:xfrm>
        </p:spPr>
        <p:txBody>
          <a:bodyPr/>
          <a:lstStyle/>
          <a:p>
            <a:pPr lvl="0"/>
            <a:r>
              <a:rPr lang="en-GB"/>
              <a:t>Click to add text</a:t>
            </a:r>
          </a:p>
        </p:txBody>
      </p:sp>
      <p:sp>
        <p:nvSpPr>
          <p:cNvPr id="7" name="text" descr="{&quot;templafy&quot;:{&quot;id&quot;:&quot;fc30f50e-fab1-42f2-bed0-24b013d6c4de&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68313" y="5948705"/>
            <a:ext cx="820736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p:txBody>
          <a:bodyPr/>
          <a:lstStyle/>
          <a:p>
            <a:fld id="{43A78DB0-C861-4285-9A34-17CC935A32C6}" type="datetime6">
              <a:rPr lang="en-GB" smtClean="0"/>
              <a:pPr/>
              <a:t>November 22</a:t>
            </a:fld>
            <a:endParaRPr lang="en-GB" dirty="0"/>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15918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descr="{&quot;templafy&quot;:{&quot;id&quot;:&quot;1b233f7c-632d-4446-a2c6-df90498f252b&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466541" y="25200"/>
            <a:ext cx="8208000" cy="694800"/>
          </a:xfrm>
        </p:spPr>
        <p:txBody>
          <a:bodyPr/>
          <a:lstStyle>
            <a:lvl1pPr>
              <a:defRPr/>
            </a:lvl1pPr>
          </a:lstStyle>
          <a:p>
            <a:r>
              <a:rPr lang="en-GB" dirty="0"/>
              <a:t>Click to add title</a:t>
            </a:r>
          </a:p>
        </p:txBody>
      </p:sp>
      <p:sp>
        <p:nvSpPr>
          <p:cNvPr id="10" name="text" descr="{&quot;templafy&quot;:{&quot;id&quot;:&quot;425ea1f9-1c57-444f-b3c7-2eada3a8a93c&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466541" y="766800"/>
            <a:ext cx="8208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90f2ae99-138f-4cf3-bf82-3266296b4887&quot;}}" title="Translations.PPText"/>
          <p:cNvSpPr>
            <a:spLocks noGrp="1"/>
          </p:cNvSpPr>
          <p:nvPr>
            <p:ph idx="1" hasCustomPrompt="1"/>
          </p:nvPr>
        </p:nvSpPr>
        <p:spPr>
          <a:xfrm>
            <a:off x="468313" y="1562400"/>
            <a:ext cx="8207364" cy="3897313"/>
          </a:xfrm>
        </p:spPr>
        <p:txBody>
          <a:bodyPr/>
          <a:lstStyle/>
          <a:p>
            <a:pPr lvl="0"/>
            <a:r>
              <a:rPr lang="en-GB"/>
              <a:t>Click to add text</a:t>
            </a:r>
          </a:p>
        </p:txBody>
      </p:sp>
      <p:sp>
        <p:nvSpPr>
          <p:cNvPr id="7" name="text" descr="{&quot;templafy&quot;:{&quot;id&quot;:&quot;fc30f50e-fab1-42f2-bed0-24b013d6c4de&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68313" y="5948705"/>
            <a:ext cx="820736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p:txBody>
          <a:bodyPr/>
          <a:lstStyle/>
          <a:p>
            <a:fld id="{43A78DB0-C861-4285-9A34-17CC935A32C6}" type="datetime6">
              <a:rPr lang="en-GB" smtClean="0"/>
              <a:pPr/>
              <a:t>November 22</a:t>
            </a:fld>
            <a:endParaRPr lang="en-GB" dirty="0"/>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15918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descr="{&quot;templafy&quot;:{&quot;id&quot;:&quot;1b233f7c-632d-4446-a2c6-df90498f252b&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466541" y="25200"/>
            <a:ext cx="8208000" cy="694800"/>
          </a:xfrm>
        </p:spPr>
        <p:txBody>
          <a:bodyPr/>
          <a:lstStyle>
            <a:lvl1pPr>
              <a:defRPr/>
            </a:lvl1pPr>
          </a:lstStyle>
          <a:p>
            <a:r>
              <a:rPr lang="en-GB" dirty="0"/>
              <a:t>Click to add title</a:t>
            </a:r>
          </a:p>
        </p:txBody>
      </p:sp>
      <p:sp>
        <p:nvSpPr>
          <p:cNvPr id="10" name="text" descr="{&quot;templafy&quot;:{&quot;id&quot;:&quot;425ea1f9-1c57-444f-b3c7-2eada3a8a93c&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466541" y="766800"/>
            <a:ext cx="8208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90f2ae99-138f-4cf3-bf82-3266296b4887&quot;}}" title="Translations.PPText"/>
          <p:cNvSpPr>
            <a:spLocks noGrp="1"/>
          </p:cNvSpPr>
          <p:nvPr>
            <p:ph idx="1" hasCustomPrompt="1"/>
          </p:nvPr>
        </p:nvSpPr>
        <p:spPr>
          <a:xfrm>
            <a:off x="468313" y="1562400"/>
            <a:ext cx="8207364" cy="3897313"/>
          </a:xfrm>
        </p:spPr>
        <p:txBody>
          <a:bodyPr/>
          <a:lstStyle/>
          <a:p>
            <a:pPr lvl="0"/>
            <a:r>
              <a:rPr lang="en-GB"/>
              <a:t>Click to add text</a:t>
            </a:r>
          </a:p>
        </p:txBody>
      </p:sp>
      <p:sp>
        <p:nvSpPr>
          <p:cNvPr id="7" name="text" descr="{&quot;templafy&quot;:{&quot;id&quot;:&quot;fc30f50e-fab1-42f2-bed0-24b013d6c4de&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68313" y="5948705"/>
            <a:ext cx="820736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p:txBody>
          <a:bodyPr/>
          <a:lstStyle/>
          <a:p>
            <a:fld id="{43A78DB0-C861-4285-9A34-17CC935A32C6}" type="datetime6">
              <a:rPr lang="en-GB" smtClean="0"/>
              <a:pPr/>
              <a:t>November 22</a:t>
            </a:fld>
            <a:endParaRPr lang="en-GB" dirty="0"/>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15918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Imag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0F0521E-1314-43CE-80A2-5DBD8F656986}"/>
              </a:ext>
            </a:extLst>
          </p:cNvPr>
          <p:cNvSpPr/>
          <p:nvPr userDrawn="1"/>
        </p:nvSpPr>
        <p:spPr>
          <a:xfrm>
            <a:off x="0" y="1600200"/>
            <a:ext cx="9144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912813" fontAlgn="base">
              <a:spcBef>
                <a:spcPct val="0"/>
              </a:spcBef>
              <a:spcAft>
                <a:spcPct val="0"/>
              </a:spcAft>
            </a:pPr>
            <a:endParaRPr lang="en-GB" sz="1500" b="1" dirty="0">
              <a:solidFill>
                <a:srgbClr val="FFFFFF"/>
              </a:solidFill>
            </a:endParaRPr>
          </a:p>
        </p:txBody>
      </p:sp>
      <p:sp>
        <p:nvSpPr>
          <p:cNvPr id="29" name="text" descr="{&quot;templafy&quot;:{&quot;id&quot;:&quot;90c13245-420f-4dd1-bf5e-d01553a79004&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5064086" y="1806576"/>
            <a:ext cx="4079913"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900"/>
            </a:lvl1pPr>
          </a:lstStyle>
          <a:p>
            <a:r>
              <a:rPr lang="en-GB" dirty="0"/>
              <a:t>Click to edit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0" y="1806576"/>
            <a:ext cx="5628320"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algn="ctr" defTabSz="912813" fontAlgn="base">
              <a:spcBef>
                <a:spcPct val="0"/>
              </a:spcBef>
              <a:spcAft>
                <a:spcPct val="0"/>
              </a:spcAft>
            </a:pPr>
            <a:endParaRPr lang="en-GB" sz="1500" b="1" dirty="0">
              <a:solidFill>
                <a:srgbClr val="FFFFFF"/>
              </a:solidFill>
            </a:endParaRPr>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929481" y="3161507"/>
            <a:ext cx="372071"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8fb54d92-7618-4717-9e11-b5d6c7133d86&quot;}}" title="Translations.Subtitle"/>
          <p:cNvSpPr>
            <a:spLocks noGrp="1"/>
          </p:cNvSpPr>
          <p:nvPr>
            <p:ph type="subTitle" idx="1" hasCustomPrompt="1"/>
          </p:nvPr>
        </p:nvSpPr>
        <p:spPr>
          <a:xfrm>
            <a:off x="929481" y="3331030"/>
            <a:ext cx="4112981" cy="774701"/>
          </a:xfrm>
        </p:spPr>
        <p:txBody>
          <a:bodyPr/>
          <a:lstStyle>
            <a:lvl1pPr marL="0" indent="0" algn="l">
              <a:spcBef>
                <a:spcPts val="0"/>
              </a:spcBef>
              <a:buFont typeface="Arial" panose="020B0604020202020204" pitchFamily="34" charset="0"/>
              <a:buChar char="​"/>
              <a:defRPr sz="15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dirty="0"/>
              <a:t>Click to add subtitle</a:t>
            </a:r>
          </a:p>
        </p:txBody>
      </p:sp>
      <p:sp>
        <p:nvSpPr>
          <p:cNvPr id="12" name="text" descr="{&quot;templafy&quot;:{&quot;id&quot;:&quot;ac99a354-f78a-4ce8-8a51-dd69efb5fbfc&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929481" y="4098375"/>
            <a:ext cx="4112981" cy="254000"/>
          </a:xfrm>
        </p:spPr>
        <p:txBody>
          <a:bodyPr/>
          <a:lstStyle>
            <a:lvl1pPr marL="0" indent="0">
              <a:buNone/>
              <a:defRPr>
                <a:solidFill>
                  <a:srgbClr val="94D6EF"/>
                </a:solidFill>
              </a:defRPr>
            </a:lvl1pPr>
          </a:lstStyle>
          <a:p>
            <a:pPr lvl="0"/>
            <a:r>
              <a:rPr lang="en-GB" dirty="0"/>
              <a:t>Insert name of presenter</a:t>
            </a:r>
          </a:p>
        </p:txBody>
      </p:sp>
      <p:sp>
        <p:nvSpPr>
          <p:cNvPr id="13" name="text" descr="{&quot;templafy&quot;:{&quot;id&quot;:&quot;11ee0b1d-0af2-469d-88e8-c7ec17783635&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929481" y="4347272"/>
            <a:ext cx="4112981" cy="254000"/>
          </a:xfrm>
        </p:spPr>
        <p:txBody>
          <a:bodyPr/>
          <a:lstStyle>
            <a:lvl1pPr marL="0" indent="0">
              <a:buNone/>
              <a:defRPr>
                <a:solidFill>
                  <a:schemeClr val="bg1"/>
                </a:solidFill>
              </a:defRPr>
            </a:lvl1pPr>
          </a:lstStyle>
          <a:p>
            <a:pPr lvl="0"/>
            <a:r>
              <a:rPr lang="en-GB"/>
              <a:t>Insert title of presenter</a:t>
            </a:r>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dirty="0"/>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defTabSz="912813" fontAlgn="base">
              <a:spcBef>
                <a:spcPct val="0"/>
              </a:spcBef>
              <a:spcAft>
                <a:spcPct val="0"/>
              </a:spcAft>
            </a:pPr>
            <a:fld id="{793E3E21-9F49-4D85-BC8F-2C5B8DFBB14E}" type="slidenum">
              <a:rPr lang="en-GB" b="1" smtClean="0">
                <a:ea typeface="ＭＳ Ｐゴシック" charset="0"/>
              </a:rPr>
              <a:pPr defTabSz="912813" fontAlgn="base">
                <a:spcBef>
                  <a:spcPct val="0"/>
                </a:spcBef>
                <a:spcAft>
                  <a:spcPct val="0"/>
                </a:spcAft>
              </a:pPr>
              <a:t>‹N°›</a:t>
            </a:fld>
            <a:endParaRPr lang="en-GB" b="1" dirty="0">
              <a:ea typeface="ＭＳ Ｐゴシック" charset="0"/>
            </a:endParaRPr>
          </a:p>
        </p:txBody>
      </p:sp>
      <p:pic>
        <p:nvPicPr>
          <p:cNvPr id="14" name="Picture 13">
            <a:extLst>
              <a:ext uri="{FF2B5EF4-FFF2-40B4-BE49-F238E27FC236}">
                <a16:creationId xmlns:a16="http://schemas.microsoft.com/office/drawing/2014/main" id="{3719CD44-A96A-4FE6-B9FC-E54C095A6D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8719" y="554379"/>
            <a:ext cx="1550309" cy="653101"/>
          </a:xfrm>
          <a:prstGeom prst="rect">
            <a:avLst/>
          </a:prstGeom>
        </p:spPr>
      </p:pic>
      <p:sp>
        <p:nvSpPr>
          <p:cNvPr id="17" name="text" descr="{&quot;templafy&quot;:{&quot;id&quot;:&quot;ac99a354-f78a-4ce8-8a51-dd69efb5fbfc&quot;}}" title="Translations.PresenterName">
            <a:extLst>
              <a:ext uri="{FF2B5EF4-FFF2-40B4-BE49-F238E27FC236}">
                <a16:creationId xmlns:a16="http://schemas.microsoft.com/office/drawing/2014/main" id="{A2F312C6-31F7-4B9A-8B12-04740A6B6723}"/>
              </a:ext>
            </a:extLst>
          </p:cNvPr>
          <p:cNvSpPr>
            <a:spLocks noGrp="1"/>
          </p:cNvSpPr>
          <p:nvPr>
            <p:ph type="body" sz="quarter" idx="17" hasCustomPrompt="1"/>
          </p:nvPr>
        </p:nvSpPr>
        <p:spPr>
          <a:xfrm>
            <a:off x="926307" y="4616535"/>
            <a:ext cx="4112981" cy="254000"/>
          </a:xfrm>
        </p:spPr>
        <p:txBody>
          <a:bodyPr/>
          <a:lstStyle>
            <a:lvl1pPr marL="0" indent="0">
              <a:buNone/>
              <a:defRPr>
                <a:solidFill>
                  <a:srgbClr val="94D6EF"/>
                </a:solidFill>
              </a:defRPr>
            </a:lvl1pPr>
          </a:lstStyle>
          <a:p>
            <a:pPr lvl="0"/>
            <a:r>
              <a:rPr lang="en-GB" dirty="0"/>
              <a:t>Insert name of presenter</a:t>
            </a:r>
          </a:p>
        </p:txBody>
      </p:sp>
      <p:sp>
        <p:nvSpPr>
          <p:cNvPr id="20" name="text" descr="{&quot;templafy&quot;:{&quot;id&quot;:&quot;11ee0b1d-0af2-469d-88e8-c7ec17783635&quot;}}" title="Translations.PresenterTitle">
            <a:extLst>
              <a:ext uri="{FF2B5EF4-FFF2-40B4-BE49-F238E27FC236}">
                <a16:creationId xmlns:a16="http://schemas.microsoft.com/office/drawing/2014/main" id="{653A5ECD-AEA3-4E9F-9829-BB59328F2A8C}"/>
              </a:ext>
            </a:extLst>
          </p:cNvPr>
          <p:cNvSpPr>
            <a:spLocks noGrp="1"/>
          </p:cNvSpPr>
          <p:nvPr>
            <p:ph type="body" sz="quarter" idx="18" hasCustomPrompt="1"/>
          </p:nvPr>
        </p:nvSpPr>
        <p:spPr>
          <a:xfrm>
            <a:off x="926307" y="4865432"/>
            <a:ext cx="4112981" cy="254000"/>
          </a:xfrm>
        </p:spPr>
        <p:txBody>
          <a:bodyPr/>
          <a:lstStyle>
            <a:lvl1pPr marL="0" indent="0">
              <a:buNone/>
              <a:defRPr>
                <a:solidFill>
                  <a:schemeClr val="bg1"/>
                </a:solidFill>
              </a:defRPr>
            </a:lvl1pPr>
          </a:lstStyle>
          <a:p>
            <a:pPr lvl="0"/>
            <a:r>
              <a:rPr lang="en-GB"/>
              <a:t>Insert title of presenter</a:t>
            </a:r>
          </a:p>
        </p:txBody>
      </p:sp>
      <p:sp>
        <p:nvSpPr>
          <p:cNvPr id="21" name="text" descr="{&quot;templafy&quot;:{&quot;id&quot;:&quot;862a954e-e503-4b67-8857-649adecbdc10&quot;}}" title="Form.InvestmentUse.InvestmentUse">
            <a:extLst>
              <a:ext uri="{FF2B5EF4-FFF2-40B4-BE49-F238E27FC236}">
                <a16:creationId xmlns:a16="http://schemas.microsoft.com/office/drawing/2014/main" id="{62F7C839-6C57-4BA9-8640-7EA6CF5DD225}"/>
              </a:ext>
            </a:extLst>
          </p:cNvPr>
          <p:cNvSpPr/>
          <p:nvPr userDrawn="1"/>
        </p:nvSpPr>
        <p:spPr>
          <a:xfrm>
            <a:off x="1226173" y="6294811"/>
            <a:ext cx="6691655"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defRPr/>
            </a:pPr>
            <a:r>
              <a:rPr lang="en-GB" sz="1200" b="1" dirty="0">
                <a:solidFill>
                  <a:srgbClr val="525C6C"/>
                </a:solidFill>
              </a:rPr>
              <a:t>For investment professional use only and not for general public distribution</a:t>
            </a:r>
          </a:p>
        </p:txBody>
      </p:sp>
      <p:sp>
        <p:nvSpPr>
          <p:cNvPr id="23" name="Date Placeholder 6">
            <a:extLst>
              <a:ext uri="{FF2B5EF4-FFF2-40B4-BE49-F238E27FC236}">
                <a16:creationId xmlns:a16="http://schemas.microsoft.com/office/drawing/2014/main" id="{16E98FA4-8B53-4353-A3DF-EDE427B2A3C8}"/>
              </a:ext>
            </a:extLst>
          </p:cNvPr>
          <p:cNvSpPr>
            <a:spLocks noGrp="1"/>
          </p:cNvSpPr>
          <p:nvPr>
            <p:ph type="dt" sz="half" idx="10"/>
          </p:nvPr>
        </p:nvSpPr>
        <p:spPr>
          <a:xfrm>
            <a:off x="926306" y="5467349"/>
            <a:ext cx="1244475" cy="254001"/>
          </a:xfrm>
        </p:spPr>
        <p:txBody>
          <a:bodyPr lIns="0" tIns="0" rIns="0" bIns="0"/>
          <a:lstStyle>
            <a:lvl1pPr>
              <a:defRPr sz="750">
                <a:solidFill>
                  <a:schemeClr val="tx1"/>
                </a:solidFill>
              </a:defRPr>
            </a:lvl1pPr>
          </a:lstStyle>
          <a:p>
            <a:r>
              <a:rPr lang="en-GB" dirty="0">
                <a:solidFill>
                  <a:srgbClr val="20242B"/>
                </a:solidFill>
              </a:rPr>
              <a:t>Date</a:t>
            </a:r>
          </a:p>
        </p:txBody>
      </p:sp>
    </p:spTree>
    <p:extLst>
      <p:ext uri="{BB962C8B-B14F-4D97-AF65-F5344CB8AC3E}">
        <p14:creationId xmlns:p14="http://schemas.microsoft.com/office/powerpoint/2010/main" val="2151040065"/>
      </p:ext>
    </p:extLst>
  </p:cSld>
  <p:clrMapOvr>
    <a:masterClrMapping/>
  </p:clrMapOvr>
  <p:extLst>
    <p:ext uri="{DCECCB84-F9BA-43D5-87BE-67443E8EF086}">
      <p15:sldGuideLst xmlns:p15="http://schemas.microsoft.com/office/powerpoint/2012/main">
        <p15:guide id="1" pos="7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17730503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descr="{&quot;templafy&quot;:{&quot;id&quot;:&quot;66cc386e-142d-4ebf-8c87-5761726aa420&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466541" y="25200"/>
            <a:ext cx="8208000" cy="694800"/>
          </a:xfrm>
        </p:spPr>
        <p:txBody>
          <a:bodyPr/>
          <a:lstStyle>
            <a:lvl1pPr>
              <a:defRPr/>
            </a:lvl1pPr>
          </a:lstStyle>
          <a:p>
            <a:endParaRPr lang="da-DK"/>
          </a:p>
        </p:txBody>
      </p:sp>
      <p:sp>
        <p:nvSpPr>
          <p:cNvPr id="10" name="text" descr="{&quot;templafy&quot;:{&quot;id&quot;:&quot;88277695-ada3-404e-a027-1d6c44a0d219&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466541" y="766800"/>
            <a:ext cx="8208000" cy="277200"/>
          </a:xfrm>
        </p:spPr>
        <p:txBody>
          <a:bodyPr/>
          <a:lstStyle>
            <a:lvl1pPr marL="0" indent="0" algn="l">
              <a:spcBef>
                <a:spcPts val="0"/>
              </a:spcBef>
              <a:buFont typeface="Arial" panose="020B0604020202020204" pitchFamily="34" charset="0"/>
              <a:buChar char="​"/>
              <a:defRPr sz="1350">
                <a:solidFill>
                  <a:schemeClr val="tx2"/>
                </a:solidFill>
              </a:defRPr>
            </a:lvl1pPr>
            <a:lvl2pPr marL="0" indent="0" algn="l">
              <a:buFont typeface="Arial" panose="020B0604020202020204" pitchFamily="34" charset="0"/>
              <a:buNone/>
              <a:defRPr sz="1125"/>
            </a:lvl2pPr>
            <a:lvl3pPr marL="0" indent="0" algn="l">
              <a:buFont typeface="Arial" panose="020B0604020202020204" pitchFamily="34" charset="0"/>
              <a:buChar char="​"/>
              <a:defRPr sz="1125"/>
            </a:lvl3pPr>
            <a:lvl4pPr marL="0" indent="0" algn="l">
              <a:buFont typeface="Arial" panose="020B0604020202020204" pitchFamily="34" charset="0"/>
              <a:buChar char="​"/>
              <a:defRPr sz="1125"/>
            </a:lvl4pPr>
            <a:lvl5pPr marL="0" indent="0" algn="l">
              <a:buFont typeface="Arial" panose="020B0604020202020204" pitchFamily="34" charset="0"/>
              <a:buChar char="​"/>
              <a:defRPr sz="1125"/>
            </a:lvl5pPr>
            <a:lvl6pPr marL="0" indent="0" algn="l">
              <a:buFont typeface="Arial" panose="020B0604020202020204" pitchFamily="34" charset="0"/>
              <a:buChar char="​"/>
              <a:defRPr sz="1125"/>
            </a:lvl6pPr>
            <a:lvl7pPr marL="0" indent="0" algn="l">
              <a:buFont typeface="Arial" panose="020B0604020202020204" pitchFamily="34" charset="0"/>
              <a:buChar char="​"/>
              <a:defRPr sz="1125"/>
            </a:lvl7pPr>
            <a:lvl8pPr marL="0" indent="0" algn="l">
              <a:buFont typeface="Arial" panose="020B0604020202020204" pitchFamily="34" charset="0"/>
              <a:buChar char="​"/>
              <a:defRPr sz="1125"/>
            </a:lvl8pPr>
            <a:lvl9pPr marL="0" indent="0" algn="l">
              <a:buFont typeface="Arial" panose="020B0604020202020204" pitchFamily="34" charset="0"/>
              <a:buChar char="​"/>
              <a:defRPr sz="1125"/>
            </a:lvl9pPr>
          </a:lstStyle>
          <a:p>
            <a:endParaRPr lang="da-DK"/>
          </a:p>
        </p:txBody>
      </p:sp>
      <p:sp>
        <p:nvSpPr>
          <p:cNvPr id="3" name="text" descr="{&quot;templafy&quot;:{&quot;id&quot;:&quot;baf5b074-fef4-45e7-9eba-20da27a0b492&quot;}}" title="Translations.PPText"/>
          <p:cNvSpPr>
            <a:spLocks noGrp="1"/>
          </p:cNvSpPr>
          <p:nvPr>
            <p:ph idx="1" hasCustomPrompt="1"/>
          </p:nvPr>
        </p:nvSpPr>
        <p:spPr>
          <a:xfrm>
            <a:off x="468313" y="1562402"/>
            <a:ext cx="8207364" cy="3897313"/>
          </a:xfrm>
        </p:spPr>
        <p:txBody>
          <a:bodyPr/>
          <a:lstStyle/>
          <a:p>
            <a:pPr lvl="0"/>
            <a:endParaRPr lang="da-DK"/>
          </a:p>
        </p:txBody>
      </p:sp>
      <p:sp>
        <p:nvSpPr>
          <p:cNvPr id="7" name="text" descr="{&quot;templafy&quot;:{&quot;id&quot;:&quot;93b6660a-23a0-4484-b6b7-b8791f444ba3&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68314" y="5948705"/>
            <a:ext cx="8207363" cy="234950"/>
          </a:xfrm>
        </p:spPr>
        <p:txBody>
          <a:bodyPr anchor="b"/>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506" b="0"/>
            </a:lvl3pPr>
            <a:lvl4pPr marL="0" indent="0">
              <a:spcAft>
                <a:spcPts val="0"/>
              </a:spcAft>
              <a:buFont typeface="Arial" panose="020B0604020202020204" pitchFamily="34" charset="0"/>
              <a:buChar char="​"/>
              <a:defRPr sz="506" b="0"/>
            </a:lvl4pPr>
            <a:lvl5pPr marL="0" indent="0">
              <a:spcAft>
                <a:spcPts val="0"/>
              </a:spcAft>
              <a:buFont typeface="Arial" panose="020B0604020202020204" pitchFamily="34" charset="0"/>
              <a:buChar char="​"/>
              <a:defRPr sz="506" b="0"/>
            </a:lvl5pPr>
          </a:lstStyle>
          <a:p>
            <a:pPr lvl="0"/>
            <a:endParaRPr lang="da-DK"/>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p:txBody>
          <a:bodyPr/>
          <a:lstStyle/>
          <a:p>
            <a:fld id="{43A78DB0-C861-4285-9A34-17CC935A32C6}" type="datetime6">
              <a:rPr lang="da-DK" smtClean="0"/>
              <a:pPr/>
              <a:t>30.11.2022</a:t>
            </a:fld>
            <a:endParaRPr lang="da-DK"/>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p:txBody>
          <a:bodyPr/>
          <a:lstStyle/>
          <a:p>
            <a:endParaRPr lang="da-DK"/>
          </a:p>
        </p:txBody>
      </p:sp>
    </p:spTree>
    <p:extLst>
      <p:ext uri="{BB962C8B-B14F-4D97-AF65-F5344CB8AC3E}">
        <p14:creationId xmlns:p14="http://schemas.microsoft.com/office/powerpoint/2010/main" val="15495376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0" name="Title 9"/>
          <p:cNvSpPr>
            <a:spLocks noGrp="1"/>
          </p:cNvSpPr>
          <p:nvPr>
            <p:ph type="title"/>
          </p:nvPr>
        </p:nvSpPr>
        <p:spPr>
          <a:xfrm>
            <a:off x="467543" y="325513"/>
            <a:ext cx="8208000" cy="655638"/>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15143317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A6BDF2F-DF46-4BC0-80EF-828322F27D64}"/>
              </a:ext>
            </a:extLst>
          </p:cNvPr>
          <p:cNvSpPr>
            <a:spLocks noGrp="1"/>
          </p:cNvSpPr>
          <p:nvPr>
            <p:ph type="dt" sz="half" idx="10"/>
          </p:nvPr>
        </p:nvSpPr>
        <p:spPr/>
        <p:txBody>
          <a:bodyPr/>
          <a:lstStyle/>
          <a:p>
            <a:fld id="{46DB9A6D-AAF2-4D85-9590-A28779EED1E4}" type="datetime6">
              <a:rPr lang="en-GB" smtClean="0"/>
              <a:pPr/>
              <a:t>November 22</a:t>
            </a:fld>
            <a:endParaRPr lang="en-GB" dirty="0"/>
          </a:p>
        </p:txBody>
      </p:sp>
      <p:sp>
        <p:nvSpPr>
          <p:cNvPr id="6" name="Footer Placeholder 5">
            <a:extLst>
              <a:ext uri="{FF2B5EF4-FFF2-40B4-BE49-F238E27FC236}">
                <a16:creationId xmlns:a16="http://schemas.microsoft.com/office/drawing/2014/main" id="{0C761428-0FF6-4400-950E-ADF230D631C4}"/>
              </a:ext>
            </a:extLst>
          </p:cNvPr>
          <p:cNvSpPr>
            <a:spLocks noGrp="1"/>
          </p:cNvSpPr>
          <p:nvPr>
            <p:ph type="ftr" sz="quarter" idx="11"/>
          </p:nvPr>
        </p:nvSpPr>
        <p:spPr/>
        <p:txBody>
          <a:bodyPr/>
          <a:lstStyle/>
          <a:p>
            <a:endParaRPr lang="en-GB" dirty="0"/>
          </a:p>
        </p:txBody>
      </p:sp>
      <p:sp>
        <p:nvSpPr>
          <p:cNvPr id="4" name="text" descr="{&quot;templafy&quot;:{&quot;id&quot;:&quot;e58f9998-6536-4cdd-b1f4-8d577ac06d53&quot;}}" title="Translations.PPTitle">
            <a:extLst>
              <a:ext uri="{FF2B5EF4-FFF2-40B4-BE49-F238E27FC236}">
                <a16:creationId xmlns:a16="http://schemas.microsoft.com/office/drawing/2014/main" id="{3FFF9390-97E5-4F23-ACDD-19294A3FD550}"/>
              </a:ext>
            </a:extLst>
          </p:cNvPr>
          <p:cNvSpPr>
            <a:spLocks noGrp="1"/>
          </p:cNvSpPr>
          <p:nvPr>
            <p:ph type="title" hasCustomPrompt="1"/>
          </p:nvPr>
        </p:nvSpPr>
        <p:spPr>
          <a:xfrm>
            <a:off x="358614" y="487866"/>
            <a:ext cx="8424000" cy="228524"/>
          </a:xfrm>
        </p:spPr>
        <p:txBody>
          <a:bodyPr wrap="square" lIns="0" tIns="0" rIns="0" bIns="0" anchor="b">
            <a:spAutoFit/>
          </a:bodyPr>
          <a:lstStyle>
            <a:lvl1pPr algn="l" eaLnBrk="1">
              <a:lnSpc>
                <a:spcPct val="90000"/>
              </a:lnSpc>
              <a:spcBef>
                <a:spcPct val="0"/>
              </a:spcBef>
              <a:spcAft>
                <a:spcPts val="0"/>
              </a:spcAft>
              <a:defRPr sz="1650" b="1">
                <a:solidFill>
                  <a:srgbClr val="20242B"/>
                </a:solidFill>
                <a:latin typeface="Arial" panose="020B0604020202020204" pitchFamily="34" charset="0"/>
              </a:defRPr>
            </a:lvl1pPr>
          </a:lstStyle>
          <a:p>
            <a:r>
              <a:rPr lang="en-GB" dirty="0"/>
              <a:t>Click to edit title</a:t>
            </a:r>
          </a:p>
        </p:txBody>
      </p:sp>
      <p:sp>
        <p:nvSpPr>
          <p:cNvPr id="7" name="text" descr="{&quot;templafy&quot;:{&quot;id&quot;:&quot;f7af069d-88e6-4285-b74f-dd8ebfc61926&quot;}}" title="Translations.Subtitle">
            <a:extLst>
              <a:ext uri="{FF2B5EF4-FFF2-40B4-BE49-F238E27FC236}">
                <a16:creationId xmlns:a16="http://schemas.microsoft.com/office/drawing/2014/main" id="{FD1839A8-1746-4526-AE2F-B0C4F00E1658}"/>
              </a:ext>
            </a:extLst>
          </p:cNvPr>
          <p:cNvSpPr>
            <a:spLocks noGrp="1"/>
          </p:cNvSpPr>
          <p:nvPr>
            <p:ph type="subTitle" idx="16" hasCustomPrompt="1"/>
          </p:nvPr>
        </p:nvSpPr>
        <p:spPr>
          <a:xfrm>
            <a:off x="358614" y="766788"/>
            <a:ext cx="8424000" cy="207749"/>
          </a:xfrm>
        </p:spPr>
        <p:txBody>
          <a:bodyPr wrap="square" lIns="0" tIns="0" rIns="0" bIns="0" anchor="t">
            <a:spAutoFit/>
          </a:bodyPr>
          <a:lstStyle>
            <a:lvl1pPr marL="0" indent="0" algn="l" eaLnBrk="1">
              <a:lnSpc>
                <a:spcPct val="100000"/>
              </a:lnSpc>
              <a:spcBef>
                <a:spcPts val="0"/>
              </a:spcBef>
              <a:spcAft>
                <a:spcPts val="0"/>
              </a:spcAft>
              <a:buFont typeface="Arial" panose="020B0604020202020204" pitchFamily="34" charset="0"/>
              <a:buChar char="​"/>
              <a:defRPr sz="1350" b="0">
                <a:solidFill>
                  <a:srgbClr val="414956"/>
                </a:solidFill>
                <a:latin typeface="Arial" panose="020B0604020202020204" pitchFamily="34" charset="0"/>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dirty="0"/>
              <a:t>Click to edit subtitle</a:t>
            </a:r>
          </a:p>
        </p:txBody>
      </p:sp>
      <p:sp>
        <p:nvSpPr>
          <p:cNvPr id="8" name="Text Placeholder 37">
            <a:extLst>
              <a:ext uri="{FF2B5EF4-FFF2-40B4-BE49-F238E27FC236}">
                <a16:creationId xmlns:a16="http://schemas.microsoft.com/office/drawing/2014/main" id="{31A143AC-190E-4642-BF47-5883EDAD8070}"/>
              </a:ext>
            </a:extLst>
          </p:cNvPr>
          <p:cNvSpPr>
            <a:spLocks noGrp="1"/>
          </p:cNvSpPr>
          <p:nvPr>
            <p:ph type="body" sz="quarter" idx="14" hasCustomPrompt="1"/>
          </p:nvPr>
        </p:nvSpPr>
        <p:spPr>
          <a:xfrm>
            <a:off x="359570" y="6100803"/>
            <a:ext cx="8424000" cy="83100"/>
          </a:xfrm>
          <a:prstGeom prst="rect">
            <a:avLst/>
          </a:prstGeom>
        </p:spPr>
        <p:txBody>
          <a:bodyPr vert="horz" wrap="square" lIns="0" tIns="0" rIns="0" bIns="0" anchor="b" anchorCtr="0">
            <a:spAutoFit/>
          </a:bodyPr>
          <a:lstStyle>
            <a:lvl1pPr marL="0" indent="0" algn="l" eaLnBrk="1">
              <a:lnSpc>
                <a:spcPct val="90000"/>
              </a:lnSpc>
              <a:spcBef>
                <a:spcPts val="0"/>
              </a:spcBef>
              <a:spcAft>
                <a:spcPts val="0"/>
              </a:spcAft>
              <a:buNone/>
              <a:defRPr lang="en-US" sz="600" b="0" kern="1200" baseline="0" dirty="0">
                <a:solidFill>
                  <a:srgbClr val="20242B"/>
                </a:solidFill>
                <a:latin typeface="Arial" panose="020B0604020202020204" pitchFamily="34" charset="0"/>
                <a:ea typeface="SimHei" panose="02010609060101010101" pitchFamily="49" charset="-122"/>
                <a:cs typeface="ＭＳ Ｐゴシック" charset="0"/>
              </a:defRPr>
            </a:lvl1pPr>
          </a:lstStyle>
          <a:p>
            <a:pPr lvl="0"/>
            <a:r>
              <a:rPr lang="en-AU" dirty="0"/>
              <a:t>Click to edit source</a:t>
            </a:r>
            <a:endParaRPr lang="en-US" dirty="0"/>
          </a:p>
        </p:txBody>
      </p:sp>
    </p:spTree>
    <p:extLst>
      <p:ext uri="{BB962C8B-B14F-4D97-AF65-F5344CB8AC3E}">
        <p14:creationId xmlns:p14="http://schemas.microsoft.com/office/powerpoint/2010/main" val="24503163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5" name="Text Placeholder 35"/>
          <p:cNvSpPr>
            <a:spLocks noGrp="1"/>
          </p:cNvSpPr>
          <p:nvPr>
            <p:ph type="body" sz="quarter" idx="13" hasCustomPrompt="1"/>
          </p:nvPr>
        </p:nvSpPr>
        <p:spPr>
          <a:xfrm>
            <a:off x="471904" y="1665288"/>
            <a:ext cx="8208546" cy="3998863"/>
          </a:xfrm>
          <a:prstGeom prst="rect">
            <a:avLst/>
          </a:prstGeom>
        </p:spPr>
        <p:txBody>
          <a:bodyPr vert="horz" lIns="0" tIns="0" rIns="0" bIns="0"/>
          <a:lstStyle>
            <a:lvl1pPr marL="0" indent="0">
              <a:spcBef>
                <a:spcPts val="0"/>
              </a:spcBef>
              <a:buNone/>
              <a:defRPr lang="en-US" sz="1200" b="0" kern="1200" dirty="0">
                <a:solidFill>
                  <a:schemeClr val="tx1"/>
                </a:solidFill>
                <a:latin typeface="+mn-lt"/>
                <a:ea typeface="ＭＳ Ｐゴシック" charset="0"/>
                <a:cs typeface="ＭＳ Ｐゴシック" charset="0"/>
              </a:defRPr>
            </a:lvl1pPr>
          </a:lstStyle>
          <a:p>
            <a:pPr lvl="0"/>
            <a:r>
              <a:rPr lang="en-AU" dirty="0"/>
              <a:t>Click to add text click to add text click to add text click to add text</a:t>
            </a:r>
            <a:endParaRPr lang="en-US" dirty="0"/>
          </a:p>
        </p:txBody>
      </p:sp>
      <p:sp>
        <p:nvSpPr>
          <p:cNvPr id="10" name="Text Placeholder 37"/>
          <p:cNvSpPr>
            <a:spLocks noGrp="1"/>
          </p:cNvSpPr>
          <p:nvPr>
            <p:ph type="body" sz="quarter" idx="14" hasCustomPrompt="1"/>
          </p:nvPr>
        </p:nvSpPr>
        <p:spPr>
          <a:xfrm>
            <a:off x="469062" y="5746803"/>
            <a:ext cx="8203784"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dirty="0"/>
              <a:t>Click to edit source</a:t>
            </a:r>
            <a:endParaRPr lang="en-US" dirty="0"/>
          </a:p>
        </p:txBody>
      </p:sp>
      <p:sp>
        <p:nvSpPr>
          <p:cNvPr id="11" name="Text Placeholder 29"/>
          <p:cNvSpPr>
            <a:spLocks noGrp="1"/>
          </p:cNvSpPr>
          <p:nvPr>
            <p:ph type="body" sz="quarter" idx="10" hasCustomPrompt="1"/>
          </p:nvPr>
        </p:nvSpPr>
        <p:spPr>
          <a:xfrm>
            <a:off x="469062" y="768983"/>
            <a:ext cx="8203451"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dirty="0"/>
              <a:t>Click to edit subtitle</a:t>
            </a:r>
            <a:endParaRPr lang="en-US" dirty="0"/>
          </a:p>
        </p:txBody>
      </p:sp>
      <p:sp>
        <p:nvSpPr>
          <p:cNvPr id="12" name="Title 9"/>
          <p:cNvSpPr>
            <a:spLocks noGrp="1"/>
          </p:cNvSpPr>
          <p:nvPr>
            <p:ph type="title" hasCustomPrompt="1"/>
          </p:nvPr>
        </p:nvSpPr>
        <p:spPr>
          <a:xfrm>
            <a:off x="469062" y="24905"/>
            <a:ext cx="8203451"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dirty="0"/>
              <a:t>Click to edit title</a:t>
            </a:r>
            <a:endParaRPr lang="en-US" dirty="0"/>
          </a:p>
        </p:txBody>
      </p:sp>
      <p:sp>
        <p:nvSpPr>
          <p:cNvPr id="14" name="Text Placeholder 31"/>
          <p:cNvSpPr>
            <a:spLocks noGrp="1"/>
          </p:cNvSpPr>
          <p:nvPr>
            <p:ph type="body" sz="quarter" idx="11" hasCustomPrompt="1"/>
          </p:nvPr>
        </p:nvSpPr>
        <p:spPr>
          <a:xfrm>
            <a:off x="469062" y="1290776"/>
            <a:ext cx="8203784"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dirty="0"/>
              <a:t>Click to edit heading</a:t>
            </a:r>
            <a:endParaRPr lang="en-US" dirty="0"/>
          </a:p>
        </p:txBody>
      </p:sp>
    </p:spTree>
    <p:extLst>
      <p:ext uri="{BB962C8B-B14F-4D97-AF65-F5344CB8AC3E}">
        <p14:creationId xmlns:p14="http://schemas.microsoft.com/office/powerpoint/2010/main" val="14016786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469062" y="5746803"/>
            <a:ext cx="8203784"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dirty="0"/>
              <a:t>Click to edit source</a:t>
            </a:r>
            <a:endParaRPr lang="en-US" dirty="0"/>
          </a:p>
        </p:txBody>
      </p:sp>
      <p:sp>
        <p:nvSpPr>
          <p:cNvPr id="12" name="Text Placeholder 29"/>
          <p:cNvSpPr>
            <a:spLocks noGrp="1"/>
          </p:cNvSpPr>
          <p:nvPr>
            <p:ph type="body" sz="quarter" idx="10" hasCustomPrompt="1"/>
          </p:nvPr>
        </p:nvSpPr>
        <p:spPr>
          <a:xfrm>
            <a:off x="469062" y="768983"/>
            <a:ext cx="8203451"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dirty="0"/>
              <a:t>Click to edit subtitle</a:t>
            </a:r>
            <a:endParaRPr lang="en-US" dirty="0"/>
          </a:p>
        </p:txBody>
      </p:sp>
      <p:sp>
        <p:nvSpPr>
          <p:cNvPr id="13" name="Title 9"/>
          <p:cNvSpPr>
            <a:spLocks noGrp="1"/>
          </p:cNvSpPr>
          <p:nvPr>
            <p:ph type="title" hasCustomPrompt="1"/>
          </p:nvPr>
        </p:nvSpPr>
        <p:spPr>
          <a:xfrm>
            <a:off x="469062" y="24905"/>
            <a:ext cx="8203451"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dirty="0"/>
              <a:t>Click to edit title</a:t>
            </a:r>
            <a:endParaRPr lang="en-US" dirty="0"/>
          </a:p>
        </p:txBody>
      </p:sp>
    </p:spTree>
    <p:extLst>
      <p:ext uri="{BB962C8B-B14F-4D97-AF65-F5344CB8AC3E}">
        <p14:creationId xmlns:p14="http://schemas.microsoft.com/office/powerpoint/2010/main" val="2849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98438"/>
            <a:ext cx="8229600" cy="965200"/>
          </a:xfrm>
          <a:prstGeom prst="rect">
            <a:avLst/>
          </a:prstGeom>
        </p:spPr>
        <p:txBody>
          <a:bodyPr/>
          <a:lstStyle>
            <a:lvl1pPr>
              <a:defRPr sz="2400"/>
            </a:lvl1pPr>
          </a:lstStyle>
          <a:p>
            <a:r>
              <a:rPr lang="en-US"/>
              <a:t>Click to edit Master title style</a:t>
            </a:r>
            <a:endParaRPr lang="en-GB"/>
          </a:p>
        </p:txBody>
      </p:sp>
      <p:sp>
        <p:nvSpPr>
          <p:cNvPr id="5" name="Slide Number Placeholder 4"/>
          <p:cNvSpPr>
            <a:spLocks noGrp="1"/>
          </p:cNvSpPr>
          <p:nvPr>
            <p:ph type="sldNum" sz="quarter" idx="12"/>
          </p:nvPr>
        </p:nvSpPr>
        <p:spPr>
          <a:xfrm>
            <a:off x="468313" y="6418800"/>
            <a:ext cx="288000" cy="270000"/>
          </a:xfrm>
          <a:prstGeom prst="rect">
            <a:avLst/>
          </a:prstGeom>
        </p:spPr>
        <p:txBody>
          <a:bodyPr/>
          <a:lstStyle/>
          <a:p>
            <a:fld id="{D4A3EBFC-9D52-48F9-9932-062A647093A7}" type="slidenum">
              <a:rPr lang="en-GB" smtClean="0">
                <a:solidFill>
                  <a:srgbClr val="20242B"/>
                </a:solidFill>
              </a:rPr>
              <a:pPr/>
              <a:t>‹N°›</a:t>
            </a:fld>
            <a:endParaRPr lang="en-GB" dirty="0">
              <a:solidFill>
                <a:srgbClr val="20242B"/>
              </a:solidFill>
            </a:endParaRPr>
          </a:p>
        </p:txBody>
      </p:sp>
    </p:spTree>
    <p:extLst>
      <p:ext uri="{BB962C8B-B14F-4D97-AF65-F5344CB8AC3E}">
        <p14:creationId xmlns:p14="http://schemas.microsoft.com/office/powerpoint/2010/main" val="4281406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0" name="Title 9"/>
          <p:cNvSpPr>
            <a:spLocks noGrp="1"/>
          </p:cNvSpPr>
          <p:nvPr>
            <p:ph type="title"/>
          </p:nvPr>
        </p:nvSpPr>
        <p:spPr>
          <a:xfrm>
            <a:off x="467543" y="325513"/>
            <a:ext cx="8208000" cy="655638"/>
          </a:xfrm>
          <a:prstGeom prst="rect">
            <a:avLst/>
          </a:prstGeom>
        </p:spPr>
        <p:txBody>
          <a:bodyPr/>
          <a:lstStyle/>
          <a:p>
            <a:r>
              <a:rPr lang="en-US"/>
              <a:t>Click to edit Master title style</a:t>
            </a:r>
            <a:endParaRPr lang="en-GB" dirty="0"/>
          </a:p>
        </p:txBody>
      </p:sp>
      <p:sp>
        <p:nvSpPr>
          <p:cNvPr id="4" name="Slide Number Placeholder 5"/>
          <p:cNvSpPr>
            <a:spLocks noGrp="1"/>
          </p:cNvSpPr>
          <p:nvPr>
            <p:ph type="sldNum" sz="quarter" idx="4"/>
          </p:nvPr>
        </p:nvSpPr>
        <p:spPr>
          <a:xfrm>
            <a:off x="8378825" y="6496984"/>
            <a:ext cx="288925" cy="271463"/>
          </a:xfrm>
          <a:prstGeom prst="rect">
            <a:avLst/>
          </a:prstGeom>
          <a:noFill/>
        </p:spPr>
        <p:txBody>
          <a:bodyPr vert="horz" lIns="0" tIns="0" rIns="0" bIns="0" rtlCol="0" anchor="b" anchorCtr="0"/>
          <a:lstStyle>
            <a:lvl1pPr algn="r" defTabSz="914239" fontAlgn="auto">
              <a:spcBef>
                <a:spcPts val="0"/>
              </a:spcBef>
              <a:spcAft>
                <a:spcPts val="0"/>
              </a:spcAft>
              <a:defRPr sz="1000" b="0" smtClean="0">
                <a:solidFill>
                  <a:schemeClr val="tx1"/>
                </a:solidFill>
                <a:latin typeface="+mn-lt"/>
              </a:defRPr>
            </a:lvl1pPr>
          </a:lstStyle>
          <a:p>
            <a:pPr>
              <a:defRPr/>
            </a:pPr>
            <a:fld id="{D8F110CE-BEB5-4991-AF7F-818574B758A1}" type="slidenum">
              <a:rPr lang="en-GB" kern="0">
                <a:solidFill>
                  <a:srgbClr val="000000"/>
                </a:solidFill>
              </a:rPr>
              <a:pPr>
                <a:defRPr/>
              </a:pPr>
              <a:t>‹N°›</a:t>
            </a:fld>
            <a:endParaRPr lang="en-GB" kern="0" dirty="0">
              <a:solidFill>
                <a:srgbClr val="000000"/>
              </a:solidFill>
            </a:endParaRPr>
          </a:p>
        </p:txBody>
      </p:sp>
    </p:spTree>
    <p:extLst>
      <p:ext uri="{BB962C8B-B14F-4D97-AF65-F5344CB8AC3E}">
        <p14:creationId xmlns:p14="http://schemas.microsoft.com/office/powerpoint/2010/main" val="3594843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4" name="Title 6"/>
          <p:cNvSpPr txBox="1">
            <a:spLocks/>
          </p:cNvSpPr>
          <p:nvPr userDrawn="1"/>
        </p:nvSpPr>
        <p:spPr>
          <a:xfrm>
            <a:off x="470221" y="24905"/>
            <a:ext cx="8201045" cy="693360"/>
          </a:xfrm>
          <a:prstGeom prst="rect">
            <a:avLst/>
          </a:prstGeom>
        </p:spPr>
        <p:txBody>
          <a:bodyPr lIns="0" tIns="0" rIns="0" bIns="0" anchor="b" anchorCtr="0"/>
          <a:lst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a:lstStyle>
          <a:p>
            <a:pPr defTabSz="912813"/>
            <a:r>
              <a:rPr lang="fr-FR" sz="2400" b="1" dirty="0">
                <a:solidFill>
                  <a:srgbClr val="0A4D80"/>
                </a:solidFill>
              </a:rPr>
              <a:t>Informations importantes</a:t>
            </a:r>
          </a:p>
        </p:txBody>
      </p:sp>
      <p:sp>
        <p:nvSpPr>
          <p:cNvPr id="5" name="Text Placeholder 2"/>
          <p:cNvSpPr>
            <a:spLocks noGrp="1"/>
          </p:cNvSpPr>
          <p:nvPr>
            <p:ph type="body" sz="quarter" idx="10" hasCustomPrompt="1"/>
          </p:nvPr>
        </p:nvSpPr>
        <p:spPr>
          <a:xfrm>
            <a:off x="470221" y="1304925"/>
            <a:ext cx="8205467" cy="4356100"/>
          </a:xfrm>
          <a:prstGeom prst="rect">
            <a:avLst/>
          </a:prstGeom>
        </p:spPr>
        <p:txBody>
          <a:bodyPr vert="horz" lIns="0" tIns="0" rIns="0" bIns="0"/>
          <a:lstStyle>
            <a:lvl1pPr marL="0" indent="0" algn="l" defTabSz="912813" rtl="0" eaLnBrk="1" fontAlgn="base" hangingPunct="1">
              <a:spcBef>
                <a:spcPts val="300"/>
              </a:spcBef>
              <a:spcAft>
                <a:spcPts val="300"/>
              </a:spcAft>
              <a:buFont typeface="Wingdings" charset="0"/>
              <a:buNone/>
              <a:defRPr lang="en-US" sz="1000" b="0" kern="1200" baseline="0" dirty="0">
                <a:solidFill>
                  <a:srgbClr val="415464"/>
                </a:solidFill>
                <a:latin typeface="Arial" charset="0"/>
                <a:ea typeface="ＭＳ Ｐゴシック" charset="0"/>
                <a:cs typeface="ＭＳ Ｐゴシック" charset="0"/>
              </a:defRPr>
            </a:lvl1pPr>
          </a:lstStyle>
          <a:p>
            <a:pPr lvl="0"/>
            <a:r>
              <a:rPr lang="en-AU" dirty="0"/>
              <a:t>Click to add disclaimer</a:t>
            </a:r>
            <a:endParaRPr lang="en-US" dirty="0"/>
          </a:p>
        </p:txBody>
      </p:sp>
    </p:spTree>
    <p:extLst>
      <p:ext uri="{BB962C8B-B14F-4D97-AF65-F5344CB8AC3E}">
        <p14:creationId xmlns:p14="http://schemas.microsoft.com/office/powerpoint/2010/main" val="1126982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2175396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18F7CACE-6836-4B8B-9BBE-AF98B0B407CB}" type="datetimeFigureOut">
              <a:rPr lang="fr-FR" smtClean="0"/>
              <a:t>30/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6764231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18F7CACE-6836-4B8B-9BBE-AF98B0B407CB}" type="datetimeFigureOut">
              <a:rPr lang="fr-FR" smtClean="0"/>
              <a:t>30/11/202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2649216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18F7CACE-6836-4B8B-9BBE-AF98B0B407CB}" type="datetimeFigureOut">
              <a:rPr lang="fr-FR" smtClean="0"/>
              <a:t>30/11/202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1829869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8F7CACE-6836-4B8B-9BBE-AF98B0B407CB}" type="datetimeFigureOut">
              <a:rPr lang="fr-FR" smtClean="0"/>
              <a:t>30/11/202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1580890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8F7CACE-6836-4B8B-9BBE-AF98B0B407CB}" type="datetimeFigureOut">
              <a:rPr lang="fr-FR" smtClean="0"/>
              <a:t>30/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379691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8F7CACE-6836-4B8B-9BBE-AF98B0B407CB}" type="datetimeFigureOut">
              <a:rPr lang="fr-FR" smtClean="0"/>
              <a:t>30/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B257B05-6FCC-4E7A-9A86-8531AC131664}" type="slidenum">
              <a:rPr lang="fr-FR" smtClean="0"/>
              <a:t>‹N°›</a:t>
            </a:fld>
            <a:endParaRPr lang="fr-FR"/>
          </a:p>
        </p:txBody>
      </p:sp>
    </p:spTree>
    <p:extLst>
      <p:ext uri="{BB962C8B-B14F-4D97-AF65-F5344CB8AC3E}">
        <p14:creationId xmlns:p14="http://schemas.microsoft.com/office/powerpoint/2010/main" val="6850204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0.xml"/><Relationship Id="rId1" Type="http://schemas.openxmlformats.org/officeDocument/2006/relationships/slideLayout" Target="../slideLayouts/slideLayout22.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11.xml"/><Relationship Id="rId1" Type="http://schemas.openxmlformats.org/officeDocument/2006/relationships/slideLayout" Target="../slideLayouts/slideLayout23.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2.xml"/><Relationship Id="rId1" Type="http://schemas.openxmlformats.org/officeDocument/2006/relationships/slideLayout" Target="../slideLayouts/slideLayout24.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3.xml"/><Relationship Id="rId1" Type="http://schemas.openxmlformats.org/officeDocument/2006/relationships/slideLayout" Target="../slideLayouts/slideLayout25.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4.xml"/><Relationship Id="rId1" Type="http://schemas.openxmlformats.org/officeDocument/2006/relationships/slideLayout" Target="../slideLayouts/slideLayout26.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15.xml"/><Relationship Id="rId1"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3.emf"/><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5.xml"/><Relationship Id="rId1" Type="http://schemas.openxmlformats.org/officeDocument/2006/relationships/slideLayout" Target="../slideLayouts/slideLayout1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6.xml"/><Relationship Id="rId1" Type="http://schemas.openxmlformats.org/officeDocument/2006/relationships/slideLayout" Target="../slideLayouts/slideLayout18.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7.xml"/><Relationship Id="rId1" Type="http://schemas.openxmlformats.org/officeDocument/2006/relationships/slideLayout" Target="../slideLayouts/slideLayout19.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8.xml"/><Relationship Id="rId1" Type="http://schemas.openxmlformats.org/officeDocument/2006/relationships/slideLayout" Target="../slideLayouts/slideLayout20.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9.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F7CACE-6836-4B8B-9BBE-AF98B0B407CB}" type="datetimeFigureOut">
              <a:rPr lang="fr-FR" smtClean="0"/>
              <a:t>30/11/202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257B05-6FCC-4E7A-9A86-8531AC131664}" type="slidenum">
              <a:rPr lang="fr-FR" smtClean="0"/>
              <a:t>‹N°›</a:t>
            </a:fld>
            <a:endParaRPr lang="fr-FR"/>
          </a:p>
        </p:txBody>
      </p:sp>
    </p:spTree>
    <p:extLst>
      <p:ext uri="{BB962C8B-B14F-4D97-AF65-F5344CB8AC3E}">
        <p14:creationId xmlns:p14="http://schemas.microsoft.com/office/powerpoint/2010/main" val="3813749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da-DK"/>
              <a:t>Click to edit Master title style</a:t>
            </a:r>
          </a:p>
        </p:txBody>
      </p:sp>
      <p:sp>
        <p:nvSpPr>
          <p:cNvPr id="3" name="Text Placeholder 2"/>
          <p:cNvSpPr>
            <a:spLocks noGrp="1"/>
          </p:cNvSpPr>
          <p:nvPr>
            <p:ph type="body" idx="1"/>
          </p:nvPr>
        </p:nvSpPr>
        <p:spPr>
          <a:xfrm>
            <a:off x="468313" y="1562402"/>
            <a:ext cx="8207375" cy="4304847"/>
          </a:xfrm>
          <a:prstGeom prst="rect">
            <a:avLst/>
          </a:prstGeom>
        </p:spPr>
        <p:txBody>
          <a:bodyPr vert="horz" lIns="0" tIns="0" rIns="0" bIns="0" rtlCol="0">
            <a:noAutofit/>
          </a:bodyPr>
          <a:lstStyle/>
          <a:p>
            <a:pPr lvl="0"/>
            <a:r>
              <a:rPr lang="da-DK" noProof="0"/>
              <a:t>Level 1</a:t>
            </a:r>
            <a:endParaRPr lang="da-DK"/>
          </a:p>
          <a:p>
            <a:pPr lvl="1"/>
            <a:r>
              <a:rPr lang="da-DK" noProof="0"/>
              <a:t>Level 2</a:t>
            </a:r>
            <a:endParaRPr lang="da-DK"/>
          </a:p>
          <a:p>
            <a:pPr lvl="2"/>
            <a:r>
              <a:rPr lang="da-DK" noProof="0"/>
              <a:t>Level 3</a:t>
            </a:r>
            <a:endParaRPr lang="da-DK"/>
          </a:p>
          <a:p>
            <a:pPr lvl="3"/>
            <a:r>
              <a:rPr lang="da-DK" noProof="0"/>
              <a:t>Level 4, Header</a:t>
            </a:r>
            <a:endParaRPr lang="da-DK"/>
          </a:p>
          <a:p>
            <a:pPr lvl="4"/>
            <a:r>
              <a:rPr lang="da-DK" noProof="0"/>
              <a:t>Level 5, Body</a:t>
            </a:r>
            <a:endParaRPr lang="da-DK"/>
          </a:p>
          <a:p>
            <a:pPr lvl="5"/>
            <a:r>
              <a:rPr lang="da-DK" noProof="0"/>
              <a:t>Level 6</a:t>
            </a:r>
            <a:endParaRPr lang="da-DK"/>
          </a:p>
          <a:p>
            <a:pPr lvl="6"/>
            <a:r>
              <a:rPr lang="da-DK" noProof="0"/>
              <a:t>Level 7, Small Header</a:t>
            </a:r>
            <a:endParaRPr lang="da-DK"/>
          </a:p>
          <a:p>
            <a:pPr lvl="7"/>
            <a:r>
              <a:rPr lang="da-DK" noProof="0"/>
              <a:t>Level 8, Small Body</a:t>
            </a:r>
            <a:endParaRPr lang="da-DK"/>
          </a:p>
          <a:p>
            <a:pPr lvl="8"/>
            <a:r>
              <a:rPr lang="da-DK" noProof="0"/>
              <a:t>Level 9, Infographic</a:t>
            </a:r>
            <a:endParaRPr lang="da-DK"/>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da-DK" b="1">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da-DK" b="1" smtClean="0">
                <a:ea typeface="ＭＳ Ｐゴシック" charset="0"/>
              </a:rPr>
              <a:pPr defTabSz="912813" fontAlgn="base">
                <a:spcBef>
                  <a:spcPct val="0"/>
                </a:spcBef>
                <a:spcAft>
                  <a:spcPct val="0"/>
                </a:spcAft>
              </a:pPr>
              <a:t>30.11.2022</a:t>
            </a:fld>
            <a:endParaRPr lang="da-DK" b="1">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7A14D42-BF06-47D1-975E-581CE1B1C45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2336" y="6369149"/>
            <a:ext cx="864000" cy="363978"/>
          </a:xfrm>
          <a:prstGeom prst="rect">
            <a:avLst/>
          </a:prstGeom>
        </p:spPr>
      </p:pic>
      <p:sp>
        <p:nvSpPr>
          <p:cNvPr id="10" name="text" descr="{&quot;templafy&quot;:{&quot;id&quot;:&quot;392dabc3-7f5d-42ba-ab71-512d589e3695&quot;}}" title="Form.PresentationTitle">
            <a:extLst>
              <a:ext uri="{FF2B5EF4-FFF2-40B4-BE49-F238E27FC236}">
                <a16:creationId xmlns:a16="http://schemas.microsoft.com/office/drawing/2014/main" id="{14E34EAB-5D4D-4A30-A04B-49F40652E4F2}"/>
              </a:ext>
            </a:extLst>
          </p:cNvPr>
          <p:cNvSpPr txBox="1"/>
          <p:nvPr userDrawn="1"/>
        </p:nvSpPr>
        <p:spPr>
          <a:xfrm>
            <a:off x="615793" y="6478872"/>
            <a:ext cx="2274092" cy="115416"/>
          </a:xfrm>
          <a:prstGeom prst="rect">
            <a:avLst/>
          </a:prstGeom>
          <a:noFill/>
          <a:ln>
            <a:noFill/>
          </a:ln>
        </p:spPr>
        <p:txBody>
          <a:bodyPr wrap="square" lIns="0" tIns="0" rIns="0" bIns="0" rtlCol="0" anchor="b">
            <a:spAutoFit/>
          </a:bodyPr>
          <a:lstStyle/>
          <a:p>
            <a:pPr defTabSz="912813" fontAlgn="base">
              <a:spcBef>
                <a:spcPct val="0"/>
              </a:spcBef>
              <a:spcAft>
                <a:spcPct val="0"/>
              </a:spcAft>
            </a:pPr>
            <a:r>
              <a:rPr lang="en-GB" sz="750" dirty="0">
                <a:solidFill>
                  <a:srgbClr val="20242B"/>
                </a:solidFill>
                <a:ea typeface="ＭＳ Ｐゴシック" charset="0"/>
              </a:rPr>
              <a:t>Fidelity Funds - World Fund</a:t>
            </a:r>
          </a:p>
        </p:txBody>
      </p:sp>
      <p:sp>
        <p:nvSpPr>
          <p:cNvPr id="12" name="Slide Number Placeholder 5">
            <a:extLst>
              <a:ext uri="{FF2B5EF4-FFF2-40B4-BE49-F238E27FC236}">
                <a16:creationId xmlns:a16="http://schemas.microsoft.com/office/drawing/2014/main" id="{2EFEAB6F-3857-4F3E-9808-4FFFE2CB6DFC}"/>
              </a:ext>
            </a:extLst>
          </p:cNvPr>
          <p:cNvSpPr txBox="1">
            <a:spLocks/>
          </p:cNvSpPr>
          <p:nvPr userDrawn="1"/>
        </p:nvSpPr>
        <p:spPr bwMode="auto">
          <a:xfrm>
            <a:off x="361711" y="6422400"/>
            <a:ext cx="181754"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a16="http://schemas.microsoft.com/office/drawing/2014/main" xmlns:a14="http://schemas.microsoft.com/office/drawing/2010/main" xmlns:p14="http://schemas.microsoft.com/office/powerpoint/2010/main" xmlns:p15="http://schemas.microsoft.com/office/powerpoint/2012/main"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750" smtClean="0">
                <a:solidFill>
                  <a:srgbClr val="20242B"/>
                </a:solidFill>
              </a:rPr>
              <a:pPr algn="l"/>
              <a:t>‹N°›</a:t>
            </a:fld>
            <a:endParaRPr lang="en-GB" sz="750" dirty="0">
              <a:solidFill>
                <a:srgbClr val="20242B"/>
              </a:solidFill>
            </a:endParaRPr>
          </a:p>
        </p:txBody>
      </p:sp>
    </p:spTree>
    <p:extLst>
      <p:ext uri="{BB962C8B-B14F-4D97-AF65-F5344CB8AC3E}">
        <p14:creationId xmlns:p14="http://schemas.microsoft.com/office/powerpoint/2010/main" val="1185686070"/>
      </p:ext>
    </p:extLst>
  </p:cSld>
  <p:clrMap bg1="lt1" tx1="dk1" bg2="lt2" tx2="dk2" accent1="accent1" accent2="accent2" accent3="accent3" accent4="accent4" accent5="accent5" accent6="accent6" hlink="hlink" folHlink="folHlink"/>
  <p:sldLayoutIdLst>
    <p:sldLayoutId id="2147483679" r:id="rId1"/>
  </p:sldLayoutIdLst>
  <p:hf hdr="0"/>
  <p:txStyles>
    <p:titleStyle>
      <a:lvl1pPr algn="l" defTabSz="514337" rtl="0" eaLnBrk="1" latinLnBrk="0" hangingPunct="1">
        <a:lnSpc>
          <a:spcPct val="83000"/>
        </a:lnSpc>
        <a:spcBef>
          <a:spcPct val="0"/>
        </a:spcBef>
        <a:buNone/>
        <a:defRPr sz="1650" b="1" kern="1200">
          <a:solidFill>
            <a:schemeClr val="tx1"/>
          </a:solidFill>
          <a:latin typeface="+mj-lt"/>
          <a:ea typeface="+mj-ea"/>
          <a:cs typeface="+mj-cs"/>
        </a:defRPr>
      </a:lvl1pPr>
    </p:titleStyle>
    <p:bodyStyle>
      <a:lvl1pPr marL="101248"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900" kern="1200">
          <a:solidFill>
            <a:schemeClr val="tx1"/>
          </a:solidFill>
          <a:latin typeface="+mn-lt"/>
          <a:ea typeface="+mn-ea"/>
          <a:cs typeface="+mn-cs"/>
        </a:defRPr>
      </a:lvl1pPr>
      <a:lvl2pPr marL="202495"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788" kern="1200">
          <a:solidFill>
            <a:schemeClr val="tx1"/>
          </a:solidFill>
          <a:latin typeface="+mn-lt"/>
          <a:ea typeface="+mn-ea"/>
          <a:cs typeface="+mn-cs"/>
        </a:defRPr>
      </a:lvl2pPr>
      <a:lvl3pPr marL="303743"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675" kern="1200">
          <a:solidFill>
            <a:schemeClr val="tx1"/>
          </a:solidFill>
          <a:latin typeface="+mn-lt"/>
          <a:ea typeface="+mn-ea"/>
          <a:cs typeface="+mn-cs"/>
        </a:defRPr>
      </a:lvl3pPr>
      <a:lvl4pPr marL="0" indent="0" algn="l" defTabSz="514337" rtl="0" eaLnBrk="1" latinLnBrk="0" hangingPunct="1">
        <a:lnSpc>
          <a:spcPct val="100000"/>
        </a:lnSpc>
        <a:spcBef>
          <a:spcPts val="225"/>
        </a:spcBef>
        <a:spcAft>
          <a:spcPts val="225"/>
        </a:spcAft>
        <a:buFont typeface="Arial" panose="020B0604020202020204" pitchFamily="34" charset="0"/>
        <a:buChar char="​"/>
        <a:defRPr sz="900" b="1" kern="1200">
          <a:solidFill>
            <a:schemeClr val="tx1"/>
          </a:solidFill>
          <a:latin typeface="+mn-lt"/>
          <a:ea typeface="+mn-ea"/>
          <a:cs typeface="+mn-cs"/>
        </a:defRPr>
      </a:lvl4pPr>
      <a:lvl5pPr marL="0" indent="0" algn="l" defTabSz="514337" rtl="0" eaLnBrk="1" latinLnBrk="0" hangingPunct="1">
        <a:lnSpc>
          <a:spcPct val="100000"/>
        </a:lnSpc>
        <a:spcBef>
          <a:spcPts val="225"/>
        </a:spcBef>
        <a:spcAft>
          <a:spcPts val="225"/>
        </a:spcAft>
        <a:buFont typeface="Arial" panose="020B0604020202020204" pitchFamily="34" charset="0"/>
        <a:buChar char="​"/>
        <a:tabLst/>
        <a:defRPr sz="788" b="0" kern="1200">
          <a:solidFill>
            <a:schemeClr val="tx1"/>
          </a:solidFill>
          <a:latin typeface="+mn-lt"/>
          <a:ea typeface="+mn-ea"/>
          <a:cs typeface="+mn-cs"/>
        </a:defRPr>
      </a:lvl5pPr>
      <a:lvl6pPr marL="0" indent="0" algn="l" defTabSz="514337" rtl="0" eaLnBrk="1" latinLnBrk="0" hangingPunct="1">
        <a:lnSpc>
          <a:spcPct val="100000"/>
        </a:lnSpc>
        <a:spcBef>
          <a:spcPts val="225"/>
        </a:spcBef>
        <a:spcAft>
          <a:spcPts val="225"/>
        </a:spcAft>
        <a:buFont typeface="Arial" panose="020B0604020202020204" pitchFamily="34" charset="0"/>
        <a:buChar char="​"/>
        <a:defRPr sz="563" b="1" kern="1200">
          <a:solidFill>
            <a:schemeClr val="tx1"/>
          </a:solidFill>
          <a:latin typeface="+mn-lt"/>
          <a:ea typeface="+mn-ea"/>
          <a:cs typeface="+mn-cs"/>
        </a:defRPr>
      </a:lvl6pPr>
      <a:lvl7pPr marL="0" indent="0" algn="l" defTabSz="514337" rtl="0" eaLnBrk="1" latinLnBrk="0" hangingPunct="1">
        <a:lnSpc>
          <a:spcPct val="100000"/>
        </a:lnSpc>
        <a:spcBef>
          <a:spcPts val="225"/>
        </a:spcBef>
        <a:spcAft>
          <a:spcPts val="225"/>
        </a:spcAft>
        <a:buFont typeface="Arial" panose="020B0604020202020204" pitchFamily="34" charset="0"/>
        <a:buChar char="​"/>
        <a:defRPr sz="563" b="0" kern="1200" baseline="0">
          <a:solidFill>
            <a:schemeClr val="tx1"/>
          </a:solidFill>
          <a:latin typeface="+mn-lt"/>
          <a:ea typeface="+mn-ea"/>
          <a:cs typeface="+mn-cs"/>
        </a:defRPr>
      </a:lvl7pPr>
      <a:lvl8pPr marL="101248" indent="-101248" algn="l" defTabSz="514337" rtl="0" eaLnBrk="1" latinLnBrk="0" hangingPunct="1">
        <a:lnSpc>
          <a:spcPct val="100000"/>
        </a:lnSpc>
        <a:spcBef>
          <a:spcPts val="225"/>
        </a:spcBef>
        <a:spcAft>
          <a:spcPts val="225"/>
        </a:spcAft>
        <a:buFont typeface="Arial" panose="020B0604020202020204" pitchFamily="34" charset="0"/>
        <a:buChar char="•"/>
        <a:defRPr sz="563" kern="1200">
          <a:solidFill>
            <a:schemeClr val="tx1"/>
          </a:solidFill>
          <a:latin typeface="+mn-lt"/>
          <a:ea typeface="+mn-ea"/>
          <a:cs typeface="+mn-cs"/>
        </a:defRPr>
      </a:lvl8pPr>
      <a:lvl9pPr marL="0" indent="0" algn="l" defTabSz="514337" rtl="0" eaLnBrk="1" latinLnBrk="0" hangingPunct="1">
        <a:lnSpc>
          <a:spcPct val="90000"/>
        </a:lnSpc>
        <a:spcBef>
          <a:spcPts val="0"/>
        </a:spcBef>
        <a:spcAft>
          <a:spcPts val="0"/>
        </a:spcAft>
        <a:buFont typeface="Arial" panose="020B0604020202020204" pitchFamily="34" charset="0"/>
        <a:buChar char="​"/>
        <a:defRPr sz="4050" b="1" kern="1200" baseline="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15:clr>
            <a:srgbClr val="F26B43"/>
          </p15:clr>
        </p15:guide>
        <p15:guide id="4" pos="5465">
          <p15:clr>
            <a:srgbClr val="F26B43"/>
          </p15:clr>
        </p15:guide>
        <p15:guide id="5" orient="horz" pos="4292">
          <p15:clr>
            <a:srgbClr val="F26B43"/>
          </p15:clr>
        </p15:guide>
        <p15:guide id="7" pos="2880">
          <p15:clr>
            <a:srgbClr val="F26B43"/>
          </p15:clr>
        </p15:guide>
        <p15:guide id="8" pos="2971">
          <p15:clr>
            <a:srgbClr val="F26B43"/>
          </p15:clr>
        </p15:guide>
        <p15:guide id="9" pos="27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 name="Slide Number Placeholder 5"/>
          <p:cNvSpPr txBox="1">
            <a:spLocks/>
          </p:cNvSpPr>
          <p:nvPr/>
        </p:nvSpPr>
        <p:spPr bwMode="auto">
          <a:xfrm>
            <a:off x="718524" y="6452652"/>
            <a:ext cx="56444" cy="187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r>
              <a:rPr lang="fr-FR" sz="900" dirty="0">
                <a:solidFill>
                  <a:srgbClr val="415464"/>
                </a:solidFill>
              </a:rPr>
              <a:t>|</a:t>
            </a:r>
          </a:p>
        </p:txBody>
      </p:sp>
      <p:sp>
        <p:nvSpPr>
          <p:cNvPr id="21" name="Slide Number Placeholder 5"/>
          <p:cNvSpPr txBox="1">
            <a:spLocks/>
          </p:cNvSpPr>
          <p:nvPr/>
        </p:nvSpPr>
        <p:spPr bwMode="auto">
          <a:xfrm>
            <a:off x="469434" y="6484867"/>
            <a:ext cx="242338"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US" sz="900" b="1" smtClean="0">
                <a:solidFill>
                  <a:srgbClr val="0A4D80"/>
                </a:solidFill>
              </a:rPr>
              <a:pPr algn="l"/>
              <a:t>‹N°›</a:t>
            </a:fld>
            <a:endParaRPr lang="fr-FR" sz="900" b="1" dirty="0">
              <a:solidFill>
                <a:srgbClr val="0A4D80"/>
              </a:solidFill>
            </a:endParaRPr>
          </a:p>
        </p:txBody>
      </p:sp>
      <p:sp>
        <p:nvSpPr>
          <p:cNvPr id="22" name="Text Placeholder 8"/>
          <p:cNvSpPr txBox="1">
            <a:spLocks/>
          </p:cNvSpPr>
          <p:nvPr/>
        </p:nvSpPr>
        <p:spPr>
          <a:xfrm>
            <a:off x="797764" y="6484658"/>
            <a:ext cx="6538340" cy="172403"/>
          </a:xfrm>
          <a:prstGeom prst="rect">
            <a:avLst/>
          </a:prstGeom>
        </p:spPr>
        <p:txBody>
          <a:bodyPr vert="horz" lIns="0" tIns="0" rIns="0" bIns="0" anchor="b" anchorCtr="0"/>
          <a:lstStyle>
            <a:lvl1pPr marL="0" indent="0" algn="l" defTabSz="912813" rtl="0" eaLnBrk="1" fontAlgn="base" hangingPunct="1">
              <a:spcBef>
                <a:spcPct val="0"/>
              </a:spcBef>
              <a:spcAft>
                <a:spcPct val="0"/>
              </a:spcAft>
              <a:buFont typeface="Wingdings" charset="0"/>
              <a:buNone/>
              <a:defRPr lang="en-US" sz="900" b="0" kern="1200" dirty="0">
                <a:solidFill>
                  <a:srgbClr val="505F77"/>
                </a:solidFill>
                <a:latin typeface="Arial" charset="0"/>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solidFill>
                  <a:srgbClr val="0A4D80"/>
                </a:solidFill>
              </a:rPr>
              <a:t>Fidelity Funds – World Fund</a:t>
            </a:r>
          </a:p>
        </p:txBody>
      </p:sp>
      <p:cxnSp>
        <p:nvCxnSpPr>
          <p:cNvPr id="23" name="Straight Connector 22"/>
          <p:cNvCxnSpPr/>
          <p:nvPr/>
        </p:nvCxnSpPr>
        <p:spPr>
          <a:xfrm>
            <a:off x="0" y="6242046"/>
            <a:ext cx="9144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descr="_FIDELITY LOGO_NEW_RGB_FINAL.ai"/>
          <p:cNvPicPr>
            <a:picLocks noChangeAspect="1"/>
          </p:cNvPicPr>
          <p:nvPr/>
        </p:nvPicPr>
        <p:blipFill rotWithShape="1">
          <a:blip r:embed="rId3" cstate="print">
            <a:extLst>
              <a:ext uri="{28A0092B-C50C-407E-A947-70E740481C1C}">
                <a14:useLocalDpi xmlns:a14="http://schemas.microsoft.com/office/drawing/2010/main" val="0"/>
              </a:ext>
            </a:extLst>
          </a:blip>
          <a:srcRect l="3221" t="8722" r="3508" b="6285"/>
          <a:stretch/>
        </p:blipFill>
        <p:spPr>
          <a:xfrm>
            <a:off x="7517242" y="6373911"/>
            <a:ext cx="1176974" cy="374235"/>
          </a:xfrm>
          <a:prstGeom prst="rect">
            <a:avLst/>
          </a:prstGeom>
        </p:spPr>
      </p:pic>
    </p:spTree>
    <p:extLst>
      <p:ext uri="{BB962C8B-B14F-4D97-AF65-F5344CB8AC3E}">
        <p14:creationId xmlns:p14="http://schemas.microsoft.com/office/powerpoint/2010/main" val="634886901"/>
      </p:ext>
    </p:extLst>
  </p:cSld>
  <p:clrMap bg1="lt1" tx1="dk1" bg2="lt2" tx2="dk2" accent1="accent1" accent2="accent2" accent3="accent3" accent4="accent4" accent5="accent5" accent6="accent6" hlink="hlink" folHlink="folHlink"/>
  <p:sldLayoutIdLst>
    <p:sldLayoutId id="2147483681" r:id="rId1"/>
  </p:sldLayoutIdLst>
  <p:hf sldNum="0" hdr="0" ftr="0" dt="0"/>
  <p:txStyles>
    <p:title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p:titleStyle>
    <p:bodyStyle>
      <a:lvl1pPr marL="177800" indent="-177800" algn="l" rtl="0" eaLnBrk="1" fontAlgn="base" hangingPunct="1">
        <a:spcBef>
          <a:spcPts val="600"/>
        </a:spcBef>
        <a:spcAft>
          <a:spcPts val="600"/>
        </a:spcAft>
        <a:buFont typeface="Wingdings" charset="0"/>
        <a:buChar char="§"/>
        <a:defRPr sz="1400" kern="1200">
          <a:solidFill>
            <a:srgbClr val="3F4C64"/>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s-ES_tradnl" b="1" dirty="0">
              <a:ea typeface="ＭＳ Ｐゴシック" charset="0"/>
            </a:endParaRPr>
          </a:p>
        </p:txBody>
      </p:sp>
      <p:sp>
        <p:nvSpPr>
          <p:cNvPr id="9" name="Slide Number Placeholder 8">
            <a:extLst>
              <a:ext uri="{FF2B5EF4-FFF2-40B4-BE49-F238E27FC236}">
                <a16:creationId xmlns:a16="http://schemas.microsoft.com/office/drawing/2014/main" id="{A867F7C4-F98A-4320-B2ED-B94A35C6AAA1}"/>
              </a:ext>
            </a:extLst>
          </p:cNvPr>
          <p:cNvSpPr>
            <a:spLocks noGrp="1"/>
          </p:cNvSpPr>
          <p:nvPr>
            <p:ph type="sldNum" sz="quarter" idx="4"/>
          </p:nvPr>
        </p:nvSpPr>
        <p:spPr>
          <a:xfrm>
            <a:off x="468313" y="6377782"/>
            <a:ext cx="246064" cy="173038"/>
          </a:xfrm>
          <a:prstGeom prst="rect">
            <a:avLst/>
          </a:prstGeom>
        </p:spPr>
        <p:txBody>
          <a:bodyPr vert="horz" lIns="0" tIns="0" rIns="0" bIns="0" rtlCol="0" anchor="ctr"/>
          <a:lstStyle>
            <a:lvl1pPr algn="l">
              <a:defRPr sz="750">
                <a:solidFill>
                  <a:schemeClr val="tx1"/>
                </a:solidFill>
              </a:defRPr>
            </a:lvl1pPr>
          </a:lstStyle>
          <a:p>
            <a:pPr defTabSz="912813" fontAlgn="base">
              <a:spcBef>
                <a:spcPct val="0"/>
              </a:spcBef>
              <a:spcAft>
                <a:spcPct val="0"/>
              </a:spcAft>
            </a:pPr>
            <a:fld id="{793E3E21-9F49-4D85-BC8F-2C5B8DFBB14E}" type="slidenum">
              <a:rPr lang="es-ES_tradnl" b="1" smtClean="0">
                <a:solidFill>
                  <a:srgbClr val="20242B"/>
                </a:solidFill>
                <a:ea typeface="ＭＳ Ｐゴシック" charset="0"/>
              </a:rPr>
              <a:pPr defTabSz="912813" fontAlgn="base">
                <a:spcBef>
                  <a:spcPct val="0"/>
                </a:spcBef>
                <a:spcAft>
                  <a:spcPct val="0"/>
                </a:spcAft>
              </a:pPr>
              <a:t>‹N°›</a:t>
            </a:fld>
            <a:endParaRPr lang="es-ES_tradnl" b="1" dirty="0">
              <a:solidFill>
                <a:srgbClr val="20242B"/>
              </a:solidFill>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s-ES_tradnl"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466" y="6245038"/>
            <a:ext cx="1460218" cy="461361"/>
          </a:xfrm>
          <a:prstGeom prst="rect">
            <a:avLst/>
          </a:prstGeom>
        </p:spPr>
      </p:pic>
    </p:spTree>
    <p:extLst>
      <p:ext uri="{BB962C8B-B14F-4D97-AF65-F5344CB8AC3E}">
        <p14:creationId xmlns:p14="http://schemas.microsoft.com/office/powerpoint/2010/main" val="781596318"/>
      </p:ext>
    </p:extLst>
  </p:cSld>
  <p:clrMap bg1="lt1" tx1="dk1" bg2="lt2" tx2="dk2" accent1="accent1" accent2="accent2" accent3="accent3" accent4="accent4" accent5="accent5" accent6="accent6" hlink="hlink" folHlink="folHlink"/>
  <p:sldLayoutIdLst>
    <p:sldLayoutId id="2147483683"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s-ES_tradnl" b="1" dirty="0">
              <a:ea typeface="ＭＳ Ｐゴシック" charset="0"/>
            </a:endParaRPr>
          </a:p>
        </p:txBody>
      </p:sp>
      <p:sp>
        <p:nvSpPr>
          <p:cNvPr id="9" name="Slide Number Placeholder 8">
            <a:extLst>
              <a:ext uri="{FF2B5EF4-FFF2-40B4-BE49-F238E27FC236}">
                <a16:creationId xmlns:a16="http://schemas.microsoft.com/office/drawing/2014/main" id="{A867F7C4-F98A-4320-B2ED-B94A35C6AAA1}"/>
              </a:ext>
            </a:extLst>
          </p:cNvPr>
          <p:cNvSpPr>
            <a:spLocks noGrp="1"/>
          </p:cNvSpPr>
          <p:nvPr>
            <p:ph type="sldNum" sz="quarter" idx="4"/>
          </p:nvPr>
        </p:nvSpPr>
        <p:spPr>
          <a:xfrm>
            <a:off x="468313" y="6377782"/>
            <a:ext cx="246064" cy="173038"/>
          </a:xfrm>
          <a:prstGeom prst="rect">
            <a:avLst/>
          </a:prstGeom>
        </p:spPr>
        <p:txBody>
          <a:bodyPr vert="horz" lIns="0" tIns="0" rIns="0" bIns="0" rtlCol="0" anchor="ctr"/>
          <a:lstStyle>
            <a:lvl1pPr algn="l">
              <a:defRPr sz="750">
                <a:solidFill>
                  <a:schemeClr val="tx1"/>
                </a:solidFill>
              </a:defRPr>
            </a:lvl1pPr>
          </a:lstStyle>
          <a:p>
            <a:pPr defTabSz="912813" fontAlgn="base">
              <a:spcBef>
                <a:spcPct val="0"/>
              </a:spcBef>
              <a:spcAft>
                <a:spcPct val="0"/>
              </a:spcAft>
            </a:pPr>
            <a:fld id="{793E3E21-9F49-4D85-BC8F-2C5B8DFBB14E}" type="slidenum">
              <a:rPr lang="es-ES_tradnl" b="1" smtClean="0">
                <a:solidFill>
                  <a:srgbClr val="20242B"/>
                </a:solidFill>
                <a:ea typeface="ＭＳ Ｐゴシック" charset="0"/>
              </a:rPr>
              <a:pPr defTabSz="912813" fontAlgn="base">
                <a:spcBef>
                  <a:spcPct val="0"/>
                </a:spcBef>
                <a:spcAft>
                  <a:spcPct val="0"/>
                </a:spcAft>
              </a:pPr>
              <a:t>‹N°›</a:t>
            </a:fld>
            <a:endParaRPr lang="es-ES_tradnl" b="1" dirty="0">
              <a:solidFill>
                <a:srgbClr val="20242B"/>
              </a:solidFill>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s-ES_tradnl"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466" y="6245038"/>
            <a:ext cx="1460218" cy="461361"/>
          </a:xfrm>
          <a:prstGeom prst="rect">
            <a:avLst/>
          </a:prstGeom>
        </p:spPr>
      </p:pic>
    </p:spTree>
    <p:extLst>
      <p:ext uri="{BB962C8B-B14F-4D97-AF65-F5344CB8AC3E}">
        <p14:creationId xmlns:p14="http://schemas.microsoft.com/office/powerpoint/2010/main" val="781596318"/>
      </p:ext>
    </p:extLst>
  </p:cSld>
  <p:clrMap bg1="lt1" tx1="dk1" bg2="lt2" tx2="dk2" accent1="accent1" accent2="accent2" accent3="accent3" accent4="accent4" accent5="accent5" accent6="accent6" hlink="hlink" folHlink="folHlink"/>
  <p:sldLayoutIdLst>
    <p:sldLayoutId id="2147483685"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s-ES_tradnl" b="1" dirty="0">
              <a:ea typeface="ＭＳ Ｐゴシック" charset="0"/>
            </a:endParaRPr>
          </a:p>
        </p:txBody>
      </p:sp>
      <p:sp>
        <p:nvSpPr>
          <p:cNvPr id="9" name="Slide Number Placeholder 8">
            <a:extLst>
              <a:ext uri="{FF2B5EF4-FFF2-40B4-BE49-F238E27FC236}">
                <a16:creationId xmlns:a16="http://schemas.microsoft.com/office/drawing/2014/main" id="{A867F7C4-F98A-4320-B2ED-B94A35C6AAA1}"/>
              </a:ext>
            </a:extLst>
          </p:cNvPr>
          <p:cNvSpPr>
            <a:spLocks noGrp="1"/>
          </p:cNvSpPr>
          <p:nvPr>
            <p:ph type="sldNum" sz="quarter" idx="4"/>
          </p:nvPr>
        </p:nvSpPr>
        <p:spPr>
          <a:xfrm>
            <a:off x="468313" y="6377782"/>
            <a:ext cx="246064" cy="173038"/>
          </a:xfrm>
          <a:prstGeom prst="rect">
            <a:avLst/>
          </a:prstGeom>
        </p:spPr>
        <p:txBody>
          <a:bodyPr vert="horz" lIns="0" tIns="0" rIns="0" bIns="0" rtlCol="0" anchor="ctr"/>
          <a:lstStyle>
            <a:lvl1pPr algn="l">
              <a:defRPr sz="750">
                <a:solidFill>
                  <a:schemeClr val="tx1"/>
                </a:solidFill>
              </a:defRPr>
            </a:lvl1pPr>
          </a:lstStyle>
          <a:p>
            <a:pPr defTabSz="912813" fontAlgn="base">
              <a:spcBef>
                <a:spcPct val="0"/>
              </a:spcBef>
              <a:spcAft>
                <a:spcPct val="0"/>
              </a:spcAft>
            </a:pPr>
            <a:fld id="{793E3E21-9F49-4D85-BC8F-2C5B8DFBB14E}" type="slidenum">
              <a:rPr lang="es-ES_tradnl" b="1" smtClean="0">
                <a:solidFill>
                  <a:srgbClr val="20242B"/>
                </a:solidFill>
                <a:ea typeface="ＭＳ Ｐゴシック" charset="0"/>
              </a:rPr>
              <a:pPr defTabSz="912813" fontAlgn="base">
                <a:spcBef>
                  <a:spcPct val="0"/>
                </a:spcBef>
                <a:spcAft>
                  <a:spcPct val="0"/>
                </a:spcAft>
              </a:pPr>
              <a:t>‹N°›</a:t>
            </a:fld>
            <a:endParaRPr lang="es-ES_tradnl" b="1" dirty="0">
              <a:solidFill>
                <a:srgbClr val="20242B"/>
              </a:solidFill>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s-ES_tradnl"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466" y="6245038"/>
            <a:ext cx="1460218" cy="461361"/>
          </a:xfrm>
          <a:prstGeom prst="rect">
            <a:avLst/>
          </a:prstGeom>
        </p:spPr>
      </p:pic>
    </p:spTree>
    <p:extLst>
      <p:ext uri="{BB962C8B-B14F-4D97-AF65-F5344CB8AC3E}">
        <p14:creationId xmlns:p14="http://schemas.microsoft.com/office/powerpoint/2010/main" val="781596318"/>
      </p:ext>
    </p:extLst>
  </p:cSld>
  <p:clrMap bg1="lt1" tx1="dk1" bg2="lt2" tx2="dk2" accent1="accent1" accent2="accent2" accent3="accent3" accent4="accent4" accent5="accent5" accent6="accent6" hlink="hlink" folHlink="folHlink"/>
  <p:sldLayoutIdLst>
    <p:sldLayoutId id="2147483687"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userDrawn="1"/>
        </p:nvSpPr>
        <p:spPr bwMode="auto">
          <a:xfrm>
            <a:off x="718524" y="6452652"/>
            <a:ext cx="56444" cy="187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r>
              <a:rPr lang="fr-FR" sz="900" dirty="0">
                <a:solidFill>
                  <a:srgbClr val="0A4D80"/>
                </a:solidFill>
              </a:rPr>
              <a:t>|</a:t>
            </a:r>
          </a:p>
        </p:txBody>
      </p:sp>
      <p:sp>
        <p:nvSpPr>
          <p:cNvPr id="10" name="Slide Number Placeholder 5"/>
          <p:cNvSpPr txBox="1">
            <a:spLocks/>
          </p:cNvSpPr>
          <p:nvPr userDrawn="1"/>
        </p:nvSpPr>
        <p:spPr bwMode="auto">
          <a:xfrm>
            <a:off x="469434" y="6484867"/>
            <a:ext cx="242338"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US" sz="900" b="1" smtClean="0">
                <a:solidFill>
                  <a:srgbClr val="0A4D80"/>
                </a:solidFill>
              </a:rPr>
              <a:pPr algn="l"/>
              <a:t>‹N°›</a:t>
            </a:fld>
            <a:endParaRPr lang="fr-FR" sz="900" b="1" dirty="0">
              <a:solidFill>
                <a:srgbClr val="0A4D80"/>
              </a:solidFill>
            </a:endParaRPr>
          </a:p>
        </p:txBody>
      </p:sp>
      <p:cxnSp>
        <p:nvCxnSpPr>
          <p:cNvPr id="12" name="Straight Connector 11"/>
          <p:cNvCxnSpPr/>
          <p:nvPr userDrawn="1"/>
        </p:nvCxnSpPr>
        <p:spPr>
          <a:xfrm>
            <a:off x="0" y="6242046"/>
            <a:ext cx="9144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3" cstate="print"/>
          <a:stretch>
            <a:fillRect/>
          </a:stretch>
        </p:blipFill>
        <p:spPr>
          <a:xfrm>
            <a:off x="7526372" y="6388417"/>
            <a:ext cx="1148400" cy="346687"/>
          </a:xfrm>
          <a:prstGeom prst="rect">
            <a:avLst/>
          </a:prstGeom>
        </p:spPr>
      </p:pic>
    </p:spTree>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p:titleStyle>
    <p:bodyStyle>
      <a:lvl1pPr marL="177800" indent="-177800" algn="l" rtl="0" eaLnBrk="1" fontAlgn="base" hangingPunct="1">
        <a:spcBef>
          <a:spcPts val="600"/>
        </a:spcBef>
        <a:spcAft>
          <a:spcPts val="600"/>
        </a:spcAft>
        <a:buFont typeface="Wingdings" charset="0"/>
        <a:buChar char="§"/>
        <a:defRPr sz="1400" kern="1200">
          <a:solidFill>
            <a:srgbClr val="3F4C64"/>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s-ES_tradnl" b="1" dirty="0">
              <a:ea typeface="ＭＳ Ｐゴシック" charset="0"/>
            </a:endParaRPr>
          </a:p>
        </p:txBody>
      </p:sp>
      <p:sp>
        <p:nvSpPr>
          <p:cNvPr id="9" name="Slide Number Placeholder 8">
            <a:extLst>
              <a:ext uri="{FF2B5EF4-FFF2-40B4-BE49-F238E27FC236}">
                <a16:creationId xmlns:a16="http://schemas.microsoft.com/office/drawing/2014/main" id="{A867F7C4-F98A-4320-B2ED-B94A35C6AAA1}"/>
              </a:ext>
            </a:extLst>
          </p:cNvPr>
          <p:cNvSpPr>
            <a:spLocks noGrp="1"/>
          </p:cNvSpPr>
          <p:nvPr>
            <p:ph type="sldNum" sz="quarter" idx="4"/>
          </p:nvPr>
        </p:nvSpPr>
        <p:spPr>
          <a:xfrm>
            <a:off x="468313" y="6377782"/>
            <a:ext cx="246064" cy="173038"/>
          </a:xfrm>
          <a:prstGeom prst="rect">
            <a:avLst/>
          </a:prstGeom>
        </p:spPr>
        <p:txBody>
          <a:bodyPr vert="horz" lIns="0" tIns="0" rIns="0" bIns="0" rtlCol="0" anchor="ctr"/>
          <a:lstStyle>
            <a:lvl1pPr algn="l">
              <a:defRPr sz="750">
                <a:solidFill>
                  <a:schemeClr val="tx1"/>
                </a:solidFill>
              </a:defRPr>
            </a:lvl1pPr>
          </a:lstStyle>
          <a:p>
            <a:pPr defTabSz="912813" fontAlgn="base">
              <a:spcBef>
                <a:spcPct val="0"/>
              </a:spcBef>
              <a:spcAft>
                <a:spcPct val="0"/>
              </a:spcAft>
            </a:pPr>
            <a:fld id="{793E3E21-9F49-4D85-BC8F-2C5B8DFBB14E}" type="slidenum">
              <a:rPr lang="es-ES_tradnl" b="1" smtClean="0">
                <a:solidFill>
                  <a:srgbClr val="20242B"/>
                </a:solidFill>
                <a:ea typeface="ＭＳ Ｐゴシック" charset="0"/>
              </a:rPr>
              <a:pPr defTabSz="912813" fontAlgn="base">
                <a:spcBef>
                  <a:spcPct val="0"/>
                </a:spcBef>
                <a:spcAft>
                  <a:spcPct val="0"/>
                </a:spcAft>
              </a:pPr>
              <a:t>‹N°›</a:t>
            </a:fld>
            <a:endParaRPr lang="es-ES_tradnl" b="1" dirty="0">
              <a:solidFill>
                <a:srgbClr val="20242B"/>
              </a:solidFill>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s-ES_tradnl"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3466" y="6245038"/>
            <a:ext cx="1460218" cy="461361"/>
          </a:xfrm>
          <a:prstGeom prst="rect">
            <a:avLst/>
          </a:prstGeom>
        </p:spPr>
      </p:pic>
    </p:spTree>
    <p:extLst>
      <p:ext uri="{BB962C8B-B14F-4D97-AF65-F5344CB8AC3E}">
        <p14:creationId xmlns:p14="http://schemas.microsoft.com/office/powerpoint/2010/main" val="234389836"/>
      </p:ext>
    </p:extLst>
  </p:cSld>
  <p:clrMap bg1="lt1" tx1="dk1" bg2="lt2" tx2="dk2" accent1="accent1" accent2="accent2" accent3="accent3" accent4="accent4" accent5="accent5" accent6="accent6" hlink="hlink" folHlink="folHlink"/>
  <p:sldLayoutIdLst>
    <p:sldLayoutId id="2147483661"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 name="Slide Number Placeholder 5"/>
          <p:cNvSpPr txBox="1">
            <a:spLocks/>
          </p:cNvSpPr>
          <p:nvPr/>
        </p:nvSpPr>
        <p:spPr bwMode="auto">
          <a:xfrm>
            <a:off x="718524" y="6452652"/>
            <a:ext cx="56444" cy="187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r>
              <a:rPr lang="en-US" sz="900" dirty="0">
                <a:solidFill>
                  <a:srgbClr val="415464"/>
                </a:solidFill>
              </a:rPr>
              <a:t>|</a:t>
            </a:r>
          </a:p>
        </p:txBody>
      </p:sp>
      <p:sp>
        <p:nvSpPr>
          <p:cNvPr id="21" name="Slide Number Placeholder 5"/>
          <p:cNvSpPr txBox="1">
            <a:spLocks/>
          </p:cNvSpPr>
          <p:nvPr/>
        </p:nvSpPr>
        <p:spPr bwMode="auto">
          <a:xfrm>
            <a:off x="469434" y="6484867"/>
            <a:ext cx="242338"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US" sz="900" b="1" smtClean="0">
                <a:solidFill>
                  <a:srgbClr val="0A4D80"/>
                </a:solidFill>
              </a:rPr>
              <a:pPr algn="l"/>
              <a:t>‹N°›</a:t>
            </a:fld>
            <a:endParaRPr lang="en-US" sz="900" b="1" dirty="0">
              <a:solidFill>
                <a:srgbClr val="0A4D80"/>
              </a:solidFill>
            </a:endParaRPr>
          </a:p>
        </p:txBody>
      </p:sp>
      <p:cxnSp>
        <p:nvCxnSpPr>
          <p:cNvPr id="23" name="Straight Connector 22"/>
          <p:cNvCxnSpPr/>
          <p:nvPr/>
        </p:nvCxnSpPr>
        <p:spPr>
          <a:xfrm>
            <a:off x="0" y="6242046"/>
            <a:ext cx="9144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descr="_FIDELITY LOGO_NEW_RGB_FINAL.ai"/>
          <p:cNvPicPr>
            <a:picLocks noChangeAspect="1"/>
          </p:cNvPicPr>
          <p:nvPr/>
        </p:nvPicPr>
        <p:blipFill rotWithShape="1">
          <a:blip r:embed="rId5" cstate="print">
            <a:extLst>
              <a:ext uri="{28A0092B-C50C-407E-A947-70E740481C1C}">
                <a14:useLocalDpi xmlns:a14="http://schemas.microsoft.com/office/drawing/2010/main" val="0"/>
              </a:ext>
            </a:extLst>
          </a:blip>
          <a:srcRect l="3221" t="8722" r="3508" b="6285"/>
          <a:stretch/>
        </p:blipFill>
        <p:spPr>
          <a:xfrm>
            <a:off x="7517242" y="6373911"/>
            <a:ext cx="1176974" cy="374235"/>
          </a:xfrm>
          <a:prstGeom prst="rect">
            <a:avLst/>
          </a:prstGeom>
        </p:spPr>
      </p:pic>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2813" fontAlgn="base">
              <a:spcBef>
                <a:spcPct val="0"/>
              </a:spcBef>
              <a:spcAft>
                <a:spcPct val="0"/>
              </a:spcAft>
            </a:pPr>
            <a:endParaRPr lang="en-AU" b="1" dirty="0">
              <a:solidFill>
                <a:srgbClr val="415464">
                  <a:tint val="75000"/>
                </a:srgbClr>
              </a:solidFill>
              <a:ea typeface="ＭＳ Ｐゴシック" charset="0"/>
            </a:endParaRPr>
          </a:p>
        </p:txBody>
      </p:sp>
    </p:spTree>
    <p:extLst>
      <p:ext uri="{BB962C8B-B14F-4D97-AF65-F5344CB8AC3E}">
        <p14:creationId xmlns:p14="http://schemas.microsoft.com/office/powerpoint/2010/main" val="286906828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hf sldNum="0" hdr="0" dt="0"/>
  <p:txStyles>
    <p:title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p:titleStyle>
    <p:bodyStyle>
      <a:lvl1pPr marL="177800" indent="-177800" algn="l" rtl="0" eaLnBrk="1" fontAlgn="base" hangingPunct="1">
        <a:spcBef>
          <a:spcPts val="600"/>
        </a:spcBef>
        <a:spcAft>
          <a:spcPts val="600"/>
        </a:spcAft>
        <a:buFont typeface="Wingdings" charset="0"/>
        <a:buChar char="§"/>
        <a:defRPr sz="1400" kern="1200">
          <a:solidFill>
            <a:srgbClr val="3F4C64"/>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endParaRPr lang="en-GB"/>
          </a:p>
          <a:p>
            <a:pPr lvl="1"/>
            <a:r>
              <a:rPr lang="en-GB" noProof="0" dirty="0"/>
              <a:t>Level 2</a:t>
            </a:r>
            <a:endParaRPr lang="en-GB"/>
          </a:p>
          <a:p>
            <a:pPr lvl="2"/>
            <a:r>
              <a:rPr lang="en-GB" noProof="0" dirty="0"/>
              <a:t>Level 3</a:t>
            </a:r>
            <a:endParaRPr lang="en-GB"/>
          </a:p>
          <a:p>
            <a:pPr lvl="3"/>
            <a:r>
              <a:rPr lang="en-GB" noProof="0" dirty="0"/>
              <a:t>Level 4, Header</a:t>
            </a:r>
            <a:endParaRPr lang="en-GB"/>
          </a:p>
          <a:p>
            <a:pPr lvl="4"/>
            <a:r>
              <a:rPr lang="en-GB" noProof="0" dirty="0"/>
              <a:t>Level 5, Body</a:t>
            </a:r>
            <a:endParaRPr lang="en-GB"/>
          </a:p>
          <a:p>
            <a:pPr lvl="5"/>
            <a:r>
              <a:rPr lang="en-GB" noProof="0" dirty="0"/>
              <a:t>Level 6</a:t>
            </a:r>
            <a:endParaRPr lang="en-GB"/>
          </a:p>
          <a:p>
            <a:pPr lvl="6"/>
            <a:r>
              <a:rPr lang="en-GB" noProof="0" dirty="0"/>
              <a:t>Level 7, Small Header</a:t>
            </a:r>
            <a:endParaRPr lang="en-GB"/>
          </a:p>
          <a:p>
            <a:pPr lvl="7"/>
            <a:r>
              <a:rPr lang="en-GB" noProof="0" dirty="0"/>
              <a:t>Level 8, Small Body</a:t>
            </a:r>
            <a:endParaRPr lang="en-GB"/>
          </a:p>
          <a:p>
            <a:pPr lvl="8"/>
            <a:r>
              <a:rPr lang="en-GB" noProof="0" dirty="0"/>
              <a:t>Level 9, Infographic</a:t>
            </a:r>
            <a:endParaRPr lang="en-GB"/>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n-GB" b="1" dirty="0">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n-GB"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12" name="text" descr="{&quot;templafy&quot;:{&quot;id&quot;:&quot;50438a51-b62f-4adc-a5bb-3f0ece394def&quot;}}" title="Form.PresentationTitle">
            <a:extLst>
              <a:ext uri="{FF2B5EF4-FFF2-40B4-BE49-F238E27FC236}">
                <a16:creationId xmlns:a16="http://schemas.microsoft.com/office/drawing/2014/main" id="{5603CBD6-1258-4F1C-8BD1-24F8901D5C6A}"/>
              </a:ext>
            </a:extLst>
          </p:cNvPr>
          <p:cNvSpPr txBox="1"/>
          <p:nvPr userDrawn="1"/>
        </p:nvSpPr>
        <p:spPr>
          <a:xfrm>
            <a:off x="750096" y="6503213"/>
            <a:ext cx="2555080" cy="115416"/>
          </a:xfrm>
          <a:prstGeom prst="rect">
            <a:avLst/>
          </a:prstGeom>
          <a:noFill/>
          <a:ln>
            <a:noFill/>
          </a:ln>
        </p:spPr>
        <p:txBody>
          <a:bodyPr wrap="square" lIns="0" tIns="0" rIns="0" bIns="0" rtlCol="0">
            <a:spAutoFit/>
          </a:bodyPr>
          <a:lstStyle/>
          <a:p>
            <a:pPr defTabSz="912813" fontAlgn="base">
              <a:spcBef>
                <a:spcPct val="0"/>
              </a:spcBef>
              <a:spcAft>
                <a:spcPct val="0"/>
              </a:spcAft>
            </a:pPr>
            <a:endParaRPr lang="en-GB" sz="750" b="1" dirty="0">
              <a:solidFill>
                <a:srgbClr val="20242B"/>
              </a:solidFill>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7A624C16-86B3-4568-91BA-3BAD577258A7}"/>
              </a:ext>
            </a:extLst>
          </p:cNvPr>
          <p:cNvSpPr txBox="1">
            <a:spLocks/>
          </p:cNvSpPr>
          <p:nvPr userDrawn="1"/>
        </p:nvSpPr>
        <p:spPr bwMode="auto">
          <a:xfrm>
            <a:off x="464672" y="6490508"/>
            <a:ext cx="242338" cy="12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800" smtClean="0">
                <a:solidFill>
                  <a:srgbClr val="20242B"/>
                </a:solidFill>
              </a:rPr>
              <a:pPr algn="l"/>
              <a:t>‹N°›</a:t>
            </a:fld>
            <a:endParaRPr lang="en-GB" sz="800" dirty="0">
              <a:solidFill>
                <a:srgbClr val="20242B"/>
              </a:solidFill>
            </a:endParaRPr>
          </a:p>
        </p:txBody>
      </p:sp>
    </p:spTree>
    <p:extLst>
      <p:ext uri="{BB962C8B-B14F-4D97-AF65-F5344CB8AC3E}">
        <p14:creationId xmlns:p14="http://schemas.microsoft.com/office/powerpoint/2010/main" val="187328328"/>
      </p:ext>
    </p:extLst>
  </p:cSld>
  <p:clrMap bg1="lt1" tx1="dk1" bg2="lt2" tx2="dk2" accent1="accent1" accent2="accent2" accent3="accent3" accent4="accent4" accent5="accent5" accent6="accent6" hlink="hlink" folHlink="folHlink"/>
  <p:sldLayoutIdLst>
    <p:sldLayoutId id="2147483667"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endParaRPr lang="en-GB"/>
          </a:p>
          <a:p>
            <a:pPr lvl="1"/>
            <a:r>
              <a:rPr lang="en-GB" noProof="0" dirty="0"/>
              <a:t>Level 2</a:t>
            </a:r>
            <a:endParaRPr lang="en-GB"/>
          </a:p>
          <a:p>
            <a:pPr lvl="2"/>
            <a:r>
              <a:rPr lang="en-GB" noProof="0" dirty="0"/>
              <a:t>Level 3</a:t>
            </a:r>
            <a:endParaRPr lang="en-GB"/>
          </a:p>
          <a:p>
            <a:pPr lvl="3"/>
            <a:r>
              <a:rPr lang="en-GB" noProof="0" dirty="0"/>
              <a:t>Level 4, Header</a:t>
            </a:r>
            <a:endParaRPr lang="en-GB"/>
          </a:p>
          <a:p>
            <a:pPr lvl="4"/>
            <a:r>
              <a:rPr lang="en-GB" noProof="0" dirty="0"/>
              <a:t>Level 5, Body</a:t>
            </a:r>
            <a:endParaRPr lang="en-GB"/>
          </a:p>
          <a:p>
            <a:pPr lvl="5"/>
            <a:r>
              <a:rPr lang="en-GB" noProof="0" dirty="0"/>
              <a:t>Level 6</a:t>
            </a:r>
            <a:endParaRPr lang="en-GB"/>
          </a:p>
          <a:p>
            <a:pPr lvl="6"/>
            <a:r>
              <a:rPr lang="en-GB" noProof="0" dirty="0"/>
              <a:t>Level 7, Small Header</a:t>
            </a:r>
            <a:endParaRPr lang="en-GB"/>
          </a:p>
          <a:p>
            <a:pPr lvl="7"/>
            <a:r>
              <a:rPr lang="en-GB" noProof="0" dirty="0"/>
              <a:t>Level 8, Small Body</a:t>
            </a:r>
            <a:endParaRPr lang="en-GB"/>
          </a:p>
          <a:p>
            <a:pPr lvl="8"/>
            <a:r>
              <a:rPr lang="en-GB" noProof="0" dirty="0"/>
              <a:t>Level 9, Infographic</a:t>
            </a:r>
            <a:endParaRPr lang="en-GB"/>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n-GB" b="1" dirty="0">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n-GB"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12" name="text" descr="{&quot;templafy&quot;:{&quot;id&quot;:&quot;50438a51-b62f-4adc-a5bb-3f0ece394def&quot;}}" title="Form.PresentationTitle">
            <a:extLst>
              <a:ext uri="{FF2B5EF4-FFF2-40B4-BE49-F238E27FC236}">
                <a16:creationId xmlns:a16="http://schemas.microsoft.com/office/drawing/2014/main" id="{5603CBD6-1258-4F1C-8BD1-24F8901D5C6A}"/>
              </a:ext>
            </a:extLst>
          </p:cNvPr>
          <p:cNvSpPr txBox="1"/>
          <p:nvPr userDrawn="1"/>
        </p:nvSpPr>
        <p:spPr>
          <a:xfrm>
            <a:off x="750096" y="6503213"/>
            <a:ext cx="2555080" cy="115416"/>
          </a:xfrm>
          <a:prstGeom prst="rect">
            <a:avLst/>
          </a:prstGeom>
          <a:noFill/>
          <a:ln>
            <a:noFill/>
          </a:ln>
        </p:spPr>
        <p:txBody>
          <a:bodyPr wrap="square" lIns="0" tIns="0" rIns="0" bIns="0" rtlCol="0">
            <a:spAutoFit/>
          </a:bodyPr>
          <a:lstStyle/>
          <a:p>
            <a:pPr defTabSz="912813" fontAlgn="base">
              <a:spcBef>
                <a:spcPct val="0"/>
              </a:spcBef>
              <a:spcAft>
                <a:spcPct val="0"/>
              </a:spcAft>
            </a:pPr>
            <a:endParaRPr lang="en-GB" sz="750" b="1" dirty="0">
              <a:solidFill>
                <a:srgbClr val="20242B"/>
              </a:solidFill>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7A624C16-86B3-4568-91BA-3BAD577258A7}"/>
              </a:ext>
            </a:extLst>
          </p:cNvPr>
          <p:cNvSpPr txBox="1">
            <a:spLocks/>
          </p:cNvSpPr>
          <p:nvPr userDrawn="1"/>
        </p:nvSpPr>
        <p:spPr bwMode="auto">
          <a:xfrm>
            <a:off x="464672" y="6490508"/>
            <a:ext cx="242338" cy="12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800" smtClean="0">
                <a:solidFill>
                  <a:srgbClr val="20242B"/>
                </a:solidFill>
              </a:rPr>
              <a:pPr algn="l"/>
              <a:t>‹N°›</a:t>
            </a:fld>
            <a:endParaRPr lang="en-GB" sz="800" dirty="0">
              <a:solidFill>
                <a:srgbClr val="20242B"/>
              </a:solidFill>
            </a:endParaRPr>
          </a:p>
        </p:txBody>
      </p:sp>
    </p:spTree>
    <p:extLst>
      <p:ext uri="{BB962C8B-B14F-4D97-AF65-F5344CB8AC3E}">
        <p14:creationId xmlns:p14="http://schemas.microsoft.com/office/powerpoint/2010/main" val="187328328"/>
      </p:ext>
    </p:extLst>
  </p:cSld>
  <p:clrMap bg1="lt1" tx1="dk1" bg2="lt2" tx2="dk2" accent1="accent1" accent2="accent2" accent3="accent3" accent4="accent4" accent5="accent5" accent6="accent6" hlink="hlink" folHlink="folHlink"/>
  <p:sldLayoutIdLst>
    <p:sldLayoutId id="2147483669"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468312" y="1562400"/>
            <a:ext cx="8207375" cy="4304847"/>
          </a:xfrm>
          <a:prstGeom prst="rect">
            <a:avLst/>
          </a:prstGeom>
        </p:spPr>
        <p:txBody>
          <a:bodyPr vert="horz" lIns="0" tIns="0" rIns="0" bIns="0" rtlCol="0">
            <a:noAutofit/>
          </a:bodyPr>
          <a:lstStyle/>
          <a:p>
            <a:pPr lvl="0"/>
            <a:r>
              <a:rPr lang="en-GB" noProof="0" dirty="0"/>
              <a:t>Level 1</a:t>
            </a:r>
            <a:endParaRPr lang="en-GB"/>
          </a:p>
          <a:p>
            <a:pPr lvl="1"/>
            <a:r>
              <a:rPr lang="en-GB" noProof="0" dirty="0"/>
              <a:t>Level 2</a:t>
            </a:r>
            <a:endParaRPr lang="en-GB"/>
          </a:p>
          <a:p>
            <a:pPr lvl="2"/>
            <a:r>
              <a:rPr lang="en-GB" noProof="0" dirty="0"/>
              <a:t>Level 3</a:t>
            </a:r>
            <a:endParaRPr lang="en-GB"/>
          </a:p>
          <a:p>
            <a:pPr lvl="3"/>
            <a:r>
              <a:rPr lang="en-GB" noProof="0" dirty="0"/>
              <a:t>Level 4, Header</a:t>
            </a:r>
            <a:endParaRPr lang="en-GB"/>
          </a:p>
          <a:p>
            <a:pPr lvl="4"/>
            <a:r>
              <a:rPr lang="en-GB" noProof="0" dirty="0"/>
              <a:t>Level 5, Body</a:t>
            </a:r>
            <a:endParaRPr lang="en-GB"/>
          </a:p>
          <a:p>
            <a:pPr lvl="5"/>
            <a:r>
              <a:rPr lang="en-GB" noProof="0" dirty="0"/>
              <a:t>Level 6</a:t>
            </a:r>
            <a:endParaRPr lang="en-GB"/>
          </a:p>
          <a:p>
            <a:pPr lvl="6"/>
            <a:r>
              <a:rPr lang="en-GB" noProof="0" dirty="0"/>
              <a:t>Level 7, Small Header</a:t>
            </a:r>
            <a:endParaRPr lang="en-GB"/>
          </a:p>
          <a:p>
            <a:pPr lvl="7"/>
            <a:r>
              <a:rPr lang="en-GB" noProof="0" dirty="0"/>
              <a:t>Level 8, Small Body</a:t>
            </a:r>
            <a:endParaRPr lang="en-GB"/>
          </a:p>
          <a:p>
            <a:pPr lvl="8"/>
            <a:r>
              <a:rPr lang="en-GB" noProof="0" dirty="0"/>
              <a:t>Level 9, Infographic</a:t>
            </a:r>
            <a:endParaRPr lang="en-GB"/>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en-GB" b="1" dirty="0">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en-GB" b="1" smtClean="0">
                <a:ea typeface="ＭＳ Ｐゴシック" charset="0"/>
              </a:rPr>
              <a:pPr defTabSz="912813" fontAlgn="base">
                <a:spcBef>
                  <a:spcPct val="0"/>
                </a:spcBef>
                <a:spcAft>
                  <a:spcPct val="0"/>
                </a:spcAft>
              </a:pPr>
              <a:t>November 22</a:t>
            </a:fld>
            <a:endParaRPr lang="en-GB" b="1" dirty="0">
              <a:ea typeface="ＭＳ Ｐゴシック" charset="0"/>
            </a:endParaRPr>
          </a:p>
        </p:txBody>
      </p:sp>
      <p:pic>
        <p:nvPicPr>
          <p:cNvPr id="10" name="Picture 9">
            <a:extLst>
              <a:ext uri="{FF2B5EF4-FFF2-40B4-BE49-F238E27FC236}">
                <a16:creationId xmlns:a16="http://schemas.microsoft.com/office/drawing/2014/main" id="{7682BD90-D98E-458C-B3DC-58B34E05CC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12" name="text" descr="{&quot;templafy&quot;:{&quot;id&quot;:&quot;50438a51-b62f-4adc-a5bb-3f0ece394def&quot;}}" title="Form.PresentationTitle">
            <a:extLst>
              <a:ext uri="{FF2B5EF4-FFF2-40B4-BE49-F238E27FC236}">
                <a16:creationId xmlns:a16="http://schemas.microsoft.com/office/drawing/2014/main" id="{5603CBD6-1258-4F1C-8BD1-24F8901D5C6A}"/>
              </a:ext>
            </a:extLst>
          </p:cNvPr>
          <p:cNvSpPr txBox="1"/>
          <p:nvPr userDrawn="1"/>
        </p:nvSpPr>
        <p:spPr>
          <a:xfrm>
            <a:off x="750096" y="6503213"/>
            <a:ext cx="2555080" cy="115416"/>
          </a:xfrm>
          <a:prstGeom prst="rect">
            <a:avLst/>
          </a:prstGeom>
          <a:noFill/>
          <a:ln>
            <a:noFill/>
          </a:ln>
        </p:spPr>
        <p:txBody>
          <a:bodyPr wrap="square" lIns="0" tIns="0" rIns="0" bIns="0" rtlCol="0">
            <a:spAutoFit/>
          </a:bodyPr>
          <a:lstStyle/>
          <a:p>
            <a:pPr defTabSz="912813" fontAlgn="base">
              <a:spcBef>
                <a:spcPct val="0"/>
              </a:spcBef>
              <a:spcAft>
                <a:spcPct val="0"/>
              </a:spcAft>
            </a:pPr>
            <a:endParaRPr lang="en-GB" sz="750" b="1" dirty="0">
              <a:solidFill>
                <a:srgbClr val="20242B"/>
              </a:solidFill>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7A624C16-86B3-4568-91BA-3BAD577258A7}"/>
              </a:ext>
            </a:extLst>
          </p:cNvPr>
          <p:cNvSpPr txBox="1">
            <a:spLocks/>
          </p:cNvSpPr>
          <p:nvPr userDrawn="1"/>
        </p:nvSpPr>
        <p:spPr bwMode="auto">
          <a:xfrm>
            <a:off x="464672" y="6490508"/>
            <a:ext cx="242338" cy="12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800" smtClean="0">
                <a:solidFill>
                  <a:srgbClr val="20242B"/>
                </a:solidFill>
              </a:rPr>
              <a:pPr algn="l"/>
              <a:t>‹N°›</a:t>
            </a:fld>
            <a:endParaRPr lang="en-GB" sz="800" dirty="0">
              <a:solidFill>
                <a:srgbClr val="20242B"/>
              </a:solidFill>
            </a:endParaRPr>
          </a:p>
        </p:txBody>
      </p:sp>
    </p:spTree>
    <p:extLst>
      <p:ext uri="{BB962C8B-B14F-4D97-AF65-F5344CB8AC3E}">
        <p14:creationId xmlns:p14="http://schemas.microsoft.com/office/powerpoint/2010/main" val="187328328"/>
      </p:ext>
    </p:extLst>
  </p:cSld>
  <p:clrMap bg1="lt1" tx1="dk1" bg2="lt2" tx2="dk2" accent1="accent1" accent2="accent2" accent3="accent3" accent4="accent4" accent5="accent5" accent6="accent6" hlink="hlink" folHlink="folHlink"/>
  <p:sldLayoutIdLst>
    <p:sldLayoutId id="2147483671" r:id="rId1"/>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os="414">
          <p15:clr>
            <a:srgbClr val="F26B43"/>
          </p15:clr>
        </p15:guide>
        <p15:guide id="4" pos="5465">
          <p15:clr>
            <a:srgbClr val="F26B43"/>
          </p15:clr>
        </p15:guide>
        <p15:guide id="5" orient="horz" pos="3158">
          <p15:clr>
            <a:srgbClr val="F26B43"/>
          </p15:clr>
        </p15:guide>
        <p15:guide id="6" orient="horz" pos="618">
          <p15:clr>
            <a:srgbClr val="F26B43"/>
          </p15:clr>
        </p15:guide>
        <p15:guide id="7" pos="2880">
          <p15:clr>
            <a:srgbClr val="F26B43"/>
          </p15:clr>
        </p15:guide>
        <p15:guide id="8" pos="2971">
          <p15:clr>
            <a:srgbClr val="F26B43"/>
          </p15:clr>
        </p15:guide>
        <p15:guide id="9" pos="2789">
          <p15:clr>
            <a:srgbClr val="F26B43"/>
          </p15:clr>
        </p15:guide>
        <p15:guide id="10" orient="horz" pos="935">
          <p15:clr>
            <a:srgbClr val="F26B43"/>
          </p15:clr>
        </p15:guide>
        <p15:guide id="11" orient="horz" pos="109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da-DK"/>
              <a:t>Click to edit Master title style</a:t>
            </a:r>
          </a:p>
        </p:txBody>
      </p:sp>
      <p:sp>
        <p:nvSpPr>
          <p:cNvPr id="3" name="Text Placeholder 2"/>
          <p:cNvSpPr>
            <a:spLocks noGrp="1"/>
          </p:cNvSpPr>
          <p:nvPr>
            <p:ph type="body" idx="1"/>
          </p:nvPr>
        </p:nvSpPr>
        <p:spPr>
          <a:xfrm>
            <a:off x="468313" y="1562402"/>
            <a:ext cx="8207375" cy="4304847"/>
          </a:xfrm>
          <a:prstGeom prst="rect">
            <a:avLst/>
          </a:prstGeom>
        </p:spPr>
        <p:txBody>
          <a:bodyPr vert="horz" lIns="0" tIns="0" rIns="0" bIns="0" rtlCol="0">
            <a:noAutofit/>
          </a:bodyPr>
          <a:lstStyle/>
          <a:p>
            <a:pPr lvl="0"/>
            <a:r>
              <a:rPr lang="da-DK" noProof="0"/>
              <a:t>Level 1</a:t>
            </a:r>
            <a:endParaRPr lang="da-DK"/>
          </a:p>
          <a:p>
            <a:pPr lvl="1"/>
            <a:r>
              <a:rPr lang="da-DK" noProof="0"/>
              <a:t>Level 2</a:t>
            </a:r>
            <a:endParaRPr lang="da-DK"/>
          </a:p>
          <a:p>
            <a:pPr lvl="2"/>
            <a:r>
              <a:rPr lang="da-DK" noProof="0"/>
              <a:t>Level 3</a:t>
            </a:r>
            <a:endParaRPr lang="da-DK"/>
          </a:p>
          <a:p>
            <a:pPr lvl="3"/>
            <a:r>
              <a:rPr lang="da-DK" noProof="0"/>
              <a:t>Level 4, Header</a:t>
            </a:r>
            <a:endParaRPr lang="da-DK"/>
          </a:p>
          <a:p>
            <a:pPr lvl="4"/>
            <a:r>
              <a:rPr lang="da-DK" noProof="0"/>
              <a:t>Level 5, Body</a:t>
            </a:r>
            <a:endParaRPr lang="da-DK"/>
          </a:p>
          <a:p>
            <a:pPr lvl="5"/>
            <a:r>
              <a:rPr lang="da-DK" noProof="0"/>
              <a:t>Level 6</a:t>
            </a:r>
            <a:endParaRPr lang="da-DK"/>
          </a:p>
          <a:p>
            <a:pPr lvl="6"/>
            <a:r>
              <a:rPr lang="da-DK" noProof="0"/>
              <a:t>Level 7, Small Header</a:t>
            </a:r>
            <a:endParaRPr lang="da-DK"/>
          </a:p>
          <a:p>
            <a:pPr lvl="7"/>
            <a:r>
              <a:rPr lang="da-DK" noProof="0"/>
              <a:t>Level 8, Small Body</a:t>
            </a:r>
            <a:endParaRPr lang="da-DK"/>
          </a:p>
          <a:p>
            <a:pPr lvl="8"/>
            <a:r>
              <a:rPr lang="da-DK" noProof="0"/>
              <a:t>Level 9, Infographic</a:t>
            </a:r>
            <a:endParaRPr lang="da-DK"/>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da-DK" b="1">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da-DK" b="1" smtClean="0">
                <a:ea typeface="ＭＳ Ｐゴシック" charset="0"/>
              </a:rPr>
              <a:pPr defTabSz="912813" fontAlgn="base">
                <a:spcBef>
                  <a:spcPct val="0"/>
                </a:spcBef>
                <a:spcAft>
                  <a:spcPct val="0"/>
                </a:spcAft>
              </a:pPr>
              <a:t>30.11.2022</a:t>
            </a:fld>
            <a:endParaRPr lang="da-DK" b="1">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7A14D42-BF06-47D1-975E-581CE1B1C45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2336" y="6369149"/>
            <a:ext cx="864000" cy="363978"/>
          </a:xfrm>
          <a:prstGeom prst="rect">
            <a:avLst/>
          </a:prstGeom>
        </p:spPr>
      </p:pic>
      <p:sp>
        <p:nvSpPr>
          <p:cNvPr id="10" name="text" descr="{&quot;templafy&quot;:{&quot;id&quot;:&quot;392dabc3-7f5d-42ba-ab71-512d589e3695&quot;}}" title="Form.PresentationTitle">
            <a:extLst>
              <a:ext uri="{FF2B5EF4-FFF2-40B4-BE49-F238E27FC236}">
                <a16:creationId xmlns:a16="http://schemas.microsoft.com/office/drawing/2014/main" id="{14E34EAB-5D4D-4A30-A04B-49F40652E4F2}"/>
              </a:ext>
            </a:extLst>
          </p:cNvPr>
          <p:cNvSpPr txBox="1"/>
          <p:nvPr userDrawn="1"/>
        </p:nvSpPr>
        <p:spPr>
          <a:xfrm>
            <a:off x="615793" y="6478872"/>
            <a:ext cx="2274092" cy="115416"/>
          </a:xfrm>
          <a:prstGeom prst="rect">
            <a:avLst/>
          </a:prstGeom>
          <a:noFill/>
          <a:ln>
            <a:noFill/>
          </a:ln>
        </p:spPr>
        <p:txBody>
          <a:bodyPr wrap="square" lIns="0" tIns="0" rIns="0" bIns="0" rtlCol="0" anchor="b">
            <a:spAutoFit/>
          </a:bodyPr>
          <a:lstStyle/>
          <a:p>
            <a:pPr defTabSz="912813" fontAlgn="base">
              <a:spcBef>
                <a:spcPct val="0"/>
              </a:spcBef>
              <a:spcAft>
                <a:spcPct val="0"/>
              </a:spcAft>
            </a:pPr>
            <a:r>
              <a:rPr lang="en-GB" sz="750" dirty="0">
                <a:solidFill>
                  <a:srgbClr val="20242B"/>
                </a:solidFill>
                <a:ea typeface="ＭＳ Ｐゴシック" charset="0"/>
              </a:rPr>
              <a:t>Fidelity Funds - World Fund</a:t>
            </a:r>
          </a:p>
        </p:txBody>
      </p:sp>
      <p:sp>
        <p:nvSpPr>
          <p:cNvPr id="12" name="Slide Number Placeholder 5">
            <a:extLst>
              <a:ext uri="{FF2B5EF4-FFF2-40B4-BE49-F238E27FC236}">
                <a16:creationId xmlns:a16="http://schemas.microsoft.com/office/drawing/2014/main" id="{2EFEAB6F-3857-4F3E-9808-4FFFE2CB6DFC}"/>
              </a:ext>
            </a:extLst>
          </p:cNvPr>
          <p:cNvSpPr txBox="1">
            <a:spLocks/>
          </p:cNvSpPr>
          <p:nvPr userDrawn="1"/>
        </p:nvSpPr>
        <p:spPr bwMode="auto">
          <a:xfrm>
            <a:off x="361711" y="6422400"/>
            <a:ext cx="181754"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a16="http://schemas.microsoft.com/office/drawing/2014/main" xmlns:a14="http://schemas.microsoft.com/office/drawing/2010/main" xmlns:p14="http://schemas.microsoft.com/office/powerpoint/2010/main" xmlns:p15="http://schemas.microsoft.com/office/powerpoint/2012/main"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750" smtClean="0">
                <a:solidFill>
                  <a:srgbClr val="20242B"/>
                </a:solidFill>
              </a:rPr>
              <a:pPr algn="l"/>
              <a:t>‹N°›</a:t>
            </a:fld>
            <a:endParaRPr lang="en-GB" sz="750" dirty="0">
              <a:solidFill>
                <a:srgbClr val="20242B"/>
              </a:solidFill>
            </a:endParaRPr>
          </a:p>
        </p:txBody>
      </p:sp>
    </p:spTree>
    <p:extLst>
      <p:ext uri="{BB962C8B-B14F-4D97-AF65-F5344CB8AC3E}">
        <p14:creationId xmlns:p14="http://schemas.microsoft.com/office/powerpoint/2010/main" val="1185686070"/>
      </p:ext>
    </p:extLst>
  </p:cSld>
  <p:clrMap bg1="lt1" tx1="dk1" bg2="lt2" tx2="dk2" accent1="accent1" accent2="accent2" accent3="accent3" accent4="accent4" accent5="accent5" accent6="accent6" hlink="hlink" folHlink="folHlink"/>
  <p:sldLayoutIdLst>
    <p:sldLayoutId id="2147483673" r:id="rId1"/>
  </p:sldLayoutIdLst>
  <p:hf hdr="0"/>
  <p:txStyles>
    <p:titleStyle>
      <a:lvl1pPr algn="l" defTabSz="514337" rtl="0" eaLnBrk="1" latinLnBrk="0" hangingPunct="1">
        <a:lnSpc>
          <a:spcPct val="83000"/>
        </a:lnSpc>
        <a:spcBef>
          <a:spcPct val="0"/>
        </a:spcBef>
        <a:buNone/>
        <a:defRPr sz="1650" b="1" kern="1200">
          <a:solidFill>
            <a:schemeClr val="tx1"/>
          </a:solidFill>
          <a:latin typeface="+mj-lt"/>
          <a:ea typeface="+mj-ea"/>
          <a:cs typeface="+mj-cs"/>
        </a:defRPr>
      </a:lvl1pPr>
    </p:titleStyle>
    <p:bodyStyle>
      <a:lvl1pPr marL="101248"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900" kern="1200">
          <a:solidFill>
            <a:schemeClr val="tx1"/>
          </a:solidFill>
          <a:latin typeface="+mn-lt"/>
          <a:ea typeface="+mn-ea"/>
          <a:cs typeface="+mn-cs"/>
        </a:defRPr>
      </a:lvl1pPr>
      <a:lvl2pPr marL="202495"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788" kern="1200">
          <a:solidFill>
            <a:schemeClr val="tx1"/>
          </a:solidFill>
          <a:latin typeface="+mn-lt"/>
          <a:ea typeface="+mn-ea"/>
          <a:cs typeface="+mn-cs"/>
        </a:defRPr>
      </a:lvl2pPr>
      <a:lvl3pPr marL="303743"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675" kern="1200">
          <a:solidFill>
            <a:schemeClr val="tx1"/>
          </a:solidFill>
          <a:latin typeface="+mn-lt"/>
          <a:ea typeface="+mn-ea"/>
          <a:cs typeface="+mn-cs"/>
        </a:defRPr>
      </a:lvl3pPr>
      <a:lvl4pPr marL="0" indent="0" algn="l" defTabSz="514337" rtl="0" eaLnBrk="1" latinLnBrk="0" hangingPunct="1">
        <a:lnSpc>
          <a:spcPct val="100000"/>
        </a:lnSpc>
        <a:spcBef>
          <a:spcPts val="225"/>
        </a:spcBef>
        <a:spcAft>
          <a:spcPts val="225"/>
        </a:spcAft>
        <a:buFont typeface="Arial" panose="020B0604020202020204" pitchFamily="34" charset="0"/>
        <a:buChar char="​"/>
        <a:defRPr sz="900" b="1" kern="1200">
          <a:solidFill>
            <a:schemeClr val="tx1"/>
          </a:solidFill>
          <a:latin typeface="+mn-lt"/>
          <a:ea typeface="+mn-ea"/>
          <a:cs typeface="+mn-cs"/>
        </a:defRPr>
      </a:lvl4pPr>
      <a:lvl5pPr marL="0" indent="0" algn="l" defTabSz="514337" rtl="0" eaLnBrk="1" latinLnBrk="0" hangingPunct="1">
        <a:lnSpc>
          <a:spcPct val="100000"/>
        </a:lnSpc>
        <a:spcBef>
          <a:spcPts val="225"/>
        </a:spcBef>
        <a:spcAft>
          <a:spcPts val="225"/>
        </a:spcAft>
        <a:buFont typeface="Arial" panose="020B0604020202020204" pitchFamily="34" charset="0"/>
        <a:buChar char="​"/>
        <a:tabLst/>
        <a:defRPr sz="788" b="0" kern="1200">
          <a:solidFill>
            <a:schemeClr val="tx1"/>
          </a:solidFill>
          <a:latin typeface="+mn-lt"/>
          <a:ea typeface="+mn-ea"/>
          <a:cs typeface="+mn-cs"/>
        </a:defRPr>
      </a:lvl5pPr>
      <a:lvl6pPr marL="0" indent="0" algn="l" defTabSz="514337" rtl="0" eaLnBrk="1" latinLnBrk="0" hangingPunct="1">
        <a:lnSpc>
          <a:spcPct val="100000"/>
        </a:lnSpc>
        <a:spcBef>
          <a:spcPts val="225"/>
        </a:spcBef>
        <a:spcAft>
          <a:spcPts val="225"/>
        </a:spcAft>
        <a:buFont typeface="Arial" panose="020B0604020202020204" pitchFamily="34" charset="0"/>
        <a:buChar char="​"/>
        <a:defRPr sz="563" b="1" kern="1200">
          <a:solidFill>
            <a:schemeClr val="tx1"/>
          </a:solidFill>
          <a:latin typeface="+mn-lt"/>
          <a:ea typeface="+mn-ea"/>
          <a:cs typeface="+mn-cs"/>
        </a:defRPr>
      </a:lvl6pPr>
      <a:lvl7pPr marL="0" indent="0" algn="l" defTabSz="514337" rtl="0" eaLnBrk="1" latinLnBrk="0" hangingPunct="1">
        <a:lnSpc>
          <a:spcPct val="100000"/>
        </a:lnSpc>
        <a:spcBef>
          <a:spcPts val="225"/>
        </a:spcBef>
        <a:spcAft>
          <a:spcPts val="225"/>
        </a:spcAft>
        <a:buFont typeface="Arial" panose="020B0604020202020204" pitchFamily="34" charset="0"/>
        <a:buChar char="​"/>
        <a:defRPr sz="563" b="0" kern="1200" baseline="0">
          <a:solidFill>
            <a:schemeClr val="tx1"/>
          </a:solidFill>
          <a:latin typeface="+mn-lt"/>
          <a:ea typeface="+mn-ea"/>
          <a:cs typeface="+mn-cs"/>
        </a:defRPr>
      </a:lvl7pPr>
      <a:lvl8pPr marL="101248" indent="-101248" algn="l" defTabSz="514337" rtl="0" eaLnBrk="1" latinLnBrk="0" hangingPunct="1">
        <a:lnSpc>
          <a:spcPct val="100000"/>
        </a:lnSpc>
        <a:spcBef>
          <a:spcPts val="225"/>
        </a:spcBef>
        <a:spcAft>
          <a:spcPts val="225"/>
        </a:spcAft>
        <a:buFont typeface="Arial" panose="020B0604020202020204" pitchFamily="34" charset="0"/>
        <a:buChar char="•"/>
        <a:defRPr sz="563" kern="1200">
          <a:solidFill>
            <a:schemeClr val="tx1"/>
          </a:solidFill>
          <a:latin typeface="+mn-lt"/>
          <a:ea typeface="+mn-ea"/>
          <a:cs typeface="+mn-cs"/>
        </a:defRPr>
      </a:lvl8pPr>
      <a:lvl9pPr marL="0" indent="0" algn="l" defTabSz="514337" rtl="0" eaLnBrk="1" latinLnBrk="0" hangingPunct="1">
        <a:lnSpc>
          <a:spcPct val="90000"/>
        </a:lnSpc>
        <a:spcBef>
          <a:spcPts val="0"/>
        </a:spcBef>
        <a:spcAft>
          <a:spcPts val="0"/>
        </a:spcAft>
        <a:buFont typeface="Arial" panose="020B0604020202020204" pitchFamily="34" charset="0"/>
        <a:buChar char="​"/>
        <a:defRPr sz="4050" b="1" kern="1200" baseline="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15:clr>
            <a:srgbClr val="F26B43"/>
          </p15:clr>
        </p15:guide>
        <p15:guide id="4" pos="5465">
          <p15:clr>
            <a:srgbClr val="F26B43"/>
          </p15:clr>
        </p15:guide>
        <p15:guide id="5" orient="horz" pos="4292">
          <p15:clr>
            <a:srgbClr val="F26B43"/>
          </p15:clr>
        </p15:guide>
        <p15:guide id="7" pos="2880">
          <p15:clr>
            <a:srgbClr val="F26B43"/>
          </p15:clr>
        </p15:guide>
        <p15:guide id="8" pos="2971">
          <p15:clr>
            <a:srgbClr val="F26B43"/>
          </p15:clr>
        </p15:guide>
        <p15:guide id="9" pos="278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da-DK"/>
              <a:t>Click to edit Master title style</a:t>
            </a:r>
          </a:p>
        </p:txBody>
      </p:sp>
      <p:sp>
        <p:nvSpPr>
          <p:cNvPr id="3" name="Text Placeholder 2"/>
          <p:cNvSpPr>
            <a:spLocks noGrp="1"/>
          </p:cNvSpPr>
          <p:nvPr>
            <p:ph type="body" idx="1"/>
          </p:nvPr>
        </p:nvSpPr>
        <p:spPr>
          <a:xfrm>
            <a:off x="468313" y="1562402"/>
            <a:ext cx="8207375" cy="4304847"/>
          </a:xfrm>
          <a:prstGeom prst="rect">
            <a:avLst/>
          </a:prstGeom>
        </p:spPr>
        <p:txBody>
          <a:bodyPr vert="horz" lIns="0" tIns="0" rIns="0" bIns="0" rtlCol="0">
            <a:noAutofit/>
          </a:bodyPr>
          <a:lstStyle/>
          <a:p>
            <a:pPr lvl="0"/>
            <a:r>
              <a:rPr lang="da-DK" noProof="0"/>
              <a:t>Level 1</a:t>
            </a:r>
            <a:endParaRPr lang="da-DK"/>
          </a:p>
          <a:p>
            <a:pPr lvl="1"/>
            <a:r>
              <a:rPr lang="da-DK" noProof="0"/>
              <a:t>Level 2</a:t>
            </a:r>
            <a:endParaRPr lang="da-DK"/>
          </a:p>
          <a:p>
            <a:pPr lvl="2"/>
            <a:r>
              <a:rPr lang="da-DK" noProof="0"/>
              <a:t>Level 3</a:t>
            </a:r>
            <a:endParaRPr lang="da-DK"/>
          </a:p>
          <a:p>
            <a:pPr lvl="3"/>
            <a:r>
              <a:rPr lang="da-DK" noProof="0"/>
              <a:t>Level 4, Header</a:t>
            </a:r>
            <a:endParaRPr lang="da-DK"/>
          </a:p>
          <a:p>
            <a:pPr lvl="4"/>
            <a:r>
              <a:rPr lang="da-DK" noProof="0"/>
              <a:t>Level 5, Body</a:t>
            </a:r>
            <a:endParaRPr lang="da-DK"/>
          </a:p>
          <a:p>
            <a:pPr lvl="5"/>
            <a:r>
              <a:rPr lang="da-DK" noProof="0"/>
              <a:t>Level 6</a:t>
            </a:r>
            <a:endParaRPr lang="da-DK"/>
          </a:p>
          <a:p>
            <a:pPr lvl="6"/>
            <a:r>
              <a:rPr lang="da-DK" noProof="0"/>
              <a:t>Level 7, Small Header</a:t>
            </a:r>
            <a:endParaRPr lang="da-DK"/>
          </a:p>
          <a:p>
            <a:pPr lvl="7"/>
            <a:r>
              <a:rPr lang="da-DK" noProof="0"/>
              <a:t>Level 8, Small Body</a:t>
            </a:r>
            <a:endParaRPr lang="da-DK"/>
          </a:p>
          <a:p>
            <a:pPr lvl="8"/>
            <a:r>
              <a:rPr lang="da-DK" noProof="0"/>
              <a:t>Level 9, Infographic</a:t>
            </a:r>
            <a:endParaRPr lang="da-DK"/>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da-DK" b="1">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da-DK" b="1" smtClean="0">
                <a:ea typeface="ＭＳ Ｐゴシック" charset="0"/>
              </a:rPr>
              <a:pPr defTabSz="912813" fontAlgn="base">
                <a:spcBef>
                  <a:spcPct val="0"/>
                </a:spcBef>
                <a:spcAft>
                  <a:spcPct val="0"/>
                </a:spcAft>
              </a:pPr>
              <a:t>30.11.2022</a:t>
            </a:fld>
            <a:endParaRPr lang="da-DK" b="1">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7A14D42-BF06-47D1-975E-581CE1B1C45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2336" y="6369149"/>
            <a:ext cx="864000" cy="363978"/>
          </a:xfrm>
          <a:prstGeom prst="rect">
            <a:avLst/>
          </a:prstGeom>
        </p:spPr>
      </p:pic>
      <p:sp>
        <p:nvSpPr>
          <p:cNvPr id="10" name="text" descr="{&quot;templafy&quot;:{&quot;id&quot;:&quot;392dabc3-7f5d-42ba-ab71-512d589e3695&quot;}}" title="Form.PresentationTitle">
            <a:extLst>
              <a:ext uri="{FF2B5EF4-FFF2-40B4-BE49-F238E27FC236}">
                <a16:creationId xmlns:a16="http://schemas.microsoft.com/office/drawing/2014/main" id="{14E34EAB-5D4D-4A30-A04B-49F40652E4F2}"/>
              </a:ext>
            </a:extLst>
          </p:cNvPr>
          <p:cNvSpPr txBox="1"/>
          <p:nvPr userDrawn="1"/>
        </p:nvSpPr>
        <p:spPr>
          <a:xfrm>
            <a:off x="615793" y="6478872"/>
            <a:ext cx="2274092" cy="115416"/>
          </a:xfrm>
          <a:prstGeom prst="rect">
            <a:avLst/>
          </a:prstGeom>
          <a:noFill/>
          <a:ln>
            <a:noFill/>
          </a:ln>
        </p:spPr>
        <p:txBody>
          <a:bodyPr wrap="square" lIns="0" tIns="0" rIns="0" bIns="0" rtlCol="0" anchor="b">
            <a:spAutoFit/>
          </a:bodyPr>
          <a:lstStyle/>
          <a:p>
            <a:pPr defTabSz="912813" fontAlgn="base">
              <a:spcBef>
                <a:spcPct val="0"/>
              </a:spcBef>
              <a:spcAft>
                <a:spcPct val="0"/>
              </a:spcAft>
            </a:pPr>
            <a:r>
              <a:rPr lang="en-GB" sz="750" dirty="0">
                <a:solidFill>
                  <a:srgbClr val="20242B"/>
                </a:solidFill>
                <a:ea typeface="ＭＳ Ｐゴシック" charset="0"/>
              </a:rPr>
              <a:t>Fidelity Funds - World Fund</a:t>
            </a:r>
          </a:p>
        </p:txBody>
      </p:sp>
      <p:sp>
        <p:nvSpPr>
          <p:cNvPr id="12" name="Slide Number Placeholder 5">
            <a:extLst>
              <a:ext uri="{FF2B5EF4-FFF2-40B4-BE49-F238E27FC236}">
                <a16:creationId xmlns:a16="http://schemas.microsoft.com/office/drawing/2014/main" id="{2EFEAB6F-3857-4F3E-9808-4FFFE2CB6DFC}"/>
              </a:ext>
            </a:extLst>
          </p:cNvPr>
          <p:cNvSpPr txBox="1">
            <a:spLocks/>
          </p:cNvSpPr>
          <p:nvPr userDrawn="1"/>
        </p:nvSpPr>
        <p:spPr bwMode="auto">
          <a:xfrm>
            <a:off x="361711" y="6422400"/>
            <a:ext cx="181754"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a16="http://schemas.microsoft.com/office/drawing/2014/main" xmlns:a14="http://schemas.microsoft.com/office/drawing/2010/main" xmlns:p14="http://schemas.microsoft.com/office/powerpoint/2010/main" xmlns:p15="http://schemas.microsoft.com/office/powerpoint/2012/main"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750" smtClean="0">
                <a:solidFill>
                  <a:srgbClr val="20242B"/>
                </a:solidFill>
              </a:rPr>
              <a:pPr algn="l"/>
              <a:t>‹N°›</a:t>
            </a:fld>
            <a:endParaRPr lang="en-GB" sz="750" dirty="0">
              <a:solidFill>
                <a:srgbClr val="20242B"/>
              </a:solidFill>
            </a:endParaRPr>
          </a:p>
        </p:txBody>
      </p:sp>
    </p:spTree>
    <p:extLst>
      <p:ext uri="{BB962C8B-B14F-4D97-AF65-F5344CB8AC3E}">
        <p14:creationId xmlns:p14="http://schemas.microsoft.com/office/powerpoint/2010/main" val="1185686070"/>
      </p:ext>
    </p:extLst>
  </p:cSld>
  <p:clrMap bg1="lt1" tx1="dk1" bg2="lt2" tx2="dk2" accent1="accent1" accent2="accent2" accent3="accent3" accent4="accent4" accent5="accent5" accent6="accent6" hlink="hlink" folHlink="folHlink"/>
  <p:sldLayoutIdLst>
    <p:sldLayoutId id="2147483675" r:id="rId1"/>
  </p:sldLayoutIdLst>
  <p:hf hdr="0"/>
  <p:txStyles>
    <p:titleStyle>
      <a:lvl1pPr algn="l" defTabSz="514337" rtl="0" eaLnBrk="1" latinLnBrk="0" hangingPunct="1">
        <a:lnSpc>
          <a:spcPct val="83000"/>
        </a:lnSpc>
        <a:spcBef>
          <a:spcPct val="0"/>
        </a:spcBef>
        <a:buNone/>
        <a:defRPr sz="1650" b="1" kern="1200">
          <a:solidFill>
            <a:schemeClr val="tx1"/>
          </a:solidFill>
          <a:latin typeface="+mj-lt"/>
          <a:ea typeface="+mj-ea"/>
          <a:cs typeface="+mj-cs"/>
        </a:defRPr>
      </a:lvl1pPr>
    </p:titleStyle>
    <p:bodyStyle>
      <a:lvl1pPr marL="101248"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900" kern="1200">
          <a:solidFill>
            <a:schemeClr val="tx1"/>
          </a:solidFill>
          <a:latin typeface="+mn-lt"/>
          <a:ea typeface="+mn-ea"/>
          <a:cs typeface="+mn-cs"/>
        </a:defRPr>
      </a:lvl1pPr>
      <a:lvl2pPr marL="202495"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788" kern="1200">
          <a:solidFill>
            <a:schemeClr val="tx1"/>
          </a:solidFill>
          <a:latin typeface="+mn-lt"/>
          <a:ea typeface="+mn-ea"/>
          <a:cs typeface="+mn-cs"/>
        </a:defRPr>
      </a:lvl2pPr>
      <a:lvl3pPr marL="303743"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675" kern="1200">
          <a:solidFill>
            <a:schemeClr val="tx1"/>
          </a:solidFill>
          <a:latin typeface="+mn-lt"/>
          <a:ea typeface="+mn-ea"/>
          <a:cs typeface="+mn-cs"/>
        </a:defRPr>
      </a:lvl3pPr>
      <a:lvl4pPr marL="0" indent="0" algn="l" defTabSz="514337" rtl="0" eaLnBrk="1" latinLnBrk="0" hangingPunct="1">
        <a:lnSpc>
          <a:spcPct val="100000"/>
        </a:lnSpc>
        <a:spcBef>
          <a:spcPts val="225"/>
        </a:spcBef>
        <a:spcAft>
          <a:spcPts val="225"/>
        </a:spcAft>
        <a:buFont typeface="Arial" panose="020B0604020202020204" pitchFamily="34" charset="0"/>
        <a:buChar char="​"/>
        <a:defRPr sz="900" b="1" kern="1200">
          <a:solidFill>
            <a:schemeClr val="tx1"/>
          </a:solidFill>
          <a:latin typeface="+mn-lt"/>
          <a:ea typeface="+mn-ea"/>
          <a:cs typeface="+mn-cs"/>
        </a:defRPr>
      </a:lvl4pPr>
      <a:lvl5pPr marL="0" indent="0" algn="l" defTabSz="514337" rtl="0" eaLnBrk="1" latinLnBrk="0" hangingPunct="1">
        <a:lnSpc>
          <a:spcPct val="100000"/>
        </a:lnSpc>
        <a:spcBef>
          <a:spcPts val="225"/>
        </a:spcBef>
        <a:spcAft>
          <a:spcPts val="225"/>
        </a:spcAft>
        <a:buFont typeface="Arial" panose="020B0604020202020204" pitchFamily="34" charset="0"/>
        <a:buChar char="​"/>
        <a:tabLst/>
        <a:defRPr sz="788" b="0" kern="1200">
          <a:solidFill>
            <a:schemeClr val="tx1"/>
          </a:solidFill>
          <a:latin typeface="+mn-lt"/>
          <a:ea typeface="+mn-ea"/>
          <a:cs typeface="+mn-cs"/>
        </a:defRPr>
      </a:lvl5pPr>
      <a:lvl6pPr marL="0" indent="0" algn="l" defTabSz="514337" rtl="0" eaLnBrk="1" latinLnBrk="0" hangingPunct="1">
        <a:lnSpc>
          <a:spcPct val="100000"/>
        </a:lnSpc>
        <a:spcBef>
          <a:spcPts val="225"/>
        </a:spcBef>
        <a:spcAft>
          <a:spcPts val="225"/>
        </a:spcAft>
        <a:buFont typeface="Arial" panose="020B0604020202020204" pitchFamily="34" charset="0"/>
        <a:buChar char="​"/>
        <a:defRPr sz="563" b="1" kern="1200">
          <a:solidFill>
            <a:schemeClr val="tx1"/>
          </a:solidFill>
          <a:latin typeface="+mn-lt"/>
          <a:ea typeface="+mn-ea"/>
          <a:cs typeface="+mn-cs"/>
        </a:defRPr>
      </a:lvl6pPr>
      <a:lvl7pPr marL="0" indent="0" algn="l" defTabSz="514337" rtl="0" eaLnBrk="1" latinLnBrk="0" hangingPunct="1">
        <a:lnSpc>
          <a:spcPct val="100000"/>
        </a:lnSpc>
        <a:spcBef>
          <a:spcPts val="225"/>
        </a:spcBef>
        <a:spcAft>
          <a:spcPts val="225"/>
        </a:spcAft>
        <a:buFont typeface="Arial" panose="020B0604020202020204" pitchFamily="34" charset="0"/>
        <a:buChar char="​"/>
        <a:defRPr sz="563" b="0" kern="1200" baseline="0">
          <a:solidFill>
            <a:schemeClr val="tx1"/>
          </a:solidFill>
          <a:latin typeface="+mn-lt"/>
          <a:ea typeface="+mn-ea"/>
          <a:cs typeface="+mn-cs"/>
        </a:defRPr>
      </a:lvl7pPr>
      <a:lvl8pPr marL="101248" indent="-101248" algn="l" defTabSz="514337" rtl="0" eaLnBrk="1" latinLnBrk="0" hangingPunct="1">
        <a:lnSpc>
          <a:spcPct val="100000"/>
        </a:lnSpc>
        <a:spcBef>
          <a:spcPts val="225"/>
        </a:spcBef>
        <a:spcAft>
          <a:spcPts val="225"/>
        </a:spcAft>
        <a:buFont typeface="Arial" panose="020B0604020202020204" pitchFamily="34" charset="0"/>
        <a:buChar char="•"/>
        <a:defRPr sz="563" kern="1200">
          <a:solidFill>
            <a:schemeClr val="tx1"/>
          </a:solidFill>
          <a:latin typeface="+mn-lt"/>
          <a:ea typeface="+mn-ea"/>
          <a:cs typeface="+mn-cs"/>
        </a:defRPr>
      </a:lvl8pPr>
      <a:lvl9pPr marL="0" indent="0" algn="l" defTabSz="514337" rtl="0" eaLnBrk="1" latinLnBrk="0" hangingPunct="1">
        <a:lnSpc>
          <a:spcPct val="90000"/>
        </a:lnSpc>
        <a:spcBef>
          <a:spcPts val="0"/>
        </a:spcBef>
        <a:spcAft>
          <a:spcPts val="0"/>
        </a:spcAft>
        <a:buFont typeface="Arial" panose="020B0604020202020204" pitchFamily="34" charset="0"/>
        <a:buChar char="​"/>
        <a:defRPr sz="4050" b="1" kern="1200" baseline="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15:clr>
            <a:srgbClr val="F26B43"/>
          </p15:clr>
        </p15:guide>
        <p15:guide id="4" pos="5465">
          <p15:clr>
            <a:srgbClr val="F26B43"/>
          </p15:clr>
        </p15:guide>
        <p15:guide id="5" orient="horz" pos="4292">
          <p15:clr>
            <a:srgbClr val="F26B43"/>
          </p15:clr>
        </p15:guide>
        <p15:guide id="7" pos="2880">
          <p15:clr>
            <a:srgbClr val="F26B43"/>
          </p15:clr>
        </p15:guide>
        <p15:guide id="8" pos="2971">
          <p15:clr>
            <a:srgbClr val="F26B43"/>
          </p15:clr>
        </p15:guide>
        <p15:guide id="9" pos="278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68313" y="25200"/>
            <a:ext cx="8208000" cy="694800"/>
          </a:xfrm>
          <a:prstGeom prst="rect">
            <a:avLst/>
          </a:prstGeom>
        </p:spPr>
        <p:txBody>
          <a:bodyPr vert="horz" lIns="0" tIns="0" rIns="0" bIns="0" rtlCol="0" anchor="b" anchorCtr="0">
            <a:noAutofit/>
          </a:bodyPr>
          <a:lstStyle/>
          <a:p>
            <a:r>
              <a:rPr lang="da-DK"/>
              <a:t>Click to edit Master title style</a:t>
            </a:r>
          </a:p>
        </p:txBody>
      </p:sp>
      <p:sp>
        <p:nvSpPr>
          <p:cNvPr id="3" name="Text Placeholder 2"/>
          <p:cNvSpPr>
            <a:spLocks noGrp="1"/>
          </p:cNvSpPr>
          <p:nvPr>
            <p:ph type="body" idx="1"/>
          </p:nvPr>
        </p:nvSpPr>
        <p:spPr>
          <a:xfrm>
            <a:off x="468313" y="1562402"/>
            <a:ext cx="8207375" cy="4304847"/>
          </a:xfrm>
          <a:prstGeom prst="rect">
            <a:avLst/>
          </a:prstGeom>
        </p:spPr>
        <p:txBody>
          <a:bodyPr vert="horz" lIns="0" tIns="0" rIns="0" bIns="0" rtlCol="0">
            <a:noAutofit/>
          </a:bodyPr>
          <a:lstStyle/>
          <a:p>
            <a:pPr lvl="0"/>
            <a:r>
              <a:rPr lang="da-DK" noProof="0"/>
              <a:t>Level 1</a:t>
            </a:r>
            <a:endParaRPr lang="da-DK"/>
          </a:p>
          <a:p>
            <a:pPr lvl="1"/>
            <a:r>
              <a:rPr lang="da-DK" noProof="0"/>
              <a:t>Level 2</a:t>
            </a:r>
            <a:endParaRPr lang="da-DK"/>
          </a:p>
          <a:p>
            <a:pPr lvl="2"/>
            <a:r>
              <a:rPr lang="da-DK" noProof="0"/>
              <a:t>Level 3</a:t>
            </a:r>
            <a:endParaRPr lang="da-DK"/>
          </a:p>
          <a:p>
            <a:pPr lvl="3"/>
            <a:r>
              <a:rPr lang="da-DK" noProof="0"/>
              <a:t>Level 4, Header</a:t>
            </a:r>
            <a:endParaRPr lang="da-DK"/>
          </a:p>
          <a:p>
            <a:pPr lvl="4"/>
            <a:r>
              <a:rPr lang="da-DK" noProof="0"/>
              <a:t>Level 5, Body</a:t>
            </a:r>
            <a:endParaRPr lang="da-DK"/>
          </a:p>
          <a:p>
            <a:pPr lvl="5"/>
            <a:r>
              <a:rPr lang="da-DK" noProof="0"/>
              <a:t>Level 6</a:t>
            </a:r>
            <a:endParaRPr lang="da-DK"/>
          </a:p>
          <a:p>
            <a:pPr lvl="6"/>
            <a:r>
              <a:rPr lang="da-DK" noProof="0"/>
              <a:t>Level 7, Small Header</a:t>
            </a:r>
            <a:endParaRPr lang="da-DK"/>
          </a:p>
          <a:p>
            <a:pPr lvl="7"/>
            <a:r>
              <a:rPr lang="da-DK" noProof="0"/>
              <a:t>Level 8, Small Body</a:t>
            </a:r>
            <a:endParaRPr lang="da-DK"/>
          </a:p>
          <a:p>
            <a:pPr lvl="8"/>
            <a:r>
              <a:rPr lang="da-DK" noProof="0"/>
              <a:t>Level 9, Infographic</a:t>
            </a:r>
            <a:endParaRPr lang="da-DK"/>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pPr defTabSz="912813" fontAlgn="base">
              <a:spcBef>
                <a:spcPct val="0"/>
              </a:spcBef>
              <a:spcAft>
                <a:spcPct val="0"/>
              </a:spcAft>
            </a:pPr>
            <a:endParaRPr lang="da-DK" b="1">
              <a:ea typeface="ＭＳ Ｐゴシック" charset="0"/>
            </a:endParaRPr>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pPr defTabSz="912813" fontAlgn="base">
              <a:spcBef>
                <a:spcPct val="0"/>
              </a:spcBef>
              <a:spcAft>
                <a:spcPct val="0"/>
              </a:spcAft>
            </a:pPr>
            <a:fld id="{43A78DB0-C861-4285-9A34-17CC935A32C6}" type="datetime6">
              <a:rPr lang="da-DK" b="1" smtClean="0">
                <a:ea typeface="ＭＳ Ｐゴシック" charset="0"/>
              </a:rPr>
              <a:pPr defTabSz="912813" fontAlgn="base">
                <a:spcBef>
                  <a:spcPct val="0"/>
                </a:spcBef>
                <a:spcAft>
                  <a:spcPct val="0"/>
                </a:spcAft>
              </a:pPr>
              <a:t>30.11.2022</a:t>
            </a:fld>
            <a:endParaRPr lang="da-DK" b="1">
              <a:ea typeface="ＭＳ Ｐゴシック" charset="0"/>
            </a:endParaRP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9144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7A14D42-BF06-47D1-975E-581CE1B1C45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2336" y="6369149"/>
            <a:ext cx="864000" cy="363978"/>
          </a:xfrm>
          <a:prstGeom prst="rect">
            <a:avLst/>
          </a:prstGeom>
        </p:spPr>
      </p:pic>
      <p:sp>
        <p:nvSpPr>
          <p:cNvPr id="10" name="text" descr="{&quot;templafy&quot;:{&quot;id&quot;:&quot;392dabc3-7f5d-42ba-ab71-512d589e3695&quot;}}" title="Form.PresentationTitle">
            <a:extLst>
              <a:ext uri="{FF2B5EF4-FFF2-40B4-BE49-F238E27FC236}">
                <a16:creationId xmlns:a16="http://schemas.microsoft.com/office/drawing/2014/main" id="{14E34EAB-5D4D-4A30-A04B-49F40652E4F2}"/>
              </a:ext>
            </a:extLst>
          </p:cNvPr>
          <p:cNvSpPr txBox="1"/>
          <p:nvPr userDrawn="1"/>
        </p:nvSpPr>
        <p:spPr>
          <a:xfrm>
            <a:off x="615793" y="6478872"/>
            <a:ext cx="2274092" cy="115416"/>
          </a:xfrm>
          <a:prstGeom prst="rect">
            <a:avLst/>
          </a:prstGeom>
          <a:noFill/>
          <a:ln>
            <a:noFill/>
          </a:ln>
        </p:spPr>
        <p:txBody>
          <a:bodyPr wrap="square" lIns="0" tIns="0" rIns="0" bIns="0" rtlCol="0" anchor="b">
            <a:spAutoFit/>
          </a:bodyPr>
          <a:lstStyle/>
          <a:p>
            <a:pPr defTabSz="912813" fontAlgn="base">
              <a:spcBef>
                <a:spcPct val="0"/>
              </a:spcBef>
              <a:spcAft>
                <a:spcPct val="0"/>
              </a:spcAft>
            </a:pPr>
            <a:r>
              <a:rPr lang="en-GB" sz="750" dirty="0">
                <a:solidFill>
                  <a:srgbClr val="20242B"/>
                </a:solidFill>
                <a:ea typeface="ＭＳ Ｐゴシック" charset="0"/>
              </a:rPr>
              <a:t>Fidelity Funds - World Fund</a:t>
            </a:r>
          </a:p>
        </p:txBody>
      </p:sp>
      <p:sp>
        <p:nvSpPr>
          <p:cNvPr id="12" name="Slide Number Placeholder 5">
            <a:extLst>
              <a:ext uri="{FF2B5EF4-FFF2-40B4-BE49-F238E27FC236}">
                <a16:creationId xmlns:a16="http://schemas.microsoft.com/office/drawing/2014/main" id="{2EFEAB6F-3857-4F3E-9808-4FFFE2CB6DFC}"/>
              </a:ext>
            </a:extLst>
          </p:cNvPr>
          <p:cNvSpPr txBox="1">
            <a:spLocks/>
          </p:cNvSpPr>
          <p:nvPr userDrawn="1"/>
        </p:nvSpPr>
        <p:spPr bwMode="auto">
          <a:xfrm>
            <a:off x="361711" y="6422400"/>
            <a:ext cx="181754"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a16="http://schemas.microsoft.com/office/drawing/2014/main" xmlns:a14="http://schemas.microsoft.com/office/drawing/2010/main" xmlns:p14="http://schemas.microsoft.com/office/powerpoint/2010/main" xmlns:p15="http://schemas.microsoft.com/office/powerpoint/2012/main" xmlns:ma14="http://schemas.microsoft.com/office/mac/drawingml/2011/main" xmlns=""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750" smtClean="0">
                <a:solidFill>
                  <a:srgbClr val="20242B"/>
                </a:solidFill>
              </a:rPr>
              <a:pPr algn="l"/>
              <a:t>‹N°›</a:t>
            </a:fld>
            <a:endParaRPr lang="en-GB" sz="750" dirty="0">
              <a:solidFill>
                <a:srgbClr val="20242B"/>
              </a:solidFill>
            </a:endParaRPr>
          </a:p>
        </p:txBody>
      </p:sp>
    </p:spTree>
    <p:extLst>
      <p:ext uri="{BB962C8B-B14F-4D97-AF65-F5344CB8AC3E}">
        <p14:creationId xmlns:p14="http://schemas.microsoft.com/office/powerpoint/2010/main" val="1185686070"/>
      </p:ext>
    </p:extLst>
  </p:cSld>
  <p:clrMap bg1="lt1" tx1="dk1" bg2="lt2" tx2="dk2" accent1="accent1" accent2="accent2" accent3="accent3" accent4="accent4" accent5="accent5" accent6="accent6" hlink="hlink" folHlink="folHlink"/>
  <p:sldLayoutIdLst>
    <p:sldLayoutId id="2147483677" r:id="rId1"/>
  </p:sldLayoutIdLst>
  <p:hf hdr="0"/>
  <p:txStyles>
    <p:titleStyle>
      <a:lvl1pPr algn="l" defTabSz="514337" rtl="0" eaLnBrk="1" latinLnBrk="0" hangingPunct="1">
        <a:lnSpc>
          <a:spcPct val="83000"/>
        </a:lnSpc>
        <a:spcBef>
          <a:spcPct val="0"/>
        </a:spcBef>
        <a:buNone/>
        <a:defRPr sz="1650" b="1" kern="1200">
          <a:solidFill>
            <a:schemeClr val="tx1"/>
          </a:solidFill>
          <a:latin typeface="+mj-lt"/>
          <a:ea typeface="+mj-ea"/>
          <a:cs typeface="+mj-cs"/>
        </a:defRPr>
      </a:lvl1pPr>
    </p:titleStyle>
    <p:bodyStyle>
      <a:lvl1pPr marL="101248"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900" kern="1200">
          <a:solidFill>
            <a:schemeClr val="tx1"/>
          </a:solidFill>
          <a:latin typeface="+mn-lt"/>
          <a:ea typeface="+mn-ea"/>
          <a:cs typeface="+mn-cs"/>
        </a:defRPr>
      </a:lvl1pPr>
      <a:lvl2pPr marL="202495"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788" kern="1200">
          <a:solidFill>
            <a:schemeClr val="tx1"/>
          </a:solidFill>
          <a:latin typeface="+mn-lt"/>
          <a:ea typeface="+mn-ea"/>
          <a:cs typeface="+mn-cs"/>
        </a:defRPr>
      </a:lvl2pPr>
      <a:lvl3pPr marL="303743" indent="-101248" algn="l" defTabSz="514337" rtl="0" eaLnBrk="1" latinLnBrk="0" hangingPunct="1">
        <a:lnSpc>
          <a:spcPct val="100000"/>
        </a:lnSpc>
        <a:spcBef>
          <a:spcPts val="225"/>
        </a:spcBef>
        <a:spcAft>
          <a:spcPts val="225"/>
        </a:spcAft>
        <a:buClr>
          <a:srgbClr val="006193"/>
        </a:buClr>
        <a:buFont typeface="Wingdings" panose="05000000000000000000" pitchFamily="2" charset="2"/>
        <a:buChar char="§"/>
        <a:defRPr sz="675" kern="1200">
          <a:solidFill>
            <a:schemeClr val="tx1"/>
          </a:solidFill>
          <a:latin typeface="+mn-lt"/>
          <a:ea typeface="+mn-ea"/>
          <a:cs typeface="+mn-cs"/>
        </a:defRPr>
      </a:lvl3pPr>
      <a:lvl4pPr marL="0" indent="0" algn="l" defTabSz="514337" rtl="0" eaLnBrk="1" latinLnBrk="0" hangingPunct="1">
        <a:lnSpc>
          <a:spcPct val="100000"/>
        </a:lnSpc>
        <a:spcBef>
          <a:spcPts val="225"/>
        </a:spcBef>
        <a:spcAft>
          <a:spcPts val="225"/>
        </a:spcAft>
        <a:buFont typeface="Arial" panose="020B0604020202020204" pitchFamily="34" charset="0"/>
        <a:buChar char="​"/>
        <a:defRPr sz="900" b="1" kern="1200">
          <a:solidFill>
            <a:schemeClr val="tx1"/>
          </a:solidFill>
          <a:latin typeface="+mn-lt"/>
          <a:ea typeface="+mn-ea"/>
          <a:cs typeface="+mn-cs"/>
        </a:defRPr>
      </a:lvl4pPr>
      <a:lvl5pPr marL="0" indent="0" algn="l" defTabSz="514337" rtl="0" eaLnBrk="1" latinLnBrk="0" hangingPunct="1">
        <a:lnSpc>
          <a:spcPct val="100000"/>
        </a:lnSpc>
        <a:spcBef>
          <a:spcPts val="225"/>
        </a:spcBef>
        <a:spcAft>
          <a:spcPts val="225"/>
        </a:spcAft>
        <a:buFont typeface="Arial" panose="020B0604020202020204" pitchFamily="34" charset="0"/>
        <a:buChar char="​"/>
        <a:tabLst/>
        <a:defRPr sz="788" b="0" kern="1200">
          <a:solidFill>
            <a:schemeClr val="tx1"/>
          </a:solidFill>
          <a:latin typeface="+mn-lt"/>
          <a:ea typeface="+mn-ea"/>
          <a:cs typeface="+mn-cs"/>
        </a:defRPr>
      </a:lvl5pPr>
      <a:lvl6pPr marL="0" indent="0" algn="l" defTabSz="514337" rtl="0" eaLnBrk="1" latinLnBrk="0" hangingPunct="1">
        <a:lnSpc>
          <a:spcPct val="100000"/>
        </a:lnSpc>
        <a:spcBef>
          <a:spcPts val="225"/>
        </a:spcBef>
        <a:spcAft>
          <a:spcPts val="225"/>
        </a:spcAft>
        <a:buFont typeface="Arial" panose="020B0604020202020204" pitchFamily="34" charset="0"/>
        <a:buChar char="​"/>
        <a:defRPr sz="563" b="1" kern="1200">
          <a:solidFill>
            <a:schemeClr val="tx1"/>
          </a:solidFill>
          <a:latin typeface="+mn-lt"/>
          <a:ea typeface="+mn-ea"/>
          <a:cs typeface="+mn-cs"/>
        </a:defRPr>
      </a:lvl6pPr>
      <a:lvl7pPr marL="0" indent="0" algn="l" defTabSz="514337" rtl="0" eaLnBrk="1" latinLnBrk="0" hangingPunct="1">
        <a:lnSpc>
          <a:spcPct val="100000"/>
        </a:lnSpc>
        <a:spcBef>
          <a:spcPts val="225"/>
        </a:spcBef>
        <a:spcAft>
          <a:spcPts val="225"/>
        </a:spcAft>
        <a:buFont typeface="Arial" panose="020B0604020202020204" pitchFamily="34" charset="0"/>
        <a:buChar char="​"/>
        <a:defRPr sz="563" b="0" kern="1200" baseline="0">
          <a:solidFill>
            <a:schemeClr val="tx1"/>
          </a:solidFill>
          <a:latin typeface="+mn-lt"/>
          <a:ea typeface="+mn-ea"/>
          <a:cs typeface="+mn-cs"/>
        </a:defRPr>
      </a:lvl7pPr>
      <a:lvl8pPr marL="101248" indent="-101248" algn="l" defTabSz="514337" rtl="0" eaLnBrk="1" latinLnBrk="0" hangingPunct="1">
        <a:lnSpc>
          <a:spcPct val="100000"/>
        </a:lnSpc>
        <a:spcBef>
          <a:spcPts val="225"/>
        </a:spcBef>
        <a:spcAft>
          <a:spcPts val="225"/>
        </a:spcAft>
        <a:buFont typeface="Arial" panose="020B0604020202020204" pitchFamily="34" charset="0"/>
        <a:buChar char="•"/>
        <a:defRPr sz="563" kern="1200">
          <a:solidFill>
            <a:schemeClr val="tx1"/>
          </a:solidFill>
          <a:latin typeface="+mn-lt"/>
          <a:ea typeface="+mn-ea"/>
          <a:cs typeface="+mn-cs"/>
        </a:defRPr>
      </a:lvl8pPr>
      <a:lvl9pPr marL="0" indent="0" algn="l" defTabSz="514337" rtl="0" eaLnBrk="1" latinLnBrk="0" hangingPunct="1">
        <a:lnSpc>
          <a:spcPct val="90000"/>
        </a:lnSpc>
        <a:spcBef>
          <a:spcPts val="0"/>
        </a:spcBef>
        <a:spcAft>
          <a:spcPts val="0"/>
        </a:spcAft>
        <a:buFont typeface="Arial" panose="020B0604020202020204" pitchFamily="34" charset="0"/>
        <a:buChar char="​"/>
        <a:defRPr sz="4050" b="1" kern="1200" baseline="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5">
          <p15:clr>
            <a:srgbClr val="F26B43"/>
          </p15:clr>
        </p15:guide>
        <p15:guide id="3" orient="horz">
          <p15:clr>
            <a:srgbClr val="F26B43"/>
          </p15:clr>
        </p15:guide>
        <p15:guide id="4" pos="5465">
          <p15:clr>
            <a:srgbClr val="F26B43"/>
          </p15:clr>
        </p15:guide>
        <p15:guide id="5" orient="horz" pos="4292">
          <p15:clr>
            <a:srgbClr val="F26B43"/>
          </p15:clr>
        </p15:guide>
        <p15:guide id="7" pos="2880">
          <p15:clr>
            <a:srgbClr val="F26B43"/>
          </p15:clr>
        </p15:guide>
        <p15:guide id="8" pos="2971">
          <p15:clr>
            <a:srgbClr val="F26B43"/>
          </p15:clr>
        </p15:guide>
        <p15:guide id="9" pos="27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0.svg"/><Relationship Id="rId3" Type="http://schemas.openxmlformats.org/officeDocument/2006/relationships/slideLayout" Target="../slideLayouts/slideLayout15.xml"/><Relationship Id="rId7" Type="http://schemas.openxmlformats.org/officeDocument/2006/relationships/hyperlink" Target="http://www.fidelity.com/" TargetMode="External"/><Relationship Id="rId12" Type="http://schemas.openxmlformats.org/officeDocument/2006/relationships/image" Target="../media/image21.png"/><Relationship Id="rId2" Type="http://schemas.openxmlformats.org/officeDocument/2006/relationships/customXml" Target="../../customXml/item1.xml"/><Relationship Id="rId1" Type="http://schemas.openxmlformats.org/officeDocument/2006/relationships/customXml" Target="../../customXml/item2.xml"/><Relationship Id="rId6" Type="http://schemas.openxmlformats.org/officeDocument/2006/relationships/hyperlink" Target="http://www.fidelity.fr/" TargetMode="External"/><Relationship Id="rId11" Type="http://schemas.openxmlformats.org/officeDocument/2006/relationships/image" Target="../media/image20.jpeg"/><Relationship Id="rId5" Type="http://schemas.openxmlformats.org/officeDocument/2006/relationships/image" Target="../media/image17.jpeg"/><Relationship Id="rId15" Type="http://schemas.openxmlformats.org/officeDocument/2006/relationships/image" Target="../media/image22.svg"/><Relationship Id="rId10" Type="http://schemas.openxmlformats.org/officeDocument/2006/relationships/image" Target="../media/image19.jpeg"/><Relationship Id="rId4" Type="http://schemas.openxmlformats.org/officeDocument/2006/relationships/notesSlide" Target="../notesSlides/notesSlide3.xml"/><Relationship Id="rId9" Type="http://schemas.openxmlformats.org/officeDocument/2006/relationships/image" Target="../media/image18.emf"/><Relationship Id="rId14" Type="http://schemas.openxmlformats.org/officeDocument/2006/relationships/image" Target="../media/image22.png"/></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16.xml"/><Relationship Id="rId7" Type="http://schemas.openxmlformats.org/officeDocument/2006/relationships/image" Target="../media/image24.png"/><Relationship Id="rId2" Type="http://schemas.openxmlformats.org/officeDocument/2006/relationships/customXml" Target="../../customXml/item3.xml"/><Relationship Id="rId1" Type="http://schemas.openxmlformats.org/officeDocument/2006/relationships/customXml" Target="../../customXml/item4.xml"/><Relationship Id="rId6" Type="http://schemas.openxmlformats.org/officeDocument/2006/relationships/image" Target="../media/image1.emf"/><Relationship Id="rId5" Type="http://schemas.openxmlformats.org/officeDocument/2006/relationships/image" Target="../media/image23.jpeg"/><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emf"/><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8.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32.emf"/><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4.emf"/><Relationship Id="rId18" Type="http://schemas.openxmlformats.org/officeDocument/2006/relationships/image" Target="../media/image38.jpeg"/><Relationship Id="rId26" Type="http://schemas.openxmlformats.org/officeDocument/2006/relationships/image" Target="../media/image46.png"/><Relationship Id="rId3" Type="http://schemas.openxmlformats.org/officeDocument/2006/relationships/tags" Target="../tags/tag4.xml"/><Relationship Id="rId21" Type="http://schemas.openxmlformats.org/officeDocument/2006/relationships/image" Target="../media/image41.jpeg"/><Relationship Id="rId7" Type="http://schemas.openxmlformats.org/officeDocument/2006/relationships/tags" Target="../tags/tag8.xml"/><Relationship Id="rId12" Type="http://schemas.openxmlformats.org/officeDocument/2006/relationships/image" Target="../media/image33.emf"/><Relationship Id="rId17" Type="http://schemas.openxmlformats.org/officeDocument/2006/relationships/image" Target="../media/image32.emf"/><Relationship Id="rId25" Type="http://schemas.openxmlformats.org/officeDocument/2006/relationships/image" Target="../media/image45.png"/><Relationship Id="rId2" Type="http://schemas.openxmlformats.org/officeDocument/2006/relationships/tags" Target="../tags/tag3.xml"/><Relationship Id="rId16" Type="http://schemas.openxmlformats.org/officeDocument/2006/relationships/image" Target="../media/image37.emf"/><Relationship Id="rId20" Type="http://schemas.openxmlformats.org/officeDocument/2006/relationships/image" Target="../media/image40.png"/><Relationship Id="rId29" Type="http://schemas.openxmlformats.org/officeDocument/2006/relationships/image" Target="../media/image49.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notesSlide" Target="../notesSlides/notesSlide10.xml"/><Relationship Id="rId24" Type="http://schemas.openxmlformats.org/officeDocument/2006/relationships/image" Target="../media/image44.png"/><Relationship Id="rId5" Type="http://schemas.openxmlformats.org/officeDocument/2006/relationships/tags" Target="../tags/tag6.xml"/><Relationship Id="rId15" Type="http://schemas.openxmlformats.org/officeDocument/2006/relationships/image" Target="../media/image36.emf"/><Relationship Id="rId23" Type="http://schemas.openxmlformats.org/officeDocument/2006/relationships/image" Target="../media/image43.jpeg"/><Relationship Id="rId28" Type="http://schemas.openxmlformats.org/officeDocument/2006/relationships/image" Target="../media/image48.jpeg"/><Relationship Id="rId10" Type="http://schemas.openxmlformats.org/officeDocument/2006/relationships/slideLayout" Target="../slideLayouts/slideLayout24.xml"/><Relationship Id="rId19" Type="http://schemas.openxmlformats.org/officeDocument/2006/relationships/image" Target="../media/image39.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35.emf"/><Relationship Id="rId22" Type="http://schemas.openxmlformats.org/officeDocument/2006/relationships/image" Target="../media/image42.jpeg"/><Relationship Id="rId27"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51.emf"/></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28" y="1199188"/>
            <a:ext cx="2771775" cy="962025"/>
          </a:xfrm>
          <a:prstGeom prst="rect">
            <a:avLst/>
          </a:prstGeom>
        </p:spPr>
      </p:pic>
      <p:pic>
        <p:nvPicPr>
          <p:cNvPr id="11" name="Imag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5338" y="934565"/>
            <a:ext cx="3028950" cy="1514475"/>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4208" y="742032"/>
            <a:ext cx="2466975" cy="1847850"/>
          </a:xfrm>
          <a:prstGeom prst="rect">
            <a:avLst/>
          </a:prstGeom>
        </p:spPr>
      </p:pic>
      <p:sp>
        <p:nvSpPr>
          <p:cNvPr id="13" name="ZoneTexte 12"/>
          <p:cNvSpPr txBox="1"/>
          <p:nvPr/>
        </p:nvSpPr>
        <p:spPr>
          <a:xfrm>
            <a:off x="1043608" y="2852936"/>
            <a:ext cx="6953955" cy="1569660"/>
          </a:xfrm>
          <a:prstGeom prst="rect">
            <a:avLst/>
          </a:prstGeom>
          <a:noFill/>
        </p:spPr>
        <p:txBody>
          <a:bodyPr wrap="none" rtlCol="0">
            <a:spAutoFit/>
          </a:bodyPr>
          <a:lstStyle/>
          <a:p>
            <a:pPr algn="ctr"/>
            <a:r>
              <a:rPr lang="fr-FR" sz="4800" b="1" i="1" u="sng" dirty="0" smtClean="0">
                <a:solidFill>
                  <a:srgbClr val="223566"/>
                </a:solidFill>
                <a:effectLst>
                  <a:outerShdw blurRad="38100" dist="38100" dir="2700000" algn="tl">
                    <a:srgbClr val="000000">
                      <a:alpha val="43137"/>
                    </a:srgbClr>
                  </a:outerShdw>
                </a:effectLst>
              </a:rPr>
              <a:t>Soirée d’information </a:t>
            </a:r>
          </a:p>
          <a:p>
            <a:r>
              <a:rPr lang="fr-FR" sz="4800" b="1" i="1" u="sng" dirty="0" smtClean="0">
                <a:solidFill>
                  <a:srgbClr val="223566"/>
                </a:solidFill>
                <a:effectLst>
                  <a:outerShdw blurRad="38100" dist="38100" dir="2700000" algn="tl">
                    <a:srgbClr val="000000">
                      <a:alpha val="43137"/>
                    </a:srgbClr>
                  </a:outerShdw>
                </a:effectLst>
              </a:rPr>
              <a:t>Golf de Mont Saint Aignan</a:t>
            </a:r>
          </a:p>
        </p:txBody>
      </p:sp>
      <p:sp>
        <p:nvSpPr>
          <p:cNvPr id="18" name="Titre 17"/>
          <p:cNvSpPr>
            <a:spLocks noGrp="1"/>
          </p:cNvSpPr>
          <p:nvPr>
            <p:ph type="title"/>
          </p:nvPr>
        </p:nvSpPr>
        <p:spPr>
          <a:xfrm>
            <a:off x="405785" y="5157192"/>
            <a:ext cx="8229600" cy="1143000"/>
          </a:xfrm>
        </p:spPr>
        <p:txBody>
          <a:bodyPr>
            <a:normAutofit fontScale="90000"/>
          </a:bodyPr>
          <a:lstStyle/>
          <a:p>
            <a:r>
              <a:rPr lang="fr-FR" dirty="0">
                <a:effectLst>
                  <a:outerShdw blurRad="38100" dist="38100" dir="2700000" algn="tl">
                    <a:srgbClr val="000000">
                      <a:alpha val="43137"/>
                    </a:srgbClr>
                  </a:outerShdw>
                </a:effectLst>
              </a:rPr>
              <a:t>1</a:t>
            </a:r>
            <a:r>
              <a:rPr lang="fr-FR" baseline="30000" dirty="0">
                <a:effectLst>
                  <a:outerShdw blurRad="38100" dist="38100" dir="2700000" algn="tl">
                    <a:srgbClr val="000000">
                      <a:alpha val="43137"/>
                    </a:srgbClr>
                  </a:outerShdw>
                </a:effectLst>
              </a:rPr>
              <a:t>er</a:t>
            </a:r>
            <a:r>
              <a:rPr lang="fr-FR" dirty="0">
                <a:effectLst>
                  <a:outerShdw blurRad="38100" dist="38100" dir="2700000" algn="tl">
                    <a:srgbClr val="000000">
                      <a:alpha val="43137"/>
                    </a:srgbClr>
                  </a:outerShdw>
                </a:effectLst>
              </a:rPr>
              <a:t> décembre 2022</a:t>
            </a:r>
            <a:r>
              <a:rPr lang="fr-FR" b="1" u="sng" dirty="0">
                <a:solidFill>
                  <a:srgbClr val="FF0000"/>
                </a:solidFill>
                <a:effectLst>
                  <a:outerShdw blurRad="38100" dist="38100" dir="2700000" algn="tl">
                    <a:srgbClr val="000000">
                      <a:alpha val="43137"/>
                    </a:srgbClr>
                  </a:outerShdw>
                </a:effectLst>
              </a:rPr>
              <a:t/>
            </a:r>
            <a:br>
              <a:rPr lang="fr-FR" b="1" u="sng" dirty="0">
                <a:solidFill>
                  <a:srgbClr val="FF0000"/>
                </a:solidFill>
                <a:effectLst>
                  <a:outerShdw blurRad="38100" dist="38100" dir="2700000" algn="tl">
                    <a:srgbClr val="000000">
                      <a:alpha val="43137"/>
                    </a:srgbClr>
                  </a:outerShdw>
                </a:effectLst>
              </a:rPr>
            </a:br>
            <a:endParaRPr lang="fr-FR" dirty="0"/>
          </a:p>
        </p:txBody>
      </p:sp>
    </p:spTree>
    <p:extLst>
      <p:ext uri="{BB962C8B-B14F-4D97-AF65-F5344CB8AC3E}">
        <p14:creationId xmlns:p14="http://schemas.microsoft.com/office/powerpoint/2010/main" val="19304262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971600" y="908720"/>
            <a:ext cx="7772400" cy="1470025"/>
          </a:xfrm>
        </p:spPr>
        <p:txBody>
          <a:bodyPr>
            <a:normAutofit/>
          </a:bodyPr>
          <a:lstStyle/>
          <a:p>
            <a:r>
              <a:rPr lang="fr-FR" sz="3600" dirty="0" smtClean="0">
                <a:solidFill>
                  <a:srgbClr val="C00000"/>
                </a:solidFill>
              </a:rPr>
              <a:t>Intervention de Mr Philippe TAUVEL</a:t>
            </a:r>
            <a:endParaRPr lang="fr-FR" sz="3600" dirty="0">
              <a:solidFill>
                <a:srgbClr val="C00000"/>
              </a:solidFill>
            </a:endParaRPr>
          </a:p>
        </p:txBody>
      </p:sp>
      <p:sp>
        <p:nvSpPr>
          <p:cNvPr id="3" name="Sous-titre 2"/>
          <p:cNvSpPr>
            <a:spLocks noGrp="1"/>
          </p:cNvSpPr>
          <p:nvPr>
            <p:ph type="subTitle" idx="1"/>
          </p:nvPr>
        </p:nvSpPr>
        <p:spPr>
          <a:xfrm>
            <a:off x="1420911" y="2636912"/>
            <a:ext cx="6400800" cy="1752600"/>
          </a:xfrm>
        </p:spPr>
        <p:txBody>
          <a:bodyPr>
            <a:normAutofit/>
          </a:bodyPr>
          <a:lstStyle/>
          <a:p>
            <a:r>
              <a:rPr lang="fr-FR" u="sng" dirty="0" smtClean="0">
                <a:solidFill>
                  <a:schemeClr val="tx1"/>
                </a:solidFill>
              </a:rPr>
              <a:t>Un nouvel environnement  </a:t>
            </a:r>
          </a:p>
          <a:p>
            <a:endParaRPr lang="fr-FR" u="sng" dirty="0">
              <a:solidFill>
                <a:schemeClr val="tx1"/>
              </a:solidFill>
            </a:endParaRPr>
          </a:p>
          <a:p>
            <a:r>
              <a:rPr lang="fr-FR" u="sng" dirty="0" smtClean="0">
                <a:solidFill>
                  <a:schemeClr val="tx1"/>
                </a:solidFill>
              </a:rPr>
              <a:t>Une offre évolutive et adaptée</a:t>
            </a:r>
            <a:endParaRPr lang="fr-FR" u="sng" dirty="0">
              <a:solidFill>
                <a:schemeClr val="tx1"/>
              </a:solidFill>
            </a:endParaRPr>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8224" y="4976019"/>
            <a:ext cx="2466975" cy="1847850"/>
          </a:xfrm>
          <a:prstGeom prst="rect">
            <a:avLst/>
          </a:prstGeom>
        </p:spPr>
      </p:pic>
    </p:spTree>
    <p:extLst>
      <p:ext uri="{BB962C8B-B14F-4D97-AF65-F5344CB8AC3E}">
        <p14:creationId xmlns:p14="http://schemas.microsoft.com/office/powerpoint/2010/main" val="3172088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63" y="974725"/>
            <a:ext cx="9058275" cy="491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24601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0"/>
            <a:ext cx="8712968"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3472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27" y="764704"/>
            <a:ext cx="9048750" cy="5760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66761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C288BDBC-9BE5-674C-991F-C9B4AA3342BD}"/>
              </a:ext>
            </a:extLst>
          </p:cNvPr>
          <p:cNvSpPr>
            <a:spLocks noGrp="1"/>
          </p:cNvSpPr>
          <p:nvPr>
            <p:ph type="subTitle" idx="1"/>
          </p:nvPr>
        </p:nvSpPr>
        <p:spPr/>
        <p:txBody>
          <a:bodyPr/>
          <a:lstStyle/>
          <a:p>
            <a:r>
              <a:rPr lang="fr-FR" b="1" dirty="0"/>
              <a:t>Novembre 2022</a:t>
            </a:r>
          </a:p>
        </p:txBody>
      </p:sp>
      <p:sp>
        <p:nvSpPr>
          <p:cNvPr id="12" name="Espace réservé du texte 11">
            <a:extLst>
              <a:ext uri="{FF2B5EF4-FFF2-40B4-BE49-F238E27FC236}">
                <a16:creationId xmlns:a16="http://schemas.microsoft.com/office/drawing/2014/main" id="{7F4DD125-DB71-BF46-A0AB-6A82B33A753E}"/>
              </a:ext>
            </a:extLst>
          </p:cNvPr>
          <p:cNvSpPr>
            <a:spLocks noGrp="1"/>
          </p:cNvSpPr>
          <p:nvPr>
            <p:ph type="body" sz="quarter" idx="13"/>
          </p:nvPr>
        </p:nvSpPr>
        <p:spPr/>
        <p:txBody>
          <a:bodyPr/>
          <a:lstStyle/>
          <a:p>
            <a:r>
              <a:rPr lang="fr-FR" dirty="0"/>
              <a:t>Thomas Roche</a:t>
            </a:r>
          </a:p>
        </p:txBody>
      </p:sp>
      <p:sp>
        <p:nvSpPr>
          <p:cNvPr id="13" name="Espace réservé du texte 12">
            <a:extLst>
              <a:ext uri="{FF2B5EF4-FFF2-40B4-BE49-F238E27FC236}">
                <a16:creationId xmlns:a16="http://schemas.microsoft.com/office/drawing/2014/main" id="{DCA64105-EAAD-9643-9F80-DACCD245F3EB}"/>
              </a:ext>
            </a:extLst>
          </p:cNvPr>
          <p:cNvSpPr>
            <a:spLocks noGrp="1"/>
          </p:cNvSpPr>
          <p:nvPr>
            <p:ph type="body" sz="quarter" idx="14"/>
          </p:nvPr>
        </p:nvSpPr>
        <p:spPr/>
        <p:txBody>
          <a:bodyPr/>
          <a:lstStyle/>
          <a:p>
            <a:r>
              <a:rPr lang="fr-FR" dirty="0"/>
              <a:t>Responsable commercial – Distribution</a:t>
            </a:r>
          </a:p>
        </p:txBody>
      </p:sp>
      <p:sp>
        <p:nvSpPr>
          <p:cNvPr id="5" name="Espace réservé de la date 4">
            <a:extLst>
              <a:ext uri="{FF2B5EF4-FFF2-40B4-BE49-F238E27FC236}">
                <a16:creationId xmlns:a16="http://schemas.microsoft.com/office/drawing/2014/main" id="{E71182C2-4FAB-FA47-BC62-6D0A44C64432}"/>
              </a:ext>
            </a:extLst>
          </p:cNvPr>
          <p:cNvSpPr>
            <a:spLocks noGrp="1"/>
          </p:cNvSpPr>
          <p:nvPr>
            <p:ph type="dt" sz="half" idx="10"/>
          </p:nvPr>
        </p:nvSpPr>
        <p:spPr/>
        <p:txBody>
          <a:bodyPr/>
          <a:lstStyle/>
          <a:p>
            <a:pPr defTabSz="914400" fontAlgn="auto">
              <a:spcBef>
                <a:spcPts val="0"/>
              </a:spcBef>
              <a:spcAft>
                <a:spcPts val="0"/>
              </a:spcAft>
              <a:defRPr/>
            </a:pPr>
            <a:r>
              <a:rPr lang="fr-FR" b="0" dirty="0">
                <a:solidFill>
                  <a:srgbClr val="20242B"/>
                </a:solidFill>
                <a:latin typeface="Arial"/>
                <a:cs typeface="+mn-cs"/>
              </a:rPr>
              <a:t>2022</a:t>
            </a:r>
          </a:p>
        </p:txBody>
      </p:sp>
      <p:sp>
        <p:nvSpPr>
          <p:cNvPr id="6" name="Espace réservé du pied de page 5">
            <a:extLst>
              <a:ext uri="{FF2B5EF4-FFF2-40B4-BE49-F238E27FC236}">
                <a16:creationId xmlns:a16="http://schemas.microsoft.com/office/drawing/2014/main" id="{133AE173-F841-7746-9C0F-157F68F1B01E}"/>
              </a:ext>
            </a:extLst>
          </p:cNvPr>
          <p:cNvSpPr>
            <a:spLocks noGrp="1"/>
          </p:cNvSpPr>
          <p:nvPr>
            <p:ph type="ftr" sz="quarter" idx="11"/>
          </p:nvPr>
        </p:nvSpPr>
        <p:spPr/>
        <p:txBody>
          <a:bodyPr/>
          <a:lstStyle/>
          <a:p>
            <a:pPr defTabSz="914400" fontAlgn="auto">
              <a:spcBef>
                <a:spcPts val="0"/>
              </a:spcBef>
              <a:spcAft>
                <a:spcPts val="0"/>
              </a:spcAft>
              <a:defRPr/>
            </a:pPr>
            <a:endParaRPr lang="fr-FR" b="0">
              <a:latin typeface="Arial"/>
              <a:cs typeface="+mn-cs"/>
            </a:endParaRPr>
          </a:p>
        </p:txBody>
      </p:sp>
      <p:sp>
        <p:nvSpPr>
          <p:cNvPr id="7" name="Espace réservé du numéro de diapositive 6">
            <a:extLst>
              <a:ext uri="{FF2B5EF4-FFF2-40B4-BE49-F238E27FC236}">
                <a16:creationId xmlns:a16="http://schemas.microsoft.com/office/drawing/2014/main" id="{FF271A8C-989C-6F47-A893-64C18AEDD13C}"/>
              </a:ext>
            </a:extLst>
          </p:cNvPr>
          <p:cNvSpPr>
            <a:spLocks noGrp="1"/>
          </p:cNvSpPr>
          <p:nvPr>
            <p:ph type="sldNum" sz="quarter" idx="12"/>
          </p:nvPr>
        </p:nvSpPr>
        <p:spPr/>
        <p:txBody>
          <a:bodyPr/>
          <a:lstStyle/>
          <a:p>
            <a:pPr defTabSz="914400" fontAlgn="auto">
              <a:spcBef>
                <a:spcPts val="0"/>
              </a:spcBef>
              <a:spcAft>
                <a:spcPts val="0"/>
              </a:spcAft>
              <a:defRPr/>
            </a:pPr>
            <a:fld id="{793E3E21-9F49-4D85-BC8F-2C5B8DFBB14E}" type="slidenum">
              <a:rPr lang="fr-FR" b="0" smtClean="0">
                <a:latin typeface="Arial"/>
                <a:cs typeface="+mn-cs"/>
              </a:rPr>
              <a:pPr defTabSz="914400" fontAlgn="auto">
                <a:spcBef>
                  <a:spcPts val="0"/>
                </a:spcBef>
                <a:spcAft>
                  <a:spcPts val="0"/>
                </a:spcAft>
                <a:defRPr/>
              </a:pPr>
              <a:t>14</a:t>
            </a:fld>
            <a:endParaRPr lang="fr-FR" b="0">
              <a:latin typeface="Arial"/>
              <a:cs typeface="+mn-cs"/>
            </a:endParaRPr>
          </a:p>
        </p:txBody>
      </p:sp>
      <p:sp>
        <p:nvSpPr>
          <p:cNvPr id="14" name="text" descr="{&quot;templafy&quot;:{&quot;id&quot;:&quot;94b499ad-2121-424a-9cc5-efaa9d1d4d90&quot;}}" title="Form.PresentationTitle">
            <a:extLst>
              <a:ext uri="{FF2B5EF4-FFF2-40B4-BE49-F238E27FC236}">
                <a16:creationId xmlns:a16="http://schemas.microsoft.com/office/drawing/2014/main" id="{4A2A3DAB-8399-7A4B-AB29-C32AB7ACEE97}"/>
              </a:ext>
            </a:extLst>
          </p:cNvPr>
          <p:cNvSpPr txBox="1"/>
          <p:nvPr/>
        </p:nvSpPr>
        <p:spPr>
          <a:xfrm>
            <a:off x="957600" y="2698134"/>
            <a:ext cx="4105631" cy="323165"/>
          </a:xfrm>
          <a:prstGeom prst="rect">
            <a:avLst/>
          </a:prstGeom>
          <a:noFill/>
        </p:spPr>
        <p:txBody>
          <a:bodyPr wrap="square" lIns="0" tIns="0" rIns="0" bIns="0" rtlCol="0" anchor="b">
            <a:spAutoFit/>
          </a:bodyPr>
          <a:lstStyle/>
          <a:p>
            <a:pPr>
              <a:defRPr/>
            </a:pPr>
            <a:r>
              <a:rPr lang="fr-FR" sz="2100" b="1" dirty="0">
                <a:solidFill>
                  <a:srgbClr val="FFFFFF"/>
                </a:solidFill>
                <a:ea typeface="ＭＳ Ｐゴシック" charset="0"/>
              </a:rPr>
              <a:t>Fidelity International</a:t>
            </a:r>
          </a:p>
        </p:txBody>
      </p:sp>
    </p:spTree>
    <p:extLst>
      <p:ext uri="{BB962C8B-B14F-4D97-AF65-F5344CB8AC3E}">
        <p14:creationId xmlns:p14="http://schemas.microsoft.com/office/powerpoint/2010/main" val="14205117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9F956E-B5E1-41D1-B10F-BB51751AB032}"/>
              </a:ext>
            </a:extLst>
          </p:cNvPr>
          <p:cNvSpPr>
            <a:spLocks noGrp="1"/>
          </p:cNvSpPr>
          <p:nvPr>
            <p:ph type="body" sz="quarter" idx="13"/>
          </p:nvPr>
        </p:nvSpPr>
        <p:spPr>
          <a:xfrm>
            <a:off x="464646" y="821971"/>
            <a:ext cx="8207867" cy="5337359"/>
          </a:xfrm>
        </p:spPr>
        <p:txBody>
          <a:bodyPr wrap="square" lIns="0" tIns="0" rIns="0" bIns="0" anchor="t">
            <a:spAutoFit/>
          </a:bodyPr>
          <a:lstStyle/>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attention des investisseurs est attirée sur le fait que ce fonds présente, au regard des attentes de l’Autorité des Marchés Financiers, une communication disproportionnée sur la prise en compte des critères extra-financiers dans sa gestion. </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e fonds met en avant des caractéristiques environnementales et/ou sociales. La priorité accordée par le gérant aux titres de sociétés qui jouissent d’une solide réputation en matière de développement durable peut impacter la performance du fonds de manière favorable ou défavorable par rapport à la performance de produits identiques sans ce même parti pris. Les caractéristiques durables d’un titre peuvent changer avec le temps. </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e fonds fait partie de la famille des fonds durables de Fidelity - un minimum de 70 % des actifs nets du fonds sont investis dans des titres réputés maintenir des caractéristiques durables et des critères ESG supplémentaires s'appliquent, comme décrit plus en détail dans le prospectus. </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e fonds n’offre aucune garantie ou protection relativement à la performance, au capital, à la stabilité de l’actif net ou de la volatilité.</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a valeur des investissements et des revenus qui en découlent peut évoluer aussi bien à la hausse qu’à la baisse et les investisseurs sont susceptibles de ne pas récupérer l’intégralité de leur investissement initial. </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Aucune référence à des titres spécifiques ne doit être considérée comme une recommandation d’achat ou de vente des titres mentionnés. Ces derniers sont cités uniquement à titre indicatif.</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Ce fonds investit dans des marchés étrangers et la valeur des investissements peut être affectée par des évolutions des taux de change.</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es investissements effectués sur les marchés émergents peuvent être plus volatils que ceux des marchés plus développés.</a:t>
            </a:r>
          </a:p>
          <a:p>
            <a:pPr marL="228600" indent="-228600">
              <a:spcBef>
                <a:spcPts val="300"/>
              </a:spcBef>
              <a:spcAft>
                <a:spcPts val="1000"/>
              </a:spcAft>
              <a:buClr>
                <a:srgbClr val="0A4D80"/>
              </a:buClr>
              <a:buFont typeface="Wingdings" panose="05000000000000000000" pitchFamily="2" charset="2"/>
              <a:buChar char="§"/>
            </a:pPr>
            <a:r>
              <a:rPr lang="fr-FR" dirty="0">
                <a:latin typeface="Arial" panose="020B0604020202020204" pitchFamily="34" charset="0"/>
              </a:rPr>
              <a:t>Nous attirons l’attention des investisseurs sur le fait que les opinions exprimées dans ce document peuvent ne plus être d’actualité et qu’il se peut que Fidelity ait déjà modifié ses investissements en conséquence.</a:t>
            </a:r>
          </a:p>
          <a:p>
            <a:pPr marL="179997" indent="-179997" algn="just">
              <a:spcBef>
                <a:spcPts val="300"/>
              </a:spcBef>
              <a:buClr>
                <a:srgbClr val="0A4D80"/>
              </a:buClr>
              <a:buFont typeface="Wingdings" panose="05000000000000000000" pitchFamily="2" charset="2"/>
              <a:buChar char="§"/>
            </a:pPr>
            <a:r>
              <a:rPr lang="fr-FR" dirty="0">
                <a:latin typeface="Arial" panose="020B0604020202020204" pitchFamily="34" charset="0"/>
              </a:rPr>
              <a:t>Les performances passées ne préjugent pas des performances futures.</a:t>
            </a:r>
          </a:p>
        </p:txBody>
      </p:sp>
      <p:sp>
        <p:nvSpPr>
          <p:cNvPr id="9" name="Title 8"/>
          <p:cNvSpPr>
            <a:spLocks noGrp="1"/>
          </p:cNvSpPr>
          <p:nvPr>
            <p:ph type="title"/>
          </p:nvPr>
        </p:nvSpPr>
        <p:spPr/>
        <p:txBody>
          <a:bodyPr/>
          <a:lstStyle/>
          <a:p>
            <a:r>
              <a:rPr lang="fr-FR" dirty="0"/>
              <a:t>Informations sur les risques</a:t>
            </a:r>
          </a:p>
        </p:txBody>
      </p:sp>
    </p:spTree>
    <p:extLst>
      <p:ext uri="{BB962C8B-B14F-4D97-AF65-F5344CB8AC3E}">
        <p14:creationId xmlns:p14="http://schemas.microsoft.com/office/powerpoint/2010/main" val="11079573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r-FR" dirty="0"/>
              <a:t>Fidelity International</a:t>
            </a:r>
          </a:p>
        </p:txBody>
      </p:sp>
    </p:spTree>
    <p:extLst>
      <p:ext uri="{BB962C8B-B14F-4D97-AF65-F5344CB8AC3E}">
        <p14:creationId xmlns:p14="http://schemas.microsoft.com/office/powerpoint/2010/main" val="37102100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05DFB9B5-ED9A-8611-8895-F51B5D2F8A4F}"/>
              </a:ext>
            </a:extLst>
          </p:cNvPr>
          <p:cNvGrpSpPr/>
          <p:nvPr/>
        </p:nvGrpSpPr>
        <p:grpSpPr>
          <a:xfrm>
            <a:off x="0" y="0"/>
            <a:ext cx="9144001" cy="6858000"/>
            <a:chOff x="0" y="0"/>
            <a:chExt cx="9144001" cy="6858000"/>
          </a:xfrm>
        </p:grpSpPr>
        <p:pic>
          <p:nvPicPr>
            <p:cNvPr id="73" name="Image 72">
              <a:extLst>
                <a:ext uri="{FF2B5EF4-FFF2-40B4-BE49-F238E27FC236}">
                  <a16:creationId xmlns:a16="http://schemas.microsoft.com/office/drawing/2014/main" id="{69245D96-4DC2-02A6-6D9D-20620890E4D1}"/>
                </a:ext>
              </a:extLst>
            </p:cNvPr>
            <p:cNvPicPr>
              <a:picLocks noChangeAspect="1"/>
            </p:cNvPicPr>
            <p:nvPr/>
          </p:nvPicPr>
          <p:blipFill rotWithShape="1">
            <a:blip r:embed="rId5" cstate="screen">
              <a:alphaModFix amt="42000"/>
              <a:extLst>
                <a:ext uri="{28A0092B-C50C-407E-A947-70E740481C1C}">
                  <a14:useLocalDpi xmlns:a14="http://schemas.microsoft.com/office/drawing/2010/main"/>
                </a:ext>
              </a:extLst>
            </a:blip>
            <a:srcRect/>
            <a:stretch/>
          </p:blipFill>
          <p:spPr>
            <a:xfrm>
              <a:off x="1" y="0"/>
              <a:ext cx="9144000" cy="6858000"/>
            </a:xfrm>
            <a:prstGeom prst="rect">
              <a:avLst/>
            </a:prstGeom>
          </p:spPr>
        </p:pic>
        <p:sp>
          <p:nvSpPr>
            <p:cNvPr id="75" name="Rectangle 74">
              <a:extLst>
                <a:ext uri="{FF2B5EF4-FFF2-40B4-BE49-F238E27FC236}">
                  <a16:creationId xmlns:a16="http://schemas.microsoft.com/office/drawing/2014/main" id="{12032A13-29FE-90BE-D757-D15CCA8ACB9E}"/>
                </a:ext>
              </a:extLst>
            </p:cNvPr>
            <p:cNvSpPr/>
            <p:nvPr/>
          </p:nvSpPr>
          <p:spPr>
            <a:xfrm>
              <a:off x="0" y="0"/>
              <a:ext cx="9143999" cy="6858000"/>
            </a:xfrm>
            <a:prstGeom prst="rect">
              <a:avLst/>
            </a:prstGeom>
            <a:gradFill>
              <a:gsLst>
                <a:gs pos="34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grpSp>
      <p:sp>
        <p:nvSpPr>
          <p:cNvPr id="2" name="Title 1">
            <a:extLst>
              <a:ext uri="{FF2B5EF4-FFF2-40B4-BE49-F238E27FC236}">
                <a16:creationId xmlns:a16="http://schemas.microsoft.com/office/drawing/2014/main" id="{0A2C448B-7C17-446D-A256-743CEEA465FC}"/>
              </a:ext>
            </a:extLst>
          </p:cNvPr>
          <p:cNvSpPr>
            <a:spLocks noGrp="1"/>
          </p:cNvSpPr>
          <p:nvPr>
            <p:ph type="title"/>
          </p:nvPr>
        </p:nvSpPr>
        <p:spPr/>
        <p:txBody>
          <a:bodyPr/>
          <a:lstStyle/>
          <a:p>
            <a:r>
              <a:rPr lang="fr-FR" dirty="0" err="1">
                <a:solidFill>
                  <a:srgbClr val="004263"/>
                </a:solidFill>
              </a:rPr>
              <a:t>Fidelity</a:t>
            </a:r>
            <a:r>
              <a:rPr lang="fr-FR" dirty="0">
                <a:solidFill>
                  <a:srgbClr val="004263"/>
                </a:solidFill>
              </a:rPr>
              <a:t> International </a:t>
            </a:r>
            <a:r>
              <a:rPr lang="fr-FR" dirty="0">
                <a:solidFill>
                  <a:schemeClr val="bg1">
                    <a:lumMod val="75000"/>
                  </a:schemeClr>
                </a:solidFill>
              </a:rPr>
              <a:t>et</a:t>
            </a:r>
            <a:r>
              <a:rPr lang="fr-FR" dirty="0"/>
              <a:t> </a:t>
            </a:r>
            <a:r>
              <a:rPr lang="fr-FR" dirty="0" err="1">
                <a:solidFill>
                  <a:srgbClr val="418740"/>
                </a:solidFill>
              </a:rPr>
              <a:t>Fidelity</a:t>
            </a:r>
            <a:r>
              <a:rPr lang="fr-FR" dirty="0">
                <a:solidFill>
                  <a:srgbClr val="418740"/>
                </a:solidFill>
              </a:rPr>
              <a:t> Investments </a:t>
            </a:r>
          </a:p>
        </p:txBody>
      </p:sp>
      <p:sp>
        <p:nvSpPr>
          <p:cNvPr id="5" name="Text Placeholder 4">
            <a:extLst>
              <a:ext uri="{FF2B5EF4-FFF2-40B4-BE49-F238E27FC236}">
                <a16:creationId xmlns:a16="http://schemas.microsoft.com/office/drawing/2014/main" id="{C6EC02C1-DBD6-46B9-B31C-AF49FFD22789}"/>
              </a:ext>
            </a:extLst>
          </p:cNvPr>
          <p:cNvSpPr>
            <a:spLocks noGrp="1"/>
          </p:cNvSpPr>
          <p:nvPr>
            <p:ph type="body" sz="quarter" idx="17"/>
          </p:nvPr>
        </p:nvSpPr>
        <p:spPr/>
        <p:txBody>
          <a:bodyPr/>
          <a:lstStyle/>
          <a:p>
            <a:r>
              <a:rPr lang="fr-FR" dirty="0"/>
              <a:t/>
            </a:r>
            <a:br>
              <a:rPr lang="fr-FR" dirty="0"/>
            </a:br>
            <a:r>
              <a:rPr lang="fr-FR" dirty="0"/>
              <a:t>Source: Fidelity International </a:t>
            </a:r>
            <a:r>
              <a:rPr lang="fr-FR" dirty="0">
                <a:hlinkClick r:id="rId6">
                  <a:extLst>
                    <a:ext uri="{A12FA001-AC4F-418D-AE19-62706E023703}">
                      <ahyp:hlinkClr xmlns="" xmlns:ahyp="http://schemas.microsoft.com/office/drawing/2018/hyperlinkcolor" val="tx"/>
                    </a:ext>
                  </a:extLst>
                </a:hlinkClick>
              </a:rPr>
              <a:t>www.fidelity.fr</a:t>
            </a:r>
            <a:r>
              <a:rPr lang="fr-FR" dirty="0"/>
              <a:t>. Chiffres non audités au 30.06.2022</a:t>
            </a:r>
          </a:p>
          <a:p>
            <a:r>
              <a:rPr lang="fr-FR" dirty="0"/>
              <a:t>Source: Fidelity Investments </a:t>
            </a:r>
            <a:r>
              <a:rPr lang="fr-FR" dirty="0">
                <a:hlinkClick r:id="rId7">
                  <a:extLst>
                    <a:ext uri="{A12FA001-AC4F-418D-AE19-62706E023703}">
                      <ahyp:hlinkClr xmlns="" xmlns:ahyp="http://schemas.microsoft.com/office/drawing/2018/hyperlinkcolor" val="tx"/>
                    </a:ext>
                  </a:extLst>
                </a:hlinkClick>
              </a:rPr>
              <a:t>www.fidelity.com</a:t>
            </a:r>
            <a:r>
              <a:rPr lang="fr-FR" dirty="0"/>
              <a:t>. Chiffres non audités au 31.03.2022</a:t>
            </a:r>
          </a:p>
        </p:txBody>
      </p:sp>
      <p:pic>
        <p:nvPicPr>
          <p:cNvPr id="79" name="Picture 9">
            <a:extLst>
              <a:ext uri="{FF2B5EF4-FFF2-40B4-BE49-F238E27FC236}">
                <a16:creationId xmlns:a16="http://schemas.microsoft.com/office/drawing/2014/main" id="{D8C7A19A-05C2-D307-17F6-AEF77DCB615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3" name="Rectangle 2">
            <a:extLst>
              <a:ext uri="{FF2B5EF4-FFF2-40B4-BE49-F238E27FC236}">
                <a16:creationId xmlns:a16="http://schemas.microsoft.com/office/drawing/2014/main" id="{D574D6DF-3A8C-DDA6-F9D5-8BDA199B9E53}"/>
              </a:ext>
            </a:extLst>
          </p:cNvPr>
          <p:cNvSpPr/>
          <p:nvPr/>
        </p:nvSpPr>
        <p:spPr>
          <a:xfrm>
            <a:off x="468312" y="1717704"/>
            <a:ext cx="4032000" cy="1525772"/>
          </a:xfrm>
          <a:prstGeom prst="rect">
            <a:avLst/>
          </a:prstGeom>
          <a:solidFill>
            <a:srgbClr val="418740">
              <a:alpha val="83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sp>
        <p:nvSpPr>
          <p:cNvPr id="63" name="Rectangle 62">
            <a:extLst>
              <a:ext uri="{FF2B5EF4-FFF2-40B4-BE49-F238E27FC236}">
                <a16:creationId xmlns:a16="http://schemas.microsoft.com/office/drawing/2014/main" id="{EB74E251-0B1F-E292-45C2-191F297B3995}"/>
              </a:ext>
            </a:extLst>
          </p:cNvPr>
          <p:cNvSpPr>
            <a:spLocks noChangeAspect="1"/>
          </p:cNvSpPr>
          <p:nvPr/>
        </p:nvSpPr>
        <p:spPr>
          <a:xfrm>
            <a:off x="2556311" y="3342772"/>
            <a:ext cx="1944000" cy="1944000"/>
          </a:xfrm>
          <a:prstGeom prst="rect">
            <a:avLst/>
          </a:prstGeom>
          <a:solidFill>
            <a:schemeClr val="bg1"/>
          </a:solidFill>
          <a:ln w="6350">
            <a:solidFill>
              <a:schemeClr val="bg1"/>
            </a:solidFill>
          </a:ln>
          <a:effectLst>
            <a:outerShdw blurRad="76200" dist="1016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sp>
        <p:nvSpPr>
          <p:cNvPr id="64" name="Rectangle 63">
            <a:extLst>
              <a:ext uri="{FF2B5EF4-FFF2-40B4-BE49-F238E27FC236}">
                <a16:creationId xmlns:a16="http://schemas.microsoft.com/office/drawing/2014/main" id="{59389A8D-2AC2-C661-C9F6-F10CEF19E403}"/>
              </a:ext>
            </a:extLst>
          </p:cNvPr>
          <p:cNvSpPr/>
          <p:nvPr/>
        </p:nvSpPr>
        <p:spPr>
          <a:xfrm>
            <a:off x="4642428" y="1717704"/>
            <a:ext cx="4032000" cy="1525772"/>
          </a:xfrm>
          <a:prstGeom prst="rect">
            <a:avLst/>
          </a:prstGeom>
          <a:solidFill>
            <a:srgbClr val="004263">
              <a:alpha val="83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sp>
        <p:nvSpPr>
          <p:cNvPr id="70" name="Rectangle 69">
            <a:extLst>
              <a:ext uri="{FF2B5EF4-FFF2-40B4-BE49-F238E27FC236}">
                <a16:creationId xmlns:a16="http://schemas.microsoft.com/office/drawing/2014/main" id="{7B286BD0-1CCF-C5F0-8A76-F81B9105B427}"/>
              </a:ext>
            </a:extLst>
          </p:cNvPr>
          <p:cNvSpPr>
            <a:spLocks noChangeAspect="1"/>
          </p:cNvSpPr>
          <p:nvPr/>
        </p:nvSpPr>
        <p:spPr>
          <a:xfrm>
            <a:off x="6730428" y="3342772"/>
            <a:ext cx="1944000" cy="1944000"/>
          </a:xfrm>
          <a:prstGeom prst="rect">
            <a:avLst/>
          </a:prstGeom>
          <a:solidFill>
            <a:schemeClr val="bg1"/>
          </a:solidFill>
          <a:ln w="6350">
            <a:solidFill>
              <a:schemeClr val="bg1"/>
            </a:solidFill>
          </a:ln>
          <a:effectLst>
            <a:outerShdw blurRad="76200" dist="1016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sp>
        <p:nvSpPr>
          <p:cNvPr id="96" name="ZoneTexte 95">
            <a:extLst>
              <a:ext uri="{FF2B5EF4-FFF2-40B4-BE49-F238E27FC236}">
                <a16:creationId xmlns:a16="http://schemas.microsoft.com/office/drawing/2014/main" id="{B28DCFFA-691C-1DE5-DE76-5F67DD4F3A2E}"/>
              </a:ext>
            </a:extLst>
          </p:cNvPr>
          <p:cNvSpPr txBox="1"/>
          <p:nvPr/>
        </p:nvSpPr>
        <p:spPr>
          <a:xfrm>
            <a:off x="594092" y="2522819"/>
            <a:ext cx="3737585" cy="630942"/>
          </a:xfrm>
          <a:prstGeom prst="rect">
            <a:avLst/>
          </a:prstGeom>
          <a:noFill/>
        </p:spPr>
        <p:txBody>
          <a:bodyPr wrap="square" lIns="0" tIns="0" rIns="0" bIns="0" rtlCol="0">
            <a:spAutoFit/>
          </a:bodyPr>
          <a:lstStyle/>
          <a:p>
            <a:pPr defTabSz="912813" fontAlgn="base">
              <a:spcBef>
                <a:spcPct val="0"/>
              </a:spcBef>
              <a:spcAft>
                <a:spcPts val="600"/>
              </a:spcAft>
            </a:pPr>
            <a:r>
              <a:rPr lang="fr-FR" sz="1200" b="1" dirty="0">
                <a:solidFill>
                  <a:srgbClr val="418740"/>
                </a:solidFill>
                <a:latin typeface="Century Gothic"/>
                <a:ea typeface="ＭＳ Ｐゴシック" charset="0"/>
              </a:rPr>
              <a:t>FMR LLC fondée depuis 1946 par la famille fondatrice, l’équipe dirigeante et autres</a:t>
            </a:r>
          </a:p>
          <a:p>
            <a:pPr defTabSz="912813" fontAlgn="base">
              <a:spcBef>
                <a:spcPct val="0"/>
              </a:spcBef>
              <a:spcAft>
                <a:spcPts val="600"/>
              </a:spcAft>
            </a:pPr>
            <a:r>
              <a:rPr lang="fr-FR" sz="1200" b="1" dirty="0">
                <a:solidFill>
                  <a:srgbClr val="418740"/>
                </a:solidFill>
                <a:ea typeface="ＭＳ Ｐゴシック" charset="0"/>
              </a:rPr>
              <a:t>Entité opérant aux Etats-Unis</a:t>
            </a:r>
            <a:endParaRPr lang="fr-FR" sz="1200" b="1" dirty="0">
              <a:solidFill>
                <a:srgbClr val="418740"/>
              </a:solidFill>
              <a:latin typeface="Century Gothic"/>
              <a:ea typeface="ＭＳ Ｐゴシック" charset="0"/>
            </a:endParaRPr>
          </a:p>
        </p:txBody>
      </p:sp>
      <p:pic>
        <p:nvPicPr>
          <p:cNvPr id="53" name="Picture 2">
            <a:extLst>
              <a:ext uri="{FF2B5EF4-FFF2-40B4-BE49-F238E27FC236}">
                <a16:creationId xmlns:a16="http://schemas.microsoft.com/office/drawing/2014/main" id="{1FDE2CAD-9B51-9866-7841-0A038EE839F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97540" y="1882517"/>
            <a:ext cx="2045846" cy="443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47">
            <a:extLst>
              <a:ext uri="{FF2B5EF4-FFF2-40B4-BE49-F238E27FC236}">
                <a16:creationId xmlns:a16="http://schemas.microsoft.com/office/drawing/2014/main" id="{5F20CD05-2A04-AC72-F500-0DC1B748297C}"/>
              </a:ext>
            </a:extLst>
          </p:cNvPr>
          <p:cNvSpPr>
            <a:spLocks/>
          </p:cNvSpPr>
          <p:nvPr/>
        </p:nvSpPr>
        <p:spPr>
          <a:xfrm>
            <a:off x="552841" y="1280044"/>
            <a:ext cx="1017072" cy="437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813" fontAlgn="base">
              <a:spcBef>
                <a:spcPct val="0"/>
              </a:spcBef>
              <a:spcAft>
                <a:spcPct val="0"/>
              </a:spcAft>
            </a:pPr>
            <a:r>
              <a:rPr lang="fr-FR" sz="3600" b="1" dirty="0">
                <a:solidFill>
                  <a:srgbClr val="418740"/>
                </a:solidFill>
              </a:rPr>
              <a:t>1946</a:t>
            </a:r>
          </a:p>
        </p:txBody>
      </p:sp>
      <p:sp>
        <p:nvSpPr>
          <p:cNvPr id="13" name="Rectangle : coins arrondis 12">
            <a:extLst>
              <a:ext uri="{FF2B5EF4-FFF2-40B4-BE49-F238E27FC236}">
                <a16:creationId xmlns:a16="http://schemas.microsoft.com/office/drawing/2014/main" id="{1C7B6484-B3A6-03D4-48AC-46CE72DD517A}"/>
              </a:ext>
            </a:extLst>
          </p:cNvPr>
          <p:cNvSpPr/>
          <p:nvPr/>
        </p:nvSpPr>
        <p:spPr>
          <a:xfrm>
            <a:off x="467999" y="1633682"/>
            <a:ext cx="4032000" cy="93189"/>
          </a:xfrm>
          <a:prstGeom prst="roundRect">
            <a:avLst/>
          </a:prstGeom>
          <a:solidFill>
            <a:srgbClr val="41874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pic>
        <p:nvPicPr>
          <p:cNvPr id="52" name="Picture 9">
            <a:extLst>
              <a:ext uri="{FF2B5EF4-FFF2-40B4-BE49-F238E27FC236}">
                <a16:creationId xmlns:a16="http://schemas.microsoft.com/office/drawing/2014/main" id="{3B90AA96-417F-B74A-4103-203EAE5B51D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93571" y="1882517"/>
            <a:ext cx="1709505" cy="540123"/>
          </a:xfrm>
          <a:prstGeom prst="rect">
            <a:avLst/>
          </a:prstGeom>
          <a:noFill/>
        </p:spPr>
      </p:pic>
      <p:sp>
        <p:nvSpPr>
          <p:cNvPr id="68" name="Rectangle : coins arrondis 67">
            <a:extLst>
              <a:ext uri="{FF2B5EF4-FFF2-40B4-BE49-F238E27FC236}">
                <a16:creationId xmlns:a16="http://schemas.microsoft.com/office/drawing/2014/main" id="{C872C9E5-4263-610B-EAFC-7A83F0AB85B3}"/>
              </a:ext>
            </a:extLst>
          </p:cNvPr>
          <p:cNvSpPr/>
          <p:nvPr/>
        </p:nvSpPr>
        <p:spPr>
          <a:xfrm>
            <a:off x="4642427" y="1633682"/>
            <a:ext cx="4032000" cy="93189"/>
          </a:xfrm>
          <a:prstGeom prst="roundRect">
            <a:avLst/>
          </a:prstGeom>
          <a:solidFill>
            <a:srgbClr val="00426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sp>
        <p:nvSpPr>
          <p:cNvPr id="69" name="ZoneTexte 68">
            <a:extLst>
              <a:ext uri="{FF2B5EF4-FFF2-40B4-BE49-F238E27FC236}">
                <a16:creationId xmlns:a16="http://schemas.microsoft.com/office/drawing/2014/main" id="{D871B712-1C6E-6E85-90DE-E226021336A9}"/>
              </a:ext>
            </a:extLst>
          </p:cNvPr>
          <p:cNvSpPr txBox="1"/>
          <p:nvPr/>
        </p:nvSpPr>
        <p:spPr>
          <a:xfrm>
            <a:off x="4793571" y="2522819"/>
            <a:ext cx="3923061" cy="630942"/>
          </a:xfrm>
          <a:prstGeom prst="rect">
            <a:avLst/>
          </a:prstGeom>
          <a:noFill/>
        </p:spPr>
        <p:txBody>
          <a:bodyPr wrap="square" lIns="0" tIns="0" rIns="0" bIns="0" rtlCol="0">
            <a:spAutoFit/>
          </a:bodyPr>
          <a:lstStyle/>
          <a:p>
            <a:pPr defTabSz="912813" fontAlgn="base">
              <a:spcBef>
                <a:spcPct val="0"/>
              </a:spcBef>
              <a:spcAft>
                <a:spcPts val="600"/>
              </a:spcAft>
            </a:pPr>
            <a:r>
              <a:rPr lang="fr-FR" sz="1200" b="1" dirty="0">
                <a:solidFill>
                  <a:srgbClr val="004263"/>
                </a:solidFill>
                <a:ea typeface="ＭＳ Ｐゴシック" charset="0"/>
              </a:rPr>
              <a:t>FIL Limited fondée depuis 1969 par la famille fondatrice, l’équipe dirigeante et autres</a:t>
            </a:r>
          </a:p>
          <a:p>
            <a:pPr defTabSz="912813" fontAlgn="base">
              <a:spcBef>
                <a:spcPct val="0"/>
              </a:spcBef>
              <a:spcAft>
                <a:spcPts val="600"/>
              </a:spcAft>
            </a:pPr>
            <a:r>
              <a:rPr lang="fr-FR" altLang="en-US" sz="1200" b="1" dirty="0">
                <a:solidFill>
                  <a:srgbClr val="004263"/>
                </a:solidFill>
                <a:ea typeface="ＭＳ Ｐゴシック" charset="0"/>
              </a:rPr>
              <a:t>Entité opérant à l’international, hors Etats-Unis</a:t>
            </a:r>
            <a:endParaRPr lang="fr-FR" sz="1200" b="1" dirty="0">
              <a:solidFill>
                <a:srgbClr val="004263"/>
              </a:solidFill>
              <a:ea typeface="ＭＳ Ｐゴシック" charset="0"/>
            </a:endParaRPr>
          </a:p>
        </p:txBody>
      </p:sp>
      <p:sp>
        <p:nvSpPr>
          <p:cNvPr id="71" name="Rectangle 70">
            <a:extLst>
              <a:ext uri="{FF2B5EF4-FFF2-40B4-BE49-F238E27FC236}">
                <a16:creationId xmlns:a16="http://schemas.microsoft.com/office/drawing/2014/main" id="{7D5DD90A-775A-89E6-13E0-5EC7D0B42BE0}"/>
              </a:ext>
            </a:extLst>
          </p:cNvPr>
          <p:cNvSpPr>
            <a:spLocks/>
          </p:cNvSpPr>
          <p:nvPr/>
        </p:nvSpPr>
        <p:spPr>
          <a:xfrm>
            <a:off x="4757407" y="1280044"/>
            <a:ext cx="1017072" cy="437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813" fontAlgn="base">
              <a:spcBef>
                <a:spcPct val="0"/>
              </a:spcBef>
              <a:spcAft>
                <a:spcPct val="0"/>
              </a:spcAft>
            </a:pPr>
            <a:r>
              <a:rPr lang="fr-FR" sz="3600" b="1" dirty="0">
                <a:solidFill>
                  <a:srgbClr val="004263"/>
                </a:solidFill>
              </a:rPr>
              <a:t>1969</a:t>
            </a:r>
          </a:p>
        </p:txBody>
      </p:sp>
      <p:pic>
        <p:nvPicPr>
          <p:cNvPr id="7" name="Image 6">
            <a:extLst>
              <a:ext uri="{FF2B5EF4-FFF2-40B4-BE49-F238E27FC236}">
                <a16:creationId xmlns:a16="http://schemas.microsoft.com/office/drawing/2014/main" id="{2DD6B982-5F39-5252-8E02-E2AEB971AD6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639525" y="3342771"/>
            <a:ext cx="1941180" cy="1943999"/>
          </a:xfrm>
          <a:prstGeom prst="rect">
            <a:avLst/>
          </a:prstGeom>
          <a:ln w="6350">
            <a:solidFill>
              <a:schemeClr val="bg1"/>
            </a:solidFill>
          </a:ln>
          <a:effectLst>
            <a:outerShdw blurRad="76200" dist="101600" dir="2700000" algn="tl" rotWithShape="0">
              <a:prstClr val="black">
                <a:alpha val="15000"/>
              </a:prstClr>
            </a:outerShdw>
          </a:effectLst>
        </p:spPr>
      </p:pic>
      <p:sp>
        <p:nvSpPr>
          <p:cNvPr id="72" name="Ellipse 71">
            <a:extLst>
              <a:ext uri="{FF2B5EF4-FFF2-40B4-BE49-F238E27FC236}">
                <a16:creationId xmlns:a16="http://schemas.microsoft.com/office/drawing/2014/main" id="{3BD1F958-93FD-CAA4-6ED4-1D0FD5B9780A}"/>
              </a:ext>
            </a:extLst>
          </p:cNvPr>
          <p:cNvSpPr>
            <a:spLocks noChangeAspect="1"/>
          </p:cNvSpPr>
          <p:nvPr/>
        </p:nvSpPr>
        <p:spPr>
          <a:xfrm>
            <a:off x="4902977" y="3631623"/>
            <a:ext cx="1414275" cy="1414275"/>
          </a:xfrm>
          <a:prstGeom prst="ellipse">
            <a:avLst/>
          </a:prstGeom>
          <a:solidFill>
            <a:srgbClr val="004263">
              <a:alpha val="43000"/>
            </a:srgbClr>
          </a:solidFill>
          <a:ln w="31750">
            <a:noFill/>
          </a:ln>
          <a:effectLst>
            <a:innerShdw blurRad="63500" dist="50800" dir="13500000">
              <a:srgbClr val="004263"/>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2813" fontAlgn="base">
              <a:spcBef>
                <a:spcPct val="0"/>
              </a:spcBef>
              <a:spcAft>
                <a:spcPts val="600"/>
              </a:spcAft>
            </a:pPr>
            <a:r>
              <a:rPr lang="fr-FR" sz="1600" b="1" dirty="0">
                <a:solidFill>
                  <a:prstClr val="white"/>
                </a:solidFill>
                <a:ea typeface="ＭＳ Ｐゴシック" charset="0"/>
                <a:cs typeface="Arial" pitchFamily="34" charset="0"/>
              </a:rPr>
              <a:t>Encours</a:t>
            </a:r>
            <a:r>
              <a:rPr lang="fr-FR" sz="2400" b="1" dirty="0">
                <a:solidFill>
                  <a:prstClr val="white"/>
                </a:solidFill>
                <a:ea typeface="ＭＳ Ｐゴシック" charset="0"/>
                <a:cs typeface="Arial" pitchFamily="34" charset="0"/>
              </a:rPr>
              <a:t/>
            </a:r>
            <a:br>
              <a:rPr lang="fr-FR" sz="2400" b="1" dirty="0">
                <a:solidFill>
                  <a:prstClr val="white"/>
                </a:solidFill>
                <a:ea typeface="ＭＳ Ｐゴシック" charset="0"/>
                <a:cs typeface="Arial" pitchFamily="34" charset="0"/>
              </a:rPr>
            </a:br>
            <a:r>
              <a:rPr lang="fr-FR" sz="2400" b="1" dirty="0">
                <a:solidFill>
                  <a:prstClr val="white"/>
                </a:solidFill>
                <a:ea typeface="ＭＳ Ｐゴシック" charset="0"/>
                <a:cs typeface="Arial" pitchFamily="34" charset="0"/>
              </a:rPr>
              <a:t>$665 Mds</a:t>
            </a:r>
          </a:p>
        </p:txBody>
      </p:sp>
      <p:pic>
        <p:nvPicPr>
          <p:cNvPr id="85" name="Image 84">
            <a:extLst>
              <a:ext uri="{FF2B5EF4-FFF2-40B4-BE49-F238E27FC236}">
                <a16:creationId xmlns:a16="http://schemas.microsoft.com/office/drawing/2014/main" id="{07694065-F499-726C-2854-0C4C98614AD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68312" y="3342771"/>
            <a:ext cx="1941180" cy="1943999"/>
          </a:xfrm>
          <a:prstGeom prst="rect">
            <a:avLst/>
          </a:prstGeom>
          <a:ln w="6350">
            <a:solidFill>
              <a:schemeClr val="bg1"/>
            </a:solidFill>
          </a:ln>
          <a:effectLst>
            <a:outerShdw blurRad="76200" dist="101600" dir="2700000" algn="tl" rotWithShape="0">
              <a:prstClr val="black">
                <a:alpha val="15000"/>
              </a:prstClr>
            </a:outerShdw>
          </a:effectLst>
        </p:spPr>
      </p:pic>
      <p:sp>
        <p:nvSpPr>
          <p:cNvPr id="86" name="Ellipse 85">
            <a:extLst>
              <a:ext uri="{FF2B5EF4-FFF2-40B4-BE49-F238E27FC236}">
                <a16:creationId xmlns:a16="http://schemas.microsoft.com/office/drawing/2014/main" id="{6A8EADFB-5DF4-920B-9E30-9D746DAA9F85}"/>
              </a:ext>
            </a:extLst>
          </p:cNvPr>
          <p:cNvSpPr>
            <a:spLocks noChangeAspect="1"/>
          </p:cNvSpPr>
          <p:nvPr/>
        </p:nvSpPr>
        <p:spPr>
          <a:xfrm>
            <a:off x="731764" y="3631623"/>
            <a:ext cx="1414275" cy="1414275"/>
          </a:xfrm>
          <a:prstGeom prst="ellipse">
            <a:avLst/>
          </a:prstGeom>
          <a:solidFill>
            <a:srgbClr val="004263">
              <a:alpha val="43000"/>
            </a:srgbClr>
          </a:solidFill>
          <a:ln w="31750">
            <a:noFill/>
          </a:ln>
          <a:effectLst>
            <a:innerShdw blurRad="63500" dist="50800" dir="13500000">
              <a:srgbClr val="004263"/>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2813" fontAlgn="base">
              <a:spcBef>
                <a:spcPct val="0"/>
              </a:spcBef>
              <a:spcAft>
                <a:spcPts val="600"/>
              </a:spcAft>
            </a:pPr>
            <a:r>
              <a:rPr lang="fr-FR" sz="1600" b="1" dirty="0">
                <a:solidFill>
                  <a:prstClr val="white"/>
                </a:solidFill>
                <a:ea typeface="ＭＳ Ｐゴシック" charset="0"/>
                <a:cs typeface="Arial" pitchFamily="34" charset="0"/>
              </a:rPr>
              <a:t>Encours</a:t>
            </a:r>
            <a:r>
              <a:rPr lang="fr-FR" sz="2400" b="1" dirty="0">
                <a:solidFill>
                  <a:prstClr val="white"/>
                </a:solidFill>
                <a:ea typeface="ＭＳ Ｐゴシック" charset="0"/>
                <a:cs typeface="Arial" pitchFamily="34" charset="0"/>
              </a:rPr>
              <a:t/>
            </a:r>
            <a:br>
              <a:rPr lang="fr-FR" sz="2400" b="1" dirty="0">
                <a:solidFill>
                  <a:prstClr val="white"/>
                </a:solidFill>
                <a:ea typeface="ＭＳ Ｐゴシック" charset="0"/>
                <a:cs typeface="Arial" pitchFamily="34" charset="0"/>
              </a:rPr>
            </a:br>
            <a:r>
              <a:rPr lang="fr-FR" sz="2400" b="1" dirty="0">
                <a:solidFill>
                  <a:prstClr val="white"/>
                </a:solidFill>
                <a:ea typeface="ＭＳ Ｐゴシック" charset="0"/>
                <a:cs typeface="Arial" pitchFamily="34" charset="0"/>
              </a:rPr>
              <a:t>$4 300 Mds</a:t>
            </a:r>
          </a:p>
        </p:txBody>
      </p:sp>
      <p:grpSp>
        <p:nvGrpSpPr>
          <p:cNvPr id="91" name="Groupe 90">
            <a:extLst>
              <a:ext uri="{FF2B5EF4-FFF2-40B4-BE49-F238E27FC236}">
                <a16:creationId xmlns:a16="http://schemas.microsoft.com/office/drawing/2014/main" id="{650352E3-25C5-27C0-5DAD-0B8D022A259F}"/>
              </a:ext>
            </a:extLst>
          </p:cNvPr>
          <p:cNvGrpSpPr/>
          <p:nvPr/>
        </p:nvGrpSpPr>
        <p:grpSpPr>
          <a:xfrm>
            <a:off x="5792976" y="6017980"/>
            <a:ext cx="849266" cy="144000"/>
            <a:chOff x="6006114" y="3025896"/>
            <a:chExt cx="849266" cy="144000"/>
          </a:xfrm>
        </p:grpSpPr>
        <p:sp>
          <p:nvSpPr>
            <p:cNvPr id="100" name="ZoneTexte 99">
              <a:extLst>
                <a:ext uri="{FF2B5EF4-FFF2-40B4-BE49-F238E27FC236}">
                  <a16:creationId xmlns:a16="http://schemas.microsoft.com/office/drawing/2014/main" id="{89DAF2CE-8F8F-5D9C-31CB-6A953403E904}"/>
                </a:ext>
              </a:extLst>
            </p:cNvPr>
            <p:cNvSpPr txBox="1"/>
            <p:nvPr/>
          </p:nvSpPr>
          <p:spPr>
            <a:xfrm>
              <a:off x="6207380" y="3025896"/>
              <a:ext cx="648000" cy="144000"/>
            </a:xfrm>
            <a:prstGeom prst="rect">
              <a:avLst/>
            </a:prstGeom>
            <a:noFill/>
          </p:spPr>
          <p:txBody>
            <a:bodyPr wrap="square" lIns="0" tIns="0" rIns="0" bIns="0" rtlCol="0" anchor="ctr" anchorCtr="0">
              <a:noAutofit/>
            </a:bodyPr>
            <a:lstStyle/>
            <a:p>
              <a:pPr defTabSz="912813" fontAlgn="base">
                <a:spcBef>
                  <a:spcPct val="0"/>
                </a:spcBef>
                <a:spcAft>
                  <a:spcPts val="600"/>
                </a:spcAft>
              </a:pPr>
              <a:r>
                <a:rPr lang="fr-FR" sz="1000" b="1" dirty="0">
                  <a:solidFill>
                    <a:srgbClr val="004263"/>
                  </a:solidFill>
                  <a:latin typeface="Century Gothic"/>
                  <a:ea typeface="ＭＳ Ｐゴシック" charset="0"/>
                </a:rPr>
                <a:t>FIL Limited</a:t>
              </a:r>
              <a:endParaRPr lang="fr-FR" sz="1600" b="1" dirty="0">
                <a:solidFill>
                  <a:srgbClr val="A61D20"/>
                </a:solidFill>
                <a:latin typeface="Century Gothic"/>
                <a:ea typeface="ＭＳ Ｐゴシック" charset="0"/>
                <a:cs typeface="Arial" pitchFamily="34" charset="0"/>
              </a:endParaRPr>
            </a:p>
          </p:txBody>
        </p:sp>
        <p:sp>
          <p:nvSpPr>
            <p:cNvPr id="101" name="Rectangle 100">
              <a:extLst>
                <a:ext uri="{FF2B5EF4-FFF2-40B4-BE49-F238E27FC236}">
                  <a16:creationId xmlns:a16="http://schemas.microsoft.com/office/drawing/2014/main" id="{63829AFC-F46A-4788-C745-CFF818ED05E5}"/>
                </a:ext>
              </a:extLst>
            </p:cNvPr>
            <p:cNvSpPr>
              <a:spLocks noChangeAspect="1"/>
            </p:cNvSpPr>
            <p:nvPr/>
          </p:nvSpPr>
          <p:spPr>
            <a:xfrm>
              <a:off x="6006114" y="3025896"/>
              <a:ext cx="144000" cy="144000"/>
            </a:xfrm>
            <a:prstGeom prst="rect">
              <a:avLst/>
            </a:prstGeom>
            <a:solidFill>
              <a:srgbClr val="00426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grpSp>
      <p:grpSp>
        <p:nvGrpSpPr>
          <p:cNvPr id="92" name="Groupe 91">
            <a:extLst>
              <a:ext uri="{FF2B5EF4-FFF2-40B4-BE49-F238E27FC236}">
                <a16:creationId xmlns:a16="http://schemas.microsoft.com/office/drawing/2014/main" id="{16E772EC-7347-8843-60DB-3B5C28EC68D2}"/>
              </a:ext>
            </a:extLst>
          </p:cNvPr>
          <p:cNvGrpSpPr/>
          <p:nvPr/>
        </p:nvGrpSpPr>
        <p:grpSpPr>
          <a:xfrm>
            <a:off x="4639525" y="6017980"/>
            <a:ext cx="777266" cy="144000"/>
            <a:chOff x="4898039" y="3025896"/>
            <a:chExt cx="777266" cy="144000"/>
          </a:xfrm>
        </p:grpSpPr>
        <p:sp>
          <p:nvSpPr>
            <p:cNvPr id="98" name="ZoneTexte 97">
              <a:extLst>
                <a:ext uri="{FF2B5EF4-FFF2-40B4-BE49-F238E27FC236}">
                  <a16:creationId xmlns:a16="http://schemas.microsoft.com/office/drawing/2014/main" id="{3BEA32E0-69C5-9BAA-C3D1-A4628D75E41A}"/>
                </a:ext>
              </a:extLst>
            </p:cNvPr>
            <p:cNvSpPr txBox="1"/>
            <p:nvPr/>
          </p:nvSpPr>
          <p:spPr>
            <a:xfrm>
              <a:off x="5099305" y="3025896"/>
              <a:ext cx="576000" cy="144000"/>
            </a:xfrm>
            <a:prstGeom prst="rect">
              <a:avLst/>
            </a:prstGeom>
            <a:noFill/>
          </p:spPr>
          <p:txBody>
            <a:bodyPr wrap="square" lIns="0" tIns="0" rIns="0" bIns="0" rtlCol="0" anchor="ctr" anchorCtr="0">
              <a:noAutofit/>
            </a:bodyPr>
            <a:lstStyle/>
            <a:p>
              <a:pPr defTabSz="912813" fontAlgn="base">
                <a:spcBef>
                  <a:spcPct val="0"/>
                </a:spcBef>
                <a:spcAft>
                  <a:spcPts val="600"/>
                </a:spcAft>
              </a:pPr>
              <a:r>
                <a:rPr lang="fr-FR" sz="1000" b="1" dirty="0">
                  <a:solidFill>
                    <a:srgbClr val="00633A"/>
                  </a:solidFill>
                  <a:latin typeface="Century Gothic"/>
                  <a:ea typeface="ＭＳ Ｐゴシック" charset="0"/>
                </a:rPr>
                <a:t>FMR LLC</a:t>
              </a:r>
              <a:endParaRPr lang="fr-FR" sz="1600" b="1" dirty="0">
                <a:solidFill>
                  <a:srgbClr val="00633A"/>
                </a:solidFill>
                <a:latin typeface="Century Gothic"/>
                <a:ea typeface="ＭＳ Ｐゴシック" charset="0"/>
                <a:cs typeface="Arial" pitchFamily="34" charset="0"/>
              </a:endParaRPr>
            </a:p>
          </p:txBody>
        </p:sp>
        <p:sp>
          <p:nvSpPr>
            <p:cNvPr id="99" name="Rectangle 98">
              <a:extLst>
                <a:ext uri="{FF2B5EF4-FFF2-40B4-BE49-F238E27FC236}">
                  <a16:creationId xmlns:a16="http://schemas.microsoft.com/office/drawing/2014/main" id="{FCCCBF96-09D3-8244-C147-A21A59C26977}"/>
                </a:ext>
              </a:extLst>
            </p:cNvPr>
            <p:cNvSpPr>
              <a:spLocks noChangeAspect="1"/>
            </p:cNvSpPr>
            <p:nvPr/>
          </p:nvSpPr>
          <p:spPr>
            <a:xfrm>
              <a:off x="4898039" y="3025896"/>
              <a:ext cx="144000" cy="144000"/>
            </a:xfrm>
            <a:prstGeom prst="rect">
              <a:avLst/>
            </a:prstGeom>
            <a:solidFill>
              <a:srgbClr val="00633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defTabSz="912813" fontAlgn="base">
                <a:spcBef>
                  <a:spcPct val="0"/>
                </a:spcBef>
                <a:spcAft>
                  <a:spcPct val="0"/>
                </a:spcAft>
              </a:pPr>
              <a:endParaRPr lang="fr-FR" sz="2000" b="1" dirty="0" err="1">
                <a:solidFill>
                  <a:prstClr val="white"/>
                </a:solidFill>
              </a:endParaRPr>
            </a:p>
          </p:txBody>
        </p:sp>
      </p:grpSp>
      <p:pic>
        <p:nvPicPr>
          <p:cNvPr id="10" name="Graphique 9">
            <a:extLst>
              <a:ext uri="{FF2B5EF4-FFF2-40B4-BE49-F238E27FC236}">
                <a16:creationId xmlns:a16="http://schemas.microsoft.com/office/drawing/2014/main" id="{050B1F66-941B-AE26-C081-FAE74826C5C9}"/>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 xmlns:asvg="http://schemas.microsoft.com/office/drawing/2016/SVG/main" r:embed="rId13"/>
              </a:ext>
            </a:extLst>
          </a:blip>
          <a:srcRect/>
          <a:stretch/>
        </p:blipFill>
        <p:spPr>
          <a:xfrm>
            <a:off x="2574311" y="3764116"/>
            <a:ext cx="1908000" cy="1101312"/>
          </a:xfrm>
          <a:prstGeom prst="rect">
            <a:avLst/>
          </a:prstGeom>
          <a:effectLst>
            <a:innerShdw blurRad="63500" dist="50800" dir="13500000">
              <a:prstClr val="black">
                <a:alpha val="20000"/>
              </a:prstClr>
            </a:innerShdw>
          </a:effectLst>
        </p:spPr>
      </p:pic>
      <p:pic>
        <p:nvPicPr>
          <p:cNvPr id="12" name="Graphique 11">
            <a:extLst>
              <a:ext uri="{FF2B5EF4-FFF2-40B4-BE49-F238E27FC236}">
                <a16:creationId xmlns:a16="http://schemas.microsoft.com/office/drawing/2014/main" id="{7E9F7926-FC90-6F87-BD09-352612947D0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 xmlns:asvg="http://schemas.microsoft.com/office/drawing/2016/SVG/main" r:embed="rId15"/>
              </a:ext>
            </a:extLst>
          </a:blip>
          <a:srcRect/>
          <a:stretch/>
        </p:blipFill>
        <p:spPr>
          <a:xfrm>
            <a:off x="6748429" y="3764116"/>
            <a:ext cx="1907998" cy="1101312"/>
          </a:xfrm>
          <a:prstGeom prst="rect">
            <a:avLst/>
          </a:prstGeom>
          <a:effectLst>
            <a:innerShdw blurRad="63500" dist="50800" dir="13500000">
              <a:prstClr val="black">
                <a:alpha val="20000"/>
              </a:prstClr>
            </a:innerShdw>
          </a:effectLst>
        </p:spPr>
      </p:pic>
    </p:spTree>
    <p:custDataLst>
      <p:custData r:id="rId1"/>
      <p:custData r:id="rId2"/>
    </p:custDataLst>
    <p:extLst>
      <p:ext uri="{BB962C8B-B14F-4D97-AF65-F5344CB8AC3E}">
        <p14:creationId xmlns:p14="http://schemas.microsoft.com/office/powerpoint/2010/main" val="14596560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8">
            <a:extLst>
              <a:ext uri="{FF2B5EF4-FFF2-40B4-BE49-F238E27FC236}">
                <a16:creationId xmlns:a16="http://schemas.microsoft.com/office/drawing/2014/main" id="{0CC69EBA-D546-6C82-0AA8-3F6703CFA967}"/>
              </a:ext>
            </a:extLst>
          </p:cNvPr>
          <p:cNvPicPr>
            <a:picLocks noChangeAspect="1" noChangeArrowheads="1"/>
          </p:cNvPicPr>
          <p:nvPr/>
        </p:nvPicPr>
        <p:blipFill rotWithShape="1">
          <a:blip r:embed="rId5" cstate="screen">
            <a:alphaModFix amt="60000"/>
            <a:extLst>
              <a:ext uri="{28A0092B-C50C-407E-A947-70E740481C1C}">
                <a14:useLocalDpi xmlns:a14="http://schemas.microsoft.com/office/drawing/2010/main"/>
              </a:ext>
            </a:extLst>
          </a:blip>
          <a:srcRect/>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12" name="Rectangle 111">
            <a:extLst>
              <a:ext uri="{FF2B5EF4-FFF2-40B4-BE49-F238E27FC236}">
                <a16:creationId xmlns:a16="http://schemas.microsoft.com/office/drawing/2014/main" id="{9ADD1397-7D87-80AF-5515-CC7D675946CC}"/>
              </a:ext>
            </a:extLst>
          </p:cNvPr>
          <p:cNvSpPr/>
          <p:nvPr/>
        </p:nvSpPr>
        <p:spPr>
          <a:xfrm flipH="1">
            <a:off x="0" y="0"/>
            <a:ext cx="9143999" cy="6858000"/>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72000" bIns="36000" rtlCol="0" anchor="ctr"/>
          <a:lstStyle/>
          <a:p>
            <a:pPr algn="ctr">
              <a:defRPr/>
            </a:pPr>
            <a:endParaRPr lang="fr-FR" sz="2000" dirty="0" err="1">
              <a:solidFill>
                <a:srgbClr val="FFFFFF"/>
              </a:solidFill>
            </a:endParaRPr>
          </a:p>
        </p:txBody>
      </p:sp>
      <p:sp>
        <p:nvSpPr>
          <p:cNvPr id="113" name="Rectangle : coins arrondis 112">
            <a:extLst>
              <a:ext uri="{FF2B5EF4-FFF2-40B4-BE49-F238E27FC236}">
                <a16:creationId xmlns:a16="http://schemas.microsoft.com/office/drawing/2014/main" id="{AC1AB301-D68A-9229-57B2-F7BDFA72FB68}"/>
              </a:ext>
            </a:extLst>
          </p:cNvPr>
          <p:cNvSpPr>
            <a:spLocks/>
          </p:cNvSpPr>
          <p:nvPr/>
        </p:nvSpPr>
        <p:spPr>
          <a:xfrm>
            <a:off x="468000" y="2278056"/>
            <a:ext cx="2592000" cy="1679795"/>
          </a:xfrm>
          <a:prstGeom prst="roundRect">
            <a:avLst>
              <a:gd name="adj" fmla="val 3248"/>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sp>
        <p:nvSpPr>
          <p:cNvPr id="114" name="Text Placeholder 4">
            <a:extLst>
              <a:ext uri="{FF2B5EF4-FFF2-40B4-BE49-F238E27FC236}">
                <a16:creationId xmlns:a16="http://schemas.microsoft.com/office/drawing/2014/main" id="{1CDB7915-CCB1-4960-31DF-3FEF5035B227}"/>
              </a:ext>
            </a:extLst>
          </p:cNvPr>
          <p:cNvSpPr txBox="1">
            <a:spLocks/>
          </p:cNvSpPr>
          <p:nvPr/>
        </p:nvSpPr>
        <p:spPr>
          <a:xfrm>
            <a:off x="468313" y="5692283"/>
            <a:ext cx="8207363" cy="491372"/>
          </a:xfrm>
          <a:prstGeom prst="rect">
            <a:avLst/>
          </a:prstGeom>
        </p:spPr>
        <p:txBody>
          <a:bodyPr vert="horz" lIns="0" tIns="0" rIns="0" bIns="0" rtlCol="0" anchor="b">
            <a:noAutofit/>
          </a:bodyPr>
          <a:lstStyle>
            <a:lvl1pPr marL="0" indent="0" algn="l" defTabSz="685783"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685783"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685783" rtl="0" eaLnBrk="1" latinLnBrk="0" hangingPunct="1">
              <a:lnSpc>
                <a:spcPct val="100000"/>
              </a:lnSpc>
              <a:spcBef>
                <a:spcPts val="300"/>
              </a:spcBef>
              <a:spcAft>
                <a:spcPts val="0"/>
              </a:spcAft>
              <a:buClr>
                <a:srgbClr val="006193"/>
              </a:buClr>
              <a:buFont typeface="Arial" panose="020B0604020202020204" pitchFamily="34" charset="0"/>
              <a:buChar char="​"/>
              <a:defRPr sz="675" b="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0"/>
              </a:spcAft>
              <a:buFont typeface="Arial" panose="020B0604020202020204" pitchFamily="34" charset="0"/>
              <a:buChar char="​"/>
              <a:defRPr sz="675" b="0"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0"/>
              </a:spcAft>
              <a:buFont typeface="Arial" panose="020B0604020202020204" pitchFamily="34" charset="0"/>
              <a:buChar char="​"/>
              <a:tabLst/>
              <a:defRPr sz="675"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defTabSz="914377">
              <a:spcBef>
                <a:spcPts val="0"/>
              </a:spcBef>
              <a:buSzPct val="100000"/>
              <a:defRPr/>
            </a:pPr>
            <a:r>
              <a:rPr lang="fr-FR" dirty="0">
                <a:solidFill>
                  <a:srgbClr val="20242B"/>
                </a:solidFill>
              </a:rPr>
              <a:t>1. Les professionnels de l’investissement comprennent les gérants de portefeuille, les analystes, les traders, l’équipe de direction et l’équipe de support à la recherche. 2. La majorité des bureaux sont également en charge des ventes et du marketing ainsi que de l’aspect opérationnel. 3. Actifs gérées 813 Mds $ = </a:t>
            </a:r>
            <a:r>
              <a:rPr lang="fr-FR" dirty="0">
                <a:solidFill>
                  <a:srgbClr val="20242B"/>
                </a:solidFill>
                <a:ea typeface="ＭＳ Ｐゴシック" charset="0"/>
              </a:rPr>
              <a:t>Encours sous gestion: 610.5 Mds $ + Encours sous administration 202.3 Mds $</a:t>
            </a:r>
          </a:p>
          <a:p>
            <a:pPr defTabSz="914377">
              <a:spcBef>
                <a:spcPts val="0"/>
              </a:spcBef>
              <a:buSzPct val="100000"/>
              <a:defRPr/>
            </a:pPr>
            <a:r>
              <a:rPr lang="fr-FR" dirty="0">
                <a:solidFill>
                  <a:srgbClr val="20242B"/>
                </a:solidFill>
              </a:rPr>
              <a:t>Source: Fidelity International. Données au 30.06.2022</a:t>
            </a:r>
          </a:p>
        </p:txBody>
      </p:sp>
      <p:sp>
        <p:nvSpPr>
          <p:cNvPr id="120" name="object 6">
            <a:extLst>
              <a:ext uri="{FF2B5EF4-FFF2-40B4-BE49-F238E27FC236}">
                <a16:creationId xmlns:a16="http://schemas.microsoft.com/office/drawing/2014/main" id="{58B5A284-5946-F083-301E-8E33D2AD2CE9}"/>
              </a:ext>
            </a:extLst>
          </p:cNvPr>
          <p:cNvSpPr txBox="1"/>
          <p:nvPr/>
        </p:nvSpPr>
        <p:spPr>
          <a:xfrm>
            <a:off x="565378" y="2823589"/>
            <a:ext cx="2397244" cy="679316"/>
          </a:xfrm>
          <a:prstGeom prst="rect">
            <a:avLst/>
          </a:prstGeom>
          <a:noFill/>
        </p:spPr>
        <p:txBody>
          <a:bodyPr vert="horz" wrap="square" lIns="0" tIns="0" rIns="0" bIns="0" rtlCol="0" anchor="t" anchorCtr="0">
            <a:noAutofit/>
          </a:bodyPr>
          <a:lstStyle/>
          <a:p>
            <a:pPr algn="ctr" defTabSz="685783">
              <a:spcAft>
                <a:spcPts val="600"/>
              </a:spcAft>
              <a:defRPr/>
            </a:pPr>
            <a:r>
              <a:rPr lang="fr-FR" altLang="en-US" sz="1100" dirty="0">
                <a:solidFill>
                  <a:srgbClr val="20242B"/>
                </a:solidFill>
                <a:ea typeface="ＭＳ Ｐゴシック" charset="0"/>
                <a:cs typeface="Arial" panose="020B0604020202020204" pitchFamily="34" charset="0"/>
              </a:rPr>
              <a:t>Une entreprise privée créée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en 1969, détenue par ses fondateurs et dirigeants avec une vision  générationnelle</a:t>
            </a:r>
          </a:p>
        </p:txBody>
      </p:sp>
      <p:sp>
        <p:nvSpPr>
          <p:cNvPr id="124" name="Rectangle : coins arrondis 123">
            <a:extLst>
              <a:ext uri="{FF2B5EF4-FFF2-40B4-BE49-F238E27FC236}">
                <a16:creationId xmlns:a16="http://schemas.microsoft.com/office/drawing/2014/main" id="{6452295B-159A-7FEB-9B8F-285C4F68C887}"/>
              </a:ext>
            </a:extLst>
          </p:cNvPr>
          <p:cNvSpPr>
            <a:spLocks/>
          </p:cNvSpPr>
          <p:nvPr/>
        </p:nvSpPr>
        <p:spPr>
          <a:xfrm>
            <a:off x="468000" y="1264727"/>
            <a:ext cx="2592000" cy="959905"/>
          </a:xfrm>
          <a:prstGeom prst="roundRect">
            <a:avLst>
              <a:gd name="adj" fmla="val 7155"/>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sp>
        <p:nvSpPr>
          <p:cNvPr id="125" name="Rectangle : coins arrondis 124">
            <a:extLst>
              <a:ext uri="{FF2B5EF4-FFF2-40B4-BE49-F238E27FC236}">
                <a16:creationId xmlns:a16="http://schemas.microsoft.com/office/drawing/2014/main" id="{0D660646-75E0-6071-8D3C-563E0854F1D1}"/>
              </a:ext>
            </a:extLst>
          </p:cNvPr>
          <p:cNvSpPr/>
          <p:nvPr/>
        </p:nvSpPr>
        <p:spPr>
          <a:xfrm>
            <a:off x="3271056" y="2278056"/>
            <a:ext cx="2592000" cy="1679795"/>
          </a:xfrm>
          <a:prstGeom prst="roundRect">
            <a:avLst>
              <a:gd name="adj" fmla="val 3248"/>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sp>
        <p:nvSpPr>
          <p:cNvPr id="126" name="object 6">
            <a:extLst>
              <a:ext uri="{FF2B5EF4-FFF2-40B4-BE49-F238E27FC236}">
                <a16:creationId xmlns:a16="http://schemas.microsoft.com/office/drawing/2014/main" id="{D448AD6B-82A1-FF55-0FB0-ADC6EF1F5AE2}"/>
              </a:ext>
            </a:extLst>
          </p:cNvPr>
          <p:cNvSpPr txBox="1"/>
          <p:nvPr/>
        </p:nvSpPr>
        <p:spPr>
          <a:xfrm>
            <a:off x="3368434" y="2823589"/>
            <a:ext cx="2397244" cy="679316"/>
          </a:xfrm>
          <a:prstGeom prst="rect">
            <a:avLst/>
          </a:prstGeom>
          <a:noFill/>
        </p:spPr>
        <p:txBody>
          <a:bodyPr vert="horz" wrap="square" lIns="0" tIns="0" rIns="0" bIns="0" rtlCol="0" anchor="t" anchorCtr="0">
            <a:noAutofit/>
          </a:bodyPr>
          <a:lstStyle/>
          <a:p>
            <a:pPr algn="ctr" defTabSz="685783">
              <a:spcAft>
                <a:spcPts val="600"/>
              </a:spcAft>
              <a:defRPr/>
            </a:pPr>
            <a:r>
              <a:rPr lang="fr-FR" altLang="en-US" sz="1100" dirty="0">
                <a:solidFill>
                  <a:srgbClr val="20242B"/>
                </a:solidFill>
                <a:ea typeface="ＭＳ Ｐゴシック" charset="0"/>
                <a:cs typeface="Arial" panose="020B0604020202020204" pitchFamily="34" charset="0"/>
              </a:rPr>
              <a:t>Une plateforme de recherche propriétaire unique, forgeant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nos propres convictions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sur les entreprises</a:t>
            </a:r>
          </a:p>
        </p:txBody>
      </p:sp>
      <p:sp>
        <p:nvSpPr>
          <p:cNvPr id="127" name="Rectangle : coins arrondis 126">
            <a:extLst>
              <a:ext uri="{FF2B5EF4-FFF2-40B4-BE49-F238E27FC236}">
                <a16:creationId xmlns:a16="http://schemas.microsoft.com/office/drawing/2014/main" id="{5CC3E3EF-8515-7836-F43C-1A92C8A98935}"/>
              </a:ext>
            </a:extLst>
          </p:cNvPr>
          <p:cNvSpPr/>
          <p:nvPr/>
        </p:nvSpPr>
        <p:spPr>
          <a:xfrm>
            <a:off x="3271056" y="1264727"/>
            <a:ext cx="2592000" cy="959905"/>
          </a:xfrm>
          <a:prstGeom prst="roundRect">
            <a:avLst>
              <a:gd name="adj" fmla="val 7155"/>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sp>
        <p:nvSpPr>
          <p:cNvPr id="128" name="Rectangle : coins arrondis 127">
            <a:extLst>
              <a:ext uri="{FF2B5EF4-FFF2-40B4-BE49-F238E27FC236}">
                <a16:creationId xmlns:a16="http://schemas.microsoft.com/office/drawing/2014/main" id="{2F28DDC2-AF45-A7D9-10FB-A8D6AB9ED6BA}"/>
              </a:ext>
            </a:extLst>
          </p:cNvPr>
          <p:cNvSpPr/>
          <p:nvPr/>
        </p:nvSpPr>
        <p:spPr>
          <a:xfrm>
            <a:off x="6089217" y="2278056"/>
            <a:ext cx="2592000" cy="1679795"/>
          </a:xfrm>
          <a:prstGeom prst="roundRect">
            <a:avLst>
              <a:gd name="adj" fmla="val 3248"/>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sp>
        <p:nvSpPr>
          <p:cNvPr id="129" name="object 6">
            <a:extLst>
              <a:ext uri="{FF2B5EF4-FFF2-40B4-BE49-F238E27FC236}">
                <a16:creationId xmlns:a16="http://schemas.microsoft.com/office/drawing/2014/main" id="{892643FF-252F-612B-1C53-CDCC5E481F19}"/>
              </a:ext>
            </a:extLst>
          </p:cNvPr>
          <p:cNvSpPr txBox="1"/>
          <p:nvPr/>
        </p:nvSpPr>
        <p:spPr>
          <a:xfrm>
            <a:off x="6186595" y="2823589"/>
            <a:ext cx="2397244" cy="679316"/>
          </a:xfrm>
          <a:prstGeom prst="rect">
            <a:avLst/>
          </a:prstGeom>
          <a:noFill/>
        </p:spPr>
        <p:txBody>
          <a:bodyPr vert="horz" wrap="square" lIns="0" tIns="0" rIns="0" bIns="0" rtlCol="0" anchor="t" anchorCtr="0">
            <a:noAutofit/>
          </a:bodyPr>
          <a:lstStyle/>
          <a:p>
            <a:pPr algn="ctr" defTabSz="685783">
              <a:spcAft>
                <a:spcPts val="600"/>
              </a:spcAft>
              <a:defRPr/>
            </a:pPr>
            <a:r>
              <a:rPr lang="fr-FR" altLang="en-US" sz="1100" dirty="0">
                <a:solidFill>
                  <a:srgbClr val="20242B"/>
                </a:solidFill>
                <a:ea typeface="ＭＳ Ｐゴシック" charset="0"/>
                <a:cs typeface="Arial" panose="020B0604020202020204" pitchFamily="34" charset="0"/>
              </a:rPr>
              <a:t>Un groupe international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implanté à travers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l’Amérique du Nord, l’Europe, </a:t>
            </a:r>
            <a:br>
              <a:rPr lang="fr-FR" altLang="en-US" sz="1100" dirty="0">
                <a:solidFill>
                  <a:srgbClr val="20242B"/>
                </a:solidFill>
                <a:ea typeface="ＭＳ Ｐゴシック" charset="0"/>
                <a:cs typeface="Arial" panose="020B0604020202020204" pitchFamily="34" charset="0"/>
              </a:rPr>
            </a:br>
            <a:r>
              <a:rPr lang="fr-FR" altLang="en-US" sz="1100" dirty="0">
                <a:solidFill>
                  <a:srgbClr val="20242B"/>
                </a:solidFill>
                <a:ea typeface="ＭＳ Ｐゴシック" charset="0"/>
                <a:cs typeface="Arial" panose="020B0604020202020204" pitchFamily="34" charset="0"/>
              </a:rPr>
              <a:t>l’Asie, le Moyen-Orient</a:t>
            </a:r>
          </a:p>
        </p:txBody>
      </p:sp>
      <p:sp>
        <p:nvSpPr>
          <p:cNvPr id="130" name="Rectangle : coins arrondis 129">
            <a:extLst>
              <a:ext uri="{FF2B5EF4-FFF2-40B4-BE49-F238E27FC236}">
                <a16:creationId xmlns:a16="http://schemas.microsoft.com/office/drawing/2014/main" id="{84A19CEB-CFE4-5E7E-B842-D040FA46C61E}"/>
              </a:ext>
            </a:extLst>
          </p:cNvPr>
          <p:cNvSpPr/>
          <p:nvPr/>
        </p:nvSpPr>
        <p:spPr>
          <a:xfrm>
            <a:off x="6089217" y="1264727"/>
            <a:ext cx="2592000" cy="959905"/>
          </a:xfrm>
          <a:prstGeom prst="roundRect">
            <a:avLst>
              <a:gd name="adj" fmla="val 7155"/>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pic>
        <p:nvPicPr>
          <p:cNvPr id="131" name="Picture 9">
            <a:extLst>
              <a:ext uri="{FF2B5EF4-FFF2-40B4-BE49-F238E27FC236}">
                <a16:creationId xmlns:a16="http://schemas.microsoft.com/office/drawing/2014/main" id="{22BEF2FA-9E4E-D8E6-9481-DFE0631C6CC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132" name="Rectangle 131">
            <a:extLst>
              <a:ext uri="{FF2B5EF4-FFF2-40B4-BE49-F238E27FC236}">
                <a16:creationId xmlns:a16="http://schemas.microsoft.com/office/drawing/2014/main" id="{DCF870E5-51B4-7C2A-E811-39D9E46AF70C}"/>
              </a:ext>
            </a:extLst>
          </p:cNvPr>
          <p:cNvSpPr/>
          <p:nvPr/>
        </p:nvSpPr>
        <p:spPr>
          <a:xfrm>
            <a:off x="756000" y="3686400"/>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018BC8"/>
                </a:solidFill>
                <a:ea typeface="ＭＳ Ｐゴシック" charset="0"/>
              </a:rPr>
              <a:t>+ de 2.8 M</a:t>
            </a:r>
          </a:p>
          <a:p>
            <a:pPr algn="ctr" defTabSz="914377">
              <a:buSzPct val="100000"/>
              <a:defRPr/>
            </a:pPr>
            <a:r>
              <a:rPr lang="fr-FR" sz="1100" dirty="0">
                <a:solidFill>
                  <a:srgbClr val="018BC8"/>
                </a:solidFill>
                <a:ea typeface="ＭＳ Ｐゴシック" charset="0"/>
              </a:rPr>
              <a:t>Clients</a:t>
            </a:r>
            <a:endParaRPr lang="fr-FR" sz="1050" dirty="0">
              <a:solidFill>
                <a:srgbClr val="018BC8"/>
              </a:solidFill>
              <a:ea typeface="ＭＳ Ｐゴシック" charset="0"/>
            </a:endParaRPr>
          </a:p>
        </p:txBody>
      </p:sp>
      <p:sp>
        <p:nvSpPr>
          <p:cNvPr id="133" name="Rectangle 132">
            <a:extLst>
              <a:ext uri="{FF2B5EF4-FFF2-40B4-BE49-F238E27FC236}">
                <a16:creationId xmlns:a16="http://schemas.microsoft.com/office/drawing/2014/main" id="{7B841177-BB32-5375-CB32-81C2AD5D40CC}"/>
              </a:ext>
            </a:extLst>
          </p:cNvPr>
          <p:cNvSpPr/>
          <p:nvPr/>
        </p:nvSpPr>
        <p:spPr>
          <a:xfrm>
            <a:off x="756000" y="4298400"/>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018BC8"/>
                </a:solidFill>
                <a:ea typeface="ＭＳ Ｐゴシック" charset="0"/>
              </a:rPr>
              <a:t>665 Mds $</a:t>
            </a:r>
          </a:p>
          <a:p>
            <a:pPr algn="ctr" defTabSz="914377">
              <a:buSzPct val="100000"/>
              <a:defRPr/>
            </a:pPr>
            <a:r>
              <a:rPr lang="fr-FR" sz="1100" dirty="0">
                <a:solidFill>
                  <a:srgbClr val="018BC8"/>
                </a:solidFill>
                <a:ea typeface="ＭＳ Ｐゴシック" charset="0"/>
              </a:rPr>
              <a:t>Actifs gérés et administrés</a:t>
            </a:r>
            <a:endParaRPr lang="fr-FR" sz="1100" baseline="30000" dirty="0">
              <a:solidFill>
                <a:srgbClr val="018BC8"/>
              </a:solidFill>
              <a:ea typeface="ＭＳ Ｐゴシック" charset="0"/>
            </a:endParaRPr>
          </a:p>
        </p:txBody>
      </p:sp>
      <p:sp>
        <p:nvSpPr>
          <p:cNvPr id="134" name="Rectangle 133">
            <a:extLst>
              <a:ext uri="{FF2B5EF4-FFF2-40B4-BE49-F238E27FC236}">
                <a16:creationId xmlns:a16="http://schemas.microsoft.com/office/drawing/2014/main" id="{7A56938B-C01F-D302-3947-600BFB1C7F02}"/>
              </a:ext>
            </a:extLst>
          </p:cNvPr>
          <p:cNvSpPr/>
          <p:nvPr/>
        </p:nvSpPr>
        <p:spPr>
          <a:xfrm>
            <a:off x="3559056" y="3686400"/>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016193"/>
                </a:solidFill>
                <a:ea typeface="ＭＳ Ｐゴシック" charset="0"/>
              </a:rPr>
              <a:t>+ 450 </a:t>
            </a:r>
            <a:r>
              <a:rPr lang="fr-FR" sz="1100" dirty="0">
                <a:solidFill>
                  <a:srgbClr val="016193"/>
                </a:solidFill>
                <a:ea typeface="ＭＳ Ｐゴシック" charset="0"/>
              </a:rPr>
              <a:t>professionnels </a:t>
            </a:r>
            <a:br>
              <a:rPr lang="fr-FR" sz="1100" dirty="0">
                <a:solidFill>
                  <a:srgbClr val="016193"/>
                </a:solidFill>
                <a:ea typeface="ＭＳ Ｐゴシック" charset="0"/>
              </a:rPr>
            </a:br>
            <a:r>
              <a:rPr lang="fr-FR" sz="1100" dirty="0">
                <a:solidFill>
                  <a:srgbClr val="016193"/>
                </a:solidFill>
                <a:ea typeface="ＭＳ Ｐゴシック" charset="0"/>
              </a:rPr>
              <a:t>de l’investissement</a:t>
            </a:r>
            <a:endParaRPr lang="fr-FR" sz="1050" dirty="0">
              <a:solidFill>
                <a:srgbClr val="016193"/>
              </a:solidFill>
              <a:ea typeface="ＭＳ Ｐゴシック" charset="0"/>
            </a:endParaRPr>
          </a:p>
        </p:txBody>
      </p:sp>
      <p:sp>
        <p:nvSpPr>
          <p:cNvPr id="135" name="Rectangle 134">
            <a:extLst>
              <a:ext uri="{FF2B5EF4-FFF2-40B4-BE49-F238E27FC236}">
                <a16:creationId xmlns:a16="http://schemas.microsoft.com/office/drawing/2014/main" id="{FD20E324-5FFB-7010-F1BD-C70A2E2020F3}"/>
              </a:ext>
            </a:extLst>
          </p:cNvPr>
          <p:cNvSpPr/>
          <p:nvPr/>
        </p:nvSpPr>
        <p:spPr>
          <a:xfrm>
            <a:off x="3559056" y="4299149"/>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016193"/>
                </a:solidFill>
                <a:ea typeface="ＭＳ Ｐゴシック" charset="0"/>
              </a:rPr>
              <a:t>180 analystes</a:t>
            </a:r>
            <a:endParaRPr lang="fr-FR" baseline="30000" dirty="0">
              <a:solidFill>
                <a:srgbClr val="016193"/>
              </a:solidFill>
              <a:ea typeface="ＭＳ Ｐゴシック" charset="0"/>
            </a:endParaRPr>
          </a:p>
        </p:txBody>
      </p:sp>
      <p:sp>
        <p:nvSpPr>
          <p:cNvPr id="136" name="Rectangle 135">
            <a:extLst>
              <a:ext uri="{FF2B5EF4-FFF2-40B4-BE49-F238E27FC236}">
                <a16:creationId xmlns:a16="http://schemas.microsoft.com/office/drawing/2014/main" id="{EBB34EEF-B41D-E25E-1639-C75D09E1F167}"/>
              </a:ext>
            </a:extLst>
          </p:cNvPr>
          <p:cNvSpPr/>
          <p:nvPr/>
        </p:nvSpPr>
        <p:spPr>
          <a:xfrm>
            <a:off x="3559056" y="4911897"/>
            <a:ext cx="2016000" cy="504000"/>
          </a:xfrm>
          <a:prstGeom prst="rect">
            <a:avLst/>
          </a:prstGeom>
          <a:solidFill>
            <a:schemeClr val="accent4"/>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FFFFFF"/>
                </a:solidFill>
                <a:ea typeface="ＭＳ Ｐゴシック" charset="0"/>
              </a:rPr>
              <a:t>Analyse ESG </a:t>
            </a:r>
            <a:br>
              <a:rPr lang="fr-FR" dirty="0">
                <a:solidFill>
                  <a:srgbClr val="FFFFFF"/>
                </a:solidFill>
                <a:ea typeface="ＭＳ Ｐゴシック" charset="0"/>
              </a:rPr>
            </a:br>
            <a:r>
              <a:rPr lang="fr-FR" sz="1100" dirty="0">
                <a:solidFill>
                  <a:srgbClr val="FFFFFF"/>
                </a:solidFill>
                <a:ea typeface="ＭＳ Ｐゴシック" charset="0"/>
              </a:rPr>
              <a:t>intégrée</a:t>
            </a:r>
            <a:endParaRPr lang="fr-FR" dirty="0">
              <a:solidFill>
                <a:srgbClr val="FFFFFF"/>
              </a:solidFill>
              <a:ea typeface="ＭＳ Ｐゴシック" charset="0"/>
            </a:endParaRPr>
          </a:p>
        </p:txBody>
      </p:sp>
      <p:sp>
        <p:nvSpPr>
          <p:cNvPr id="137" name="Rectangle 136">
            <a:extLst>
              <a:ext uri="{FF2B5EF4-FFF2-40B4-BE49-F238E27FC236}">
                <a16:creationId xmlns:a16="http://schemas.microsoft.com/office/drawing/2014/main" id="{0C800BA3-7195-18DC-D5A8-6FA320EA7A87}"/>
              </a:ext>
            </a:extLst>
          </p:cNvPr>
          <p:cNvSpPr/>
          <p:nvPr/>
        </p:nvSpPr>
        <p:spPr>
          <a:xfrm>
            <a:off x="6377217" y="3686400"/>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lnSpc>
                <a:spcPts val="1800"/>
              </a:lnSpc>
              <a:buSzPct val="100000"/>
              <a:defRPr/>
            </a:pPr>
            <a:r>
              <a:rPr lang="fr-FR" dirty="0">
                <a:solidFill>
                  <a:srgbClr val="004263"/>
                </a:solidFill>
                <a:ea typeface="ＭＳ Ｐゴシック" charset="0"/>
              </a:rPr>
              <a:t>Clientèle à travers +40 pays</a:t>
            </a:r>
            <a:endParaRPr lang="fr-FR" sz="1100" dirty="0">
              <a:solidFill>
                <a:srgbClr val="004263"/>
              </a:solidFill>
              <a:ea typeface="ＭＳ Ｐゴシック" charset="0"/>
            </a:endParaRPr>
          </a:p>
        </p:txBody>
      </p:sp>
      <p:sp>
        <p:nvSpPr>
          <p:cNvPr id="138" name="Rectangle 137">
            <a:extLst>
              <a:ext uri="{FF2B5EF4-FFF2-40B4-BE49-F238E27FC236}">
                <a16:creationId xmlns:a16="http://schemas.microsoft.com/office/drawing/2014/main" id="{F2297459-9222-2718-2DEB-D98320639581}"/>
              </a:ext>
            </a:extLst>
          </p:cNvPr>
          <p:cNvSpPr/>
          <p:nvPr/>
        </p:nvSpPr>
        <p:spPr>
          <a:xfrm>
            <a:off x="6377217" y="4298400"/>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sz="1100" dirty="0">
                <a:solidFill>
                  <a:srgbClr val="004263"/>
                </a:solidFill>
                <a:ea typeface="ＭＳ Ｐゴシック" charset="0"/>
              </a:rPr>
              <a:t>Présence dans </a:t>
            </a:r>
            <a:br>
              <a:rPr lang="fr-FR" sz="1100" dirty="0">
                <a:solidFill>
                  <a:srgbClr val="004263"/>
                </a:solidFill>
                <a:ea typeface="ＭＳ Ｐゴシック" charset="0"/>
              </a:rPr>
            </a:br>
            <a:r>
              <a:rPr lang="fr-FR" dirty="0">
                <a:solidFill>
                  <a:srgbClr val="004263"/>
                </a:solidFill>
                <a:ea typeface="ＭＳ Ｐゴシック" charset="0"/>
              </a:rPr>
              <a:t>27 Pays</a:t>
            </a:r>
            <a:endParaRPr lang="fr-FR" sz="1600" dirty="0">
              <a:solidFill>
                <a:srgbClr val="004263"/>
              </a:solidFill>
              <a:ea typeface="ＭＳ Ｐゴシック" charset="0"/>
            </a:endParaRPr>
          </a:p>
        </p:txBody>
      </p:sp>
      <p:sp>
        <p:nvSpPr>
          <p:cNvPr id="139" name="Rectangle 138">
            <a:extLst>
              <a:ext uri="{FF2B5EF4-FFF2-40B4-BE49-F238E27FC236}">
                <a16:creationId xmlns:a16="http://schemas.microsoft.com/office/drawing/2014/main" id="{96EEB8BD-1FF4-21A1-54E4-8943423A8388}"/>
              </a:ext>
            </a:extLst>
          </p:cNvPr>
          <p:cNvSpPr/>
          <p:nvPr/>
        </p:nvSpPr>
        <p:spPr>
          <a:xfrm>
            <a:off x="6377217" y="4911897"/>
            <a:ext cx="2016000" cy="504000"/>
          </a:xfrm>
          <a:prstGeom prst="rect">
            <a:avLst/>
          </a:prstGeom>
          <a:solidFill>
            <a:schemeClr val="bg1">
              <a:alpha val="80000"/>
            </a:schemeClr>
          </a:solidFill>
          <a:ln>
            <a:noFill/>
          </a:ln>
          <a:effectLst>
            <a:outerShdw blurRad="1016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7">
              <a:buSzPct val="100000"/>
              <a:defRPr/>
            </a:pPr>
            <a:r>
              <a:rPr lang="fr-FR" dirty="0">
                <a:solidFill>
                  <a:srgbClr val="004263"/>
                </a:solidFill>
                <a:ea typeface="ＭＳ Ｐゴシック" charset="0"/>
              </a:rPr>
              <a:t>+ de 9 900</a:t>
            </a:r>
          </a:p>
          <a:p>
            <a:pPr algn="ctr" defTabSz="914377">
              <a:buSzPct val="100000"/>
              <a:defRPr/>
            </a:pPr>
            <a:r>
              <a:rPr lang="fr-FR" sz="1100" dirty="0">
                <a:solidFill>
                  <a:srgbClr val="004263"/>
                </a:solidFill>
                <a:ea typeface="ＭＳ Ｐゴシック" charset="0"/>
              </a:rPr>
              <a:t>Collaborateurs</a:t>
            </a:r>
          </a:p>
        </p:txBody>
      </p:sp>
      <p:sp>
        <p:nvSpPr>
          <p:cNvPr id="140" name="object 6">
            <a:extLst>
              <a:ext uri="{FF2B5EF4-FFF2-40B4-BE49-F238E27FC236}">
                <a16:creationId xmlns:a16="http://schemas.microsoft.com/office/drawing/2014/main" id="{37FAF562-085D-55D2-E872-0A8C06926CDC}"/>
              </a:ext>
            </a:extLst>
          </p:cNvPr>
          <p:cNvSpPr txBox="1"/>
          <p:nvPr/>
        </p:nvSpPr>
        <p:spPr>
          <a:xfrm>
            <a:off x="504000" y="1406130"/>
            <a:ext cx="2520000" cy="288000"/>
          </a:xfrm>
          <a:prstGeom prst="rect">
            <a:avLst/>
          </a:prstGeom>
          <a:noFill/>
        </p:spPr>
        <p:txBody>
          <a:bodyPr vert="horz" wrap="square" lIns="0" tIns="0" rIns="0" bIns="0" rtlCol="0" anchor="t" anchorCtr="0">
            <a:noAutofit/>
          </a:bodyPr>
          <a:lstStyle/>
          <a:p>
            <a:pPr algn="ctr" defTabSz="685783">
              <a:spcAft>
                <a:spcPts val="600"/>
              </a:spcAft>
              <a:defRPr/>
            </a:pPr>
            <a:r>
              <a:rPr lang="fr-FR" b="1" spc="-4" dirty="0">
                <a:solidFill>
                  <a:srgbClr val="018BC8"/>
                </a:solidFill>
                <a:ea typeface="ＭＳ Ｐゴシック" charset="0"/>
                <a:cs typeface="Arial"/>
              </a:rPr>
              <a:t>Indépendance</a:t>
            </a:r>
            <a:endParaRPr lang="fr-FR" altLang="en-US" b="1" dirty="0">
              <a:solidFill>
                <a:srgbClr val="018BC8"/>
              </a:solidFill>
              <a:ea typeface="ＭＳ Ｐゴシック" charset="0"/>
              <a:cs typeface="Arial" panose="020B0604020202020204" pitchFamily="34" charset="0"/>
            </a:endParaRPr>
          </a:p>
        </p:txBody>
      </p:sp>
      <p:sp>
        <p:nvSpPr>
          <p:cNvPr id="141" name="object 6">
            <a:extLst>
              <a:ext uri="{FF2B5EF4-FFF2-40B4-BE49-F238E27FC236}">
                <a16:creationId xmlns:a16="http://schemas.microsoft.com/office/drawing/2014/main" id="{CE928BDB-EBB3-58B5-FABF-299171A831EF}"/>
              </a:ext>
            </a:extLst>
          </p:cNvPr>
          <p:cNvSpPr txBox="1"/>
          <p:nvPr/>
        </p:nvSpPr>
        <p:spPr>
          <a:xfrm>
            <a:off x="3307056" y="1406130"/>
            <a:ext cx="2520000" cy="288000"/>
          </a:xfrm>
          <a:prstGeom prst="rect">
            <a:avLst/>
          </a:prstGeom>
          <a:noFill/>
        </p:spPr>
        <p:txBody>
          <a:bodyPr vert="horz" wrap="square" lIns="0" tIns="0" rIns="0" bIns="0" rtlCol="0" anchor="t" anchorCtr="0">
            <a:noAutofit/>
          </a:bodyPr>
          <a:lstStyle/>
          <a:p>
            <a:pPr algn="ctr" defTabSz="685783">
              <a:spcAft>
                <a:spcPts val="600"/>
              </a:spcAft>
              <a:defRPr/>
            </a:pPr>
            <a:r>
              <a:rPr lang="fr-FR" b="1" spc="-4" dirty="0">
                <a:solidFill>
                  <a:srgbClr val="016193"/>
                </a:solidFill>
                <a:ea typeface="ＭＳ Ｐゴシック" charset="0"/>
                <a:cs typeface="Arial"/>
              </a:rPr>
              <a:t>Recherche propriétaire</a:t>
            </a:r>
          </a:p>
        </p:txBody>
      </p:sp>
      <p:sp>
        <p:nvSpPr>
          <p:cNvPr id="142" name="object 6">
            <a:extLst>
              <a:ext uri="{FF2B5EF4-FFF2-40B4-BE49-F238E27FC236}">
                <a16:creationId xmlns:a16="http://schemas.microsoft.com/office/drawing/2014/main" id="{B8D312B6-DB90-F1B1-18E7-C3C53169F1C0}"/>
              </a:ext>
            </a:extLst>
          </p:cNvPr>
          <p:cNvSpPr txBox="1"/>
          <p:nvPr/>
        </p:nvSpPr>
        <p:spPr>
          <a:xfrm>
            <a:off x="6125217" y="1406130"/>
            <a:ext cx="2520000" cy="288000"/>
          </a:xfrm>
          <a:prstGeom prst="rect">
            <a:avLst/>
          </a:prstGeom>
          <a:noFill/>
        </p:spPr>
        <p:txBody>
          <a:bodyPr vert="horz" wrap="square" lIns="0" tIns="0" rIns="0" bIns="0" rtlCol="0" anchor="t" anchorCtr="0">
            <a:noAutofit/>
          </a:bodyPr>
          <a:lstStyle/>
          <a:p>
            <a:pPr algn="ctr" defTabSz="685783">
              <a:spcAft>
                <a:spcPts val="600"/>
              </a:spcAft>
              <a:defRPr/>
            </a:pPr>
            <a:r>
              <a:rPr lang="fr-FR" b="1" spc="-4" dirty="0">
                <a:solidFill>
                  <a:srgbClr val="004263"/>
                </a:solidFill>
                <a:ea typeface="ＭＳ Ｐゴシック" charset="0"/>
                <a:cs typeface="Arial"/>
              </a:rPr>
              <a:t>International</a:t>
            </a:r>
          </a:p>
        </p:txBody>
      </p:sp>
      <p:sp>
        <p:nvSpPr>
          <p:cNvPr id="2" name="Title 1">
            <a:extLst>
              <a:ext uri="{FF2B5EF4-FFF2-40B4-BE49-F238E27FC236}">
                <a16:creationId xmlns:a16="http://schemas.microsoft.com/office/drawing/2014/main" id="{0A2C448B-7C17-446D-A256-743CEEA465FC}"/>
              </a:ext>
            </a:extLst>
          </p:cNvPr>
          <p:cNvSpPr>
            <a:spLocks noGrp="1"/>
          </p:cNvSpPr>
          <p:nvPr>
            <p:ph type="title"/>
          </p:nvPr>
        </p:nvSpPr>
        <p:spPr/>
        <p:txBody>
          <a:bodyPr/>
          <a:lstStyle/>
          <a:p>
            <a:r>
              <a:rPr lang="fr-FR" dirty="0"/>
              <a:t>Un leader mondial des services d’investissement</a:t>
            </a:r>
          </a:p>
        </p:txBody>
      </p:sp>
      <p:sp>
        <p:nvSpPr>
          <p:cNvPr id="8" name="Subtitle 7">
            <a:extLst>
              <a:ext uri="{FF2B5EF4-FFF2-40B4-BE49-F238E27FC236}">
                <a16:creationId xmlns:a16="http://schemas.microsoft.com/office/drawing/2014/main" id="{50A4095F-EA82-4D08-8B2F-4297C53D00D5}"/>
              </a:ext>
            </a:extLst>
          </p:cNvPr>
          <p:cNvSpPr>
            <a:spLocks noGrp="1"/>
          </p:cNvSpPr>
          <p:nvPr>
            <p:ph type="subTitle" idx="16"/>
          </p:nvPr>
        </p:nvSpPr>
        <p:spPr/>
        <p:txBody>
          <a:bodyPr/>
          <a:lstStyle/>
          <a:p>
            <a:r>
              <a:rPr lang="fr-FR" dirty="0"/>
              <a:t>Concevoir ensemble un horizon financier pérenne</a:t>
            </a:r>
          </a:p>
        </p:txBody>
      </p:sp>
      <p:sp>
        <p:nvSpPr>
          <p:cNvPr id="54" name="Ellipse 53">
            <a:extLst>
              <a:ext uri="{FF2B5EF4-FFF2-40B4-BE49-F238E27FC236}">
                <a16:creationId xmlns:a16="http://schemas.microsoft.com/office/drawing/2014/main" id="{2B64192E-7D78-3A99-E749-5B4C0A2A09AB}"/>
              </a:ext>
            </a:extLst>
          </p:cNvPr>
          <p:cNvSpPr>
            <a:spLocks noChangeAspect="1"/>
          </p:cNvSpPr>
          <p:nvPr/>
        </p:nvSpPr>
        <p:spPr>
          <a:xfrm>
            <a:off x="4176000" y="1839642"/>
            <a:ext cx="792000" cy="792000"/>
          </a:xfrm>
          <a:prstGeom prst="ellipse">
            <a:avLst/>
          </a:prstGeom>
          <a:solidFill>
            <a:srgbClr val="016193"/>
          </a:solidFill>
          <a:ln w="50800">
            <a:noFill/>
          </a:ln>
          <a:effectLst>
            <a:outerShdw blurRad="50800" sx="110000" sy="11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grpSp>
        <p:nvGrpSpPr>
          <p:cNvPr id="7198" name="Groupe 7197">
            <a:extLst>
              <a:ext uri="{FF2B5EF4-FFF2-40B4-BE49-F238E27FC236}">
                <a16:creationId xmlns:a16="http://schemas.microsoft.com/office/drawing/2014/main" id="{F21E7191-010C-622D-D6E4-AEDFD658865A}"/>
              </a:ext>
            </a:extLst>
          </p:cNvPr>
          <p:cNvGrpSpPr>
            <a:grpSpLocks noChangeAspect="1"/>
          </p:cNvGrpSpPr>
          <p:nvPr/>
        </p:nvGrpSpPr>
        <p:grpSpPr>
          <a:xfrm>
            <a:off x="4337210" y="2001642"/>
            <a:ext cx="469581" cy="468000"/>
            <a:chOff x="4385949" y="2234970"/>
            <a:chExt cx="440685" cy="440684"/>
          </a:xfrm>
          <a:noFill/>
        </p:grpSpPr>
        <p:sp>
          <p:nvSpPr>
            <p:cNvPr id="15" name="Forme libre 14">
              <a:extLst>
                <a:ext uri="{FF2B5EF4-FFF2-40B4-BE49-F238E27FC236}">
                  <a16:creationId xmlns:a16="http://schemas.microsoft.com/office/drawing/2014/main" id="{04D6F701-BA74-EE56-388E-8C9A363D3333}"/>
                </a:ext>
              </a:extLst>
            </p:cNvPr>
            <p:cNvSpPr/>
            <p:nvPr/>
          </p:nvSpPr>
          <p:spPr>
            <a:xfrm>
              <a:off x="4385949" y="2604555"/>
              <a:ext cx="440684" cy="71099"/>
            </a:xfrm>
            <a:custGeom>
              <a:avLst/>
              <a:gdLst>
                <a:gd name="connsiteX0" fmla="*/ 0 w 440684"/>
                <a:gd name="connsiteY0" fmla="*/ 0 h 71099"/>
                <a:gd name="connsiteX1" fmla="*/ 440685 w 440684"/>
                <a:gd name="connsiteY1" fmla="*/ 0 h 71099"/>
                <a:gd name="connsiteX2" fmla="*/ 440685 w 440684"/>
                <a:gd name="connsiteY2" fmla="*/ 71099 h 71099"/>
                <a:gd name="connsiteX3" fmla="*/ 0 w 440684"/>
                <a:gd name="connsiteY3" fmla="*/ 71099 h 71099"/>
              </a:gdLst>
              <a:ahLst/>
              <a:cxnLst>
                <a:cxn ang="0">
                  <a:pos x="connsiteX0" y="connsiteY0"/>
                </a:cxn>
                <a:cxn ang="0">
                  <a:pos x="connsiteX1" y="connsiteY1"/>
                </a:cxn>
                <a:cxn ang="0">
                  <a:pos x="connsiteX2" y="connsiteY2"/>
                </a:cxn>
                <a:cxn ang="0">
                  <a:pos x="connsiteX3" y="connsiteY3"/>
                </a:cxn>
              </a:cxnLst>
              <a:rect l="l" t="t" r="r" b="b"/>
              <a:pathLst>
                <a:path w="440684" h="71099">
                  <a:moveTo>
                    <a:pt x="0" y="0"/>
                  </a:moveTo>
                  <a:lnTo>
                    <a:pt x="440685" y="0"/>
                  </a:lnTo>
                  <a:lnTo>
                    <a:pt x="440685" y="71099"/>
                  </a:lnTo>
                  <a:lnTo>
                    <a:pt x="0" y="71099"/>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16" name="Forme libre 15">
              <a:extLst>
                <a:ext uri="{FF2B5EF4-FFF2-40B4-BE49-F238E27FC236}">
                  <a16:creationId xmlns:a16="http://schemas.microsoft.com/office/drawing/2014/main" id="{B875DC9A-FFBB-C075-1020-3B06290A0F8A}"/>
                </a:ext>
              </a:extLst>
            </p:cNvPr>
            <p:cNvSpPr/>
            <p:nvPr/>
          </p:nvSpPr>
          <p:spPr>
            <a:xfrm>
              <a:off x="4791084" y="2647196"/>
              <a:ext cx="14182" cy="9330"/>
            </a:xfrm>
            <a:custGeom>
              <a:avLst/>
              <a:gdLst>
                <a:gd name="connsiteX0" fmla="*/ 14183 w 14182"/>
                <a:gd name="connsiteY0" fmla="*/ 0 h 9330"/>
                <a:gd name="connsiteX1" fmla="*/ 0 w 14182"/>
                <a:gd name="connsiteY1" fmla="*/ 0 h 9330"/>
              </a:gdLst>
              <a:ahLst/>
              <a:cxnLst>
                <a:cxn ang="0">
                  <a:pos x="connsiteX0" y="connsiteY0"/>
                </a:cxn>
                <a:cxn ang="0">
                  <a:pos x="connsiteX1" y="connsiteY1"/>
                </a:cxn>
              </a:cxnLst>
              <a:rect l="l" t="t" r="r" b="b"/>
              <a:pathLst>
                <a:path w="14182" h="9330">
                  <a:moveTo>
                    <a:pt x="14183" y="0"/>
                  </a:moveTo>
                  <a:lnTo>
                    <a:pt x="0"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17" name="Forme libre 16">
              <a:extLst>
                <a:ext uri="{FF2B5EF4-FFF2-40B4-BE49-F238E27FC236}">
                  <a16:creationId xmlns:a16="http://schemas.microsoft.com/office/drawing/2014/main" id="{E20EC902-6624-8F32-90F6-4A282CA29849}"/>
                </a:ext>
              </a:extLst>
            </p:cNvPr>
            <p:cNvSpPr/>
            <p:nvPr/>
          </p:nvSpPr>
          <p:spPr>
            <a:xfrm>
              <a:off x="4428590"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18" name="Forme libre 17">
              <a:extLst>
                <a:ext uri="{FF2B5EF4-FFF2-40B4-BE49-F238E27FC236}">
                  <a16:creationId xmlns:a16="http://schemas.microsoft.com/office/drawing/2014/main" id="{D14D92A9-8D5E-FA45-2F6A-E3B19FC7B6A1}"/>
                </a:ext>
              </a:extLst>
            </p:cNvPr>
            <p:cNvSpPr/>
            <p:nvPr/>
          </p:nvSpPr>
          <p:spPr>
            <a:xfrm>
              <a:off x="4471231"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19" name="Forme libre 18">
              <a:extLst>
                <a:ext uri="{FF2B5EF4-FFF2-40B4-BE49-F238E27FC236}">
                  <a16:creationId xmlns:a16="http://schemas.microsoft.com/office/drawing/2014/main" id="{34FE39C4-9E4E-E21B-A1CA-61D73E039AA7}"/>
                </a:ext>
              </a:extLst>
            </p:cNvPr>
            <p:cNvSpPr/>
            <p:nvPr/>
          </p:nvSpPr>
          <p:spPr>
            <a:xfrm>
              <a:off x="4513871"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20" name="Forme libre 19">
              <a:extLst>
                <a:ext uri="{FF2B5EF4-FFF2-40B4-BE49-F238E27FC236}">
                  <a16:creationId xmlns:a16="http://schemas.microsoft.com/office/drawing/2014/main" id="{80DE4736-EAF5-B0FF-0E64-CB1FF7B4815B}"/>
                </a:ext>
              </a:extLst>
            </p:cNvPr>
            <p:cNvSpPr/>
            <p:nvPr/>
          </p:nvSpPr>
          <p:spPr>
            <a:xfrm>
              <a:off x="4556512"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23" name="Forme libre 22">
              <a:extLst>
                <a:ext uri="{FF2B5EF4-FFF2-40B4-BE49-F238E27FC236}">
                  <a16:creationId xmlns:a16="http://schemas.microsoft.com/office/drawing/2014/main" id="{2DEB8F19-6AD3-955B-0699-3EB1BAE7997B}"/>
                </a:ext>
              </a:extLst>
            </p:cNvPr>
            <p:cNvSpPr/>
            <p:nvPr/>
          </p:nvSpPr>
          <p:spPr>
            <a:xfrm>
              <a:off x="4599153"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24" name="Forme libre 23">
              <a:extLst>
                <a:ext uri="{FF2B5EF4-FFF2-40B4-BE49-F238E27FC236}">
                  <a16:creationId xmlns:a16="http://schemas.microsoft.com/office/drawing/2014/main" id="{756250E0-3A1E-4A32-2E70-D94F7A99CA01}"/>
                </a:ext>
              </a:extLst>
            </p:cNvPr>
            <p:cNvSpPr/>
            <p:nvPr/>
          </p:nvSpPr>
          <p:spPr>
            <a:xfrm>
              <a:off x="4641794"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56" name="Forme libre 55">
              <a:extLst>
                <a:ext uri="{FF2B5EF4-FFF2-40B4-BE49-F238E27FC236}">
                  <a16:creationId xmlns:a16="http://schemas.microsoft.com/office/drawing/2014/main" id="{12BE8BED-237F-DA47-F1A3-C9B3FD1CF1CD}"/>
                </a:ext>
              </a:extLst>
            </p:cNvPr>
            <p:cNvSpPr/>
            <p:nvPr/>
          </p:nvSpPr>
          <p:spPr>
            <a:xfrm>
              <a:off x="4684435"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57" name="Forme libre 56">
              <a:extLst>
                <a:ext uri="{FF2B5EF4-FFF2-40B4-BE49-F238E27FC236}">
                  <a16:creationId xmlns:a16="http://schemas.microsoft.com/office/drawing/2014/main" id="{D38350EF-2CBE-5060-FEF2-4997FD8FE048}"/>
                </a:ext>
              </a:extLst>
            </p:cNvPr>
            <p:cNvSpPr/>
            <p:nvPr/>
          </p:nvSpPr>
          <p:spPr>
            <a:xfrm>
              <a:off x="4727076"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59" name="Forme libre 58">
              <a:extLst>
                <a:ext uri="{FF2B5EF4-FFF2-40B4-BE49-F238E27FC236}">
                  <a16:creationId xmlns:a16="http://schemas.microsoft.com/office/drawing/2014/main" id="{457E26C8-CB27-8815-CA9D-058DED3A873C}"/>
                </a:ext>
              </a:extLst>
            </p:cNvPr>
            <p:cNvSpPr/>
            <p:nvPr/>
          </p:nvSpPr>
          <p:spPr>
            <a:xfrm>
              <a:off x="4769717" y="2604555"/>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61" name="Forme libre 60">
              <a:extLst>
                <a:ext uri="{FF2B5EF4-FFF2-40B4-BE49-F238E27FC236}">
                  <a16:creationId xmlns:a16="http://schemas.microsoft.com/office/drawing/2014/main" id="{AB5CE8C5-F11B-FF87-D06D-E0587A8F28B0}"/>
                </a:ext>
              </a:extLst>
            </p:cNvPr>
            <p:cNvSpPr/>
            <p:nvPr/>
          </p:nvSpPr>
          <p:spPr>
            <a:xfrm>
              <a:off x="4385949" y="2234970"/>
              <a:ext cx="241662" cy="341127"/>
            </a:xfrm>
            <a:custGeom>
              <a:avLst/>
              <a:gdLst>
                <a:gd name="connsiteX0" fmla="*/ 0 w 241662"/>
                <a:gd name="connsiteY0" fmla="*/ 0 h 341127"/>
                <a:gd name="connsiteX1" fmla="*/ 241663 w 241662"/>
                <a:gd name="connsiteY1" fmla="*/ 0 h 341127"/>
                <a:gd name="connsiteX2" fmla="*/ 241663 w 241662"/>
                <a:gd name="connsiteY2" fmla="*/ 341127 h 341127"/>
                <a:gd name="connsiteX3" fmla="*/ 0 w 241662"/>
                <a:gd name="connsiteY3" fmla="*/ 341127 h 341127"/>
              </a:gdLst>
              <a:ahLst/>
              <a:cxnLst>
                <a:cxn ang="0">
                  <a:pos x="connsiteX0" y="connsiteY0"/>
                </a:cxn>
                <a:cxn ang="0">
                  <a:pos x="connsiteX1" y="connsiteY1"/>
                </a:cxn>
                <a:cxn ang="0">
                  <a:pos x="connsiteX2" y="connsiteY2"/>
                </a:cxn>
                <a:cxn ang="0">
                  <a:pos x="connsiteX3" y="connsiteY3"/>
                </a:cxn>
              </a:cxnLst>
              <a:rect l="l" t="t" r="r" b="b"/>
              <a:pathLst>
                <a:path w="241662" h="341127">
                  <a:moveTo>
                    <a:pt x="0" y="0"/>
                  </a:moveTo>
                  <a:lnTo>
                    <a:pt x="241663" y="0"/>
                  </a:lnTo>
                  <a:lnTo>
                    <a:pt x="241663" y="341127"/>
                  </a:lnTo>
                  <a:lnTo>
                    <a:pt x="0" y="341127"/>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62" name="Forme libre 61">
              <a:extLst>
                <a:ext uri="{FF2B5EF4-FFF2-40B4-BE49-F238E27FC236}">
                  <a16:creationId xmlns:a16="http://schemas.microsoft.com/office/drawing/2014/main" id="{AEA7C685-6B92-8835-3723-5EFADCA6FA46}"/>
                </a:ext>
              </a:extLst>
            </p:cNvPr>
            <p:cNvSpPr/>
            <p:nvPr/>
          </p:nvSpPr>
          <p:spPr>
            <a:xfrm>
              <a:off x="4407316" y="2320252"/>
              <a:ext cx="199021" cy="9330"/>
            </a:xfrm>
            <a:custGeom>
              <a:avLst/>
              <a:gdLst>
                <a:gd name="connsiteX0" fmla="*/ 0 w 199021"/>
                <a:gd name="connsiteY0" fmla="*/ 0 h 9330"/>
                <a:gd name="connsiteX1" fmla="*/ 199022 w 199021"/>
                <a:gd name="connsiteY1" fmla="*/ 0 h 9330"/>
              </a:gdLst>
              <a:ahLst/>
              <a:cxnLst>
                <a:cxn ang="0">
                  <a:pos x="connsiteX0" y="connsiteY0"/>
                </a:cxn>
                <a:cxn ang="0">
                  <a:pos x="connsiteX1" y="connsiteY1"/>
                </a:cxn>
              </a:cxnLst>
              <a:rect l="l" t="t" r="r" b="b"/>
              <a:pathLst>
                <a:path w="199021" h="9330">
                  <a:moveTo>
                    <a:pt x="0" y="0"/>
                  </a:moveTo>
                  <a:lnTo>
                    <a:pt x="199022"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68" name="Forme libre 7167">
              <a:extLst>
                <a:ext uri="{FF2B5EF4-FFF2-40B4-BE49-F238E27FC236}">
                  <a16:creationId xmlns:a16="http://schemas.microsoft.com/office/drawing/2014/main" id="{D8A5331B-8442-16E3-4295-03B1CEEF1B47}"/>
                </a:ext>
              </a:extLst>
            </p:cNvPr>
            <p:cNvSpPr/>
            <p:nvPr/>
          </p:nvSpPr>
          <p:spPr>
            <a:xfrm>
              <a:off x="4563604" y="2291887"/>
              <a:ext cx="14275" cy="9330"/>
            </a:xfrm>
            <a:custGeom>
              <a:avLst/>
              <a:gdLst>
                <a:gd name="connsiteX0" fmla="*/ 14276 w 14275"/>
                <a:gd name="connsiteY0" fmla="*/ 0 h 9330"/>
                <a:gd name="connsiteX1" fmla="*/ 0 w 14275"/>
                <a:gd name="connsiteY1" fmla="*/ 0 h 9330"/>
              </a:gdLst>
              <a:ahLst/>
              <a:cxnLst>
                <a:cxn ang="0">
                  <a:pos x="connsiteX0" y="connsiteY0"/>
                </a:cxn>
                <a:cxn ang="0">
                  <a:pos x="connsiteX1" y="connsiteY1"/>
                </a:cxn>
              </a:cxnLst>
              <a:rect l="l" t="t" r="r" b="b"/>
              <a:pathLst>
                <a:path w="14275" h="9330">
                  <a:moveTo>
                    <a:pt x="14276" y="0"/>
                  </a:moveTo>
                  <a:lnTo>
                    <a:pt x="0"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69" name="Forme libre 7168">
              <a:extLst>
                <a:ext uri="{FF2B5EF4-FFF2-40B4-BE49-F238E27FC236}">
                  <a16:creationId xmlns:a16="http://schemas.microsoft.com/office/drawing/2014/main" id="{8D9E5CE6-8C07-7FDA-E799-EC9CB889ED97}"/>
                </a:ext>
              </a:extLst>
            </p:cNvPr>
            <p:cNvSpPr/>
            <p:nvPr/>
          </p:nvSpPr>
          <p:spPr>
            <a:xfrm>
              <a:off x="4535239" y="2291887"/>
              <a:ext cx="14182" cy="9330"/>
            </a:xfrm>
            <a:custGeom>
              <a:avLst/>
              <a:gdLst>
                <a:gd name="connsiteX0" fmla="*/ 14183 w 14182"/>
                <a:gd name="connsiteY0" fmla="*/ 0 h 9330"/>
                <a:gd name="connsiteX1" fmla="*/ 0 w 14182"/>
                <a:gd name="connsiteY1" fmla="*/ 0 h 9330"/>
              </a:gdLst>
              <a:ahLst/>
              <a:cxnLst>
                <a:cxn ang="0">
                  <a:pos x="connsiteX0" y="connsiteY0"/>
                </a:cxn>
                <a:cxn ang="0">
                  <a:pos x="connsiteX1" y="connsiteY1"/>
                </a:cxn>
              </a:cxnLst>
              <a:rect l="l" t="t" r="r" b="b"/>
              <a:pathLst>
                <a:path w="14182" h="9330">
                  <a:moveTo>
                    <a:pt x="14183" y="0"/>
                  </a:moveTo>
                  <a:lnTo>
                    <a:pt x="0"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1" name="Forme libre 7170">
              <a:extLst>
                <a:ext uri="{FF2B5EF4-FFF2-40B4-BE49-F238E27FC236}">
                  <a16:creationId xmlns:a16="http://schemas.microsoft.com/office/drawing/2014/main" id="{9542F5F9-089B-DAF4-274F-FEAC1A519E5B}"/>
                </a:ext>
              </a:extLst>
            </p:cNvPr>
            <p:cNvSpPr/>
            <p:nvPr/>
          </p:nvSpPr>
          <p:spPr>
            <a:xfrm>
              <a:off x="4506780" y="2291887"/>
              <a:ext cx="14182" cy="9330"/>
            </a:xfrm>
            <a:custGeom>
              <a:avLst/>
              <a:gdLst>
                <a:gd name="connsiteX0" fmla="*/ 14183 w 14182"/>
                <a:gd name="connsiteY0" fmla="*/ 0 h 9330"/>
                <a:gd name="connsiteX1" fmla="*/ 0 w 14182"/>
                <a:gd name="connsiteY1" fmla="*/ 0 h 9330"/>
              </a:gdLst>
              <a:ahLst/>
              <a:cxnLst>
                <a:cxn ang="0">
                  <a:pos x="connsiteX0" y="connsiteY0"/>
                </a:cxn>
                <a:cxn ang="0">
                  <a:pos x="connsiteX1" y="connsiteY1"/>
                </a:cxn>
              </a:cxnLst>
              <a:rect l="l" t="t" r="r" b="b"/>
              <a:pathLst>
                <a:path w="14182" h="9330">
                  <a:moveTo>
                    <a:pt x="14183" y="0"/>
                  </a:moveTo>
                  <a:lnTo>
                    <a:pt x="0"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3" name="Forme libre 7172">
              <a:extLst>
                <a:ext uri="{FF2B5EF4-FFF2-40B4-BE49-F238E27FC236}">
                  <a16:creationId xmlns:a16="http://schemas.microsoft.com/office/drawing/2014/main" id="{2A557131-7FF1-36C8-B7FB-C9CEF99381D8}"/>
                </a:ext>
              </a:extLst>
            </p:cNvPr>
            <p:cNvSpPr/>
            <p:nvPr/>
          </p:nvSpPr>
          <p:spPr>
            <a:xfrm>
              <a:off x="4556512" y="234871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4" name="Forme libre 7173">
              <a:extLst>
                <a:ext uri="{FF2B5EF4-FFF2-40B4-BE49-F238E27FC236}">
                  <a16:creationId xmlns:a16="http://schemas.microsoft.com/office/drawing/2014/main" id="{643D9F28-17B4-35CB-0136-573D3EBF8DCE}"/>
                </a:ext>
              </a:extLst>
            </p:cNvPr>
            <p:cNvSpPr/>
            <p:nvPr/>
          </p:nvSpPr>
          <p:spPr>
            <a:xfrm>
              <a:off x="4485506" y="234871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5" name="Forme libre 7174">
              <a:extLst>
                <a:ext uri="{FF2B5EF4-FFF2-40B4-BE49-F238E27FC236}">
                  <a16:creationId xmlns:a16="http://schemas.microsoft.com/office/drawing/2014/main" id="{4A1B21DE-6CF0-B4D9-1517-7245C90F51AE}"/>
                </a:ext>
              </a:extLst>
            </p:cNvPr>
            <p:cNvSpPr/>
            <p:nvPr/>
          </p:nvSpPr>
          <p:spPr>
            <a:xfrm>
              <a:off x="4414407" y="234871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6" name="Forme libre 7175">
              <a:extLst>
                <a:ext uri="{FF2B5EF4-FFF2-40B4-BE49-F238E27FC236}">
                  <a16:creationId xmlns:a16="http://schemas.microsoft.com/office/drawing/2014/main" id="{B044B870-E648-60C6-5ECC-19C8B45E8655}"/>
                </a:ext>
              </a:extLst>
            </p:cNvPr>
            <p:cNvSpPr/>
            <p:nvPr/>
          </p:nvSpPr>
          <p:spPr>
            <a:xfrm>
              <a:off x="4556512" y="2405533"/>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7" name="Forme libre 7176">
              <a:extLst>
                <a:ext uri="{FF2B5EF4-FFF2-40B4-BE49-F238E27FC236}">
                  <a16:creationId xmlns:a16="http://schemas.microsoft.com/office/drawing/2014/main" id="{112BDD85-9BBF-A51F-C7AF-F713FE76ADE7}"/>
                </a:ext>
              </a:extLst>
            </p:cNvPr>
            <p:cNvSpPr/>
            <p:nvPr/>
          </p:nvSpPr>
          <p:spPr>
            <a:xfrm>
              <a:off x="4485506" y="2405533"/>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8" name="Forme libre 7177">
              <a:extLst>
                <a:ext uri="{FF2B5EF4-FFF2-40B4-BE49-F238E27FC236}">
                  <a16:creationId xmlns:a16="http://schemas.microsoft.com/office/drawing/2014/main" id="{27810F89-283E-1203-FCAB-C39EC30C44B4}"/>
                </a:ext>
              </a:extLst>
            </p:cNvPr>
            <p:cNvSpPr/>
            <p:nvPr/>
          </p:nvSpPr>
          <p:spPr>
            <a:xfrm>
              <a:off x="4414407" y="2405533"/>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79" name="Forme libre 7178">
              <a:extLst>
                <a:ext uri="{FF2B5EF4-FFF2-40B4-BE49-F238E27FC236}">
                  <a16:creationId xmlns:a16="http://schemas.microsoft.com/office/drawing/2014/main" id="{5D05EACF-2216-230F-67C9-07A020813BEE}"/>
                </a:ext>
              </a:extLst>
            </p:cNvPr>
            <p:cNvSpPr/>
            <p:nvPr/>
          </p:nvSpPr>
          <p:spPr>
            <a:xfrm>
              <a:off x="4556512" y="246245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0" name="Forme libre 7179">
              <a:extLst>
                <a:ext uri="{FF2B5EF4-FFF2-40B4-BE49-F238E27FC236}">
                  <a16:creationId xmlns:a16="http://schemas.microsoft.com/office/drawing/2014/main" id="{D75D8524-C138-C222-D4D8-29380122327E}"/>
                </a:ext>
              </a:extLst>
            </p:cNvPr>
            <p:cNvSpPr/>
            <p:nvPr/>
          </p:nvSpPr>
          <p:spPr>
            <a:xfrm>
              <a:off x="4485506" y="246245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1" name="Forme libre 7180">
              <a:extLst>
                <a:ext uri="{FF2B5EF4-FFF2-40B4-BE49-F238E27FC236}">
                  <a16:creationId xmlns:a16="http://schemas.microsoft.com/office/drawing/2014/main" id="{04DDDF07-4BA0-032E-E43C-CA72BA1C651D}"/>
                </a:ext>
              </a:extLst>
            </p:cNvPr>
            <p:cNvSpPr/>
            <p:nvPr/>
          </p:nvSpPr>
          <p:spPr>
            <a:xfrm>
              <a:off x="4414407" y="2462450"/>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2" name="Forme libre 7181">
              <a:extLst>
                <a:ext uri="{FF2B5EF4-FFF2-40B4-BE49-F238E27FC236}">
                  <a16:creationId xmlns:a16="http://schemas.microsoft.com/office/drawing/2014/main" id="{117CBBD5-1F8E-F45E-A83E-D45F9F004A2F}"/>
                </a:ext>
              </a:extLst>
            </p:cNvPr>
            <p:cNvSpPr/>
            <p:nvPr/>
          </p:nvSpPr>
          <p:spPr>
            <a:xfrm>
              <a:off x="4556512" y="2519274"/>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3" name="Forme libre 7182">
              <a:extLst>
                <a:ext uri="{FF2B5EF4-FFF2-40B4-BE49-F238E27FC236}">
                  <a16:creationId xmlns:a16="http://schemas.microsoft.com/office/drawing/2014/main" id="{9A968B3B-30BC-3129-5278-B5B001106DD1}"/>
                </a:ext>
              </a:extLst>
            </p:cNvPr>
            <p:cNvSpPr/>
            <p:nvPr/>
          </p:nvSpPr>
          <p:spPr>
            <a:xfrm>
              <a:off x="4485506" y="2519274"/>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4" name="Forme libre 7183">
              <a:extLst>
                <a:ext uri="{FF2B5EF4-FFF2-40B4-BE49-F238E27FC236}">
                  <a16:creationId xmlns:a16="http://schemas.microsoft.com/office/drawing/2014/main" id="{66FFCAC9-ABE0-083D-8C42-6E26F50E438E}"/>
                </a:ext>
              </a:extLst>
            </p:cNvPr>
            <p:cNvSpPr/>
            <p:nvPr/>
          </p:nvSpPr>
          <p:spPr>
            <a:xfrm>
              <a:off x="4414407" y="2519274"/>
              <a:ext cx="42640" cy="28458"/>
            </a:xfrm>
            <a:custGeom>
              <a:avLst/>
              <a:gdLst>
                <a:gd name="connsiteX0" fmla="*/ 0 w 42640"/>
                <a:gd name="connsiteY0" fmla="*/ 0 h 28458"/>
                <a:gd name="connsiteX1" fmla="*/ 42641 w 42640"/>
                <a:gd name="connsiteY1" fmla="*/ 0 h 28458"/>
                <a:gd name="connsiteX2" fmla="*/ 42641 w 42640"/>
                <a:gd name="connsiteY2" fmla="*/ 28458 h 28458"/>
                <a:gd name="connsiteX3" fmla="*/ 0 w 42640"/>
                <a:gd name="connsiteY3" fmla="*/ 28458 h 28458"/>
              </a:gdLst>
              <a:ahLst/>
              <a:cxnLst>
                <a:cxn ang="0">
                  <a:pos x="connsiteX0" y="connsiteY0"/>
                </a:cxn>
                <a:cxn ang="0">
                  <a:pos x="connsiteX1" y="connsiteY1"/>
                </a:cxn>
                <a:cxn ang="0">
                  <a:pos x="connsiteX2" y="connsiteY2"/>
                </a:cxn>
                <a:cxn ang="0">
                  <a:pos x="connsiteX3" y="connsiteY3"/>
                </a:cxn>
              </a:cxnLst>
              <a:rect l="l" t="t" r="r" b="b"/>
              <a:pathLst>
                <a:path w="42640" h="28458">
                  <a:moveTo>
                    <a:pt x="0" y="0"/>
                  </a:moveTo>
                  <a:lnTo>
                    <a:pt x="42641" y="0"/>
                  </a:lnTo>
                  <a:lnTo>
                    <a:pt x="42641" y="28458"/>
                  </a:lnTo>
                  <a:lnTo>
                    <a:pt x="0" y="28458"/>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5" name="Forme libre 7184">
              <a:extLst>
                <a:ext uri="{FF2B5EF4-FFF2-40B4-BE49-F238E27FC236}">
                  <a16:creationId xmlns:a16="http://schemas.microsoft.com/office/drawing/2014/main" id="{D22AF31D-BB14-6A5F-5E58-A6605A5B6F9F}"/>
                </a:ext>
              </a:extLst>
            </p:cNvPr>
            <p:cNvSpPr/>
            <p:nvPr/>
          </p:nvSpPr>
          <p:spPr>
            <a:xfrm>
              <a:off x="4656070" y="2234970"/>
              <a:ext cx="56823" cy="341127"/>
            </a:xfrm>
            <a:custGeom>
              <a:avLst/>
              <a:gdLst>
                <a:gd name="connsiteX0" fmla="*/ 56823 w 56823"/>
                <a:gd name="connsiteY0" fmla="*/ 326945 h 341127"/>
                <a:gd name="connsiteX1" fmla="*/ 42641 w 56823"/>
                <a:gd name="connsiteY1" fmla="*/ 341127 h 341127"/>
                <a:gd name="connsiteX2" fmla="*/ 14183 w 56823"/>
                <a:gd name="connsiteY2" fmla="*/ 341127 h 341127"/>
                <a:gd name="connsiteX3" fmla="*/ 0 w 56823"/>
                <a:gd name="connsiteY3" fmla="*/ 326945 h 341127"/>
                <a:gd name="connsiteX4" fmla="*/ 0 w 56823"/>
                <a:gd name="connsiteY4" fmla="*/ 0 h 341127"/>
                <a:gd name="connsiteX5" fmla="*/ 56823 w 56823"/>
                <a:gd name="connsiteY5" fmla="*/ 0 h 341127"/>
                <a:gd name="connsiteX6" fmla="*/ 56823 w 56823"/>
                <a:gd name="connsiteY6" fmla="*/ 326945 h 34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823" h="341127">
                  <a:moveTo>
                    <a:pt x="56823" y="326945"/>
                  </a:moveTo>
                  <a:lnTo>
                    <a:pt x="42641" y="341127"/>
                  </a:lnTo>
                  <a:lnTo>
                    <a:pt x="14183" y="341127"/>
                  </a:lnTo>
                  <a:lnTo>
                    <a:pt x="0" y="326945"/>
                  </a:lnTo>
                  <a:lnTo>
                    <a:pt x="0" y="0"/>
                  </a:lnTo>
                  <a:lnTo>
                    <a:pt x="56823" y="0"/>
                  </a:lnTo>
                  <a:lnTo>
                    <a:pt x="56823" y="326945"/>
                  </a:lnTo>
                  <a:close/>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6" name="Forme libre 7185">
              <a:extLst>
                <a:ext uri="{FF2B5EF4-FFF2-40B4-BE49-F238E27FC236}">
                  <a16:creationId xmlns:a16="http://schemas.microsoft.com/office/drawing/2014/main" id="{2DAFBF31-CA6C-2651-469A-D636824CC3D6}"/>
                </a:ext>
              </a:extLst>
            </p:cNvPr>
            <p:cNvSpPr/>
            <p:nvPr/>
          </p:nvSpPr>
          <p:spPr>
            <a:xfrm>
              <a:off x="4741352" y="2320252"/>
              <a:ext cx="28458" cy="241662"/>
            </a:xfrm>
            <a:custGeom>
              <a:avLst/>
              <a:gdLst>
                <a:gd name="connsiteX0" fmla="*/ 0 w 28458"/>
                <a:gd name="connsiteY0" fmla="*/ 0 h 241662"/>
                <a:gd name="connsiteX1" fmla="*/ 0 w 28458"/>
                <a:gd name="connsiteY1" fmla="*/ 227480 h 241662"/>
                <a:gd name="connsiteX2" fmla="*/ 14183 w 28458"/>
                <a:gd name="connsiteY2" fmla="*/ 241663 h 241662"/>
                <a:gd name="connsiteX3" fmla="*/ 28458 w 28458"/>
                <a:gd name="connsiteY3" fmla="*/ 227480 h 241662"/>
                <a:gd name="connsiteX4" fmla="*/ 28458 w 28458"/>
                <a:gd name="connsiteY4" fmla="*/ 42641 h 241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58" h="241662">
                  <a:moveTo>
                    <a:pt x="0" y="0"/>
                  </a:moveTo>
                  <a:lnTo>
                    <a:pt x="0" y="227480"/>
                  </a:lnTo>
                  <a:lnTo>
                    <a:pt x="14183" y="241663"/>
                  </a:lnTo>
                  <a:lnTo>
                    <a:pt x="28458" y="227480"/>
                  </a:lnTo>
                  <a:lnTo>
                    <a:pt x="28458" y="42641"/>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7" name="Forme libre 7186">
              <a:extLst>
                <a:ext uri="{FF2B5EF4-FFF2-40B4-BE49-F238E27FC236}">
                  <a16:creationId xmlns:a16="http://schemas.microsoft.com/office/drawing/2014/main" id="{FE37B447-C1F5-1BCA-B275-CE1377540388}"/>
                </a:ext>
              </a:extLst>
            </p:cNvPr>
            <p:cNvSpPr/>
            <p:nvPr/>
          </p:nvSpPr>
          <p:spPr>
            <a:xfrm>
              <a:off x="4798175" y="2320252"/>
              <a:ext cx="28458" cy="241662"/>
            </a:xfrm>
            <a:custGeom>
              <a:avLst/>
              <a:gdLst>
                <a:gd name="connsiteX0" fmla="*/ 0 w 28458"/>
                <a:gd name="connsiteY0" fmla="*/ 42641 h 241662"/>
                <a:gd name="connsiteX1" fmla="*/ 0 w 28458"/>
                <a:gd name="connsiteY1" fmla="*/ 227480 h 241662"/>
                <a:gd name="connsiteX2" fmla="*/ 14276 w 28458"/>
                <a:gd name="connsiteY2" fmla="*/ 241663 h 241662"/>
                <a:gd name="connsiteX3" fmla="*/ 28458 w 28458"/>
                <a:gd name="connsiteY3" fmla="*/ 227480 h 241662"/>
                <a:gd name="connsiteX4" fmla="*/ 28458 w 28458"/>
                <a:gd name="connsiteY4" fmla="*/ 0 h 241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58" h="241662">
                  <a:moveTo>
                    <a:pt x="0" y="42641"/>
                  </a:moveTo>
                  <a:lnTo>
                    <a:pt x="0" y="227480"/>
                  </a:lnTo>
                  <a:lnTo>
                    <a:pt x="14276" y="241663"/>
                  </a:lnTo>
                  <a:lnTo>
                    <a:pt x="28458" y="227480"/>
                  </a:lnTo>
                  <a:lnTo>
                    <a:pt x="28458"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8" name="Forme libre 7187">
              <a:extLst>
                <a:ext uri="{FF2B5EF4-FFF2-40B4-BE49-F238E27FC236}">
                  <a16:creationId xmlns:a16="http://schemas.microsoft.com/office/drawing/2014/main" id="{515A3A58-A2DD-F6E3-7211-0334522AD7E4}"/>
                </a:ext>
              </a:extLst>
            </p:cNvPr>
            <p:cNvSpPr/>
            <p:nvPr/>
          </p:nvSpPr>
          <p:spPr>
            <a:xfrm>
              <a:off x="4741350" y="2278077"/>
              <a:ext cx="85284" cy="85283"/>
            </a:xfrm>
            <a:custGeom>
              <a:avLst/>
              <a:gdLst>
                <a:gd name="connsiteX0" fmla="*/ 84887 w 85284"/>
                <a:gd name="connsiteY0" fmla="*/ 41994 h 85283"/>
                <a:gd name="connsiteX1" fmla="*/ 42619 w 85284"/>
                <a:gd name="connsiteY1" fmla="*/ 85008 h 85283"/>
                <a:gd name="connsiteX2" fmla="*/ -395 w 85284"/>
                <a:gd name="connsiteY2" fmla="*/ 42740 h 85283"/>
                <a:gd name="connsiteX3" fmla="*/ 41873 w 85284"/>
                <a:gd name="connsiteY3" fmla="*/ -274 h 85283"/>
                <a:gd name="connsiteX4" fmla="*/ 42246 w 85284"/>
                <a:gd name="connsiteY4" fmla="*/ -274 h 85283"/>
                <a:gd name="connsiteX5" fmla="*/ 84887 w 85284"/>
                <a:gd name="connsiteY5" fmla="*/ 42367 h 8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284" h="85283">
                  <a:moveTo>
                    <a:pt x="84887" y="41994"/>
                  </a:moveTo>
                  <a:cubicBezTo>
                    <a:pt x="85092" y="65544"/>
                    <a:pt x="66169" y="84803"/>
                    <a:pt x="42619" y="85008"/>
                  </a:cubicBezTo>
                  <a:cubicBezTo>
                    <a:pt x="19069" y="85213"/>
                    <a:pt x="-190" y="66291"/>
                    <a:pt x="-395" y="42740"/>
                  </a:cubicBezTo>
                  <a:cubicBezTo>
                    <a:pt x="-600" y="19190"/>
                    <a:pt x="18322" y="-68"/>
                    <a:pt x="41873" y="-274"/>
                  </a:cubicBezTo>
                  <a:cubicBezTo>
                    <a:pt x="41994" y="-274"/>
                    <a:pt x="42125" y="-274"/>
                    <a:pt x="42246" y="-274"/>
                  </a:cubicBezTo>
                  <a:cubicBezTo>
                    <a:pt x="65777" y="-227"/>
                    <a:pt x="84831" y="18836"/>
                    <a:pt x="84887" y="42367"/>
                  </a:cubicBez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89" name="Forme libre 7188">
              <a:extLst>
                <a:ext uri="{FF2B5EF4-FFF2-40B4-BE49-F238E27FC236}">
                  <a16:creationId xmlns:a16="http://schemas.microsoft.com/office/drawing/2014/main" id="{CABF6D99-FC17-0618-5325-3CC17891805C}"/>
                </a:ext>
              </a:extLst>
            </p:cNvPr>
            <p:cNvSpPr/>
            <p:nvPr/>
          </p:nvSpPr>
          <p:spPr>
            <a:xfrm>
              <a:off x="4769810" y="2234970"/>
              <a:ext cx="28365" cy="42640"/>
            </a:xfrm>
            <a:custGeom>
              <a:avLst/>
              <a:gdLst>
                <a:gd name="connsiteX0" fmla="*/ 0 w 28365"/>
                <a:gd name="connsiteY0" fmla="*/ 42641 h 42640"/>
                <a:gd name="connsiteX1" fmla="*/ 0 w 28365"/>
                <a:gd name="connsiteY1" fmla="*/ 0 h 42640"/>
                <a:gd name="connsiteX2" fmla="*/ 28365 w 28365"/>
                <a:gd name="connsiteY2" fmla="*/ 0 h 42640"/>
                <a:gd name="connsiteX3" fmla="*/ 28365 w 28365"/>
                <a:gd name="connsiteY3" fmla="*/ 42641 h 42640"/>
              </a:gdLst>
              <a:ahLst/>
              <a:cxnLst>
                <a:cxn ang="0">
                  <a:pos x="connsiteX0" y="connsiteY0"/>
                </a:cxn>
                <a:cxn ang="0">
                  <a:pos x="connsiteX1" y="connsiteY1"/>
                </a:cxn>
                <a:cxn ang="0">
                  <a:pos x="connsiteX2" y="connsiteY2"/>
                </a:cxn>
                <a:cxn ang="0">
                  <a:pos x="connsiteX3" y="connsiteY3"/>
                </a:cxn>
              </a:cxnLst>
              <a:rect l="l" t="t" r="r" b="b"/>
              <a:pathLst>
                <a:path w="28365" h="42640">
                  <a:moveTo>
                    <a:pt x="0" y="42641"/>
                  </a:moveTo>
                  <a:lnTo>
                    <a:pt x="0" y="0"/>
                  </a:lnTo>
                  <a:lnTo>
                    <a:pt x="28365" y="0"/>
                  </a:lnTo>
                  <a:lnTo>
                    <a:pt x="28365" y="42641"/>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0" name="Forme libre 7189">
              <a:extLst>
                <a:ext uri="{FF2B5EF4-FFF2-40B4-BE49-F238E27FC236}">
                  <a16:creationId xmlns:a16="http://schemas.microsoft.com/office/drawing/2014/main" id="{A0E9E434-0204-24C1-1BAA-814D5BE1C0B7}"/>
                </a:ext>
              </a:extLst>
            </p:cNvPr>
            <p:cNvSpPr/>
            <p:nvPr/>
          </p:nvSpPr>
          <p:spPr>
            <a:xfrm>
              <a:off x="4769717" y="2419809"/>
              <a:ext cx="28458" cy="9330"/>
            </a:xfrm>
            <a:custGeom>
              <a:avLst/>
              <a:gdLst>
                <a:gd name="connsiteX0" fmla="*/ 0 w 28458"/>
                <a:gd name="connsiteY0" fmla="*/ 0 h 9330"/>
                <a:gd name="connsiteX1" fmla="*/ 28458 w 28458"/>
                <a:gd name="connsiteY1" fmla="*/ 0 h 9330"/>
              </a:gdLst>
              <a:ahLst/>
              <a:cxnLst>
                <a:cxn ang="0">
                  <a:pos x="connsiteX0" y="connsiteY0"/>
                </a:cxn>
                <a:cxn ang="0">
                  <a:pos x="connsiteX1" y="connsiteY1"/>
                </a:cxn>
              </a:cxnLst>
              <a:rect l="l" t="t" r="r" b="b"/>
              <a:pathLst>
                <a:path w="28458" h="9330">
                  <a:moveTo>
                    <a:pt x="0" y="0"/>
                  </a:moveTo>
                  <a:lnTo>
                    <a:pt x="28458"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1" name="Forme libre 7190">
              <a:extLst>
                <a:ext uri="{FF2B5EF4-FFF2-40B4-BE49-F238E27FC236}">
                  <a16:creationId xmlns:a16="http://schemas.microsoft.com/office/drawing/2014/main" id="{D45CD0C9-D8A6-2512-5CE8-4D9D02156388}"/>
                </a:ext>
              </a:extLst>
            </p:cNvPr>
            <p:cNvSpPr/>
            <p:nvPr/>
          </p:nvSpPr>
          <p:spPr>
            <a:xfrm>
              <a:off x="4755534" y="2561914"/>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2" name="Forme libre 7191">
              <a:extLst>
                <a:ext uri="{FF2B5EF4-FFF2-40B4-BE49-F238E27FC236}">
                  <a16:creationId xmlns:a16="http://schemas.microsoft.com/office/drawing/2014/main" id="{99434108-5F46-D1D6-4C5E-4D8458A0EC16}"/>
                </a:ext>
              </a:extLst>
            </p:cNvPr>
            <p:cNvSpPr/>
            <p:nvPr/>
          </p:nvSpPr>
          <p:spPr>
            <a:xfrm>
              <a:off x="4812358" y="2561914"/>
              <a:ext cx="9330" cy="21367"/>
            </a:xfrm>
            <a:custGeom>
              <a:avLst/>
              <a:gdLst>
                <a:gd name="connsiteX0" fmla="*/ 0 w 9330"/>
                <a:gd name="connsiteY0" fmla="*/ 0 h 21367"/>
                <a:gd name="connsiteX1" fmla="*/ 0 w 9330"/>
                <a:gd name="connsiteY1" fmla="*/ 21367 h 21367"/>
              </a:gdLst>
              <a:ahLst/>
              <a:cxnLst>
                <a:cxn ang="0">
                  <a:pos x="connsiteX0" y="connsiteY0"/>
                </a:cxn>
                <a:cxn ang="0">
                  <a:pos x="connsiteX1" y="connsiteY1"/>
                </a:cxn>
              </a:cxnLst>
              <a:rect l="l" t="t" r="r" b="b"/>
              <a:pathLst>
                <a:path w="9330" h="21367">
                  <a:moveTo>
                    <a:pt x="0" y="0"/>
                  </a:moveTo>
                  <a:lnTo>
                    <a:pt x="0" y="21367"/>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3" name="Forme libre 7192">
              <a:extLst>
                <a:ext uri="{FF2B5EF4-FFF2-40B4-BE49-F238E27FC236}">
                  <a16:creationId xmlns:a16="http://schemas.microsoft.com/office/drawing/2014/main" id="{0723C379-EB10-34B8-1A28-5E6E76902E32}"/>
                </a:ext>
              </a:extLst>
            </p:cNvPr>
            <p:cNvSpPr/>
            <p:nvPr/>
          </p:nvSpPr>
          <p:spPr>
            <a:xfrm>
              <a:off x="4684435" y="2234970"/>
              <a:ext cx="9330" cy="92373"/>
            </a:xfrm>
            <a:custGeom>
              <a:avLst/>
              <a:gdLst>
                <a:gd name="connsiteX0" fmla="*/ 0 w 9330"/>
                <a:gd name="connsiteY0" fmla="*/ 0 h 92373"/>
                <a:gd name="connsiteX1" fmla="*/ 0 w 9330"/>
                <a:gd name="connsiteY1" fmla="*/ 92373 h 92373"/>
              </a:gdLst>
              <a:ahLst/>
              <a:cxnLst>
                <a:cxn ang="0">
                  <a:pos x="connsiteX0" y="connsiteY0"/>
                </a:cxn>
                <a:cxn ang="0">
                  <a:pos x="connsiteX1" y="connsiteY1"/>
                </a:cxn>
              </a:cxnLst>
              <a:rect l="l" t="t" r="r" b="b"/>
              <a:pathLst>
                <a:path w="9330" h="92373">
                  <a:moveTo>
                    <a:pt x="0" y="0"/>
                  </a:moveTo>
                  <a:lnTo>
                    <a:pt x="0" y="92373"/>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4" name="Forme libre 7193">
              <a:extLst>
                <a:ext uri="{FF2B5EF4-FFF2-40B4-BE49-F238E27FC236}">
                  <a16:creationId xmlns:a16="http://schemas.microsoft.com/office/drawing/2014/main" id="{AD8AD50F-E7F4-A9A8-CA12-D4BE15C96849}"/>
                </a:ext>
              </a:extLst>
            </p:cNvPr>
            <p:cNvSpPr/>
            <p:nvPr/>
          </p:nvSpPr>
          <p:spPr>
            <a:xfrm>
              <a:off x="4684435" y="2498000"/>
              <a:ext cx="9330" cy="56823"/>
            </a:xfrm>
            <a:custGeom>
              <a:avLst/>
              <a:gdLst>
                <a:gd name="connsiteX0" fmla="*/ 0 w 9330"/>
                <a:gd name="connsiteY0" fmla="*/ 0 h 56823"/>
                <a:gd name="connsiteX1" fmla="*/ 0 w 9330"/>
                <a:gd name="connsiteY1" fmla="*/ 56823 h 56823"/>
              </a:gdLst>
              <a:ahLst/>
              <a:cxnLst>
                <a:cxn ang="0">
                  <a:pos x="connsiteX0" y="connsiteY0"/>
                </a:cxn>
                <a:cxn ang="0">
                  <a:pos x="connsiteX1" y="connsiteY1"/>
                </a:cxn>
              </a:cxnLst>
              <a:rect l="l" t="t" r="r" b="b"/>
              <a:pathLst>
                <a:path w="9330" h="56823">
                  <a:moveTo>
                    <a:pt x="0" y="0"/>
                  </a:moveTo>
                  <a:lnTo>
                    <a:pt x="0" y="56823"/>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5" name="Forme libre 7194">
              <a:extLst>
                <a:ext uri="{FF2B5EF4-FFF2-40B4-BE49-F238E27FC236}">
                  <a16:creationId xmlns:a16="http://schemas.microsoft.com/office/drawing/2014/main" id="{5E45A90A-95A7-0EE7-6DB2-F08821B85326}"/>
                </a:ext>
              </a:extLst>
            </p:cNvPr>
            <p:cNvSpPr/>
            <p:nvPr/>
          </p:nvSpPr>
          <p:spPr>
            <a:xfrm>
              <a:off x="4656070" y="2362892"/>
              <a:ext cx="56823" cy="9330"/>
            </a:xfrm>
            <a:custGeom>
              <a:avLst/>
              <a:gdLst>
                <a:gd name="connsiteX0" fmla="*/ 56823 w 56823"/>
                <a:gd name="connsiteY0" fmla="*/ 0 h 9330"/>
                <a:gd name="connsiteX1" fmla="*/ 0 w 56823"/>
                <a:gd name="connsiteY1" fmla="*/ 0 h 9330"/>
              </a:gdLst>
              <a:ahLst/>
              <a:cxnLst>
                <a:cxn ang="0">
                  <a:pos x="connsiteX0" y="connsiteY0"/>
                </a:cxn>
                <a:cxn ang="0">
                  <a:pos x="connsiteX1" y="connsiteY1"/>
                </a:cxn>
              </a:cxnLst>
              <a:rect l="l" t="t" r="r" b="b"/>
              <a:pathLst>
                <a:path w="56823" h="9330">
                  <a:moveTo>
                    <a:pt x="56823" y="0"/>
                  </a:moveTo>
                  <a:lnTo>
                    <a:pt x="0" y="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6" name="Forme libre 7195">
              <a:extLst>
                <a:ext uri="{FF2B5EF4-FFF2-40B4-BE49-F238E27FC236}">
                  <a16:creationId xmlns:a16="http://schemas.microsoft.com/office/drawing/2014/main" id="{3B31B17F-1246-79E1-541E-3160CA3F187C}"/>
                </a:ext>
              </a:extLst>
            </p:cNvPr>
            <p:cNvSpPr/>
            <p:nvPr/>
          </p:nvSpPr>
          <p:spPr>
            <a:xfrm>
              <a:off x="4414407" y="2263428"/>
              <a:ext cx="184746" cy="35549"/>
            </a:xfrm>
            <a:custGeom>
              <a:avLst/>
              <a:gdLst>
                <a:gd name="connsiteX0" fmla="*/ 0 w 184746"/>
                <a:gd name="connsiteY0" fmla="*/ 35550 h 35549"/>
                <a:gd name="connsiteX1" fmla="*/ 0 w 184746"/>
                <a:gd name="connsiteY1" fmla="*/ 0 h 35549"/>
                <a:gd name="connsiteX2" fmla="*/ 184746 w 184746"/>
                <a:gd name="connsiteY2" fmla="*/ 0 h 35549"/>
                <a:gd name="connsiteX3" fmla="*/ 184746 w 184746"/>
                <a:gd name="connsiteY3" fmla="*/ 35550 h 35549"/>
              </a:gdLst>
              <a:ahLst/>
              <a:cxnLst>
                <a:cxn ang="0">
                  <a:pos x="connsiteX0" y="connsiteY0"/>
                </a:cxn>
                <a:cxn ang="0">
                  <a:pos x="connsiteX1" y="connsiteY1"/>
                </a:cxn>
                <a:cxn ang="0">
                  <a:pos x="connsiteX2" y="connsiteY2"/>
                </a:cxn>
                <a:cxn ang="0">
                  <a:pos x="connsiteX3" y="connsiteY3"/>
                </a:cxn>
              </a:cxnLst>
              <a:rect l="l" t="t" r="r" b="b"/>
              <a:pathLst>
                <a:path w="184746" h="35549">
                  <a:moveTo>
                    <a:pt x="0" y="35550"/>
                  </a:moveTo>
                  <a:lnTo>
                    <a:pt x="0" y="0"/>
                  </a:lnTo>
                  <a:lnTo>
                    <a:pt x="184746" y="0"/>
                  </a:lnTo>
                  <a:lnTo>
                    <a:pt x="184746" y="35550"/>
                  </a:ln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197" name="Forme libre 7196">
              <a:extLst>
                <a:ext uri="{FF2B5EF4-FFF2-40B4-BE49-F238E27FC236}">
                  <a16:creationId xmlns:a16="http://schemas.microsoft.com/office/drawing/2014/main" id="{E98ED61B-0858-4565-ACF3-2980D7E71554}"/>
                </a:ext>
              </a:extLst>
            </p:cNvPr>
            <p:cNvSpPr/>
            <p:nvPr/>
          </p:nvSpPr>
          <p:spPr>
            <a:xfrm>
              <a:off x="4769670" y="2304912"/>
              <a:ext cx="28554" cy="15433"/>
            </a:xfrm>
            <a:custGeom>
              <a:avLst/>
              <a:gdLst>
                <a:gd name="connsiteX0" fmla="*/ -350 w 28554"/>
                <a:gd name="connsiteY0" fmla="*/ 15159 h 15433"/>
                <a:gd name="connsiteX1" fmla="*/ 12723 w 28554"/>
                <a:gd name="connsiteY1" fmla="*/ -227 h 15433"/>
                <a:gd name="connsiteX2" fmla="*/ 28109 w 28554"/>
                <a:gd name="connsiteY2" fmla="*/ 12855 h 15433"/>
                <a:gd name="connsiteX3" fmla="*/ 28109 w 28554"/>
                <a:gd name="connsiteY3" fmla="*/ 15159 h 15433"/>
              </a:gdLst>
              <a:ahLst/>
              <a:cxnLst>
                <a:cxn ang="0">
                  <a:pos x="connsiteX0" y="connsiteY0"/>
                </a:cxn>
                <a:cxn ang="0">
                  <a:pos x="connsiteX1" y="connsiteY1"/>
                </a:cxn>
                <a:cxn ang="0">
                  <a:pos x="connsiteX2" y="connsiteY2"/>
                </a:cxn>
                <a:cxn ang="0">
                  <a:pos x="connsiteX3" y="connsiteY3"/>
                </a:cxn>
              </a:cxnLst>
              <a:rect l="l" t="t" r="r" b="b"/>
              <a:pathLst>
                <a:path w="28554" h="15433">
                  <a:moveTo>
                    <a:pt x="-350" y="15159"/>
                  </a:moveTo>
                  <a:cubicBezTo>
                    <a:pt x="-984" y="7303"/>
                    <a:pt x="4866" y="417"/>
                    <a:pt x="12723" y="-227"/>
                  </a:cubicBezTo>
                  <a:cubicBezTo>
                    <a:pt x="20588" y="-861"/>
                    <a:pt x="27474" y="4999"/>
                    <a:pt x="28109" y="12855"/>
                  </a:cubicBezTo>
                  <a:cubicBezTo>
                    <a:pt x="28174" y="13620"/>
                    <a:pt x="28174" y="14394"/>
                    <a:pt x="28109" y="15159"/>
                  </a:cubicBezTo>
                </a:path>
              </a:pathLst>
            </a:custGeom>
            <a:grp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grpSp>
      <p:sp>
        <p:nvSpPr>
          <p:cNvPr id="55" name="Ellipse 54">
            <a:extLst>
              <a:ext uri="{FF2B5EF4-FFF2-40B4-BE49-F238E27FC236}">
                <a16:creationId xmlns:a16="http://schemas.microsoft.com/office/drawing/2014/main" id="{F600C26A-82B3-9AB4-C386-7A6AB8DF08A3}"/>
              </a:ext>
            </a:extLst>
          </p:cNvPr>
          <p:cNvSpPr>
            <a:spLocks noChangeAspect="1"/>
          </p:cNvSpPr>
          <p:nvPr/>
        </p:nvSpPr>
        <p:spPr>
          <a:xfrm>
            <a:off x="7018402" y="1839642"/>
            <a:ext cx="792000" cy="792000"/>
          </a:xfrm>
          <a:prstGeom prst="ellipse">
            <a:avLst/>
          </a:prstGeom>
          <a:solidFill>
            <a:srgbClr val="004263"/>
          </a:solidFill>
          <a:ln w="50800">
            <a:noFill/>
          </a:ln>
          <a:effectLst>
            <a:outerShdw blurRad="50800" sx="110000" sy="11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pic>
        <p:nvPicPr>
          <p:cNvPr id="7200" name="Graphique 7199">
            <a:extLst>
              <a:ext uri="{FF2B5EF4-FFF2-40B4-BE49-F238E27FC236}">
                <a16:creationId xmlns:a16="http://schemas.microsoft.com/office/drawing/2014/main" id="{8DE64219-8E7E-E5DE-62AF-F45A3582E7A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 xmlns:asvg="http://schemas.microsoft.com/office/drawing/2016/SVG/main" r:embed="rId8"/>
              </a:ext>
            </a:extLst>
          </a:blip>
          <a:stretch>
            <a:fillRect/>
          </a:stretch>
        </p:blipFill>
        <p:spPr>
          <a:xfrm>
            <a:off x="7174402" y="1965642"/>
            <a:ext cx="480000" cy="540000"/>
          </a:xfrm>
          <a:prstGeom prst="rect">
            <a:avLst/>
          </a:prstGeom>
        </p:spPr>
      </p:pic>
      <p:sp>
        <p:nvSpPr>
          <p:cNvPr id="11" name="Ellipse 10">
            <a:extLst>
              <a:ext uri="{FF2B5EF4-FFF2-40B4-BE49-F238E27FC236}">
                <a16:creationId xmlns:a16="http://schemas.microsoft.com/office/drawing/2014/main" id="{BF472E6D-0FF2-DC46-EF3E-7FFFD0674234}"/>
              </a:ext>
            </a:extLst>
          </p:cNvPr>
          <p:cNvSpPr>
            <a:spLocks noChangeAspect="1"/>
          </p:cNvSpPr>
          <p:nvPr/>
        </p:nvSpPr>
        <p:spPr>
          <a:xfrm>
            <a:off x="1332000" y="1839642"/>
            <a:ext cx="792000" cy="792000"/>
          </a:xfrm>
          <a:prstGeom prst="ellipse">
            <a:avLst/>
          </a:prstGeom>
          <a:solidFill>
            <a:schemeClr val="accent1"/>
          </a:solidFill>
          <a:ln w="50800">
            <a:noFill/>
          </a:ln>
          <a:effectLst>
            <a:outerShdw blurRad="50800" sx="110000" sy="110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endParaRPr lang="fr-FR" sz="2000" dirty="0" err="1">
              <a:solidFill>
                <a:srgbClr val="FFFFFF"/>
              </a:solidFill>
            </a:endParaRPr>
          </a:p>
        </p:txBody>
      </p:sp>
      <p:grpSp>
        <p:nvGrpSpPr>
          <p:cNvPr id="7212" name="Groupe 7211">
            <a:extLst>
              <a:ext uri="{FF2B5EF4-FFF2-40B4-BE49-F238E27FC236}">
                <a16:creationId xmlns:a16="http://schemas.microsoft.com/office/drawing/2014/main" id="{0EA8E826-2A1E-A5FB-E529-AF0137444A68}"/>
              </a:ext>
            </a:extLst>
          </p:cNvPr>
          <p:cNvGrpSpPr>
            <a:grpSpLocks noChangeAspect="1"/>
          </p:cNvGrpSpPr>
          <p:nvPr/>
        </p:nvGrpSpPr>
        <p:grpSpPr>
          <a:xfrm>
            <a:off x="1494949" y="1983642"/>
            <a:ext cx="466102" cy="504000"/>
            <a:chOff x="4367458" y="3211503"/>
            <a:chExt cx="414622" cy="448335"/>
          </a:xfrm>
        </p:grpSpPr>
        <p:sp>
          <p:nvSpPr>
            <p:cNvPr id="7207" name="Forme libre 7206">
              <a:extLst>
                <a:ext uri="{FF2B5EF4-FFF2-40B4-BE49-F238E27FC236}">
                  <a16:creationId xmlns:a16="http://schemas.microsoft.com/office/drawing/2014/main" id="{8B8C03C5-A553-4E6E-F941-0AA76E697401}"/>
                </a:ext>
              </a:extLst>
            </p:cNvPr>
            <p:cNvSpPr/>
            <p:nvPr/>
          </p:nvSpPr>
          <p:spPr>
            <a:xfrm>
              <a:off x="4367458" y="3211503"/>
              <a:ext cx="228760" cy="227573"/>
            </a:xfrm>
            <a:custGeom>
              <a:avLst/>
              <a:gdLst>
                <a:gd name="connsiteX0" fmla="*/ 206961 w 228760"/>
                <a:gd name="connsiteY0" fmla="*/ 113560 h 227573"/>
                <a:gd name="connsiteX1" fmla="*/ 228363 w 228760"/>
                <a:gd name="connsiteY1" fmla="*/ 92286 h 227573"/>
                <a:gd name="connsiteX2" fmla="*/ 206961 w 228760"/>
                <a:gd name="connsiteY2" fmla="*/ 49552 h 227573"/>
                <a:gd name="connsiteX3" fmla="*/ 178331 w 228760"/>
                <a:gd name="connsiteY3" fmla="*/ 47975 h 227573"/>
                <a:gd name="connsiteX4" fmla="*/ 178331 w 228760"/>
                <a:gd name="connsiteY4" fmla="*/ 21094 h 227573"/>
                <a:gd name="connsiteX5" fmla="*/ 135432 w 228760"/>
                <a:gd name="connsiteY5" fmla="*/ -273 h 227573"/>
                <a:gd name="connsiteX6" fmla="*/ 115400 w 228760"/>
                <a:gd name="connsiteY6" fmla="*/ 22456 h 227573"/>
                <a:gd name="connsiteX7" fmla="*/ 92534 w 228760"/>
                <a:gd name="connsiteY7" fmla="*/ 2544 h 227573"/>
                <a:gd name="connsiteX8" fmla="*/ 92534 w 228760"/>
                <a:gd name="connsiteY8" fmla="*/ -273 h 227573"/>
                <a:gd name="connsiteX9" fmla="*/ 49635 w 228760"/>
                <a:gd name="connsiteY9" fmla="*/ 21560 h 227573"/>
                <a:gd name="connsiteX10" fmla="*/ 51222 w 228760"/>
                <a:gd name="connsiteY10" fmla="*/ 50018 h 227573"/>
                <a:gd name="connsiteX11" fmla="*/ 22592 w 228760"/>
                <a:gd name="connsiteY11" fmla="*/ 51595 h 227573"/>
                <a:gd name="connsiteX12" fmla="*/ 21005 w 228760"/>
                <a:gd name="connsiteY12" fmla="*/ 50018 h 227573"/>
                <a:gd name="connsiteX13" fmla="*/ -397 w 228760"/>
                <a:gd name="connsiteY13" fmla="*/ 92659 h 227573"/>
                <a:gd name="connsiteX14" fmla="*/ 22469 w 228760"/>
                <a:gd name="connsiteY14" fmla="*/ 112571 h 227573"/>
                <a:gd name="connsiteX15" fmla="*/ 2447 w 228760"/>
                <a:gd name="connsiteY15" fmla="*/ 135300 h 227573"/>
                <a:gd name="connsiteX16" fmla="*/ -397 w 228760"/>
                <a:gd name="connsiteY16" fmla="*/ 135300 h 227573"/>
                <a:gd name="connsiteX17" fmla="*/ 21099 w 228760"/>
                <a:gd name="connsiteY17" fmla="*/ 177941 h 227573"/>
                <a:gd name="connsiteX18" fmla="*/ 49260 w 228760"/>
                <a:gd name="connsiteY18" fmla="*/ 173323 h 227573"/>
                <a:gd name="connsiteX19" fmla="*/ 53906 w 228760"/>
                <a:gd name="connsiteY19" fmla="*/ 201315 h 227573"/>
                <a:gd name="connsiteX20" fmla="*/ 49260 w 228760"/>
                <a:gd name="connsiteY20" fmla="*/ 205933 h 227573"/>
                <a:gd name="connsiteX21" fmla="*/ 92158 w 228760"/>
                <a:gd name="connsiteY21" fmla="*/ 227300 h 227573"/>
                <a:gd name="connsiteX22" fmla="*/ 112190 w 228760"/>
                <a:gd name="connsiteY22" fmla="*/ 204571 h 227573"/>
                <a:gd name="connsiteX23" fmla="*/ 135057 w 228760"/>
                <a:gd name="connsiteY23" fmla="*/ 224473 h 227573"/>
                <a:gd name="connsiteX24" fmla="*/ 135057 w 228760"/>
                <a:gd name="connsiteY24" fmla="*/ 227300 h 227573"/>
                <a:gd name="connsiteX25" fmla="*/ 177955 w 228760"/>
                <a:gd name="connsiteY25" fmla="*/ 205933 h 227573"/>
                <a:gd name="connsiteX26" fmla="*/ 181062 w 228760"/>
                <a:gd name="connsiteY26" fmla="*/ 177736 h 227573"/>
                <a:gd name="connsiteX27" fmla="*/ 206585 w 228760"/>
                <a:gd name="connsiteY27" fmla="*/ 177941 h 227573"/>
                <a:gd name="connsiteX28" fmla="*/ 227988 w 228760"/>
                <a:gd name="connsiteY28" fmla="*/ 135300 h 227573"/>
                <a:gd name="connsiteX29" fmla="*/ 206961 w 228760"/>
                <a:gd name="connsiteY29" fmla="*/ 113560 h 22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760" h="227573">
                  <a:moveTo>
                    <a:pt x="206961" y="113560"/>
                  </a:moveTo>
                  <a:cubicBezTo>
                    <a:pt x="207439" y="102009"/>
                    <a:pt x="216751" y="92762"/>
                    <a:pt x="228363" y="92286"/>
                  </a:cubicBezTo>
                  <a:lnTo>
                    <a:pt x="206961" y="49552"/>
                  </a:lnTo>
                  <a:cubicBezTo>
                    <a:pt x="198616" y="56970"/>
                    <a:pt x="185793" y="56270"/>
                    <a:pt x="178331" y="47975"/>
                  </a:cubicBezTo>
                  <a:cubicBezTo>
                    <a:pt x="171440" y="40324"/>
                    <a:pt x="171440" y="28745"/>
                    <a:pt x="178331" y="21094"/>
                  </a:cubicBezTo>
                  <a:lnTo>
                    <a:pt x="135432" y="-273"/>
                  </a:lnTo>
                  <a:cubicBezTo>
                    <a:pt x="136221" y="11502"/>
                    <a:pt x="127247" y="21681"/>
                    <a:pt x="115400" y="22456"/>
                  </a:cubicBezTo>
                  <a:cubicBezTo>
                    <a:pt x="103554" y="23240"/>
                    <a:pt x="93322" y="14320"/>
                    <a:pt x="92534" y="2544"/>
                  </a:cubicBezTo>
                  <a:cubicBezTo>
                    <a:pt x="92468" y="1611"/>
                    <a:pt x="92468" y="669"/>
                    <a:pt x="92534" y="-273"/>
                  </a:cubicBezTo>
                  <a:lnTo>
                    <a:pt x="49635" y="21560"/>
                  </a:lnTo>
                  <a:cubicBezTo>
                    <a:pt x="57980" y="28978"/>
                    <a:pt x="58694" y="41724"/>
                    <a:pt x="51222" y="50018"/>
                  </a:cubicBezTo>
                  <a:cubicBezTo>
                    <a:pt x="43759" y="58313"/>
                    <a:pt x="30937" y="59023"/>
                    <a:pt x="22592" y="51595"/>
                  </a:cubicBezTo>
                  <a:cubicBezTo>
                    <a:pt x="22038" y="51101"/>
                    <a:pt x="21503" y="50578"/>
                    <a:pt x="21005" y="50018"/>
                  </a:cubicBezTo>
                  <a:cubicBezTo>
                    <a:pt x="11337" y="62829"/>
                    <a:pt x="4090" y="77273"/>
                    <a:pt x="-397" y="92659"/>
                  </a:cubicBezTo>
                  <a:cubicBezTo>
                    <a:pt x="11449" y="91876"/>
                    <a:pt x="21690" y="100796"/>
                    <a:pt x="22469" y="112571"/>
                  </a:cubicBezTo>
                  <a:cubicBezTo>
                    <a:pt x="23258" y="124346"/>
                    <a:pt x="14284" y="134516"/>
                    <a:pt x="2447" y="135300"/>
                  </a:cubicBezTo>
                  <a:cubicBezTo>
                    <a:pt x="1499" y="135366"/>
                    <a:pt x="551" y="135366"/>
                    <a:pt x="-397" y="135300"/>
                  </a:cubicBezTo>
                  <a:lnTo>
                    <a:pt x="21099" y="177941"/>
                  </a:lnTo>
                  <a:cubicBezTo>
                    <a:pt x="27595" y="168937"/>
                    <a:pt x="40202" y="166866"/>
                    <a:pt x="49260" y="173323"/>
                  </a:cubicBezTo>
                  <a:cubicBezTo>
                    <a:pt x="58318" y="179779"/>
                    <a:pt x="60402" y="192310"/>
                    <a:pt x="53906" y="201315"/>
                  </a:cubicBezTo>
                  <a:cubicBezTo>
                    <a:pt x="52620" y="203096"/>
                    <a:pt x="51053" y="204655"/>
                    <a:pt x="49260" y="205933"/>
                  </a:cubicBezTo>
                  <a:lnTo>
                    <a:pt x="92158" y="227300"/>
                  </a:lnTo>
                  <a:cubicBezTo>
                    <a:pt x="91370" y="215525"/>
                    <a:pt x="100344" y="205345"/>
                    <a:pt x="112190" y="204571"/>
                  </a:cubicBezTo>
                  <a:cubicBezTo>
                    <a:pt x="124036" y="203787"/>
                    <a:pt x="134268" y="212707"/>
                    <a:pt x="135057" y="224473"/>
                  </a:cubicBezTo>
                  <a:cubicBezTo>
                    <a:pt x="135122" y="225415"/>
                    <a:pt x="135122" y="226358"/>
                    <a:pt x="135057" y="227300"/>
                  </a:cubicBezTo>
                  <a:lnTo>
                    <a:pt x="177955" y="205933"/>
                  </a:lnTo>
                  <a:cubicBezTo>
                    <a:pt x="170981" y="197293"/>
                    <a:pt x="172370" y="184668"/>
                    <a:pt x="181062" y="177736"/>
                  </a:cubicBezTo>
                  <a:cubicBezTo>
                    <a:pt x="188544" y="171764"/>
                    <a:pt x="199207" y="171858"/>
                    <a:pt x="206585" y="177941"/>
                  </a:cubicBezTo>
                  <a:lnTo>
                    <a:pt x="227988" y="135300"/>
                  </a:lnTo>
                  <a:cubicBezTo>
                    <a:pt x="216385" y="134535"/>
                    <a:pt x="207271" y="125111"/>
                    <a:pt x="206961" y="113560"/>
                  </a:cubicBezTo>
                  <a:close/>
                </a:path>
              </a:pathLst>
            </a:custGeom>
            <a:no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208" name="Forme libre 7207">
              <a:extLst>
                <a:ext uri="{FF2B5EF4-FFF2-40B4-BE49-F238E27FC236}">
                  <a16:creationId xmlns:a16="http://schemas.microsoft.com/office/drawing/2014/main" id="{AD8AF0BD-5DB2-339B-BDCB-2DFD8F142401}"/>
                </a:ext>
              </a:extLst>
            </p:cNvPr>
            <p:cNvSpPr/>
            <p:nvPr/>
          </p:nvSpPr>
          <p:spPr>
            <a:xfrm>
              <a:off x="4431852" y="3275604"/>
              <a:ext cx="100064" cy="99464"/>
            </a:xfrm>
            <a:custGeom>
              <a:avLst/>
              <a:gdLst>
                <a:gd name="connsiteX0" fmla="*/ 99668 w 100064"/>
                <a:gd name="connsiteY0" fmla="*/ 49459 h 99464"/>
                <a:gd name="connsiteX1" fmla="*/ 49635 w 100064"/>
                <a:gd name="connsiteY1" fmla="*/ 99191 h 99464"/>
                <a:gd name="connsiteX2" fmla="*/ -397 w 100064"/>
                <a:gd name="connsiteY2" fmla="*/ 49459 h 99464"/>
                <a:gd name="connsiteX3" fmla="*/ 49541 w 100064"/>
                <a:gd name="connsiteY3" fmla="*/ -273 h 99464"/>
                <a:gd name="connsiteX4" fmla="*/ 99668 w 100064"/>
                <a:gd name="connsiteY4" fmla="*/ 49366 h 99464"/>
                <a:gd name="connsiteX5" fmla="*/ 99668 w 100064"/>
                <a:gd name="connsiteY5" fmla="*/ 49459 h 9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64" h="99464">
                  <a:moveTo>
                    <a:pt x="99668" y="49459"/>
                  </a:moveTo>
                  <a:cubicBezTo>
                    <a:pt x="99668" y="76928"/>
                    <a:pt x="77270" y="99191"/>
                    <a:pt x="49635" y="99191"/>
                  </a:cubicBezTo>
                  <a:cubicBezTo>
                    <a:pt x="22000" y="99191"/>
                    <a:pt x="-397" y="76928"/>
                    <a:pt x="-397" y="49459"/>
                  </a:cubicBezTo>
                  <a:cubicBezTo>
                    <a:pt x="-397" y="22027"/>
                    <a:pt x="21944" y="-227"/>
                    <a:pt x="49541" y="-273"/>
                  </a:cubicBezTo>
                  <a:cubicBezTo>
                    <a:pt x="77176" y="-329"/>
                    <a:pt x="99611" y="21896"/>
                    <a:pt x="99668" y="49366"/>
                  </a:cubicBezTo>
                  <a:cubicBezTo>
                    <a:pt x="99668" y="49393"/>
                    <a:pt x="99668" y="49431"/>
                    <a:pt x="99668" y="49459"/>
                  </a:cubicBezTo>
                </a:path>
              </a:pathLst>
            </a:custGeom>
            <a:no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209" name="Forme libre 7208">
              <a:extLst>
                <a:ext uri="{FF2B5EF4-FFF2-40B4-BE49-F238E27FC236}">
                  <a16:creationId xmlns:a16="http://schemas.microsoft.com/office/drawing/2014/main" id="{007DAC71-111C-5C13-5A15-CEF2C05AFD5B}"/>
                </a:ext>
              </a:extLst>
            </p:cNvPr>
            <p:cNvSpPr/>
            <p:nvPr/>
          </p:nvSpPr>
          <p:spPr>
            <a:xfrm>
              <a:off x="4461609" y="3349129"/>
              <a:ext cx="225099" cy="310242"/>
            </a:xfrm>
            <a:custGeom>
              <a:avLst/>
              <a:gdLst>
                <a:gd name="connsiteX0" fmla="*/ 43816 w 225099"/>
                <a:gd name="connsiteY0" fmla="*/ 110761 h 310242"/>
                <a:gd name="connsiteX1" fmla="*/ 55267 w 225099"/>
                <a:gd name="connsiteY1" fmla="*/ 138099 h 310242"/>
                <a:gd name="connsiteX2" fmla="*/ 85540 w 225099"/>
                <a:gd name="connsiteY2" fmla="*/ 138146 h 310242"/>
                <a:gd name="connsiteX3" fmla="*/ 85493 w 225099"/>
                <a:gd name="connsiteY3" fmla="*/ 168237 h 310242"/>
                <a:gd name="connsiteX4" fmla="*/ 113091 w 225099"/>
                <a:gd name="connsiteY4" fmla="*/ 179621 h 310242"/>
                <a:gd name="connsiteX5" fmla="*/ 136709 w 225099"/>
                <a:gd name="connsiteY5" fmla="*/ 161016 h 310242"/>
                <a:gd name="connsiteX6" fmla="*/ 155426 w 225099"/>
                <a:gd name="connsiteY6" fmla="*/ 179621 h 310242"/>
                <a:gd name="connsiteX7" fmla="*/ 183024 w 225099"/>
                <a:gd name="connsiteY7" fmla="*/ 168237 h 310242"/>
                <a:gd name="connsiteX8" fmla="*/ 182977 w 225099"/>
                <a:gd name="connsiteY8" fmla="*/ 138146 h 310242"/>
                <a:gd name="connsiteX9" fmla="*/ 213250 w 225099"/>
                <a:gd name="connsiteY9" fmla="*/ 138099 h 310242"/>
                <a:gd name="connsiteX10" fmla="*/ 224702 w 225099"/>
                <a:gd name="connsiteY10" fmla="*/ 110761 h 310242"/>
                <a:gd name="connsiteX11" fmla="*/ 206313 w 225099"/>
                <a:gd name="connsiteY11" fmla="*/ 86865 h 310242"/>
                <a:gd name="connsiteX12" fmla="*/ 224702 w 225099"/>
                <a:gd name="connsiteY12" fmla="*/ 68586 h 310242"/>
                <a:gd name="connsiteX13" fmla="*/ 213250 w 225099"/>
                <a:gd name="connsiteY13" fmla="*/ 41154 h 310242"/>
                <a:gd name="connsiteX14" fmla="*/ 183024 w 225099"/>
                <a:gd name="connsiteY14" fmla="*/ 39578 h 310242"/>
                <a:gd name="connsiteX15" fmla="*/ 183024 w 225099"/>
                <a:gd name="connsiteY15" fmla="*/ 11110 h 310242"/>
                <a:gd name="connsiteX16" fmla="*/ 155426 w 225099"/>
                <a:gd name="connsiteY16" fmla="*/ -273 h 310242"/>
                <a:gd name="connsiteX17" fmla="*/ 27013 w 225099"/>
                <a:gd name="connsiteY17" fmla="*/ 309969 h 310242"/>
                <a:gd name="connsiteX18" fmla="*/ 27013 w 225099"/>
                <a:gd name="connsiteY18" fmla="*/ 224687 h 310242"/>
                <a:gd name="connsiteX19" fmla="*/ -397 w 225099"/>
                <a:gd name="connsiteY19" fmla="*/ 125223 h 31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5099" h="310242">
                  <a:moveTo>
                    <a:pt x="43816" y="110761"/>
                  </a:moveTo>
                  <a:cubicBezTo>
                    <a:pt x="46049" y="120455"/>
                    <a:pt x="49926" y="129692"/>
                    <a:pt x="55267" y="138099"/>
                  </a:cubicBezTo>
                  <a:cubicBezTo>
                    <a:pt x="63641" y="129805"/>
                    <a:pt x="77196" y="129823"/>
                    <a:pt x="85540" y="138146"/>
                  </a:cubicBezTo>
                  <a:cubicBezTo>
                    <a:pt x="93885" y="146469"/>
                    <a:pt x="93867" y="159942"/>
                    <a:pt x="85493" y="168237"/>
                  </a:cubicBezTo>
                  <a:cubicBezTo>
                    <a:pt x="94026" y="173453"/>
                    <a:pt x="103347" y="177297"/>
                    <a:pt x="113091" y="179621"/>
                  </a:cubicBezTo>
                  <a:cubicBezTo>
                    <a:pt x="114443" y="168004"/>
                    <a:pt x="125013" y="159672"/>
                    <a:pt x="136709" y="161016"/>
                  </a:cubicBezTo>
                  <a:cubicBezTo>
                    <a:pt x="146537" y="162144"/>
                    <a:pt x="154291" y="169852"/>
                    <a:pt x="155426" y="179621"/>
                  </a:cubicBezTo>
                  <a:cubicBezTo>
                    <a:pt x="165170" y="177297"/>
                    <a:pt x="174491" y="173453"/>
                    <a:pt x="183024" y="168237"/>
                  </a:cubicBezTo>
                  <a:cubicBezTo>
                    <a:pt x="174651" y="159942"/>
                    <a:pt x="174632" y="146469"/>
                    <a:pt x="182977" y="138146"/>
                  </a:cubicBezTo>
                  <a:cubicBezTo>
                    <a:pt x="191322" y="129823"/>
                    <a:pt x="204877" y="129805"/>
                    <a:pt x="213250" y="138099"/>
                  </a:cubicBezTo>
                  <a:cubicBezTo>
                    <a:pt x="218591" y="129692"/>
                    <a:pt x="222468" y="120455"/>
                    <a:pt x="224702" y="110761"/>
                  </a:cubicBezTo>
                  <a:cubicBezTo>
                    <a:pt x="212987" y="109212"/>
                    <a:pt x="204755" y="98510"/>
                    <a:pt x="206313" y="86865"/>
                  </a:cubicBezTo>
                  <a:cubicBezTo>
                    <a:pt x="207590" y="77348"/>
                    <a:pt x="215128" y="69855"/>
                    <a:pt x="224702" y="68586"/>
                  </a:cubicBezTo>
                  <a:cubicBezTo>
                    <a:pt x="222449" y="58873"/>
                    <a:pt x="218582" y="49599"/>
                    <a:pt x="213250" y="41154"/>
                  </a:cubicBezTo>
                  <a:cubicBezTo>
                    <a:pt x="204464" y="49020"/>
                    <a:pt x="190937" y="48311"/>
                    <a:pt x="183024" y="39578"/>
                  </a:cubicBezTo>
                  <a:cubicBezTo>
                    <a:pt x="175693" y="31488"/>
                    <a:pt x="175693" y="19200"/>
                    <a:pt x="183024" y="11110"/>
                  </a:cubicBezTo>
                  <a:cubicBezTo>
                    <a:pt x="174491" y="5894"/>
                    <a:pt x="165170" y="2050"/>
                    <a:pt x="155426" y="-273"/>
                  </a:cubicBezTo>
                  <a:moveTo>
                    <a:pt x="27013" y="309969"/>
                  </a:moveTo>
                  <a:lnTo>
                    <a:pt x="27013" y="224687"/>
                  </a:lnTo>
                  <a:cubicBezTo>
                    <a:pt x="27013" y="190164"/>
                    <a:pt x="13496" y="158254"/>
                    <a:pt x="-397" y="125223"/>
                  </a:cubicBezTo>
                </a:path>
              </a:pathLst>
            </a:custGeom>
            <a:no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210" name="Forme libre 7209">
              <a:extLst>
                <a:ext uri="{FF2B5EF4-FFF2-40B4-BE49-F238E27FC236}">
                  <a16:creationId xmlns:a16="http://schemas.microsoft.com/office/drawing/2014/main" id="{E2C8208D-64E1-5B52-1C89-9CCB8BE32CC6}"/>
                </a:ext>
              </a:extLst>
            </p:cNvPr>
            <p:cNvSpPr/>
            <p:nvPr/>
          </p:nvSpPr>
          <p:spPr>
            <a:xfrm>
              <a:off x="4567588" y="3410618"/>
              <a:ext cx="57260" cy="56916"/>
            </a:xfrm>
            <a:custGeom>
              <a:avLst/>
              <a:gdLst>
                <a:gd name="connsiteX0" fmla="*/ 56863 w 57260"/>
                <a:gd name="connsiteY0" fmla="*/ 28185 h 56916"/>
                <a:gd name="connsiteX1" fmla="*/ 28233 w 57260"/>
                <a:gd name="connsiteY1" fmla="*/ 56643 h 56916"/>
                <a:gd name="connsiteX2" fmla="*/ -397 w 57260"/>
                <a:gd name="connsiteY2" fmla="*/ 28185 h 56916"/>
                <a:gd name="connsiteX3" fmla="*/ 28233 w 57260"/>
                <a:gd name="connsiteY3" fmla="*/ -273 h 56916"/>
                <a:gd name="connsiteX4" fmla="*/ 56863 w 57260"/>
                <a:gd name="connsiteY4" fmla="*/ 28185 h 56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60" h="56916">
                  <a:moveTo>
                    <a:pt x="56863" y="28185"/>
                  </a:moveTo>
                  <a:cubicBezTo>
                    <a:pt x="56863" y="43898"/>
                    <a:pt x="44041" y="56643"/>
                    <a:pt x="28233" y="56643"/>
                  </a:cubicBezTo>
                  <a:cubicBezTo>
                    <a:pt x="12425" y="56643"/>
                    <a:pt x="-397" y="43898"/>
                    <a:pt x="-397" y="28185"/>
                  </a:cubicBezTo>
                  <a:cubicBezTo>
                    <a:pt x="-397" y="12472"/>
                    <a:pt x="12425" y="-273"/>
                    <a:pt x="28233" y="-273"/>
                  </a:cubicBezTo>
                  <a:cubicBezTo>
                    <a:pt x="44022" y="-227"/>
                    <a:pt x="56816" y="12491"/>
                    <a:pt x="56863" y="28185"/>
                  </a:cubicBezTo>
                </a:path>
              </a:pathLst>
            </a:custGeom>
            <a:no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sp>
          <p:nvSpPr>
            <p:cNvPr id="7211" name="Forme libre 7210">
              <a:extLst>
                <a:ext uri="{FF2B5EF4-FFF2-40B4-BE49-F238E27FC236}">
                  <a16:creationId xmlns:a16="http://schemas.microsoft.com/office/drawing/2014/main" id="{67980A7B-E6B6-942E-393B-2D78FBFE56DD}"/>
                </a:ext>
              </a:extLst>
            </p:cNvPr>
            <p:cNvSpPr/>
            <p:nvPr/>
          </p:nvSpPr>
          <p:spPr>
            <a:xfrm>
              <a:off x="4567588" y="3211596"/>
              <a:ext cx="214492" cy="448242"/>
            </a:xfrm>
            <a:custGeom>
              <a:avLst/>
              <a:gdLst>
                <a:gd name="connsiteX0" fmla="*/ -397 w 214492"/>
                <a:gd name="connsiteY0" fmla="*/ -273 h 448242"/>
                <a:gd name="connsiteX1" fmla="*/ 21005 w 214492"/>
                <a:gd name="connsiteY1" fmla="*/ -273 h 448242"/>
                <a:gd name="connsiteX2" fmla="*/ 171196 w 214492"/>
                <a:gd name="connsiteY2" fmla="*/ 149016 h 448242"/>
                <a:gd name="connsiteX3" fmla="*/ 214095 w 214492"/>
                <a:gd name="connsiteY3" fmla="*/ 241389 h 448242"/>
                <a:gd name="connsiteX4" fmla="*/ 214095 w 214492"/>
                <a:gd name="connsiteY4" fmla="*/ 255665 h 448242"/>
                <a:gd name="connsiteX5" fmla="*/ 171196 w 214492"/>
                <a:gd name="connsiteY5" fmla="*/ 255665 h 448242"/>
                <a:gd name="connsiteX6" fmla="*/ 171196 w 214492"/>
                <a:gd name="connsiteY6" fmla="*/ 320046 h 448242"/>
                <a:gd name="connsiteX7" fmla="*/ 128298 w 214492"/>
                <a:gd name="connsiteY7" fmla="*/ 362687 h 448242"/>
                <a:gd name="connsiteX8" fmla="*/ 85306 w 214492"/>
                <a:gd name="connsiteY8" fmla="*/ 362687 h 448242"/>
                <a:gd name="connsiteX9" fmla="*/ 85306 w 214492"/>
                <a:gd name="connsiteY9" fmla="*/ 447969 h 44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4492" h="448242">
                  <a:moveTo>
                    <a:pt x="-397" y="-273"/>
                  </a:moveTo>
                  <a:lnTo>
                    <a:pt x="21005" y="-273"/>
                  </a:lnTo>
                  <a:cubicBezTo>
                    <a:pt x="103958" y="-273"/>
                    <a:pt x="171196" y="66562"/>
                    <a:pt x="171196" y="149016"/>
                  </a:cubicBezTo>
                  <a:lnTo>
                    <a:pt x="214095" y="241389"/>
                  </a:lnTo>
                  <a:lnTo>
                    <a:pt x="214095" y="255665"/>
                  </a:lnTo>
                  <a:lnTo>
                    <a:pt x="171196" y="255665"/>
                  </a:lnTo>
                  <a:lnTo>
                    <a:pt x="171196" y="320046"/>
                  </a:lnTo>
                  <a:cubicBezTo>
                    <a:pt x="171149" y="343578"/>
                    <a:pt x="151972" y="362641"/>
                    <a:pt x="128298" y="362687"/>
                  </a:cubicBezTo>
                  <a:lnTo>
                    <a:pt x="85306" y="362687"/>
                  </a:lnTo>
                  <a:lnTo>
                    <a:pt x="85306" y="447969"/>
                  </a:lnTo>
                </a:path>
              </a:pathLst>
            </a:custGeom>
            <a:noFill/>
            <a:ln w="12700" cap="flat">
              <a:solidFill>
                <a:schemeClr val="bg1"/>
              </a:solidFill>
              <a:prstDash val="solid"/>
              <a:miter/>
            </a:ln>
          </p:spPr>
          <p:txBody>
            <a:bodyPr rtlCol="0" anchor="ctr"/>
            <a:lstStyle/>
            <a:p>
              <a:pPr>
                <a:defRPr/>
              </a:pPr>
              <a:endParaRPr lang="fr-FR">
                <a:solidFill>
                  <a:srgbClr val="20242B"/>
                </a:solidFill>
                <a:ea typeface="ＭＳ Ｐゴシック" charset="0"/>
              </a:endParaRPr>
            </a:p>
          </p:txBody>
        </p:sp>
      </p:grpSp>
    </p:spTree>
    <p:custDataLst>
      <p:custData r:id="rId1"/>
      <p:custData r:id="rId2"/>
    </p:custDataLst>
    <p:extLst>
      <p:ext uri="{BB962C8B-B14F-4D97-AF65-F5344CB8AC3E}">
        <p14:creationId xmlns:p14="http://schemas.microsoft.com/office/powerpoint/2010/main" val="40578311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9" name="Groupe 308">
            <a:extLst>
              <a:ext uri="{FF2B5EF4-FFF2-40B4-BE49-F238E27FC236}">
                <a16:creationId xmlns:a16="http://schemas.microsoft.com/office/drawing/2014/main" id="{F4F5A526-0BA3-924E-82A9-C40466D31916}"/>
              </a:ext>
            </a:extLst>
          </p:cNvPr>
          <p:cNvGrpSpPr/>
          <p:nvPr/>
        </p:nvGrpSpPr>
        <p:grpSpPr>
          <a:xfrm>
            <a:off x="1063920" y="1945104"/>
            <a:ext cx="7608661" cy="3474494"/>
            <a:chOff x="1063920" y="1863824"/>
            <a:chExt cx="7608661" cy="3474494"/>
          </a:xfrm>
        </p:grpSpPr>
        <p:sp>
          <p:nvSpPr>
            <p:cNvPr id="54" name="Freeform 5">
              <a:extLst>
                <a:ext uri="{FF2B5EF4-FFF2-40B4-BE49-F238E27FC236}">
                  <a16:creationId xmlns:a16="http://schemas.microsoft.com/office/drawing/2014/main" id="{9AAB80AA-EBB9-AE40-B8EF-939344205252}"/>
                </a:ext>
              </a:extLst>
            </p:cNvPr>
            <p:cNvSpPr>
              <a:spLocks noEditPoints="1"/>
            </p:cNvSpPr>
            <p:nvPr/>
          </p:nvSpPr>
          <p:spPr bwMode="gray">
            <a:xfrm>
              <a:off x="1063920" y="1863824"/>
              <a:ext cx="7608661" cy="3474494"/>
            </a:xfrm>
            <a:custGeom>
              <a:avLst/>
              <a:gdLst>
                <a:gd name="T0" fmla="*/ 1392 w 5279"/>
                <a:gd name="T1" fmla="*/ 1474 h 2544"/>
                <a:gd name="T2" fmla="*/ 1462 w 5279"/>
                <a:gd name="T3" fmla="*/ 1099 h 2544"/>
                <a:gd name="T4" fmla="*/ 1522 w 5279"/>
                <a:gd name="T5" fmla="*/ 909 h 2544"/>
                <a:gd name="T6" fmla="*/ 1445 w 5279"/>
                <a:gd name="T7" fmla="*/ 793 h 2544"/>
                <a:gd name="T8" fmla="*/ 1196 w 5279"/>
                <a:gd name="T9" fmla="*/ 409 h 2544"/>
                <a:gd name="T10" fmla="*/ 285 w 5279"/>
                <a:gd name="T11" fmla="*/ 395 h 2544"/>
                <a:gd name="T12" fmla="*/ 419 w 5279"/>
                <a:gd name="T13" fmla="*/ 646 h 2544"/>
                <a:gd name="T14" fmla="*/ 812 w 5279"/>
                <a:gd name="T15" fmla="*/ 882 h 2544"/>
                <a:gd name="T16" fmla="*/ 1445 w 5279"/>
                <a:gd name="T17" fmla="*/ 1483 h 2544"/>
                <a:gd name="T18" fmla="*/ 1534 w 5279"/>
                <a:gd name="T19" fmla="*/ 2443 h 2544"/>
                <a:gd name="T20" fmla="*/ 1485 w 5279"/>
                <a:gd name="T21" fmla="*/ 938 h 2544"/>
                <a:gd name="T22" fmla="*/ 1332 w 5279"/>
                <a:gd name="T23" fmla="*/ 896 h 2544"/>
                <a:gd name="T24" fmla="*/ 1740 w 5279"/>
                <a:gd name="T25" fmla="*/ 876 h 2544"/>
                <a:gd name="T26" fmla="*/ 742 w 5279"/>
                <a:gd name="T27" fmla="*/ 824 h 2544"/>
                <a:gd name="T28" fmla="*/ 1565 w 5279"/>
                <a:gd name="T29" fmla="*/ 2433 h 2544"/>
                <a:gd name="T30" fmla="*/ 1495 w 5279"/>
                <a:gd name="T31" fmla="*/ 2340 h 2544"/>
                <a:gd name="T32" fmla="*/ 2293 w 5279"/>
                <a:gd name="T33" fmla="*/ 502 h 2544"/>
                <a:gd name="T34" fmla="*/ 2293 w 5279"/>
                <a:gd name="T35" fmla="*/ 143 h 2544"/>
                <a:gd name="T36" fmla="*/ 1802 w 5279"/>
                <a:gd name="T37" fmla="*/ 465 h 2544"/>
                <a:gd name="T38" fmla="*/ 1635 w 5279"/>
                <a:gd name="T39" fmla="*/ 1452 h 2544"/>
                <a:gd name="T40" fmla="*/ 1505 w 5279"/>
                <a:gd name="T41" fmla="*/ 1320 h 2544"/>
                <a:gd name="T42" fmla="*/ 2524 w 5279"/>
                <a:gd name="T43" fmla="*/ 715 h 2544"/>
                <a:gd name="T44" fmla="*/ 1413 w 5279"/>
                <a:gd name="T45" fmla="*/ 777 h 2544"/>
                <a:gd name="T46" fmla="*/ 2419 w 5279"/>
                <a:gd name="T47" fmla="*/ 793 h 2544"/>
                <a:gd name="T48" fmla="*/ 1899 w 5279"/>
                <a:gd name="T49" fmla="*/ 44 h 2544"/>
                <a:gd name="T50" fmla="*/ 1641 w 5279"/>
                <a:gd name="T51" fmla="*/ 560 h 2544"/>
                <a:gd name="T52" fmla="*/ 2718 w 5279"/>
                <a:gd name="T53" fmla="*/ 130 h 2544"/>
                <a:gd name="T54" fmla="*/ 4499 w 5279"/>
                <a:gd name="T55" fmla="*/ 258 h 2544"/>
                <a:gd name="T56" fmla="*/ 3530 w 5279"/>
                <a:gd name="T57" fmla="*/ 215 h 2544"/>
                <a:gd name="T58" fmla="*/ 107 w 5279"/>
                <a:gd name="T59" fmla="*/ 791 h 2544"/>
                <a:gd name="T60" fmla="*/ 1004 w 5279"/>
                <a:gd name="T61" fmla="*/ 454 h 2544"/>
                <a:gd name="T62" fmla="*/ 1464 w 5279"/>
                <a:gd name="T63" fmla="*/ 463 h 2544"/>
                <a:gd name="T64" fmla="*/ 913 w 5279"/>
                <a:gd name="T65" fmla="*/ 320 h 2544"/>
                <a:gd name="T66" fmla="*/ 1363 w 5279"/>
                <a:gd name="T67" fmla="*/ 287 h 2544"/>
                <a:gd name="T68" fmla="*/ 955 w 5279"/>
                <a:gd name="T69" fmla="*/ 176 h 2544"/>
                <a:gd name="T70" fmla="*/ 5029 w 5279"/>
                <a:gd name="T71" fmla="*/ 1563 h 2544"/>
                <a:gd name="T72" fmla="*/ 4965 w 5279"/>
                <a:gd name="T73" fmla="*/ 2315 h 2544"/>
                <a:gd name="T74" fmla="*/ 4293 w 5279"/>
                <a:gd name="T75" fmla="*/ 1650 h 2544"/>
                <a:gd name="T76" fmla="*/ 4636 w 5279"/>
                <a:gd name="T77" fmla="*/ 1817 h 2544"/>
                <a:gd name="T78" fmla="*/ 4631 w 5279"/>
                <a:gd name="T79" fmla="*/ 2176 h 2544"/>
                <a:gd name="T80" fmla="*/ 2928 w 5279"/>
                <a:gd name="T81" fmla="*/ 1010 h 2544"/>
                <a:gd name="T82" fmla="*/ 3901 w 5279"/>
                <a:gd name="T83" fmla="*/ 1328 h 2544"/>
                <a:gd name="T84" fmla="*/ 2703 w 5279"/>
                <a:gd name="T85" fmla="*/ 991 h 2544"/>
                <a:gd name="T86" fmla="*/ 4196 w 5279"/>
                <a:gd name="T87" fmla="*/ 1730 h 2544"/>
                <a:gd name="T88" fmla="*/ 4415 w 5279"/>
                <a:gd name="T89" fmla="*/ 1111 h 2544"/>
                <a:gd name="T90" fmla="*/ 4306 w 5279"/>
                <a:gd name="T91" fmla="*/ 1344 h 2544"/>
                <a:gd name="T92" fmla="*/ 2691 w 5279"/>
                <a:gd name="T93" fmla="*/ 1553 h 2544"/>
                <a:gd name="T94" fmla="*/ 4384 w 5279"/>
                <a:gd name="T95" fmla="*/ 1714 h 2544"/>
                <a:gd name="T96" fmla="*/ 4646 w 5279"/>
                <a:gd name="T97" fmla="*/ 1346 h 2544"/>
                <a:gd name="T98" fmla="*/ 4594 w 5279"/>
                <a:gd name="T99" fmla="*/ 1749 h 2544"/>
                <a:gd name="T100" fmla="*/ 4250 w 5279"/>
                <a:gd name="T101" fmla="*/ 1722 h 2544"/>
                <a:gd name="T102" fmla="*/ 4850 w 5279"/>
                <a:gd name="T103" fmla="*/ 413 h 2544"/>
                <a:gd name="T104" fmla="*/ 3637 w 5279"/>
                <a:gd name="T105" fmla="*/ 343 h 2544"/>
                <a:gd name="T106" fmla="*/ 2802 w 5279"/>
                <a:gd name="T107" fmla="*/ 444 h 2544"/>
                <a:gd name="T108" fmla="*/ 2875 w 5279"/>
                <a:gd name="T109" fmla="*/ 568 h 2544"/>
                <a:gd name="T110" fmla="*/ 2477 w 5279"/>
                <a:gd name="T111" fmla="*/ 1059 h 2544"/>
                <a:gd name="T112" fmla="*/ 3070 w 5279"/>
                <a:gd name="T113" fmla="*/ 900 h 2544"/>
                <a:gd name="T114" fmla="*/ 2334 w 5279"/>
                <a:gd name="T115" fmla="*/ 1435 h 2544"/>
                <a:gd name="T116" fmla="*/ 3145 w 5279"/>
                <a:gd name="T117" fmla="*/ 1766 h 2544"/>
                <a:gd name="T118" fmla="*/ 3429 w 5279"/>
                <a:gd name="T119" fmla="*/ 1239 h 2544"/>
                <a:gd name="T120" fmla="*/ 4025 w 5279"/>
                <a:gd name="T121" fmla="*/ 1520 h 2544"/>
                <a:gd name="T122" fmla="*/ 4264 w 5279"/>
                <a:gd name="T123" fmla="*/ 1045 h 2544"/>
                <a:gd name="T124" fmla="*/ 4848 w 5279"/>
                <a:gd name="T125" fmla="*/ 772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79" h="2544">
                  <a:moveTo>
                    <a:pt x="2011" y="1797"/>
                  </a:moveTo>
                  <a:lnTo>
                    <a:pt x="2011" y="1799"/>
                  </a:lnTo>
                  <a:lnTo>
                    <a:pt x="2011" y="1799"/>
                  </a:lnTo>
                  <a:lnTo>
                    <a:pt x="2011" y="1799"/>
                  </a:lnTo>
                  <a:lnTo>
                    <a:pt x="2011" y="1799"/>
                  </a:lnTo>
                  <a:lnTo>
                    <a:pt x="2013" y="1799"/>
                  </a:lnTo>
                  <a:lnTo>
                    <a:pt x="2013" y="1797"/>
                  </a:lnTo>
                  <a:lnTo>
                    <a:pt x="2011" y="1797"/>
                  </a:lnTo>
                  <a:lnTo>
                    <a:pt x="2011" y="1797"/>
                  </a:lnTo>
                  <a:close/>
                  <a:moveTo>
                    <a:pt x="1377" y="900"/>
                  </a:moveTo>
                  <a:lnTo>
                    <a:pt x="1377" y="900"/>
                  </a:lnTo>
                  <a:lnTo>
                    <a:pt x="1377" y="900"/>
                  </a:lnTo>
                  <a:lnTo>
                    <a:pt x="1380" y="900"/>
                  </a:lnTo>
                  <a:lnTo>
                    <a:pt x="1380" y="900"/>
                  </a:lnTo>
                  <a:lnTo>
                    <a:pt x="1377" y="898"/>
                  </a:lnTo>
                  <a:lnTo>
                    <a:pt x="1377" y="898"/>
                  </a:lnTo>
                  <a:lnTo>
                    <a:pt x="1377" y="898"/>
                  </a:lnTo>
                  <a:lnTo>
                    <a:pt x="1377" y="896"/>
                  </a:lnTo>
                  <a:lnTo>
                    <a:pt x="1377" y="896"/>
                  </a:lnTo>
                  <a:lnTo>
                    <a:pt x="1377" y="896"/>
                  </a:lnTo>
                  <a:lnTo>
                    <a:pt x="1377" y="898"/>
                  </a:lnTo>
                  <a:lnTo>
                    <a:pt x="1377" y="898"/>
                  </a:lnTo>
                  <a:lnTo>
                    <a:pt x="1377" y="900"/>
                  </a:lnTo>
                  <a:close/>
                  <a:moveTo>
                    <a:pt x="1396" y="909"/>
                  </a:moveTo>
                  <a:lnTo>
                    <a:pt x="1396" y="909"/>
                  </a:lnTo>
                  <a:lnTo>
                    <a:pt x="1398" y="911"/>
                  </a:lnTo>
                  <a:lnTo>
                    <a:pt x="1400" y="911"/>
                  </a:lnTo>
                  <a:lnTo>
                    <a:pt x="1402" y="911"/>
                  </a:lnTo>
                  <a:lnTo>
                    <a:pt x="1402" y="911"/>
                  </a:lnTo>
                  <a:lnTo>
                    <a:pt x="1404" y="913"/>
                  </a:lnTo>
                  <a:lnTo>
                    <a:pt x="1404" y="913"/>
                  </a:lnTo>
                  <a:lnTo>
                    <a:pt x="1406" y="913"/>
                  </a:lnTo>
                  <a:lnTo>
                    <a:pt x="1406" y="913"/>
                  </a:lnTo>
                  <a:lnTo>
                    <a:pt x="1408" y="913"/>
                  </a:lnTo>
                  <a:lnTo>
                    <a:pt x="1408" y="915"/>
                  </a:lnTo>
                  <a:lnTo>
                    <a:pt x="1408" y="915"/>
                  </a:lnTo>
                  <a:lnTo>
                    <a:pt x="1410" y="911"/>
                  </a:lnTo>
                  <a:lnTo>
                    <a:pt x="1413" y="911"/>
                  </a:lnTo>
                  <a:lnTo>
                    <a:pt x="1413" y="913"/>
                  </a:lnTo>
                  <a:lnTo>
                    <a:pt x="1410" y="913"/>
                  </a:lnTo>
                  <a:lnTo>
                    <a:pt x="1410" y="913"/>
                  </a:lnTo>
                  <a:lnTo>
                    <a:pt x="1410" y="913"/>
                  </a:lnTo>
                  <a:lnTo>
                    <a:pt x="1408" y="913"/>
                  </a:lnTo>
                  <a:lnTo>
                    <a:pt x="1408" y="915"/>
                  </a:lnTo>
                  <a:lnTo>
                    <a:pt x="1408" y="915"/>
                  </a:lnTo>
                  <a:lnTo>
                    <a:pt x="1410" y="915"/>
                  </a:lnTo>
                  <a:lnTo>
                    <a:pt x="1410" y="915"/>
                  </a:lnTo>
                  <a:lnTo>
                    <a:pt x="1410" y="915"/>
                  </a:lnTo>
                  <a:lnTo>
                    <a:pt x="1413" y="913"/>
                  </a:lnTo>
                  <a:lnTo>
                    <a:pt x="1413" y="913"/>
                  </a:lnTo>
                  <a:lnTo>
                    <a:pt x="1415" y="911"/>
                  </a:lnTo>
                  <a:lnTo>
                    <a:pt x="1415" y="911"/>
                  </a:lnTo>
                  <a:lnTo>
                    <a:pt x="1413" y="911"/>
                  </a:lnTo>
                  <a:lnTo>
                    <a:pt x="1413" y="909"/>
                  </a:lnTo>
                  <a:lnTo>
                    <a:pt x="1413" y="909"/>
                  </a:lnTo>
                  <a:lnTo>
                    <a:pt x="1413" y="909"/>
                  </a:lnTo>
                  <a:lnTo>
                    <a:pt x="1413" y="909"/>
                  </a:lnTo>
                  <a:lnTo>
                    <a:pt x="1413" y="909"/>
                  </a:lnTo>
                  <a:lnTo>
                    <a:pt x="1413" y="909"/>
                  </a:lnTo>
                  <a:lnTo>
                    <a:pt x="1413" y="909"/>
                  </a:lnTo>
                  <a:lnTo>
                    <a:pt x="1413" y="911"/>
                  </a:lnTo>
                  <a:lnTo>
                    <a:pt x="1410" y="911"/>
                  </a:lnTo>
                  <a:lnTo>
                    <a:pt x="1410" y="911"/>
                  </a:lnTo>
                  <a:lnTo>
                    <a:pt x="1410" y="909"/>
                  </a:lnTo>
                  <a:lnTo>
                    <a:pt x="1410" y="909"/>
                  </a:lnTo>
                  <a:lnTo>
                    <a:pt x="1410" y="909"/>
                  </a:lnTo>
                  <a:lnTo>
                    <a:pt x="1410" y="909"/>
                  </a:lnTo>
                  <a:lnTo>
                    <a:pt x="1410" y="909"/>
                  </a:lnTo>
                  <a:lnTo>
                    <a:pt x="1410" y="907"/>
                  </a:lnTo>
                  <a:lnTo>
                    <a:pt x="1410" y="907"/>
                  </a:lnTo>
                  <a:lnTo>
                    <a:pt x="1410" y="907"/>
                  </a:lnTo>
                  <a:lnTo>
                    <a:pt x="1408" y="907"/>
                  </a:lnTo>
                  <a:lnTo>
                    <a:pt x="1408" y="907"/>
                  </a:lnTo>
                  <a:lnTo>
                    <a:pt x="1406" y="909"/>
                  </a:lnTo>
                  <a:lnTo>
                    <a:pt x="1406" y="909"/>
                  </a:lnTo>
                  <a:lnTo>
                    <a:pt x="1406" y="909"/>
                  </a:lnTo>
                  <a:lnTo>
                    <a:pt x="1406" y="907"/>
                  </a:lnTo>
                  <a:lnTo>
                    <a:pt x="1404" y="907"/>
                  </a:lnTo>
                  <a:lnTo>
                    <a:pt x="1404" y="907"/>
                  </a:lnTo>
                  <a:lnTo>
                    <a:pt x="1404" y="907"/>
                  </a:lnTo>
                  <a:lnTo>
                    <a:pt x="1404" y="907"/>
                  </a:lnTo>
                  <a:lnTo>
                    <a:pt x="1404" y="907"/>
                  </a:lnTo>
                  <a:lnTo>
                    <a:pt x="1402" y="907"/>
                  </a:lnTo>
                  <a:lnTo>
                    <a:pt x="1402" y="907"/>
                  </a:lnTo>
                  <a:lnTo>
                    <a:pt x="1402" y="907"/>
                  </a:lnTo>
                  <a:lnTo>
                    <a:pt x="1402" y="907"/>
                  </a:lnTo>
                  <a:lnTo>
                    <a:pt x="1402" y="907"/>
                  </a:lnTo>
                  <a:lnTo>
                    <a:pt x="1400" y="907"/>
                  </a:lnTo>
                  <a:lnTo>
                    <a:pt x="1400" y="909"/>
                  </a:lnTo>
                  <a:lnTo>
                    <a:pt x="1400" y="909"/>
                  </a:lnTo>
                  <a:lnTo>
                    <a:pt x="1400" y="909"/>
                  </a:lnTo>
                  <a:lnTo>
                    <a:pt x="1400" y="909"/>
                  </a:lnTo>
                  <a:lnTo>
                    <a:pt x="1402" y="909"/>
                  </a:lnTo>
                  <a:lnTo>
                    <a:pt x="1402" y="909"/>
                  </a:lnTo>
                  <a:lnTo>
                    <a:pt x="1400" y="909"/>
                  </a:lnTo>
                  <a:lnTo>
                    <a:pt x="1400" y="909"/>
                  </a:lnTo>
                  <a:lnTo>
                    <a:pt x="1400" y="909"/>
                  </a:lnTo>
                  <a:lnTo>
                    <a:pt x="1400" y="909"/>
                  </a:lnTo>
                  <a:lnTo>
                    <a:pt x="1400" y="909"/>
                  </a:lnTo>
                  <a:lnTo>
                    <a:pt x="1400" y="909"/>
                  </a:lnTo>
                  <a:lnTo>
                    <a:pt x="1400" y="909"/>
                  </a:lnTo>
                  <a:lnTo>
                    <a:pt x="1398" y="909"/>
                  </a:lnTo>
                  <a:lnTo>
                    <a:pt x="1398" y="909"/>
                  </a:lnTo>
                  <a:lnTo>
                    <a:pt x="1398" y="909"/>
                  </a:lnTo>
                  <a:lnTo>
                    <a:pt x="1398" y="909"/>
                  </a:lnTo>
                  <a:lnTo>
                    <a:pt x="1398" y="909"/>
                  </a:lnTo>
                  <a:lnTo>
                    <a:pt x="1396" y="909"/>
                  </a:lnTo>
                  <a:lnTo>
                    <a:pt x="1396" y="907"/>
                  </a:lnTo>
                  <a:lnTo>
                    <a:pt x="1396" y="907"/>
                  </a:lnTo>
                  <a:lnTo>
                    <a:pt x="1396" y="907"/>
                  </a:lnTo>
                  <a:lnTo>
                    <a:pt x="1396" y="907"/>
                  </a:lnTo>
                  <a:lnTo>
                    <a:pt x="1396" y="907"/>
                  </a:lnTo>
                  <a:lnTo>
                    <a:pt x="1396" y="907"/>
                  </a:lnTo>
                  <a:lnTo>
                    <a:pt x="1394" y="907"/>
                  </a:lnTo>
                  <a:lnTo>
                    <a:pt x="1394" y="907"/>
                  </a:lnTo>
                  <a:lnTo>
                    <a:pt x="1394" y="907"/>
                  </a:lnTo>
                  <a:lnTo>
                    <a:pt x="1394" y="907"/>
                  </a:lnTo>
                  <a:lnTo>
                    <a:pt x="1392" y="907"/>
                  </a:lnTo>
                  <a:lnTo>
                    <a:pt x="1392" y="907"/>
                  </a:lnTo>
                  <a:lnTo>
                    <a:pt x="1392" y="907"/>
                  </a:lnTo>
                  <a:lnTo>
                    <a:pt x="1392" y="907"/>
                  </a:lnTo>
                  <a:lnTo>
                    <a:pt x="1392" y="907"/>
                  </a:lnTo>
                  <a:lnTo>
                    <a:pt x="1392" y="909"/>
                  </a:lnTo>
                  <a:lnTo>
                    <a:pt x="1392" y="909"/>
                  </a:lnTo>
                  <a:lnTo>
                    <a:pt x="1396" y="909"/>
                  </a:lnTo>
                  <a:close/>
                  <a:moveTo>
                    <a:pt x="1410" y="915"/>
                  </a:moveTo>
                  <a:lnTo>
                    <a:pt x="1410" y="915"/>
                  </a:lnTo>
                  <a:lnTo>
                    <a:pt x="1410" y="915"/>
                  </a:lnTo>
                  <a:lnTo>
                    <a:pt x="1410" y="915"/>
                  </a:lnTo>
                  <a:lnTo>
                    <a:pt x="1413" y="915"/>
                  </a:lnTo>
                  <a:lnTo>
                    <a:pt x="1413" y="915"/>
                  </a:lnTo>
                  <a:lnTo>
                    <a:pt x="1413" y="915"/>
                  </a:lnTo>
                  <a:lnTo>
                    <a:pt x="1413" y="915"/>
                  </a:lnTo>
                  <a:lnTo>
                    <a:pt x="1410" y="915"/>
                  </a:lnTo>
                  <a:close/>
                  <a:moveTo>
                    <a:pt x="1390" y="909"/>
                  </a:moveTo>
                  <a:lnTo>
                    <a:pt x="1390" y="909"/>
                  </a:lnTo>
                  <a:lnTo>
                    <a:pt x="1390" y="907"/>
                  </a:lnTo>
                  <a:lnTo>
                    <a:pt x="1390" y="907"/>
                  </a:lnTo>
                  <a:lnTo>
                    <a:pt x="1390" y="907"/>
                  </a:lnTo>
                  <a:lnTo>
                    <a:pt x="1390" y="907"/>
                  </a:lnTo>
                  <a:lnTo>
                    <a:pt x="1390" y="907"/>
                  </a:lnTo>
                  <a:lnTo>
                    <a:pt x="1388" y="907"/>
                  </a:lnTo>
                  <a:lnTo>
                    <a:pt x="1388" y="907"/>
                  </a:lnTo>
                  <a:lnTo>
                    <a:pt x="1388" y="909"/>
                  </a:lnTo>
                  <a:lnTo>
                    <a:pt x="1388" y="909"/>
                  </a:lnTo>
                  <a:lnTo>
                    <a:pt x="1390" y="909"/>
                  </a:lnTo>
                  <a:close/>
                  <a:moveTo>
                    <a:pt x="1382" y="907"/>
                  </a:moveTo>
                  <a:lnTo>
                    <a:pt x="1382" y="907"/>
                  </a:lnTo>
                  <a:lnTo>
                    <a:pt x="1382" y="907"/>
                  </a:lnTo>
                  <a:lnTo>
                    <a:pt x="1382" y="907"/>
                  </a:lnTo>
                  <a:lnTo>
                    <a:pt x="1384" y="907"/>
                  </a:lnTo>
                  <a:lnTo>
                    <a:pt x="1384" y="907"/>
                  </a:lnTo>
                  <a:lnTo>
                    <a:pt x="1386" y="907"/>
                  </a:lnTo>
                  <a:lnTo>
                    <a:pt x="1388" y="907"/>
                  </a:lnTo>
                  <a:lnTo>
                    <a:pt x="1388" y="907"/>
                  </a:lnTo>
                  <a:lnTo>
                    <a:pt x="1388" y="907"/>
                  </a:lnTo>
                  <a:lnTo>
                    <a:pt x="1388" y="907"/>
                  </a:lnTo>
                  <a:lnTo>
                    <a:pt x="1386" y="905"/>
                  </a:lnTo>
                  <a:lnTo>
                    <a:pt x="1386" y="905"/>
                  </a:lnTo>
                  <a:lnTo>
                    <a:pt x="1386" y="905"/>
                  </a:lnTo>
                  <a:lnTo>
                    <a:pt x="1384" y="905"/>
                  </a:lnTo>
                  <a:lnTo>
                    <a:pt x="1386" y="905"/>
                  </a:lnTo>
                  <a:lnTo>
                    <a:pt x="1386" y="905"/>
                  </a:lnTo>
                  <a:lnTo>
                    <a:pt x="1384" y="905"/>
                  </a:lnTo>
                  <a:lnTo>
                    <a:pt x="1384" y="907"/>
                  </a:lnTo>
                  <a:lnTo>
                    <a:pt x="1384" y="907"/>
                  </a:lnTo>
                  <a:lnTo>
                    <a:pt x="1382" y="907"/>
                  </a:lnTo>
                  <a:close/>
                  <a:moveTo>
                    <a:pt x="1433" y="927"/>
                  </a:moveTo>
                  <a:lnTo>
                    <a:pt x="1435" y="927"/>
                  </a:lnTo>
                  <a:lnTo>
                    <a:pt x="1435" y="927"/>
                  </a:lnTo>
                  <a:lnTo>
                    <a:pt x="1435" y="927"/>
                  </a:lnTo>
                  <a:lnTo>
                    <a:pt x="1435" y="925"/>
                  </a:lnTo>
                  <a:lnTo>
                    <a:pt x="1433" y="925"/>
                  </a:lnTo>
                  <a:lnTo>
                    <a:pt x="1433" y="925"/>
                  </a:lnTo>
                  <a:lnTo>
                    <a:pt x="1433" y="927"/>
                  </a:lnTo>
                  <a:lnTo>
                    <a:pt x="1433" y="927"/>
                  </a:lnTo>
                  <a:close/>
                  <a:moveTo>
                    <a:pt x="1355" y="876"/>
                  </a:moveTo>
                  <a:lnTo>
                    <a:pt x="1357" y="876"/>
                  </a:lnTo>
                  <a:lnTo>
                    <a:pt x="1357" y="876"/>
                  </a:lnTo>
                  <a:lnTo>
                    <a:pt x="1357" y="876"/>
                  </a:lnTo>
                  <a:lnTo>
                    <a:pt x="1357" y="874"/>
                  </a:lnTo>
                  <a:lnTo>
                    <a:pt x="1355" y="874"/>
                  </a:lnTo>
                  <a:lnTo>
                    <a:pt x="1355" y="874"/>
                  </a:lnTo>
                  <a:lnTo>
                    <a:pt x="1355" y="874"/>
                  </a:lnTo>
                  <a:lnTo>
                    <a:pt x="1353" y="876"/>
                  </a:lnTo>
                  <a:lnTo>
                    <a:pt x="1353" y="876"/>
                  </a:lnTo>
                  <a:lnTo>
                    <a:pt x="1353" y="876"/>
                  </a:lnTo>
                  <a:lnTo>
                    <a:pt x="1355" y="876"/>
                  </a:lnTo>
                  <a:close/>
                  <a:moveTo>
                    <a:pt x="1380" y="902"/>
                  </a:moveTo>
                  <a:lnTo>
                    <a:pt x="1382" y="905"/>
                  </a:lnTo>
                  <a:lnTo>
                    <a:pt x="1382" y="905"/>
                  </a:lnTo>
                  <a:lnTo>
                    <a:pt x="1382" y="905"/>
                  </a:lnTo>
                  <a:lnTo>
                    <a:pt x="1382" y="905"/>
                  </a:lnTo>
                  <a:lnTo>
                    <a:pt x="1382" y="905"/>
                  </a:lnTo>
                  <a:lnTo>
                    <a:pt x="1382" y="902"/>
                  </a:lnTo>
                  <a:lnTo>
                    <a:pt x="1384" y="905"/>
                  </a:lnTo>
                  <a:lnTo>
                    <a:pt x="1384" y="902"/>
                  </a:lnTo>
                  <a:lnTo>
                    <a:pt x="1384" y="902"/>
                  </a:lnTo>
                  <a:lnTo>
                    <a:pt x="1384" y="902"/>
                  </a:lnTo>
                  <a:lnTo>
                    <a:pt x="1382" y="900"/>
                  </a:lnTo>
                  <a:lnTo>
                    <a:pt x="1382" y="900"/>
                  </a:lnTo>
                  <a:lnTo>
                    <a:pt x="1380" y="900"/>
                  </a:lnTo>
                  <a:lnTo>
                    <a:pt x="1380" y="900"/>
                  </a:lnTo>
                  <a:lnTo>
                    <a:pt x="1380" y="902"/>
                  </a:lnTo>
                  <a:lnTo>
                    <a:pt x="1380" y="902"/>
                  </a:lnTo>
                  <a:close/>
                  <a:moveTo>
                    <a:pt x="1328" y="857"/>
                  </a:moveTo>
                  <a:lnTo>
                    <a:pt x="1328" y="857"/>
                  </a:lnTo>
                  <a:lnTo>
                    <a:pt x="1328" y="857"/>
                  </a:lnTo>
                  <a:lnTo>
                    <a:pt x="1328" y="857"/>
                  </a:lnTo>
                  <a:lnTo>
                    <a:pt x="1330" y="857"/>
                  </a:lnTo>
                  <a:lnTo>
                    <a:pt x="1330" y="857"/>
                  </a:lnTo>
                  <a:lnTo>
                    <a:pt x="1328" y="855"/>
                  </a:lnTo>
                  <a:lnTo>
                    <a:pt x="1328" y="855"/>
                  </a:lnTo>
                  <a:lnTo>
                    <a:pt x="1328" y="855"/>
                  </a:lnTo>
                  <a:lnTo>
                    <a:pt x="1328" y="855"/>
                  </a:lnTo>
                  <a:lnTo>
                    <a:pt x="1328" y="855"/>
                  </a:lnTo>
                  <a:lnTo>
                    <a:pt x="1328" y="857"/>
                  </a:lnTo>
                  <a:lnTo>
                    <a:pt x="1328" y="857"/>
                  </a:lnTo>
                  <a:close/>
                  <a:moveTo>
                    <a:pt x="1285" y="890"/>
                  </a:moveTo>
                  <a:lnTo>
                    <a:pt x="1285" y="890"/>
                  </a:lnTo>
                  <a:lnTo>
                    <a:pt x="1285" y="890"/>
                  </a:lnTo>
                  <a:lnTo>
                    <a:pt x="1285" y="890"/>
                  </a:lnTo>
                  <a:lnTo>
                    <a:pt x="1285" y="890"/>
                  </a:lnTo>
                  <a:lnTo>
                    <a:pt x="1285" y="890"/>
                  </a:lnTo>
                  <a:lnTo>
                    <a:pt x="1285" y="890"/>
                  </a:lnTo>
                  <a:lnTo>
                    <a:pt x="1285" y="890"/>
                  </a:lnTo>
                  <a:close/>
                  <a:moveTo>
                    <a:pt x="2068" y="1706"/>
                  </a:moveTo>
                  <a:lnTo>
                    <a:pt x="2068" y="1704"/>
                  </a:lnTo>
                  <a:lnTo>
                    <a:pt x="2068" y="1702"/>
                  </a:lnTo>
                  <a:lnTo>
                    <a:pt x="2068" y="1697"/>
                  </a:lnTo>
                  <a:lnTo>
                    <a:pt x="2066" y="1693"/>
                  </a:lnTo>
                  <a:lnTo>
                    <a:pt x="2066" y="1691"/>
                  </a:lnTo>
                  <a:lnTo>
                    <a:pt x="2064" y="1685"/>
                  </a:lnTo>
                  <a:lnTo>
                    <a:pt x="2062" y="1681"/>
                  </a:lnTo>
                  <a:lnTo>
                    <a:pt x="2060" y="1679"/>
                  </a:lnTo>
                  <a:lnTo>
                    <a:pt x="2060" y="1679"/>
                  </a:lnTo>
                  <a:lnTo>
                    <a:pt x="2054" y="1679"/>
                  </a:lnTo>
                  <a:lnTo>
                    <a:pt x="2052" y="1679"/>
                  </a:lnTo>
                  <a:lnTo>
                    <a:pt x="2048" y="1679"/>
                  </a:lnTo>
                  <a:lnTo>
                    <a:pt x="2046" y="1679"/>
                  </a:lnTo>
                  <a:lnTo>
                    <a:pt x="2041" y="1679"/>
                  </a:lnTo>
                  <a:lnTo>
                    <a:pt x="2041" y="1677"/>
                  </a:lnTo>
                  <a:lnTo>
                    <a:pt x="2039" y="1677"/>
                  </a:lnTo>
                  <a:lnTo>
                    <a:pt x="2037" y="1677"/>
                  </a:lnTo>
                  <a:lnTo>
                    <a:pt x="2035" y="1673"/>
                  </a:lnTo>
                  <a:lnTo>
                    <a:pt x="2029" y="1671"/>
                  </a:lnTo>
                  <a:lnTo>
                    <a:pt x="2027" y="1669"/>
                  </a:lnTo>
                  <a:lnTo>
                    <a:pt x="2023" y="1666"/>
                  </a:lnTo>
                  <a:lnTo>
                    <a:pt x="2021" y="1662"/>
                  </a:lnTo>
                  <a:lnTo>
                    <a:pt x="2019" y="1662"/>
                  </a:lnTo>
                  <a:lnTo>
                    <a:pt x="2019" y="1658"/>
                  </a:lnTo>
                  <a:lnTo>
                    <a:pt x="2015" y="1658"/>
                  </a:lnTo>
                  <a:lnTo>
                    <a:pt x="2013" y="1656"/>
                  </a:lnTo>
                  <a:lnTo>
                    <a:pt x="2011" y="1654"/>
                  </a:lnTo>
                  <a:lnTo>
                    <a:pt x="2004" y="1652"/>
                  </a:lnTo>
                  <a:lnTo>
                    <a:pt x="2002" y="1650"/>
                  </a:lnTo>
                  <a:lnTo>
                    <a:pt x="2002" y="1650"/>
                  </a:lnTo>
                  <a:lnTo>
                    <a:pt x="2000" y="1648"/>
                  </a:lnTo>
                  <a:lnTo>
                    <a:pt x="1996" y="1648"/>
                  </a:lnTo>
                  <a:lnTo>
                    <a:pt x="1992" y="1646"/>
                  </a:lnTo>
                  <a:lnTo>
                    <a:pt x="1990" y="1646"/>
                  </a:lnTo>
                  <a:lnTo>
                    <a:pt x="1984" y="1648"/>
                  </a:lnTo>
                  <a:lnTo>
                    <a:pt x="1980" y="1648"/>
                  </a:lnTo>
                  <a:lnTo>
                    <a:pt x="1978" y="1648"/>
                  </a:lnTo>
                  <a:lnTo>
                    <a:pt x="1975" y="1648"/>
                  </a:lnTo>
                  <a:lnTo>
                    <a:pt x="1973" y="1648"/>
                  </a:lnTo>
                  <a:lnTo>
                    <a:pt x="1971" y="1646"/>
                  </a:lnTo>
                  <a:lnTo>
                    <a:pt x="1969" y="1646"/>
                  </a:lnTo>
                  <a:lnTo>
                    <a:pt x="1967" y="1646"/>
                  </a:lnTo>
                  <a:lnTo>
                    <a:pt x="1963" y="1646"/>
                  </a:lnTo>
                  <a:lnTo>
                    <a:pt x="1959" y="1644"/>
                  </a:lnTo>
                  <a:lnTo>
                    <a:pt x="1957" y="1644"/>
                  </a:lnTo>
                  <a:lnTo>
                    <a:pt x="1955" y="1642"/>
                  </a:lnTo>
                  <a:lnTo>
                    <a:pt x="1955" y="1642"/>
                  </a:lnTo>
                  <a:lnTo>
                    <a:pt x="1951" y="1640"/>
                  </a:lnTo>
                  <a:lnTo>
                    <a:pt x="1949" y="1640"/>
                  </a:lnTo>
                  <a:lnTo>
                    <a:pt x="1947" y="1640"/>
                  </a:lnTo>
                  <a:lnTo>
                    <a:pt x="1947" y="1642"/>
                  </a:lnTo>
                  <a:lnTo>
                    <a:pt x="1942" y="1642"/>
                  </a:lnTo>
                  <a:lnTo>
                    <a:pt x="1940" y="1644"/>
                  </a:lnTo>
                  <a:lnTo>
                    <a:pt x="1940" y="1644"/>
                  </a:lnTo>
                  <a:lnTo>
                    <a:pt x="1938" y="1644"/>
                  </a:lnTo>
                  <a:lnTo>
                    <a:pt x="1936" y="1646"/>
                  </a:lnTo>
                  <a:lnTo>
                    <a:pt x="1936" y="1646"/>
                  </a:lnTo>
                  <a:lnTo>
                    <a:pt x="1936" y="1644"/>
                  </a:lnTo>
                  <a:lnTo>
                    <a:pt x="1938" y="1644"/>
                  </a:lnTo>
                  <a:lnTo>
                    <a:pt x="1938" y="1642"/>
                  </a:lnTo>
                  <a:lnTo>
                    <a:pt x="1938" y="1642"/>
                  </a:lnTo>
                  <a:lnTo>
                    <a:pt x="1936" y="1642"/>
                  </a:lnTo>
                  <a:lnTo>
                    <a:pt x="1936" y="1642"/>
                  </a:lnTo>
                  <a:lnTo>
                    <a:pt x="1934" y="1642"/>
                  </a:lnTo>
                  <a:lnTo>
                    <a:pt x="1934" y="1646"/>
                  </a:lnTo>
                  <a:lnTo>
                    <a:pt x="1932" y="1648"/>
                  </a:lnTo>
                  <a:lnTo>
                    <a:pt x="1930" y="1650"/>
                  </a:lnTo>
                  <a:lnTo>
                    <a:pt x="1928" y="1652"/>
                  </a:lnTo>
                  <a:lnTo>
                    <a:pt x="1928" y="1650"/>
                  </a:lnTo>
                  <a:lnTo>
                    <a:pt x="1930" y="1646"/>
                  </a:lnTo>
                  <a:lnTo>
                    <a:pt x="1930" y="1644"/>
                  </a:lnTo>
                  <a:lnTo>
                    <a:pt x="1930" y="1644"/>
                  </a:lnTo>
                  <a:lnTo>
                    <a:pt x="1930" y="1642"/>
                  </a:lnTo>
                  <a:lnTo>
                    <a:pt x="1932" y="1642"/>
                  </a:lnTo>
                  <a:lnTo>
                    <a:pt x="1932" y="1640"/>
                  </a:lnTo>
                  <a:lnTo>
                    <a:pt x="1934" y="1640"/>
                  </a:lnTo>
                  <a:lnTo>
                    <a:pt x="1934" y="1640"/>
                  </a:lnTo>
                  <a:lnTo>
                    <a:pt x="1932" y="1638"/>
                  </a:lnTo>
                  <a:lnTo>
                    <a:pt x="1932" y="1638"/>
                  </a:lnTo>
                  <a:lnTo>
                    <a:pt x="1930" y="1638"/>
                  </a:lnTo>
                  <a:lnTo>
                    <a:pt x="1930" y="1640"/>
                  </a:lnTo>
                  <a:lnTo>
                    <a:pt x="1928" y="1640"/>
                  </a:lnTo>
                  <a:lnTo>
                    <a:pt x="1928" y="1638"/>
                  </a:lnTo>
                  <a:lnTo>
                    <a:pt x="1928" y="1638"/>
                  </a:lnTo>
                  <a:lnTo>
                    <a:pt x="1930" y="1638"/>
                  </a:lnTo>
                  <a:lnTo>
                    <a:pt x="1930" y="1638"/>
                  </a:lnTo>
                  <a:lnTo>
                    <a:pt x="1930" y="1636"/>
                  </a:lnTo>
                  <a:lnTo>
                    <a:pt x="1932" y="1636"/>
                  </a:lnTo>
                  <a:lnTo>
                    <a:pt x="1932" y="1633"/>
                  </a:lnTo>
                  <a:lnTo>
                    <a:pt x="1930" y="1633"/>
                  </a:lnTo>
                  <a:lnTo>
                    <a:pt x="1930" y="1631"/>
                  </a:lnTo>
                  <a:lnTo>
                    <a:pt x="1928" y="1631"/>
                  </a:lnTo>
                  <a:lnTo>
                    <a:pt x="1928" y="1631"/>
                  </a:lnTo>
                  <a:lnTo>
                    <a:pt x="1928" y="1631"/>
                  </a:lnTo>
                  <a:lnTo>
                    <a:pt x="1928" y="1631"/>
                  </a:lnTo>
                  <a:lnTo>
                    <a:pt x="1928" y="1629"/>
                  </a:lnTo>
                  <a:lnTo>
                    <a:pt x="1926" y="1629"/>
                  </a:lnTo>
                  <a:lnTo>
                    <a:pt x="1924" y="1627"/>
                  </a:lnTo>
                  <a:lnTo>
                    <a:pt x="1924" y="1627"/>
                  </a:lnTo>
                  <a:lnTo>
                    <a:pt x="1922" y="1627"/>
                  </a:lnTo>
                  <a:lnTo>
                    <a:pt x="1922" y="1629"/>
                  </a:lnTo>
                  <a:lnTo>
                    <a:pt x="1920" y="1631"/>
                  </a:lnTo>
                  <a:lnTo>
                    <a:pt x="1920" y="1631"/>
                  </a:lnTo>
                  <a:lnTo>
                    <a:pt x="1920" y="1629"/>
                  </a:lnTo>
                  <a:lnTo>
                    <a:pt x="1918" y="1625"/>
                  </a:lnTo>
                  <a:lnTo>
                    <a:pt x="1918" y="1625"/>
                  </a:lnTo>
                  <a:lnTo>
                    <a:pt x="1916" y="1625"/>
                  </a:lnTo>
                  <a:lnTo>
                    <a:pt x="1914" y="1625"/>
                  </a:lnTo>
                  <a:lnTo>
                    <a:pt x="1912" y="1623"/>
                  </a:lnTo>
                  <a:lnTo>
                    <a:pt x="1909" y="1623"/>
                  </a:lnTo>
                  <a:lnTo>
                    <a:pt x="1909" y="1623"/>
                  </a:lnTo>
                  <a:lnTo>
                    <a:pt x="1907" y="1621"/>
                  </a:lnTo>
                  <a:lnTo>
                    <a:pt x="1907" y="1621"/>
                  </a:lnTo>
                  <a:lnTo>
                    <a:pt x="1905" y="1621"/>
                  </a:lnTo>
                  <a:lnTo>
                    <a:pt x="1905" y="1621"/>
                  </a:lnTo>
                  <a:lnTo>
                    <a:pt x="1903" y="1621"/>
                  </a:lnTo>
                  <a:lnTo>
                    <a:pt x="1901" y="1621"/>
                  </a:lnTo>
                  <a:lnTo>
                    <a:pt x="1901" y="1619"/>
                  </a:lnTo>
                  <a:lnTo>
                    <a:pt x="1899" y="1619"/>
                  </a:lnTo>
                  <a:lnTo>
                    <a:pt x="1899" y="1617"/>
                  </a:lnTo>
                  <a:lnTo>
                    <a:pt x="1897" y="1617"/>
                  </a:lnTo>
                  <a:lnTo>
                    <a:pt x="1897" y="1617"/>
                  </a:lnTo>
                  <a:lnTo>
                    <a:pt x="1895" y="1617"/>
                  </a:lnTo>
                  <a:lnTo>
                    <a:pt x="1895" y="1617"/>
                  </a:lnTo>
                  <a:lnTo>
                    <a:pt x="1893" y="1617"/>
                  </a:lnTo>
                  <a:lnTo>
                    <a:pt x="1893" y="1615"/>
                  </a:lnTo>
                  <a:lnTo>
                    <a:pt x="1891" y="1615"/>
                  </a:lnTo>
                  <a:lnTo>
                    <a:pt x="1891" y="1615"/>
                  </a:lnTo>
                  <a:lnTo>
                    <a:pt x="1889" y="1617"/>
                  </a:lnTo>
                  <a:lnTo>
                    <a:pt x="1891" y="1617"/>
                  </a:lnTo>
                  <a:lnTo>
                    <a:pt x="1891" y="1617"/>
                  </a:lnTo>
                  <a:lnTo>
                    <a:pt x="1889" y="1617"/>
                  </a:lnTo>
                  <a:lnTo>
                    <a:pt x="1889" y="1617"/>
                  </a:lnTo>
                  <a:lnTo>
                    <a:pt x="1887" y="1617"/>
                  </a:lnTo>
                  <a:lnTo>
                    <a:pt x="1887" y="1617"/>
                  </a:lnTo>
                  <a:lnTo>
                    <a:pt x="1887" y="1617"/>
                  </a:lnTo>
                  <a:lnTo>
                    <a:pt x="1885" y="1617"/>
                  </a:lnTo>
                  <a:lnTo>
                    <a:pt x="1885" y="1617"/>
                  </a:lnTo>
                  <a:lnTo>
                    <a:pt x="1883" y="1617"/>
                  </a:lnTo>
                  <a:lnTo>
                    <a:pt x="1883" y="1617"/>
                  </a:lnTo>
                  <a:lnTo>
                    <a:pt x="1881" y="1617"/>
                  </a:lnTo>
                  <a:lnTo>
                    <a:pt x="1881" y="1617"/>
                  </a:lnTo>
                  <a:lnTo>
                    <a:pt x="1881" y="1617"/>
                  </a:lnTo>
                  <a:lnTo>
                    <a:pt x="1881" y="1617"/>
                  </a:lnTo>
                  <a:lnTo>
                    <a:pt x="1879" y="1619"/>
                  </a:lnTo>
                  <a:lnTo>
                    <a:pt x="1879" y="1619"/>
                  </a:lnTo>
                  <a:lnTo>
                    <a:pt x="1876" y="1621"/>
                  </a:lnTo>
                  <a:lnTo>
                    <a:pt x="1879" y="1621"/>
                  </a:lnTo>
                  <a:lnTo>
                    <a:pt x="1876" y="1623"/>
                  </a:lnTo>
                  <a:lnTo>
                    <a:pt x="1876" y="1623"/>
                  </a:lnTo>
                  <a:lnTo>
                    <a:pt x="1874" y="1625"/>
                  </a:lnTo>
                  <a:lnTo>
                    <a:pt x="1874" y="1627"/>
                  </a:lnTo>
                  <a:lnTo>
                    <a:pt x="1876" y="1627"/>
                  </a:lnTo>
                  <a:lnTo>
                    <a:pt x="1876" y="1627"/>
                  </a:lnTo>
                  <a:lnTo>
                    <a:pt x="1876" y="1627"/>
                  </a:lnTo>
                  <a:lnTo>
                    <a:pt x="1874" y="1629"/>
                  </a:lnTo>
                  <a:lnTo>
                    <a:pt x="1874" y="1629"/>
                  </a:lnTo>
                  <a:lnTo>
                    <a:pt x="1874" y="1627"/>
                  </a:lnTo>
                  <a:lnTo>
                    <a:pt x="1872" y="1627"/>
                  </a:lnTo>
                  <a:lnTo>
                    <a:pt x="1868" y="1631"/>
                  </a:lnTo>
                  <a:lnTo>
                    <a:pt x="1866" y="1633"/>
                  </a:lnTo>
                  <a:lnTo>
                    <a:pt x="1864" y="1633"/>
                  </a:lnTo>
                  <a:lnTo>
                    <a:pt x="1862" y="1640"/>
                  </a:lnTo>
                  <a:lnTo>
                    <a:pt x="1862" y="1642"/>
                  </a:lnTo>
                  <a:lnTo>
                    <a:pt x="1860" y="1644"/>
                  </a:lnTo>
                  <a:lnTo>
                    <a:pt x="1860" y="1644"/>
                  </a:lnTo>
                  <a:lnTo>
                    <a:pt x="1858" y="1644"/>
                  </a:lnTo>
                  <a:lnTo>
                    <a:pt x="1860" y="1644"/>
                  </a:lnTo>
                  <a:lnTo>
                    <a:pt x="1860" y="1642"/>
                  </a:lnTo>
                  <a:lnTo>
                    <a:pt x="1860" y="1640"/>
                  </a:lnTo>
                  <a:lnTo>
                    <a:pt x="1862" y="1638"/>
                  </a:lnTo>
                  <a:lnTo>
                    <a:pt x="1862" y="1633"/>
                  </a:lnTo>
                  <a:lnTo>
                    <a:pt x="1864" y="1631"/>
                  </a:lnTo>
                  <a:lnTo>
                    <a:pt x="1860" y="1633"/>
                  </a:lnTo>
                  <a:lnTo>
                    <a:pt x="1858" y="1633"/>
                  </a:lnTo>
                  <a:lnTo>
                    <a:pt x="1856" y="1633"/>
                  </a:lnTo>
                  <a:lnTo>
                    <a:pt x="1854" y="1633"/>
                  </a:lnTo>
                  <a:lnTo>
                    <a:pt x="1852" y="1633"/>
                  </a:lnTo>
                  <a:lnTo>
                    <a:pt x="1852" y="1633"/>
                  </a:lnTo>
                  <a:lnTo>
                    <a:pt x="1850" y="1633"/>
                  </a:lnTo>
                  <a:lnTo>
                    <a:pt x="1848" y="1636"/>
                  </a:lnTo>
                  <a:lnTo>
                    <a:pt x="1846" y="1633"/>
                  </a:lnTo>
                  <a:lnTo>
                    <a:pt x="1843" y="1631"/>
                  </a:lnTo>
                  <a:lnTo>
                    <a:pt x="1843" y="1631"/>
                  </a:lnTo>
                  <a:lnTo>
                    <a:pt x="1843" y="1631"/>
                  </a:lnTo>
                  <a:lnTo>
                    <a:pt x="1843" y="1629"/>
                  </a:lnTo>
                  <a:lnTo>
                    <a:pt x="1841" y="1627"/>
                  </a:lnTo>
                  <a:lnTo>
                    <a:pt x="1841" y="1625"/>
                  </a:lnTo>
                  <a:lnTo>
                    <a:pt x="1841" y="1625"/>
                  </a:lnTo>
                  <a:lnTo>
                    <a:pt x="1841" y="1623"/>
                  </a:lnTo>
                  <a:lnTo>
                    <a:pt x="1841" y="1623"/>
                  </a:lnTo>
                  <a:lnTo>
                    <a:pt x="1839" y="1623"/>
                  </a:lnTo>
                  <a:lnTo>
                    <a:pt x="1841" y="1621"/>
                  </a:lnTo>
                  <a:lnTo>
                    <a:pt x="1841" y="1621"/>
                  </a:lnTo>
                  <a:lnTo>
                    <a:pt x="1841" y="1619"/>
                  </a:lnTo>
                  <a:lnTo>
                    <a:pt x="1839" y="1621"/>
                  </a:lnTo>
                  <a:lnTo>
                    <a:pt x="1839" y="1621"/>
                  </a:lnTo>
                  <a:lnTo>
                    <a:pt x="1837" y="1623"/>
                  </a:lnTo>
                  <a:lnTo>
                    <a:pt x="1835" y="1623"/>
                  </a:lnTo>
                  <a:lnTo>
                    <a:pt x="1831" y="1625"/>
                  </a:lnTo>
                  <a:lnTo>
                    <a:pt x="1829" y="1627"/>
                  </a:lnTo>
                  <a:lnTo>
                    <a:pt x="1825" y="1629"/>
                  </a:lnTo>
                  <a:lnTo>
                    <a:pt x="1823" y="1629"/>
                  </a:lnTo>
                  <a:lnTo>
                    <a:pt x="1821" y="1629"/>
                  </a:lnTo>
                  <a:lnTo>
                    <a:pt x="1815" y="1629"/>
                  </a:lnTo>
                  <a:lnTo>
                    <a:pt x="1817" y="1627"/>
                  </a:lnTo>
                  <a:lnTo>
                    <a:pt x="1821" y="1625"/>
                  </a:lnTo>
                  <a:lnTo>
                    <a:pt x="1825" y="1627"/>
                  </a:lnTo>
                  <a:lnTo>
                    <a:pt x="1825" y="1625"/>
                  </a:lnTo>
                  <a:lnTo>
                    <a:pt x="1825" y="1625"/>
                  </a:lnTo>
                  <a:lnTo>
                    <a:pt x="1827" y="1623"/>
                  </a:lnTo>
                  <a:lnTo>
                    <a:pt x="1827" y="1623"/>
                  </a:lnTo>
                  <a:lnTo>
                    <a:pt x="1829" y="1621"/>
                  </a:lnTo>
                  <a:lnTo>
                    <a:pt x="1829" y="1619"/>
                  </a:lnTo>
                  <a:lnTo>
                    <a:pt x="1829" y="1617"/>
                  </a:lnTo>
                  <a:lnTo>
                    <a:pt x="1831" y="1615"/>
                  </a:lnTo>
                  <a:lnTo>
                    <a:pt x="1831" y="1613"/>
                  </a:lnTo>
                  <a:lnTo>
                    <a:pt x="1833" y="1613"/>
                  </a:lnTo>
                  <a:lnTo>
                    <a:pt x="1835" y="1609"/>
                  </a:lnTo>
                  <a:lnTo>
                    <a:pt x="1835" y="1609"/>
                  </a:lnTo>
                  <a:lnTo>
                    <a:pt x="1837" y="1607"/>
                  </a:lnTo>
                  <a:lnTo>
                    <a:pt x="1839" y="1605"/>
                  </a:lnTo>
                  <a:lnTo>
                    <a:pt x="1841" y="1605"/>
                  </a:lnTo>
                  <a:lnTo>
                    <a:pt x="1841" y="1605"/>
                  </a:lnTo>
                  <a:lnTo>
                    <a:pt x="1843" y="1602"/>
                  </a:lnTo>
                  <a:lnTo>
                    <a:pt x="1846" y="1600"/>
                  </a:lnTo>
                  <a:lnTo>
                    <a:pt x="1848" y="1598"/>
                  </a:lnTo>
                  <a:lnTo>
                    <a:pt x="1848" y="1596"/>
                  </a:lnTo>
                  <a:lnTo>
                    <a:pt x="1850" y="1594"/>
                  </a:lnTo>
                  <a:lnTo>
                    <a:pt x="1852" y="1592"/>
                  </a:lnTo>
                  <a:lnTo>
                    <a:pt x="1854" y="1592"/>
                  </a:lnTo>
                  <a:lnTo>
                    <a:pt x="1854" y="1590"/>
                  </a:lnTo>
                  <a:lnTo>
                    <a:pt x="1856" y="1590"/>
                  </a:lnTo>
                  <a:lnTo>
                    <a:pt x="1854" y="1588"/>
                  </a:lnTo>
                  <a:lnTo>
                    <a:pt x="1856" y="1586"/>
                  </a:lnTo>
                  <a:lnTo>
                    <a:pt x="1854" y="1584"/>
                  </a:lnTo>
                  <a:lnTo>
                    <a:pt x="1852" y="1582"/>
                  </a:lnTo>
                  <a:lnTo>
                    <a:pt x="1852" y="1582"/>
                  </a:lnTo>
                  <a:lnTo>
                    <a:pt x="1850" y="1582"/>
                  </a:lnTo>
                  <a:lnTo>
                    <a:pt x="1848" y="1580"/>
                  </a:lnTo>
                  <a:lnTo>
                    <a:pt x="1846" y="1580"/>
                  </a:lnTo>
                  <a:lnTo>
                    <a:pt x="1846" y="1578"/>
                  </a:lnTo>
                  <a:lnTo>
                    <a:pt x="1846" y="1578"/>
                  </a:lnTo>
                  <a:lnTo>
                    <a:pt x="1843" y="1576"/>
                  </a:lnTo>
                  <a:lnTo>
                    <a:pt x="1843" y="1576"/>
                  </a:lnTo>
                  <a:lnTo>
                    <a:pt x="1843" y="1576"/>
                  </a:lnTo>
                  <a:lnTo>
                    <a:pt x="1843" y="1576"/>
                  </a:lnTo>
                  <a:lnTo>
                    <a:pt x="1843" y="1574"/>
                  </a:lnTo>
                  <a:lnTo>
                    <a:pt x="1841" y="1571"/>
                  </a:lnTo>
                  <a:lnTo>
                    <a:pt x="1841" y="1569"/>
                  </a:lnTo>
                  <a:lnTo>
                    <a:pt x="1841" y="1569"/>
                  </a:lnTo>
                  <a:lnTo>
                    <a:pt x="1839" y="1563"/>
                  </a:lnTo>
                  <a:lnTo>
                    <a:pt x="1839" y="1559"/>
                  </a:lnTo>
                  <a:lnTo>
                    <a:pt x="1837" y="1555"/>
                  </a:lnTo>
                  <a:lnTo>
                    <a:pt x="1835" y="1549"/>
                  </a:lnTo>
                  <a:lnTo>
                    <a:pt x="1835" y="1547"/>
                  </a:lnTo>
                  <a:lnTo>
                    <a:pt x="1833" y="1545"/>
                  </a:lnTo>
                  <a:lnTo>
                    <a:pt x="1831" y="1545"/>
                  </a:lnTo>
                  <a:lnTo>
                    <a:pt x="1831" y="1547"/>
                  </a:lnTo>
                  <a:lnTo>
                    <a:pt x="1829" y="1549"/>
                  </a:lnTo>
                  <a:lnTo>
                    <a:pt x="1829" y="1549"/>
                  </a:lnTo>
                  <a:lnTo>
                    <a:pt x="1829" y="1549"/>
                  </a:lnTo>
                  <a:lnTo>
                    <a:pt x="1829" y="1547"/>
                  </a:lnTo>
                  <a:lnTo>
                    <a:pt x="1829" y="1547"/>
                  </a:lnTo>
                  <a:lnTo>
                    <a:pt x="1827" y="1543"/>
                  </a:lnTo>
                  <a:lnTo>
                    <a:pt x="1827" y="1541"/>
                  </a:lnTo>
                  <a:lnTo>
                    <a:pt x="1827" y="1541"/>
                  </a:lnTo>
                  <a:lnTo>
                    <a:pt x="1827" y="1543"/>
                  </a:lnTo>
                  <a:lnTo>
                    <a:pt x="1827" y="1545"/>
                  </a:lnTo>
                  <a:lnTo>
                    <a:pt x="1825" y="1545"/>
                  </a:lnTo>
                  <a:lnTo>
                    <a:pt x="1825" y="1545"/>
                  </a:lnTo>
                  <a:lnTo>
                    <a:pt x="1825" y="1545"/>
                  </a:lnTo>
                  <a:lnTo>
                    <a:pt x="1825" y="1545"/>
                  </a:lnTo>
                  <a:lnTo>
                    <a:pt x="1825" y="1543"/>
                  </a:lnTo>
                  <a:lnTo>
                    <a:pt x="1825" y="1541"/>
                  </a:lnTo>
                  <a:lnTo>
                    <a:pt x="1825" y="1541"/>
                  </a:lnTo>
                  <a:lnTo>
                    <a:pt x="1821" y="1538"/>
                  </a:lnTo>
                  <a:lnTo>
                    <a:pt x="1821" y="1538"/>
                  </a:lnTo>
                  <a:lnTo>
                    <a:pt x="1821" y="1538"/>
                  </a:lnTo>
                  <a:lnTo>
                    <a:pt x="1821" y="1536"/>
                  </a:lnTo>
                  <a:lnTo>
                    <a:pt x="1819" y="1536"/>
                  </a:lnTo>
                  <a:lnTo>
                    <a:pt x="1815" y="1532"/>
                  </a:lnTo>
                  <a:lnTo>
                    <a:pt x="1813" y="1530"/>
                  </a:lnTo>
                  <a:lnTo>
                    <a:pt x="1806" y="1528"/>
                  </a:lnTo>
                  <a:lnTo>
                    <a:pt x="1804" y="1528"/>
                  </a:lnTo>
                  <a:lnTo>
                    <a:pt x="1798" y="1524"/>
                  </a:lnTo>
                  <a:lnTo>
                    <a:pt x="1798" y="1524"/>
                  </a:lnTo>
                  <a:lnTo>
                    <a:pt x="1796" y="1526"/>
                  </a:lnTo>
                  <a:lnTo>
                    <a:pt x="1796" y="1530"/>
                  </a:lnTo>
                  <a:lnTo>
                    <a:pt x="1794" y="1530"/>
                  </a:lnTo>
                  <a:lnTo>
                    <a:pt x="1796" y="1528"/>
                  </a:lnTo>
                  <a:lnTo>
                    <a:pt x="1796" y="1528"/>
                  </a:lnTo>
                  <a:lnTo>
                    <a:pt x="1796" y="1526"/>
                  </a:lnTo>
                  <a:lnTo>
                    <a:pt x="1796" y="1524"/>
                  </a:lnTo>
                  <a:lnTo>
                    <a:pt x="1794" y="1524"/>
                  </a:lnTo>
                  <a:lnTo>
                    <a:pt x="1792" y="1522"/>
                  </a:lnTo>
                  <a:lnTo>
                    <a:pt x="1784" y="1522"/>
                  </a:lnTo>
                  <a:lnTo>
                    <a:pt x="1780" y="1522"/>
                  </a:lnTo>
                  <a:lnTo>
                    <a:pt x="1777" y="1522"/>
                  </a:lnTo>
                  <a:lnTo>
                    <a:pt x="1773" y="1522"/>
                  </a:lnTo>
                  <a:lnTo>
                    <a:pt x="1771" y="1522"/>
                  </a:lnTo>
                  <a:lnTo>
                    <a:pt x="1769" y="1524"/>
                  </a:lnTo>
                  <a:lnTo>
                    <a:pt x="1769" y="1524"/>
                  </a:lnTo>
                  <a:lnTo>
                    <a:pt x="1769" y="1526"/>
                  </a:lnTo>
                  <a:lnTo>
                    <a:pt x="1769" y="1524"/>
                  </a:lnTo>
                  <a:lnTo>
                    <a:pt x="1765" y="1524"/>
                  </a:lnTo>
                  <a:lnTo>
                    <a:pt x="1761" y="1522"/>
                  </a:lnTo>
                  <a:lnTo>
                    <a:pt x="1755" y="1522"/>
                  </a:lnTo>
                  <a:lnTo>
                    <a:pt x="1753" y="1522"/>
                  </a:lnTo>
                  <a:lnTo>
                    <a:pt x="1753" y="1524"/>
                  </a:lnTo>
                  <a:lnTo>
                    <a:pt x="1753" y="1526"/>
                  </a:lnTo>
                  <a:lnTo>
                    <a:pt x="1751" y="1526"/>
                  </a:lnTo>
                  <a:lnTo>
                    <a:pt x="1751" y="1528"/>
                  </a:lnTo>
                  <a:lnTo>
                    <a:pt x="1751" y="1528"/>
                  </a:lnTo>
                  <a:lnTo>
                    <a:pt x="1751" y="1528"/>
                  </a:lnTo>
                  <a:lnTo>
                    <a:pt x="1751" y="1524"/>
                  </a:lnTo>
                  <a:lnTo>
                    <a:pt x="1751" y="1520"/>
                  </a:lnTo>
                  <a:lnTo>
                    <a:pt x="1751" y="1520"/>
                  </a:lnTo>
                  <a:lnTo>
                    <a:pt x="1749" y="1518"/>
                  </a:lnTo>
                  <a:lnTo>
                    <a:pt x="1747" y="1518"/>
                  </a:lnTo>
                  <a:lnTo>
                    <a:pt x="1744" y="1516"/>
                  </a:lnTo>
                  <a:lnTo>
                    <a:pt x="1742" y="1514"/>
                  </a:lnTo>
                  <a:lnTo>
                    <a:pt x="1740" y="1510"/>
                  </a:lnTo>
                  <a:lnTo>
                    <a:pt x="1738" y="1510"/>
                  </a:lnTo>
                  <a:lnTo>
                    <a:pt x="1736" y="1510"/>
                  </a:lnTo>
                  <a:lnTo>
                    <a:pt x="1734" y="1510"/>
                  </a:lnTo>
                  <a:lnTo>
                    <a:pt x="1734" y="1510"/>
                  </a:lnTo>
                  <a:lnTo>
                    <a:pt x="1732" y="1512"/>
                  </a:lnTo>
                  <a:lnTo>
                    <a:pt x="1732" y="1514"/>
                  </a:lnTo>
                  <a:lnTo>
                    <a:pt x="1730" y="1516"/>
                  </a:lnTo>
                  <a:lnTo>
                    <a:pt x="1730" y="1516"/>
                  </a:lnTo>
                  <a:lnTo>
                    <a:pt x="1730" y="1514"/>
                  </a:lnTo>
                  <a:lnTo>
                    <a:pt x="1730" y="1512"/>
                  </a:lnTo>
                  <a:lnTo>
                    <a:pt x="1730" y="1510"/>
                  </a:lnTo>
                  <a:lnTo>
                    <a:pt x="1732" y="1507"/>
                  </a:lnTo>
                  <a:lnTo>
                    <a:pt x="1732" y="1503"/>
                  </a:lnTo>
                  <a:lnTo>
                    <a:pt x="1732" y="1501"/>
                  </a:lnTo>
                  <a:lnTo>
                    <a:pt x="1730" y="1499"/>
                  </a:lnTo>
                  <a:lnTo>
                    <a:pt x="1730" y="1499"/>
                  </a:lnTo>
                  <a:lnTo>
                    <a:pt x="1728" y="1497"/>
                  </a:lnTo>
                  <a:lnTo>
                    <a:pt x="1722" y="1493"/>
                  </a:lnTo>
                  <a:lnTo>
                    <a:pt x="1718" y="1489"/>
                  </a:lnTo>
                  <a:lnTo>
                    <a:pt x="1716" y="1489"/>
                  </a:lnTo>
                  <a:lnTo>
                    <a:pt x="1716" y="1487"/>
                  </a:lnTo>
                  <a:lnTo>
                    <a:pt x="1714" y="1489"/>
                  </a:lnTo>
                  <a:lnTo>
                    <a:pt x="1714" y="1489"/>
                  </a:lnTo>
                  <a:lnTo>
                    <a:pt x="1714" y="1489"/>
                  </a:lnTo>
                  <a:lnTo>
                    <a:pt x="1712" y="1485"/>
                  </a:lnTo>
                  <a:lnTo>
                    <a:pt x="1712" y="1485"/>
                  </a:lnTo>
                  <a:lnTo>
                    <a:pt x="1709" y="1485"/>
                  </a:lnTo>
                  <a:lnTo>
                    <a:pt x="1705" y="1485"/>
                  </a:lnTo>
                  <a:lnTo>
                    <a:pt x="1705" y="1485"/>
                  </a:lnTo>
                  <a:lnTo>
                    <a:pt x="1703" y="1485"/>
                  </a:lnTo>
                  <a:lnTo>
                    <a:pt x="1699" y="1485"/>
                  </a:lnTo>
                  <a:lnTo>
                    <a:pt x="1699" y="1485"/>
                  </a:lnTo>
                  <a:lnTo>
                    <a:pt x="1697" y="1487"/>
                  </a:lnTo>
                  <a:lnTo>
                    <a:pt x="1693" y="1487"/>
                  </a:lnTo>
                  <a:lnTo>
                    <a:pt x="1693" y="1487"/>
                  </a:lnTo>
                  <a:lnTo>
                    <a:pt x="1691" y="1487"/>
                  </a:lnTo>
                  <a:lnTo>
                    <a:pt x="1689" y="1485"/>
                  </a:lnTo>
                  <a:lnTo>
                    <a:pt x="1689" y="1485"/>
                  </a:lnTo>
                  <a:lnTo>
                    <a:pt x="1693" y="1485"/>
                  </a:lnTo>
                  <a:lnTo>
                    <a:pt x="1695" y="1483"/>
                  </a:lnTo>
                  <a:lnTo>
                    <a:pt x="1695" y="1481"/>
                  </a:lnTo>
                  <a:lnTo>
                    <a:pt x="1695" y="1481"/>
                  </a:lnTo>
                  <a:lnTo>
                    <a:pt x="1695" y="1479"/>
                  </a:lnTo>
                  <a:lnTo>
                    <a:pt x="1695" y="1479"/>
                  </a:lnTo>
                  <a:lnTo>
                    <a:pt x="1695" y="1479"/>
                  </a:lnTo>
                  <a:lnTo>
                    <a:pt x="1697" y="1477"/>
                  </a:lnTo>
                  <a:lnTo>
                    <a:pt x="1697" y="1477"/>
                  </a:lnTo>
                  <a:lnTo>
                    <a:pt x="1699" y="1474"/>
                  </a:lnTo>
                  <a:lnTo>
                    <a:pt x="1699" y="1474"/>
                  </a:lnTo>
                  <a:lnTo>
                    <a:pt x="1699" y="1472"/>
                  </a:lnTo>
                  <a:lnTo>
                    <a:pt x="1697" y="1470"/>
                  </a:lnTo>
                  <a:lnTo>
                    <a:pt x="1693" y="1470"/>
                  </a:lnTo>
                  <a:lnTo>
                    <a:pt x="1693" y="1470"/>
                  </a:lnTo>
                  <a:lnTo>
                    <a:pt x="1689" y="1466"/>
                  </a:lnTo>
                  <a:lnTo>
                    <a:pt x="1689" y="1466"/>
                  </a:lnTo>
                  <a:lnTo>
                    <a:pt x="1687" y="1468"/>
                  </a:lnTo>
                  <a:lnTo>
                    <a:pt x="1685" y="1468"/>
                  </a:lnTo>
                  <a:lnTo>
                    <a:pt x="1687" y="1468"/>
                  </a:lnTo>
                  <a:lnTo>
                    <a:pt x="1687" y="1468"/>
                  </a:lnTo>
                  <a:lnTo>
                    <a:pt x="1687" y="1470"/>
                  </a:lnTo>
                  <a:lnTo>
                    <a:pt x="1687" y="1470"/>
                  </a:lnTo>
                  <a:lnTo>
                    <a:pt x="1685" y="1468"/>
                  </a:lnTo>
                  <a:lnTo>
                    <a:pt x="1685" y="1468"/>
                  </a:lnTo>
                  <a:lnTo>
                    <a:pt x="1685" y="1468"/>
                  </a:lnTo>
                  <a:lnTo>
                    <a:pt x="1685" y="1466"/>
                  </a:lnTo>
                  <a:lnTo>
                    <a:pt x="1683" y="1466"/>
                  </a:lnTo>
                  <a:lnTo>
                    <a:pt x="1681" y="1464"/>
                  </a:lnTo>
                  <a:lnTo>
                    <a:pt x="1681" y="1464"/>
                  </a:lnTo>
                  <a:lnTo>
                    <a:pt x="1681" y="1464"/>
                  </a:lnTo>
                  <a:lnTo>
                    <a:pt x="1681" y="1466"/>
                  </a:lnTo>
                  <a:lnTo>
                    <a:pt x="1681" y="1466"/>
                  </a:lnTo>
                  <a:lnTo>
                    <a:pt x="1681" y="1468"/>
                  </a:lnTo>
                  <a:lnTo>
                    <a:pt x="1681" y="1466"/>
                  </a:lnTo>
                  <a:lnTo>
                    <a:pt x="1681" y="1466"/>
                  </a:lnTo>
                  <a:lnTo>
                    <a:pt x="1679" y="1466"/>
                  </a:lnTo>
                  <a:lnTo>
                    <a:pt x="1679" y="1468"/>
                  </a:lnTo>
                  <a:lnTo>
                    <a:pt x="1679" y="1468"/>
                  </a:lnTo>
                  <a:lnTo>
                    <a:pt x="1679" y="1468"/>
                  </a:lnTo>
                  <a:lnTo>
                    <a:pt x="1679" y="1468"/>
                  </a:lnTo>
                  <a:lnTo>
                    <a:pt x="1676" y="1466"/>
                  </a:lnTo>
                  <a:lnTo>
                    <a:pt x="1674" y="1462"/>
                  </a:lnTo>
                  <a:lnTo>
                    <a:pt x="1674" y="1462"/>
                  </a:lnTo>
                  <a:lnTo>
                    <a:pt x="1674" y="1462"/>
                  </a:lnTo>
                  <a:lnTo>
                    <a:pt x="1674" y="1462"/>
                  </a:lnTo>
                  <a:lnTo>
                    <a:pt x="1674" y="1462"/>
                  </a:lnTo>
                  <a:lnTo>
                    <a:pt x="1672" y="1464"/>
                  </a:lnTo>
                  <a:lnTo>
                    <a:pt x="1672" y="1464"/>
                  </a:lnTo>
                  <a:lnTo>
                    <a:pt x="1672" y="1464"/>
                  </a:lnTo>
                  <a:lnTo>
                    <a:pt x="1672" y="1462"/>
                  </a:lnTo>
                  <a:lnTo>
                    <a:pt x="1672" y="1460"/>
                  </a:lnTo>
                  <a:lnTo>
                    <a:pt x="1672" y="1460"/>
                  </a:lnTo>
                  <a:lnTo>
                    <a:pt x="1670" y="1460"/>
                  </a:lnTo>
                  <a:lnTo>
                    <a:pt x="1670" y="1460"/>
                  </a:lnTo>
                  <a:lnTo>
                    <a:pt x="1670" y="1458"/>
                  </a:lnTo>
                  <a:lnTo>
                    <a:pt x="1670" y="1458"/>
                  </a:lnTo>
                  <a:lnTo>
                    <a:pt x="1670" y="1458"/>
                  </a:lnTo>
                  <a:lnTo>
                    <a:pt x="1672" y="1456"/>
                  </a:lnTo>
                  <a:lnTo>
                    <a:pt x="1676" y="1456"/>
                  </a:lnTo>
                  <a:lnTo>
                    <a:pt x="1679" y="1456"/>
                  </a:lnTo>
                  <a:lnTo>
                    <a:pt x="1683" y="1456"/>
                  </a:lnTo>
                  <a:lnTo>
                    <a:pt x="1683" y="1456"/>
                  </a:lnTo>
                  <a:lnTo>
                    <a:pt x="1685" y="1454"/>
                  </a:lnTo>
                  <a:lnTo>
                    <a:pt x="1679" y="1454"/>
                  </a:lnTo>
                  <a:lnTo>
                    <a:pt x="1672" y="1454"/>
                  </a:lnTo>
                  <a:lnTo>
                    <a:pt x="1668" y="1454"/>
                  </a:lnTo>
                  <a:lnTo>
                    <a:pt x="1668" y="1454"/>
                  </a:lnTo>
                  <a:lnTo>
                    <a:pt x="1666" y="1454"/>
                  </a:lnTo>
                  <a:lnTo>
                    <a:pt x="1662" y="1456"/>
                  </a:lnTo>
                  <a:lnTo>
                    <a:pt x="1656" y="1456"/>
                  </a:lnTo>
                  <a:lnTo>
                    <a:pt x="1652" y="1456"/>
                  </a:lnTo>
                  <a:lnTo>
                    <a:pt x="1650" y="1456"/>
                  </a:lnTo>
                  <a:lnTo>
                    <a:pt x="1650" y="1458"/>
                  </a:lnTo>
                  <a:lnTo>
                    <a:pt x="1652" y="1456"/>
                  </a:lnTo>
                  <a:lnTo>
                    <a:pt x="1656" y="1456"/>
                  </a:lnTo>
                  <a:lnTo>
                    <a:pt x="1658" y="1458"/>
                  </a:lnTo>
                  <a:lnTo>
                    <a:pt x="1658" y="1458"/>
                  </a:lnTo>
                  <a:lnTo>
                    <a:pt x="1656" y="1458"/>
                  </a:lnTo>
                  <a:lnTo>
                    <a:pt x="1652" y="1458"/>
                  </a:lnTo>
                  <a:lnTo>
                    <a:pt x="1641" y="1464"/>
                  </a:lnTo>
                  <a:lnTo>
                    <a:pt x="1641" y="1464"/>
                  </a:lnTo>
                  <a:lnTo>
                    <a:pt x="1639" y="1464"/>
                  </a:lnTo>
                  <a:lnTo>
                    <a:pt x="1637" y="1464"/>
                  </a:lnTo>
                  <a:lnTo>
                    <a:pt x="1635" y="1462"/>
                  </a:lnTo>
                  <a:lnTo>
                    <a:pt x="1633" y="1462"/>
                  </a:lnTo>
                  <a:lnTo>
                    <a:pt x="1631" y="1462"/>
                  </a:lnTo>
                  <a:lnTo>
                    <a:pt x="1627" y="1460"/>
                  </a:lnTo>
                  <a:lnTo>
                    <a:pt x="1625" y="1458"/>
                  </a:lnTo>
                  <a:lnTo>
                    <a:pt x="1625" y="1458"/>
                  </a:lnTo>
                  <a:lnTo>
                    <a:pt x="1623" y="1456"/>
                  </a:lnTo>
                  <a:lnTo>
                    <a:pt x="1623" y="1456"/>
                  </a:lnTo>
                  <a:lnTo>
                    <a:pt x="1610" y="1456"/>
                  </a:lnTo>
                  <a:lnTo>
                    <a:pt x="1608" y="1456"/>
                  </a:lnTo>
                  <a:lnTo>
                    <a:pt x="1602" y="1458"/>
                  </a:lnTo>
                  <a:lnTo>
                    <a:pt x="1598" y="1458"/>
                  </a:lnTo>
                  <a:lnTo>
                    <a:pt x="1594" y="1458"/>
                  </a:lnTo>
                  <a:lnTo>
                    <a:pt x="1594" y="1456"/>
                  </a:lnTo>
                  <a:lnTo>
                    <a:pt x="1592" y="1456"/>
                  </a:lnTo>
                  <a:lnTo>
                    <a:pt x="1592" y="1454"/>
                  </a:lnTo>
                  <a:lnTo>
                    <a:pt x="1594" y="1452"/>
                  </a:lnTo>
                  <a:lnTo>
                    <a:pt x="1592" y="1452"/>
                  </a:lnTo>
                  <a:lnTo>
                    <a:pt x="1592" y="1450"/>
                  </a:lnTo>
                  <a:lnTo>
                    <a:pt x="1592" y="1448"/>
                  </a:lnTo>
                  <a:lnTo>
                    <a:pt x="1588" y="1446"/>
                  </a:lnTo>
                  <a:lnTo>
                    <a:pt x="1586" y="1443"/>
                  </a:lnTo>
                  <a:lnTo>
                    <a:pt x="1582" y="1443"/>
                  </a:lnTo>
                  <a:lnTo>
                    <a:pt x="1580" y="1443"/>
                  </a:lnTo>
                  <a:lnTo>
                    <a:pt x="1575" y="1443"/>
                  </a:lnTo>
                  <a:lnTo>
                    <a:pt x="1575" y="1443"/>
                  </a:lnTo>
                  <a:lnTo>
                    <a:pt x="1573" y="1443"/>
                  </a:lnTo>
                  <a:lnTo>
                    <a:pt x="1573" y="1441"/>
                  </a:lnTo>
                  <a:lnTo>
                    <a:pt x="1571" y="1441"/>
                  </a:lnTo>
                  <a:lnTo>
                    <a:pt x="1571" y="1439"/>
                  </a:lnTo>
                  <a:lnTo>
                    <a:pt x="1571" y="1435"/>
                  </a:lnTo>
                  <a:lnTo>
                    <a:pt x="1571" y="1435"/>
                  </a:lnTo>
                  <a:lnTo>
                    <a:pt x="1569" y="1435"/>
                  </a:lnTo>
                  <a:lnTo>
                    <a:pt x="1569" y="1433"/>
                  </a:lnTo>
                  <a:lnTo>
                    <a:pt x="1567" y="1433"/>
                  </a:lnTo>
                  <a:lnTo>
                    <a:pt x="1565" y="1435"/>
                  </a:lnTo>
                  <a:lnTo>
                    <a:pt x="1565" y="1435"/>
                  </a:lnTo>
                  <a:lnTo>
                    <a:pt x="1565" y="1437"/>
                  </a:lnTo>
                  <a:lnTo>
                    <a:pt x="1565" y="1439"/>
                  </a:lnTo>
                  <a:lnTo>
                    <a:pt x="1565" y="1441"/>
                  </a:lnTo>
                  <a:lnTo>
                    <a:pt x="1565" y="1441"/>
                  </a:lnTo>
                  <a:lnTo>
                    <a:pt x="1569" y="1441"/>
                  </a:lnTo>
                  <a:lnTo>
                    <a:pt x="1571" y="1441"/>
                  </a:lnTo>
                  <a:lnTo>
                    <a:pt x="1571" y="1443"/>
                  </a:lnTo>
                  <a:lnTo>
                    <a:pt x="1571" y="1443"/>
                  </a:lnTo>
                  <a:lnTo>
                    <a:pt x="1569" y="1443"/>
                  </a:lnTo>
                  <a:lnTo>
                    <a:pt x="1567" y="1443"/>
                  </a:lnTo>
                  <a:lnTo>
                    <a:pt x="1567" y="1443"/>
                  </a:lnTo>
                  <a:lnTo>
                    <a:pt x="1565" y="1443"/>
                  </a:lnTo>
                  <a:lnTo>
                    <a:pt x="1565" y="1446"/>
                  </a:lnTo>
                  <a:lnTo>
                    <a:pt x="1561" y="1448"/>
                  </a:lnTo>
                  <a:lnTo>
                    <a:pt x="1557" y="1448"/>
                  </a:lnTo>
                  <a:lnTo>
                    <a:pt x="1551" y="1450"/>
                  </a:lnTo>
                  <a:lnTo>
                    <a:pt x="1547" y="1452"/>
                  </a:lnTo>
                  <a:lnTo>
                    <a:pt x="1547" y="1452"/>
                  </a:lnTo>
                  <a:lnTo>
                    <a:pt x="1547" y="1454"/>
                  </a:lnTo>
                  <a:lnTo>
                    <a:pt x="1547" y="1456"/>
                  </a:lnTo>
                  <a:lnTo>
                    <a:pt x="1547" y="1458"/>
                  </a:lnTo>
                  <a:lnTo>
                    <a:pt x="1547" y="1458"/>
                  </a:lnTo>
                  <a:lnTo>
                    <a:pt x="1549" y="1460"/>
                  </a:lnTo>
                  <a:lnTo>
                    <a:pt x="1551" y="1462"/>
                  </a:lnTo>
                  <a:lnTo>
                    <a:pt x="1551" y="1464"/>
                  </a:lnTo>
                  <a:lnTo>
                    <a:pt x="1553" y="1466"/>
                  </a:lnTo>
                  <a:lnTo>
                    <a:pt x="1553" y="1468"/>
                  </a:lnTo>
                  <a:lnTo>
                    <a:pt x="1553" y="1472"/>
                  </a:lnTo>
                  <a:lnTo>
                    <a:pt x="1553" y="1474"/>
                  </a:lnTo>
                  <a:lnTo>
                    <a:pt x="1551" y="1477"/>
                  </a:lnTo>
                  <a:lnTo>
                    <a:pt x="1551" y="1477"/>
                  </a:lnTo>
                  <a:lnTo>
                    <a:pt x="1551" y="1477"/>
                  </a:lnTo>
                  <a:lnTo>
                    <a:pt x="1547" y="1479"/>
                  </a:lnTo>
                  <a:lnTo>
                    <a:pt x="1544" y="1479"/>
                  </a:lnTo>
                  <a:lnTo>
                    <a:pt x="1544" y="1479"/>
                  </a:lnTo>
                  <a:lnTo>
                    <a:pt x="1544" y="1477"/>
                  </a:lnTo>
                  <a:lnTo>
                    <a:pt x="1542" y="1474"/>
                  </a:lnTo>
                  <a:lnTo>
                    <a:pt x="1542" y="1474"/>
                  </a:lnTo>
                  <a:lnTo>
                    <a:pt x="1542" y="1474"/>
                  </a:lnTo>
                  <a:lnTo>
                    <a:pt x="1542" y="1472"/>
                  </a:lnTo>
                  <a:lnTo>
                    <a:pt x="1540" y="1470"/>
                  </a:lnTo>
                  <a:lnTo>
                    <a:pt x="1540" y="1470"/>
                  </a:lnTo>
                  <a:lnTo>
                    <a:pt x="1538" y="1468"/>
                  </a:lnTo>
                  <a:lnTo>
                    <a:pt x="1540" y="1464"/>
                  </a:lnTo>
                  <a:lnTo>
                    <a:pt x="1542" y="1462"/>
                  </a:lnTo>
                  <a:lnTo>
                    <a:pt x="1542" y="1460"/>
                  </a:lnTo>
                  <a:lnTo>
                    <a:pt x="1544" y="1458"/>
                  </a:lnTo>
                  <a:lnTo>
                    <a:pt x="1547" y="1456"/>
                  </a:lnTo>
                  <a:lnTo>
                    <a:pt x="1547" y="1454"/>
                  </a:lnTo>
                  <a:lnTo>
                    <a:pt x="1544" y="1452"/>
                  </a:lnTo>
                  <a:lnTo>
                    <a:pt x="1544" y="1450"/>
                  </a:lnTo>
                  <a:lnTo>
                    <a:pt x="1544" y="1450"/>
                  </a:lnTo>
                  <a:lnTo>
                    <a:pt x="1544" y="1450"/>
                  </a:lnTo>
                  <a:lnTo>
                    <a:pt x="1542" y="1448"/>
                  </a:lnTo>
                  <a:lnTo>
                    <a:pt x="1542" y="1448"/>
                  </a:lnTo>
                  <a:lnTo>
                    <a:pt x="1540" y="1443"/>
                  </a:lnTo>
                  <a:lnTo>
                    <a:pt x="1540" y="1443"/>
                  </a:lnTo>
                  <a:lnTo>
                    <a:pt x="1540" y="1441"/>
                  </a:lnTo>
                  <a:lnTo>
                    <a:pt x="1540" y="1441"/>
                  </a:lnTo>
                  <a:lnTo>
                    <a:pt x="1542" y="1441"/>
                  </a:lnTo>
                  <a:lnTo>
                    <a:pt x="1547" y="1439"/>
                  </a:lnTo>
                  <a:lnTo>
                    <a:pt x="1549" y="1439"/>
                  </a:lnTo>
                  <a:lnTo>
                    <a:pt x="1549" y="1439"/>
                  </a:lnTo>
                  <a:lnTo>
                    <a:pt x="1549" y="1437"/>
                  </a:lnTo>
                  <a:lnTo>
                    <a:pt x="1551" y="1437"/>
                  </a:lnTo>
                  <a:lnTo>
                    <a:pt x="1553" y="1435"/>
                  </a:lnTo>
                  <a:lnTo>
                    <a:pt x="1553" y="1433"/>
                  </a:lnTo>
                  <a:lnTo>
                    <a:pt x="1551" y="1431"/>
                  </a:lnTo>
                  <a:lnTo>
                    <a:pt x="1547" y="1429"/>
                  </a:lnTo>
                  <a:lnTo>
                    <a:pt x="1547" y="1429"/>
                  </a:lnTo>
                  <a:lnTo>
                    <a:pt x="1544" y="1429"/>
                  </a:lnTo>
                  <a:lnTo>
                    <a:pt x="1540" y="1431"/>
                  </a:lnTo>
                  <a:lnTo>
                    <a:pt x="1540" y="1433"/>
                  </a:lnTo>
                  <a:lnTo>
                    <a:pt x="1540" y="1433"/>
                  </a:lnTo>
                  <a:lnTo>
                    <a:pt x="1538" y="1433"/>
                  </a:lnTo>
                  <a:lnTo>
                    <a:pt x="1538" y="1433"/>
                  </a:lnTo>
                  <a:lnTo>
                    <a:pt x="1538" y="1435"/>
                  </a:lnTo>
                  <a:lnTo>
                    <a:pt x="1536" y="1437"/>
                  </a:lnTo>
                  <a:lnTo>
                    <a:pt x="1534" y="1439"/>
                  </a:lnTo>
                  <a:lnTo>
                    <a:pt x="1530" y="1439"/>
                  </a:lnTo>
                  <a:lnTo>
                    <a:pt x="1522" y="1446"/>
                  </a:lnTo>
                  <a:lnTo>
                    <a:pt x="1516" y="1446"/>
                  </a:lnTo>
                  <a:lnTo>
                    <a:pt x="1514" y="1446"/>
                  </a:lnTo>
                  <a:lnTo>
                    <a:pt x="1514" y="1446"/>
                  </a:lnTo>
                  <a:lnTo>
                    <a:pt x="1509" y="1446"/>
                  </a:lnTo>
                  <a:lnTo>
                    <a:pt x="1509" y="1446"/>
                  </a:lnTo>
                  <a:lnTo>
                    <a:pt x="1509" y="1448"/>
                  </a:lnTo>
                  <a:lnTo>
                    <a:pt x="1507" y="1450"/>
                  </a:lnTo>
                  <a:lnTo>
                    <a:pt x="1507" y="1452"/>
                  </a:lnTo>
                  <a:lnTo>
                    <a:pt x="1505" y="1454"/>
                  </a:lnTo>
                  <a:lnTo>
                    <a:pt x="1505" y="1454"/>
                  </a:lnTo>
                  <a:lnTo>
                    <a:pt x="1505" y="1454"/>
                  </a:lnTo>
                  <a:lnTo>
                    <a:pt x="1503" y="1452"/>
                  </a:lnTo>
                  <a:lnTo>
                    <a:pt x="1503" y="1452"/>
                  </a:lnTo>
                  <a:lnTo>
                    <a:pt x="1505" y="1452"/>
                  </a:lnTo>
                  <a:lnTo>
                    <a:pt x="1505" y="1452"/>
                  </a:lnTo>
                  <a:lnTo>
                    <a:pt x="1507" y="1450"/>
                  </a:lnTo>
                  <a:lnTo>
                    <a:pt x="1505" y="1450"/>
                  </a:lnTo>
                  <a:lnTo>
                    <a:pt x="1499" y="1450"/>
                  </a:lnTo>
                  <a:lnTo>
                    <a:pt x="1499" y="1450"/>
                  </a:lnTo>
                  <a:lnTo>
                    <a:pt x="1495" y="1452"/>
                  </a:lnTo>
                  <a:lnTo>
                    <a:pt x="1493" y="1454"/>
                  </a:lnTo>
                  <a:lnTo>
                    <a:pt x="1493" y="1454"/>
                  </a:lnTo>
                  <a:lnTo>
                    <a:pt x="1491" y="1456"/>
                  </a:lnTo>
                  <a:lnTo>
                    <a:pt x="1491" y="1458"/>
                  </a:lnTo>
                  <a:lnTo>
                    <a:pt x="1489" y="1460"/>
                  </a:lnTo>
                  <a:lnTo>
                    <a:pt x="1487" y="1462"/>
                  </a:lnTo>
                  <a:lnTo>
                    <a:pt x="1487" y="1462"/>
                  </a:lnTo>
                  <a:lnTo>
                    <a:pt x="1489" y="1462"/>
                  </a:lnTo>
                  <a:lnTo>
                    <a:pt x="1489" y="1462"/>
                  </a:lnTo>
                  <a:lnTo>
                    <a:pt x="1489" y="1462"/>
                  </a:lnTo>
                  <a:lnTo>
                    <a:pt x="1489" y="1462"/>
                  </a:lnTo>
                  <a:lnTo>
                    <a:pt x="1489" y="1464"/>
                  </a:lnTo>
                  <a:lnTo>
                    <a:pt x="1489" y="1466"/>
                  </a:lnTo>
                  <a:lnTo>
                    <a:pt x="1487" y="1468"/>
                  </a:lnTo>
                  <a:lnTo>
                    <a:pt x="1489" y="1470"/>
                  </a:lnTo>
                  <a:lnTo>
                    <a:pt x="1489" y="1470"/>
                  </a:lnTo>
                  <a:lnTo>
                    <a:pt x="1489" y="1472"/>
                  </a:lnTo>
                  <a:lnTo>
                    <a:pt x="1487" y="1472"/>
                  </a:lnTo>
                  <a:lnTo>
                    <a:pt x="1485" y="1472"/>
                  </a:lnTo>
                  <a:lnTo>
                    <a:pt x="1483" y="1474"/>
                  </a:lnTo>
                  <a:lnTo>
                    <a:pt x="1481" y="1474"/>
                  </a:lnTo>
                  <a:lnTo>
                    <a:pt x="1478" y="1479"/>
                  </a:lnTo>
                  <a:lnTo>
                    <a:pt x="1472" y="1483"/>
                  </a:lnTo>
                  <a:lnTo>
                    <a:pt x="1472" y="1485"/>
                  </a:lnTo>
                  <a:lnTo>
                    <a:pt x="1470" y="1485"/>
                  </a:lnTo>
                  <a:lnTo>
                    <a:pt x="1470" y="1485"/>
                  </a:lnTo>
                  <a:lnTo>
                    <a:pt x="1470" y="1487"/>
                  </a:lnTo>
                  <a:lnTo>
                    <a:pt x="1470" y="1487"/>
                  </a:lnTo>
                  <a:lnTo>
                    <a:pt x="1472" y="1489"/>
                  </a:lnTo>
                  <a:lnTo>
                    <a:pt x="1472" y="1493"/>
                  </a:lnTo>
                  <a:lnTo>
                    <a:pt x="1472" y="1495"/>
                  </a:lnTo>
                  <a:lnTo>
                    <a:pt x="1470" y="1495"/>
                  </a:lnTo>
                  <a:lnTo>
                    <a:pt x="1470" y="1493"/>
                  </a:lnTo>
                  <a:lnTo>
                    <a:pt x="1470" y="1493"/>
                  </a:lnTo>
                  <a:lnTo>
                    <a:pt x="1470" y="1493"/>
                  </a:lnTo>
                  <a:lnTo>
                    <a:pt x="1470" y="1493"/>
                  </a:lnTo>
                  <a:lnTo>
                    <a:pt x="1470" y="1491"/>
                  </a:lnTo>
                  <a:lnTo>
                    <a:pt x="1470" y="1491"/>
                  </a:lnTo>
                  <a:lnTo>
                    <a:pt x="1470" y="1491"/>
                  </a:lnTo>
                  <a:lnTo>
                    <a:pt x="1468" y="1489"/>
                  </a:lnTo>
                  <a:lnTo>
                    <a:pt x="1466" y="1487"/>
                  </a:lnTo>
                  <a:lnTo>
                    <a:pt x="1464" y="1487"/>
                  </a:lnTo>
                  <a:lnTo>
                    <a:pt x="1464" y="1485"/>
                  </a:lnTo>
                  <a:lnTo>
                    <a:pt x="1464" y="1485"/>
                  </a:lnTo>
                  <a:lnTo>
                    <a:pt x="1458" y="1481"/>
                  </a:lnTo>
                  <a:lnTo>
                    <a:pt x="1456" y="1479"/>
                  </a:lnTo>
                  <a:lnTo>
                    <a:pt x="1454" y="1477"/>
                  </a:lnTo>
                  <a:lnTo>
                    <a:pt x="1448" y="1472"/>
                  </a:lnTo>
                  <a:lnTo>
                    <a:pt x="1443" y="1472"/>
                  </a:lnTo>
                  <a:lnTo>
                    <a:pt x="1441" y="1472"/>
                  </a:lnTo>
                  <a:lnTo>
                    <a:pt x="1441" y="1472"/>
                  </a:lnTo>
                  <a:lnTo>
                    <a:pt x="1439" y="1472"/>
                  </a:lnTo>
                  <a:lnTo>
                    <a:pt x="1439" y="1470"/>
                  </a:lnTo>
                  <a:lnTo>
                    <a:pt x="1437" y="1472"/>
                  </a:lnTo>
                  <a:lnTo>
                    <a:pt x="1435" y="1470"/>
                  </a:lnTo>
                  <a:lnTo>
                    <a:pt x="1431" y="1470"/>
                  </a:lnTo>
                  <a:lnTo>
                    <a:pt x="1431" y="1470"/>
                  </a:lnTo>
                  <a:lnTo>
                    <a:pt x="1429" y="1472"/>
                  </a:lnTo>
                  <a:lnTo>
                    <a:pt x="1427" y="1474"/>
                  </a:lnTo>
                  <a:lnTo>
                    <a:pt x="1427" y="1474"/>
                  </a:lnTo>
                  <a:lnTo>
                    <a:pt x="1427" y="1474"/>
                  </a:lnTo>
                  <a:lnTo>
                    <a:pt x="1425" y="1477"/>
                  </a:lnTo>
                  <a:lnTo>
                    <a:pt x="1419" y="1479"/>
                  </a:lnTo>
                  <a:lnTo>
                    <a:pt x="1417" y="1479"/>
                  </a:lnTo>
                  <a:lnTo>
                    <a:pt x="1415" y="1481"/>
                  </a:lnTo>
                  <a:lnTo>
                    <a:pt x="1410" y="1481"/>
                  </a:lnTo>
                  <a:lnTo>
                    <a:pt x="1408" y="1483"/>
                  </a:lnTo>
                  <a:lnTo>
                    <a:pt x="1406" y="1483"/>
                  </a:lnTo>
                  <a:lnTo>
                    <a:pt x="1404" y="1481"/>
                  </a:lnTo>
                  <a:lnTo>
                    <a:pt x="1402" y="1479"/>
                  </a:lnTo>
                  <a:lnTo>
                    <a:pt x="1400" y="1479"/>
                  </a:lnTo>
                  <a:lnTo>
                    <a:pt x="1400" y="1477"/>
                  </a:lnTo>
                  <a:lnTo>
                    <a:pt x="1398" y="1477"/>
                  </a:lnTo>
                  <a:lnTo>
                    <a:pt x="1398" y="1477"/>
                  </a:lnTo>
                  <a:lnTo>
                    <a:pt x="1400" y="1479"/>
                  </a:lnTo>
                  <a:lnTo>
                    <a:pt x="1400" y="1479"/>
                  </a:lnTo>
                  <a:lnTo>
                    <a:pt x="1400" y="1481"/>
                  </a:lnTo>
                  <a:lnTo>
                    <a:pt x="1398" y="1479"/>
                  </a:lnTo>
                  <a:lnTo>
                    <a:pt x="1396" y="1481"/>
                  </a:lnTo>
                  <a:lnTo>
                    <a:pt x="1396" y="1479"/>
                  </a:lnTo>
                  <a:lnTo>
                    <a:pt x="1394" y="1479"/>
                  </a:lnTo>
                  <a:lnTo>
                    <a:pt x="1394" y="1477"/>
                  </a:lnTo>
                  <a:lnTo>
                    <a:pt x="1394" y="1477"/>
                  </a:lnTo>
                  <a:lnTo>
                    <a:pt x="1394" y="1477"/>
                  </a:lnTo>
                  <a:lnTo>
                    <a:pt x="1394" y="1477"/>
                  </a:lnTo>
                  <a:lnTo>
                    <a:pt x="1394" y="1477"/>
                  </a:lnTo>
                  <a:lnTo>
                    <a:pt x="1392" y="1477"/>
                  </a:lnTo>
                  <a:lnTo>
                    <a:pt x="1392" y="1474"/>
                  </a:lnTo>
                  <a:lnTo>
                    <a:pt x="1392" y="1474"/>
                  </a:lnTo>
                  <a:lnTo>
                    <a:pt x="1392" y="1472"/>
                  </a:lnTo>
                  <a:lnTo>
                    <a:pt x="1390" y="1472"/>
                  </a:lnTo>
                  <a:lnTo>
                    <a:pt x="1390" y="1470"/>
                  </a:lnTo>
                  <a:lnTo>
                    <a:pt x="1388" y="1470"/>
                  </a:lnTo>
                  <a:lnTo>
                    <a:pt x="1386" y="1470"/>
                  </a:lnTo>
                  <a:lnTo>
                    <a:pt x="1386" y="1468"/>
                  </a:lnTo>
                  <a:lnTo>
                    <a:pt x="1386" y="1468"/>
                  </a:lnTo>
                  <a:lnTo>
                    <a:pt x="1382" y="1464"/>
                  </a:lnTo>
                  <a:lnTo>
                    <a:pt x="1382" y="1464"/>
                  </a:lnTo>
                  <a:lnTo>
                    <a:pt x="1377" y="1460"/>
                  </a:lnTo>
                  <a:lnTo>
                    <a:pt x="1377" y="1458"/>
                  </a:lnTo>
                  <a:lnTo>
                    <a:pt x="1375" y="1454"/>
                  </a:lnTo>
                  <a:lnTo>
                    <a:pt x="1375" y="1454"/>
                  </a:lnTo>
                  <a:lnTo>
                    <a:pt x="1373" y="1452"/>
                  </a:lnTo>
                  <a:lnTo>
                    <a:pt x="1373" y="1452"/>
                  </a:lnTo>
                  <a:lnTo>
                    <a:pt x="1373" y="1452"/>
                  </a:lnTo>
                  <a:lnTo>
                    <a:pt x="1371" y="1450"/>
                  </a:lnTo>
                  <a:lnTo>
                    <a:pt x="1371" y="1448"/>
                  </a:lnTo>
                  <a:lnTo>
                    <a:pt x="1371" y="1446"/>
                  </a:lnTo>
                  <a:lnTo>
                    <a:pt x="1371" y="1446"/>
                  </a:lnTo>
                  <a:lnTo>
                    <a:pt x="1371" y="1443"/>
                  </a:lnTo>
                  <a:lnTo>
                    <a:pt x="1371" y="1443"/>
                  </a:lnTo>
                  <a:lnTo>
                    <a:pt x="1373" y="1441"/>
                  </a:lnTo>
                  <a:lnTo>
                    <a:pt x="1373" y="1441"/>
                  </a:lnTo>
                  <a:lnTo>
                    <a:pt x="1373" y="1439"/>
                  </a:lnTo>
                  <a:lnTo>
                    <a:pt x="1373" y="1439"/>
                  </a:lnTo>
                  <a:lnTo>
                    <a:pt x="1371" y="1439"/>
                  </a:lnTo>
                  <a:lnTo>
                    <a:pt x="1371" y="1439"/>
                  </a:lnTo>
                  <a:lnTo>
                    <a:pt x="1371" y="1437"/>
                  </a:lnTo>
                  <a:lnTo>
                    <a:pt x="1371" y="1437"/>
                  </a:lnTo>
                  <a:lnTo>
                    <a:pt x="1371" y="1437"/>
                  </a:lnTo>
                  <a:lnTo>
                    <a:pt x="1371" y="1437"/>
                  </a:lnTo>
                  <a:lnTo>
                    <a:pt x="1371" y="1435"/>
                  </a:lnTo>
                  <a:lnTo>
                    <a:pt x="1373" y="1435"/>
                  </a:lnTo>
                  <a:lnTo>
                    <a:pt x="1373" y="1435"/>
                  </a:lnTo>
                  <a:lnTo>
                    <a:pt x="1373" y="1435"/>
                  </a:lnTo>
                  <a:lnTo>
                    <a:pt x="1373" y="1433"/>
                  </a:lnTo>
                  <a:lnTo>
                    <a:pt x="1373" y="1431"/>
                  </a:lnTo>
                  <a:lnTo>
                    <a:pt x="1373" y="1431"/>
                  </a:lnTo>
                  <a:lnTo>
                    <a:pt x="1373" y="1431"/>
                  </a:lnTo>
                  <a:lnTo>
                    <a:pt x="1371" y="1429"/>
                  </a:lnTo>
                  <a:lnTo>
                    <a:pt x="1373" y="1429"/>
                  </a:lnTo>
                  <a:lnTo>
                    <a:pt x="1373" y="1427"/>
                  </a:lnTo>
                  <a:lnTo>
                    <a:pt x="1373" y="1427"/>
                  </a:lnTo>
                  <a:lnTo>
                    <a:pt x="1375" y="1425"/>
                  </a:lnTo>
                  <a:lnTo>
                    <a:pt x="1375" y="1427"/>
                  </a:lnTo>
                  <a:lnTo>
                    <a:pt x="1375" y="1427"/>
                  </a:lnTo>
                  <a:lnTo>
                    <a:pt x="1373" y="1429"/>
                  </a:lnTo>
                  <a:lnTo>
                    <a:pt x="1373" y="1429"/>
                  </a:lnTo>
                  <a:lnTo>
                    <a:pt x="1375" y="1431"/>
                  </a:lnTo>
                  <a:lnTo>
                    <a:pt x="1375" y="1431"/>
                  </a:lnTo>
                  <a:lnTo>
                    <a:pt x="1375" y="1431"/>
                  </a:lnTo>
                  <a:lnTo>
                    <a:pt x="1375" y="1429"/>
                  </a:lnTo>
                  <a:lnTo>
                    <a:pt x="1375" y="1427"/>
                  </a:lnTo>
                  <a:lnTo>
                    <a:pt x="1375" y="1423"/>
                  </a:lnTo>
                  <a:lnTo>
                    <a:pt x="1375" y="1417"/>
                  </a:lnTo>
                  <a:lnTo>
                    <a:pt x="1375" y="1410"/>
                  </a:lnTo>
                  <a:lnTo>
                    <a:pt x="1377" y="1408"/>
                  </a:lnTo>
                  <a:lnTo>
                    <a:pt x="1377" y="1406"/>
                  </a:lnTo>
                  <a:lnTo>
                    <a:pt x="1380" y="1404"/>
                  </a:lnTo>
                  <a:lnTo>
                    <a:pt x="1380" y="1404"/>
                  </a:lnTo>
                  <a:lnTo>
                    <a:pt x="1380" y="1402"/>
                  </a:lnTo>
                  <a:lnTo>
                    <a:pt x="1380" y="1396"/>
                  </a:lnTo>
                  <a:lnTo>
                    <a:pt x="1377" y="1396"/>
                  </a:lnTo>
                  <a:lnTo>
                    <a:pt x="1377" y="1396"/>
                  </a:lnTo>
                  <a:lnTo>
                    <a:pt x="1377" y="1396"/>
                  </a:lnTo>
                  <a:lnTo>
                    <a:pt x="1377" y="1394"/>
                  </a:lnTo>
                  <a:lnTo>
                    <a:pt x="1377" y="1394"/>
                  </a:lnTo>
                  <a:lnTo>
                    <a:pt x="1380" y="1394"/>
                  </a:lnTo>
                  <a:lnTo>
                    <a:pt x="1380" y="1396"/>
                  </a:lnTo>
                  <a:lnTo>
                    <a:pt x="1380" y="1396"/>
                  </a:lnTo>
                  <a:lnTo>
                    <a:pt x="1380" y="1394"/>
                  </a:lnTo>
                  <a:lnTo>
                    <a:pt x="1380" y="1394"/>
                  </a:lnTo>
                  <a:lnTo>
                    <a:pt x="1382" y="1394"/>
                  </a:lnTo>
                  <a:lnTo>
                    <a:pt x="1380" y="1392"/>
                  </a:lnTo>
                  <a:lnTo>
                    <a:pt x="1380" y="1392"/>
                  </a:lnTo>
                  <a:lnTo>
                    <a:pt x="1377" y="1390"/>
                  </a:lnTo>
                  <a:lnTo>
                    <a:pt x="1373" y="1388"/>
                  </a:lnTo>
                  <a:lnTo>
                    <a:pt x="1373" y="1388"/>
                  </a:lnTo>
                  <a:lnTo>
                    <a:pt x="1375" y="1388"/>
                  </a:lnTo>
                  <a:lnTo>
                    <a:pt x="1375" y="1390"/>
                  </a:lnTo>
                  <a:lnTo>
                    <a:pt x="1375" y="1390"/>
                  </a:lnTo>
                  <a:lnTo>
                    <a:pt x="1375" y="1390"/>
                  </a:lnTo>
                  <a:lnTo>
                    <a:pt x="1373" y="1390"/>
                  </a:lnTo>
                  <a:lnTo>
                    <a:pt x="1373" y="1390"/>
                  </a:lnTo>
                  <a:lnTo>
                    <a:pt x="1371" y="1390"/>
                  </a:lnTo>
                  <a:lnTo>
                    <a:pt x="1371" y="1388"/>
                  </a:lnTo>
                  <a:lnTo>
                    <a:pt x="1371" y="1388"/>
                  </a:lnTo>
                  <a:lnTo>
                    <a:pt x="1369" y="1388"/>
                  </a:lnTo>
                  <a:lnTo>
                    <a:pt x="1369" y="1388"/>
                  </a:lnTo>
                  <a:lnTo>
                    <a:pt x="1367" y="1388"/>
                  </a:lnTo>
                  <a:lnTo>
                    <a:pt x="1367" y="1388"/>
                  </a:lnTo>
                  <a:lnTo>
                    <a:pt x="1367" y="1386"/>
                  </a:lnTo>
                  <a:lnTo>
                    <a:pt x="1367" y="1386"/>
                  </a:lnTo>
                  <a:lnTo>
                    <a:pt x="1367" y="1386"/>
                  </a:lnTo>
                  <a:lnTo>
                    <a:pt x="1369" y="1386"/>
                  </a:lnTo>
                  <a:lnTo>
                    <a:pt x="1371" y="1388"/>
                  </a:lnTo>
                  <a:lnTo>
                    <a:pt x="1371" y="1386"/>
                  </a:lnTo>
                  <a:lnTo>
                    <a:pt x="1365" y="1382"/>
                  </a:lnTo>
                  <a:lnTo>
                    <a:pt x="1361" y="1379"/>
                  </a:lnTo>
                  <a:lnTo>
                    <a:pt x="1361" y="1382"/>
                  </a:lnTo>
                  <a:lnTo>
                    <a:pt x="1363" y="1382"/>
                  </a:lnTo>
                  <a:lnTo>
                    <a:pt x="1363" y="1382"/>
                  </a:lnTo>
                  <a:lnTo>
                    <a:pt x="1361" y="1382"/>
                  </a:lnTo>
                  <a:lnTo>
                    <a:pt x="1361" y="1382"/>
                  </a:lnTo>
                  <a:lnTo>
                    <a:pt x="1359" y="1379"/>
                  </a:lnTo>
                  <a:lnTo>
                    <a:pt x="1355" y="1379"/>
                  </a:lnTo>
                  <a:lnTo>
                    <a:pt x="1355" y="1379"/>
                  </a:lnTo>
                  <a:lnTo>
                    <a:pt x="1353" y="1379"/>
                  </a:lnTo>
                  <a:lnTo>
                    <a:pt x="1347" y="1379"/>
                  </a:lnTo>
                  <a:lnTo>
                    <a:pt x="1342" y="1377"/>
                  </a:lnTo>
                  <a:lnTo>
                    <a:pt x="1340" y="1377"/>
                  </a:lnTo>
                  <a:lnTo>
                    <a:pt x="1340" y="1377"/>
                  </a:lnTo>
                  <a:lnTo>
                    <a:pt x="1340" y="1379"/>
                  </a:lnTo>
                  <a:lnTo>
                    <a:pt x="1338" y="1379"/>
                  </a:lnTo>
                  <a:lnTo>
                    <a:pt x="1338" y="1379"/>
                  </a:lnTo>
                  <a:lnTo>
                    <a:pt x="1334" y="1382"/>
                  </a:lnTo>
                  <a:lnTo>
                    <a:pt x="1334" y="1382"/>
                  </a:lnTo>
                  <a:lnTo>
                    <a:pt x="1330" y="1382"/>
                  </a:lnTo>
                  <a:lnTo>
                    <a:pt x="1328" y="1382"/>
                  </a:lnTo>
                  <a:lnTo>
                    <a:pt x="1322" y="1382"/>
                  </a:lnTo>
                  <a:lnTo>
                    <a:pt x="1320" y="1382"/>
                  </a:lnTo>
                  <a:lnTo>
                    <a:pt x="1320" y="1382"/>
                  </a:lnTo>
                  <a:lnTo>
                    <a:pt x="1318" y="1382"/>
                  </a:lnTo>
                  <a:lnTo>
                    <a:pt x="1318" y="1379"/>
                  </a:lnTo>
                  <a:lnTo>
                    <a:pt x="1316" y="1379"/>
                  </a:lnTo>
                  <a:lnTo>
                    <a:pt x="1314" y="1379"/>
                  </a:lnTo>
                  <a:lnTo>
                    <a:pt x="1314" y="1379"/>
                  </a:lnTo>
                  <a:lnTo>
                    <a:pt x="1311" y="1382"/>
                  </a:lnTo>
                  <a:lnTo>
                    <a:pt x="1311" y="1382"/>
                  </a:lnTo>
                  <a:lnTo>
                    <a:pt x="1309" y="1384"/>
                  </a:lnTo>
                  <a:lnTo>
                    <a:pt x="1309" y="1382"/>
                  </a:lnTo>
                  <a:lnTo>
                    <a:pt x="1303" y="1379"/>
                  </a:lnTo>
                  <a:lnTo>
                    <a:pt x="1303" y="1379"/>
                  </a:lnTo>
                  <a:lnTo>
                    <a:pt x="1303" y="1379"/>
                  </a:lnTo>
                  <a:lnTo>
                    <a:pt x="1303" y="1382"/>
                  </a:lnTo>
                  <a:lnTo>
                    <a:pt x="1303" y="1382"/>
                  </a:lnTo>
                  <a:lnTo>
                    <a:pt x="1301" y="1382"/>
                  </a:lnTo>
                  <a:lnTo>
                    <a:pt x="1301" y="1379"/>
                  </a:lnTo>
                  <a:lnTo>
                    <a:pt x="1299" y="1379"/>
                  </a:lnTo>
                  <a:lnTo>
                    <a:pt x="1299" y="1379"/>
                  </a:lnTo>
                  <a:lnTo>
                    <a:pt x="1299" y="1379"/>
                  </a:lnTo>
                  <a:lnTo>
                    <a:pt x="1299" y="1377"/>
                  </a:lnTo>
                  <a:lnTo>
                    <a:pt x="1301" y="1375"/>
                  </a:lnTo>
                  <a:lnTo>
                    <a:pt x="1303" y="1373"/>
                  </a:lnTo>
                  <a:lnTo>
                    <a:pt x="1305" y="1371"/>
                  </a:lnTo>
                  <a:lnTo>
                    <a:pt x="1305" y="1371"/>
                  </a:lnTo>
                  <a:lnTo>
                    <a:pt x="1307" y="1369"/>
                  </a:lnTo>
                  <a:lnTo>
                    <a:pt x="1307" y="1365"/>
                  </a:lnTo>
                  <a:lnTo>
                    <a:pt x="1307" y="1361"/>
                  </a:lnTo>
                  <a:lnTo>
                    <a:pt x="1307" y="1359"/>
                  </a:lnTo>
                  <a:lnTo>
                    <a:pt x="1307" y="1359"/>
                  </a:lnTo>
                  <a:lnTo>
                    <a:pt x="1309" y="1357"/>
                  </a:lnTo>
                  <a:lnTo>
                    <a:pt x="1307" y="1355"/>
                  </a:lnTo>
                  <a:lnTo>
                    <a:pt x="1309" y="1353"/>
                  </a:lnTo>
                  <a:lnTo>
                    <a:pt x="1309" y="1351"/>
                  </a:lnTo>
                  <a:lnTo>
                    <a:pt x="1309" y="1348"/>
                  </a:lnTo>
                  <a:lnTo>
                    <a:pt x="1311" y="1346"/>
                  </a:lnTo>
                  <a:lnTo>
                    <a:pt x="1309" y="1344"/>
                  </a:lnTo>
                  <a:lnTo>
                    <a:pt x="1307" y="1344"/>
                  </a:lnTo>
                  <a:lnTo>
                    <a:pt x="1307" y="1344"/>
                  </a:lnTo>
                  <a:lnTo>
                    <a:pt x="1307" y="1344"/>
                  </a:lnTo>
                  <a:lnTo>
                    <a:pt x="1307" y="1342"/>
                  </a:lnTo>
                  <a:lnTo>
                    <a:pt x="1307" y="1342"/>
                  </a:lnTo>
                  <a:lnTo>
                    <a:pt x="1309" y="1340"/>
                  </a:lnTo>
                  <a:lnTo>
                    <a:pt x="1309" y="1338"/>
                  </a:lnTo>
                  <a:lnTo>
                    <a:pt x="1309" y="1338"/>
                  </a:lnTo>
                  <a:lnTo>
                    <a:pt x="1311" y="1336"/>
                  </a:lnTo>
                  <a:lnTo>
                    <a:pt x="1311" y="1336"/>
                  </a:lnTo>
                  <a:lnTo>
                    <a:pt x="1311" y="1338"/>
                  </a:lnTo>
                  <a:lnTo>
                    <a:pt x="1311" y="1342"/>
                  </a:lnTo>
                  <a:lnTo>
                    <a:pt x="1311" y="1342"/>
                  </a:lnTo>
                  <a:lnTo>
                    <a:pt x="1311" y="1342"/>
                  </a:lnTo>
                  <a:lnTo>
                    <a:pt x="1314" y="1344"/>
                  </a:lnTo>
                  <a:lnTo>
                    <a:pt x="1314" y="1346"/>
                  </a:lnTo>
                  <a:lnTo>
                    <a:pt x="1314" y="1344"/>
                  </a:lnTo>
                  <a:lnTo>
                    <a:pt x="1316" y="1342"/>
                  </a:lnTo>
                  <a:lnTo>
                    <a:pt x="1316" y="1340"/>
                  </a:lnTo>
                  <a:lnTo>
                    <a:pt x="1318" y="1338"/>
                  </a:lnTo>
                  <a:lnTo>
                    <a:pt x="1318" y="1334"/>
                  </a:lnTo>
                  <a:lnTo>
                    <a:pt x="1320" y="1330"/>
                  </a:lnTo>
                  <a:lnTo>
                    <a:pt x="1318" y="1330"/>
                  </a:lnTo>
                  <a:lnTo>
                    <a:pt x="1318" y="1330"/>
                  </a:lnTo>
                  <a:lnTo>
                    <a:pt x="1318" y="1332"/>
                  </a:lnTo>
                  <a:lnTo>
                    <a:pt x="1316" y="1330"/>
                  </a:lnTo>
                  <a:lnTo>
                    <a:pt x="1316" y="1330"/>
                  </a:lnTo>
                  <a:lnTo>
                    <a:pt x="1318" y="1330"/>
                  </a:lnTo>
                  <a:lnTo>
                    <a:pt x="1318" y="1328"/>
                  </a:lnTo>
                  <a:lnTo>
                    <a:pt x="1318" y="1328"/>
                  </a:lnTo>
                  <a:lnTo>
                    <a:pt x="1320" y="1328"/>
                  </a:lnTo>
                  <a:lnTo>
                    <a:pt x="1320" y="1328"/>
                  </a:lnTo>
                  <a:lnTo>
                    <a:pt x="1320" y="1326"/>
                  </a:lnTo>
                  <a:lnTo>
                    <a:pt x="1320" y="1326"/>
                  </a:lnTo>
                  <a:lnTo>
                    <a:pt x="1318" y="1326"/>
                  </a:lnTo>
                  <a:lnTo>
                    <a:pt x="1318" y="1326"/>
                  </a:lnTo>
                  <a:lnTo>
                    <a:pt x="1318" y="1326"/>
                  </a:lnTo>
                  <a:lnTo>
                    <a:pt x="1316" y="1326"/>
                  </a:lnTo>
                  <a:lnTo>
                    <a:pt x="1316" y="1326"/>
                  </a:lnTo>
                  <a:lnTo>
                    <a:pt x="1318" y="1324"/>
                  </a:lnTo>
                  <a:lnTo>
                    <a:pt x="1320" y="1322"/>
                  </a:lnTo>
                  <a:lnTo>
                    <a:pt x="1320" y="1322"/>
                  </a:lnTo>
                  <a:lnTo>
                    <a:pt x="1320" y="1322"/>
                  </a:lnTo>
                  <a:lnTo>
                    <a:pt x="1320" y="1322"/>
                  </a:lnTo>
                  <a:lnTo>
                    <a:pt x="1320" y="1320"/>
                  </a:lnTo>
                  <a:lnTo>
                    <a:pt x="1320" y="1318"/>
                  </a:lnTo>
                  <a:lnTo>
                    <a:pt x="1320" y="1318"/>
                  </a:lnTo>
                  <a:lnTo>
                    <a:pt x="1322" y="1313"/>
                  </a:lnTo>
                  <a:lnTo>
                    <a:pt x="1326" y="1311"/>
                  </a:lnTo>
                  <a:lnTo>
                    <a:pt x="1328" y="1309"/>
                  </a:lnTo>
                  <a:lnTo>
                    <a:pt x="1328" y="1307"/>
                  </a:lnTo>
                  <a:lnTo>
                    <a:pt x="1328" y="1305"/>
                  </a:lnTo>
                  <a:lnTo>
                    <a:pt x="1330" y="1303"/>
                  </a:lnTo>
                  <a:lnTo>
                    <a:pt x="1328" y="1303"/>
                  </a:lnTo>
                  <a:lnTo>
                    <a:pt x="1328" y="1301"/>
                  </a:lnTo>
                  <a:lnTo>
                    <a:pt x="1328" y="1299"/>
                  </a:lnTo>
                  <a:lnTo>
                    <a:pt x="1328" y="1299"/>
                  </a:lnTo>
                  <a:lnTo>
                    <a:pt x="1326" y="1297"/>
                  </a:lnTo>
                  <a:lnTo>
                    <a:pt x="1324" y="1297"/>
                  </a:lnTo>
                  <a:lnTo>
                    <a:pt x="1324" y="1297"/>
                  </a:lnTo>
                  <a:lnTo>
                    <a:pt x="1322" y="1297"/>
                  </a:lnTo>
                  <a:lnTo>
                    <a:pt x="1320" y="1297"/>
                  </a:lnTo>
                  <a:lnTo>
                    <a:pt x="1320" y="1297"/>
                  </a:lnTo>
                  <a:lnTo>
                    <a:pt x="1322" y="1297"/>
                  </a:lnTo>
                  <a:lnTo>
                    <a:pt x="1322" y="1297"/>
                  </a:lnTo>
                  <a:lnTo>
                    <a:pt x="1324" y="1297"/>
                  </a:lnTo>
                  <a:lnTo>
                    <a:pt x="1324" y="1297"/>
                  </a:lnTo>
                  <a:lnTo>
                    <a:pt x="1324" y="1297"/>
                  </a:lnTo>
                  <a:lnTo>
                    <a:pt x="1324" y="1299"/>
                  </a:lnTo>
                  <a:lnTo>
                    <a:pt x="1324" y="1299"/>
                  </a:lnTo>
                  <a:lnTo>
                    <a:pt x="1322" y="1299"/>
                  </a:lnTo>
                  <a:lnTo>
                    <a:pt x="1320" y="1299"/>
                  </a:lnTo>
                  <a:lnTo>
                    <a:pt x="1316" y="1297"/>
                  </a:lnTo>
                  <a:lnTo>
                    <a:pt x="1316" y="1297"/>
                  </a:lnTo>
                  <a:lnTo>
                    <a:pt x="1311" y="1297"/>
                  </a:lnTo>
                  <a:lnTo>
                    <a:pt x="1309" y="1297"/>
                  </a:lnTo>
                  <a:lnTo>
                    <a:pt x="1309" y="1297"/>
                  </a:lnTo>
                  <a:lnTo>
                    <a:pt x="1309" y="1297"/>
                  </a:lnTo>
                  <a:lnTo>
                    <a:pt x="1309" y="1297"/>
                  </a:lnTo>
                  <a:lnTo>
                    <a:pt x="1307" y="1297"/>
                  </a:lnTo>
                  <a:lnTo>
                    <a:pt x="1305" y="1297"/>
                  </a:lnTo>
                  <a:lnTo>
                    <a:pt x="1303" y="1297"/>
                  </a:lnTo>
                  <a:lnTo>
                    <a:pt x="1301" y="1299"/>
                  </a:lnTo>
                  <a:lnTo>
                    <a:pt x="1299" y="1299"/>
                  </a:lnTo>
                  <a:lnTo>
                    <a:pt x="1287" y="1301"/>
                  </a:lnTo>
                  <a:lnTo>
                    <a:pt x="1285" y="1301"/>
                  </a:lnTo>
                  <a:lnTo>
                    <a:pt x="1281" y="1303"/>
                  </a:lnTo>
                  <a:lnTo>
                    <a:pt x="1278" y="1305"/>
                  </a:lnTo>
                  <a:lnTo>
                    <a:pt x="1276" y="1309"/>
                  </a:lnTo>
                  <a:lnTo>
                    <a:pt x="1276" y="1309"/>
                  </a:lnTo>
                  <a:lnTo>
                    <a:pt x="1276" y="1311"/>
                  </a:lnTo>
                  <a:lnTo>
                    <a:pt x="1276" y="1315"/>
                  </a:lnTo>
                  <a:lnTo>
                    <a:pt x="1276" y="1318"/>
                  </a:lnTo>
                  <a:lnTo>
                    <a:pt x="1276" y="1320"/>
                  </a:lnTo>
                  <a:lnTo>
                    <a:pt x="1276" y="1322"/>
                  </a:lnTo>
                  <a:lnTo>
                    <a:pt x="1276" y="1322"/>
                  </a:lnTo>
                  <a:lnTo>
                    <a:pt x="1274" y="1324"/>
                  </a:lnTo>
                  <a:lnTo>
                    <a:pt x="1272" y="1324"/>
                  </a:lnTo>
                  <a:lnTo>
                    <a:pt x="1272" y="1330"/>
                  </a:lnTo>
                  <a:lnTo>
                    <a:pt x="1270" y="1332"/>
                  </a:lnTo>
                  <a:lnTo>
                    <a:pt x="1268" y="1334"/>
                  </a:lnTo>
                  <a:lnTo>
                    <a:pt x="1266" y="1334"/>
                  </a:lnTo>
                  <a:lnTo>
                    <a:pt x="1262" y="1336"/>
                  </a:lnTo>
                  <a:lnTo>
                    <a:pt x="1262" y="1336"/>
                  </a:lnTo>
                  <a:lnTo>
                    <a:pt x="1262" y="1338"/>
                  </a:lnTo>
                  <a:lnTo>
                    <a:pt x="1262" y="1338"/>
                  </a:lnTo>
                  <a:lnTo>
                    <a:pt x="1264" y="1336"/>
                  </a:lnTo>
                  <a:lnTo>
                    <a:pt x="1264" y="1336"/>
                  </a:lnTo>
                  <a:lnTo>
                    <a:pt x="1264" y="1338"/>
                  </a:lnTo>
                  <a:lnTo>
                    <a:pt x="1264" y="1338"/>
                  </a:lnTo>
                  <a:lnTo>
                    <a:pt x="1264" y="1338"/>
                  </a:lnTo>
                  <a:lnTo>
                    <a:pt x="1264" y="1338"/>
                  </a:lnTo>
                  <a:lnTo>
                    <a:pt x="1264" y="1340"/>
                  </a:lnTo>
                  <a:lnTo>
                    <a:pt x="1262" y="1342"/>
                  </a:lnTo>
                  <a:lnTo>
                    <a:pt x="1262" y="1342"/>
                  </a:lnTo>
                  <a:lnTo>
                    <a:pt x="1260" y="1342"/>
                  </a:lnTo>
                  <a:lnTo>
                    <a:pt x="1258" y="1342"/>
                  </a:lnTo>
                  <a:lnTo>
                    <a:pt x="1256" y="1342"/>
                  </a:lnTo>
                  <a:lnTo>
                    <a:pt x="1256" y="1340"/>
                  </a:lnTo>
                  <a:lnTo>
                    <a:pt x="1256" y="1340"/>
                  </a:lnTo>
                  <a:lnTo>
                    <a:pt x="1256" y="1340"/>
                  </a:lnTo>
                  <a:lnTo>
                    <a:pt x="1256" y="1338"/>
                  </a:lnTo>
                  <a:lnTo>
                    <a:pt x="1254" y="1338"/>
                  </a:lnTo>
                  <a:lnTo>
                    <a:pt x="1252" y="1340"/>
                  </a:lnTo>
                  <a:lnTo>
                    <a:pt x="1248" y="1340"/>
                  </a:lnTo>
                  <a:lnTo>
                    <a:pt x="1248" y="1340"/>
                  </a:lnTo>
                  <a:lnTo>
                    <a:pt x="1245" y="1340"/>
                  </a:lnTo>
                  <a:lnTo>
                    <a:pt x="1243" y="1340"/>
                  </a:lnTo>
                  <a:lnTo>
                    <a:pt x="1243" y="1342"/>
                  </a:lnTo>
                  <a:lnTo>
                    <a:pt x="1241" y="1342"/>
                  </a:lnTo>
                  <a:lnTo>
                    <a:pt x="1239" y="1342"/>
                  </a:lnTo>
                  <a:lnTo>
                    <a:pt x="1237" y="1342"/>
                  </a:lnTo>
                  <a:lnTo>
                    <a:pt x="1233" y="1342"/>
                  </a:lnTo>
                  <a:lnTo>
                    <a:pt x="1229" y="1344"/>
                  </a:lnTo>
                  <a:lnTo>
                    <a:pt x="1227" y="1344"/>
                  </a:lnTo>
                  <a:lnTo>
                    <a:pt x="1223" y="1346"/>
                  </a:lnTo>
                  <a:lnTo>
                    <a:pt x="1221" y="1346"/>
                  </a:lnTo>
                  <a:lnTo>
                    <a:pt x="1219" y="1346"/>
                  </a:lnTo>
                  <a:lnTo>
                    <a:pt x="1219" y="1346"/>
                  </a:lnTo>
                  <a:lnTo>
                    <a:pt x="1217" y="1344"/>
                  </a:lnTo>
                  <a:lnTo>
                    <a:pt x="1215" y="1342"/>
                  </a:lnTo>
                  <a:lnTo>
                    <a:pt x="1212" y="1340"/>
                  </a:lnTo>
                  <a:lnTo>
                    <a:pt x="1208" y="1338"/>
                  </a:lnTo>
                  <a:lnTo>
                    <a:pt x="1204" y="1338"/>
                  </a:lnTo>
                  <a:lnTo>
                    <a:pt x="1202" y="1338"/>
                  </a:lnTo>
                  <a:lnTo>
                    <a:pt x="1202" y="1338"/>
                  </a:lnTo>
                  <a:lnTo>
                    <a:pt x="1202" y="1338"/>
                  </a:lnTo>
                  <a:lnTo>
                    <a:pt x="1204" y="1340"/>
                  </a:lnTo>
                  <a:lnTo>
                    <a:pt x="1202" y="1340"/>
                  </a:lnTo>
                  <a:lnTo>
                    <a:pt x="1200" y="1338"/>
                  </a:lnTo>
                  <a:lnTo>
                    <a:pt x="1198" y="1338"/>
                  </a:lnTo>
                  <a:lnTo>
                    <a:pt x="1198" y="1336"/>
                  </a:lnTo>
                  <a:lnTo>
                    <a:pt x="1200" y="1338"/>
                  </a:lnTo>
                  <a:lnTo>
                    <a:pt x="1200" y="1338"/>
                  </a:lnTo>
                  <a:lnTo>
                    <a:pt x="1198" y="1336"/>
                  </a:lnTo>
                  <a:lnTo>
                    <a:pt x="1198" y="1334"/>
                  </a:lnTo>
                  <a:lnTo>
                    <a:pt x="1196" y="1334"/>
                  </a:lnTo>
                  <a:lnTo>
                    <a:pt x="1196" y="1332"/>
                  </a:lnTo>
                  <a:lnTo>
                    <a:pt x="1194" y="1330"/>
                  </a:lnTo>
                  <a:lnTo>
                    <a:pt x="1194" y="1328"/>
                  </a:lnTo>
                  <a:lnTo>
                    <a:pt x="1192" y="1326"/>
                  </a:lnTo>
                  <a:lnTo>
                    <a:pt x="1192" y="1322"/>
                  </a:lnTo>
                  <a:lnTo>
                    <a:pt x="1188" y="1318"/>
                  </a:lnTo>
                  <a:lnTo>
                    <a:pt x="1182" y="1311"/>
                  </a:lnTo>
                  <a:lnTo>
                    <a:pt x="1182" y="1309"/>
                  </a:lnTo>
                  <a:lnTo>
                    <a:pt x="1182" y="1309"/>
                  </a:lnTo>
                  <a:lnTo>
                    <a:pt x="1177" y="1303"/>
                  </a:lnTo>
                  <a:lnTo>
                    <a:pt x="1175" y="1299"/>
                  </a:lnTo>
                  <a:lnTo>
                    <a:pt x="1175" y="1299"/>
                  </a:lnTo>
                  <a:lnTo>
                    <a:pt x="1175" y="1299"/>
                  </a:lnTo>
                  <a:lnTo>
                    <a:pt x="1175" y="1297"/>
                  </a:lnTo>
                  <a:lnTo>
                    <a:pt x="1175" y="1297"/>
                  </a:lnTo>
                  <a:lnTo>
                    <a:pt x="1173" y="1297"/>
                  </a:lnTo>
                  <a:lnTo>
                    <a:pt x="1173" y="1291"/>
                  </a:lnTo>
                  <a:lnTo>
                    <a:pt x="1175" y="1295"/>
                  </a:lnTo>
                  <a:lnTo>
                    <a:pt x="1177" y="1297"/>
                  </a:lnTo>
                  <a:lnTo>
                    <a:pt x="1177" y="1297"/>
                  </a:lnTo>
                  <a:lnTo>
                    <a:pt x="1177" y="1297"/>
                  </a:lnTo>
                  <a:lnTo>
                    <a:pt x="1177" y="1299"/>
                  </a:lnTo>
                  <a:lnTo>
                    <a:pt x="1177" y="1301"/>
                  </a:lnTo>
                  <a:lnTo>
                    <a:pt x="1177" y="1301"/>
                  </a:lnTo>
                  <a:lnTo>
                    <a:pt x="1177" y="1299"/>
                  </a:lnTo>
                  <a:lnTo>
                    <a:pt x="1179" y="1299"/>
                  </a:lnTo>
                  <a:lnTo>
                    <a:pt x="1179" y="1297"/>
                  </a:lnTo>
                  <a:lnTo>
                    <a:pt x="1177" y="1297"/>
                  </a:lnTo>
                  <a:lnTo>
                    <a:pt x="1177" y="1295"/>
                  </a:lnTo>
                  <a:lnTo>
                    <a:pt x="1175" y="1293"/>
                  </a:lnTo>
                  <a:lnTo>
                    <a:pt x="1173" y="1289"/>
                  </a:lnTo>
                  <a:lnTo>
                    <a:pt x="1171" y="1287"/>
                  </a:lnTo>
                  <a:lnTo>
                    <a:pt x="1171" y="1282"/>
                  </a:lnTo>
                  <a:lnTo>
                    <a:pt x="1171" y="1282"/>
                  </a:lnTo>
                  <a:lnTo>
                    <a:pt x="1171" y="1280"/>
                  </a:lnTo>
                  <a:lnTo>
                    <a:pt x="1171" y="1278"/>
                  </a:lnTo>
                  <a:lnTo>
                    <a:pt x="1173" y="1278"/>
                  </a:lnTo>
                  <a:lnTo>
                    <a:pt x="1173" y="1276"/>
                  </a:lnTo>
                  <a:lnTo>
                    <a:pt x="1173" y="1270"/>
                  </a:lnTo>
                  <a:lnTo>
                    <a:pt x="1173" y="1264"/>
                  </a:lnTo>
                  <a:lnTo>
                    <a:pt x="1173" y="1264"/>
                  </a:lnTo>
                  <a:lnTo>
                    <a:pt x="1173" y="1264"/>
                  </a:lnTo>
                  <a:lnTo>
                    <a:pt x="1173" y="1262"/>
                  </a:lnTo>
                  <a:lnTo>
                    <a:pt x="1173" y="1256"/>
                  </a:lnTo>
                  <a:lnTo>
                    <a:pt x="1175" y="1245"/>
                  </a:lnTo>
                  <a:lnTo>
                    <a:pt x="1177" y="1243"/>
                  </a:lnTo>
                  <a:lnTo>
                    <a:pt x="1179" y="1237"/>
                  </a:lnTo>
                  <a:lnTo>
                    <a:pt x="1182" y="1235"/>
                  </a:lnTo>
                  <a:lnTo>
                    <a:pt x="1182" y="1231"/>
                  </a:lnTo>
                  <a:lnTo>
                    <a:pt x="1182" y="1229"/>
                  </a:lnTo>
                  <a:lnTo>
                    <a:pt x="1179" y="1229"/>
                  </a:lnTo>
                  <a:lnTo>
                    <a:pt x="1177" y="1225"/>
                  </a:lnTo>
                  <a:lnTo>
                    <a:pt x="1177" y="1223"/>
                  </a:lnTo>
                  <a:lnTo>
                    <a:pt x="1177" y="1220"/>
                  </a:lnTo>
                  <a:lnTo>
                    <a:pt x="1175" y="1218"/>
                  </a:lnTo>
                  <a:lnTo>
                    <a:pt x="1175" y="1216"/>
                  </a:lnTo>
                  <a:lnTo>
                    <a:pt x="1175" y="1216"/>
                  </a:lnTo>
                  <a:lnTo>
                    <a:pt x="1175" y="1214"/>
                  </a:lnTo>
                  <a:lnTo>
                    <a:pt x="1177" y="1214"/>
                  </a:lnTo>
                  <a:lnTo>
                    <a:pt x="1177" y="1212"/>
                  </a:lnTo>
                  <a:lnTo>
                    <a:pt x="1177" y="1212"/>
                  </a:lnTo>
                  <a:lnTo>
                    <a:pt x="1173" y="1210"/>
                  </a:lnTo>
                  <a:lnTo>
                    <a:pt x="1173" y="1208"/>
                  </a:lnTo>
                  <a:lnTo>
                    <a:pt x="1173" y="1210"/>
                  </a:lnTo>
                  <a:lnTo>
                    <a:pt x="1175" y="1210"/>
                  </a:lnTo>
                  <a:lnTo>
                    <a:pt x="1177" y="1210"/>
                  </a:lnTo>
                  <a:lnTo>
                    <a:pt x="1177" y="1210"/>
                  </a:lnTo>
                  <a:lnTo>
                    <a:pt x="1177" y="1208"/>
                  </a:lnTo>
                  <a:lnTo>
                    <a:pt x="1179" y="1206"/>
                  </a:lnTo>
                  <a:lnTo>
                    <a:pt x="1177" y="1202"/>
                  </a:lnTo>
                  <a:lnTo>
                    <a:pt x="1177" y="1202"/>
                  </a:lnTo>
                  <a:lnTo>
                    <a:pt x="1177" y="1202"/>
                  </a:lnTo>
                  <a:lnTo>
                    <a:pt x="1179" y="1202"/>
                  </a:lnTo>
                  <a:lnTo>
                    <a:pt x="1182" y="1202"/>
                  </a:lnTo>
                  <a:lnTo>
                    <a:pt x="1182" y="1200"/>
                  </a:lnTo>
                  <a:lnTo>
                    <a:pt x="1184" y="1198"/>
                  </a:lnTo>
                  <a:lnTo>
                    <a:pt x="1182" y="1200"/>
                  </a:lnTo>
                  <a:lnTo>
                    <a:pt x="1182" y="1198"/>
                  </a:lnTo>
                  <a:lnTo>
                    <a:pt x="1182" y="1198"/>
                  </a:lnTo>
                  <a:lnTo>
                    <a:pt x="1182" y="1198"/>
                  </a:lnTo>
                  <a:lnTo>
                    <a:pt x="1184" y="1198"/>
                  </a:lnTo>
                  <a:lnTo>
                    <a:pt x="1184" y="1198"/>
                  </a:lnTo>
                  <a:lnTo>
                    <a:pt x="1184" y="1198"/>
                  </a:lnTo>
                  <a:lnTo>
                    <a:pt x="1184" y="1198"/>
                  </a:lnTo>
                  <a:lnTo>
                    <a:pt x="1186" y="1198"/>
                  </a:lnTo>
                  <a:lnTo>
                    <a:pt x="1186" y="1198"/>
                  </a:lnTo>
                  <a:lnTo>
                    <a:pt x="1186" y="1198"/>
                  </a:lnTo>
                  <a:lnTo>
                    <a:pt x="1186" y="1196"/>
                  </a:lnTo>
                  <a:lnTo>
                    <a:pt x="1186" y="1194"/>
                  </a:lnTo>
                  <a:lnTo>
                    <a:pt x="1188" y="1196"/>
                  </a:lnTo>
                  <a:lnTo>
                    <a:pt x="1190" y="1194"/>
                  </a:lnTo>
                  <a:lnTo>
                    <a:pt x="1190" y="1194"/>
                  </a:lnTo>
                  <a:lnTo>
                    <a:pt x="1192" y="1194"/>
                  </a:lnTo>
                  <a:lnTo>
                    <a:pt x="1192" y="1194"/>
                  </a:lnTo>
                  <a:lnTo>
                    <a:pt x="1190" y="1194"/>
                  </a:lnTo>
                  <a:lnTo>
                    <a:pt x="1188" y="1189"/>
                  </a:lnTo>
                  <a:lnTo>
                    <a:pt x="1190" y="1189"/>
                  </a:lnTo>
                  <a:lnTo>
                    <a:pt x="1190" y="1189"/>
                  </a:lnTo>
                  <a:lnTo>
                    <a:pt x="1190" y="1189"/>
                  </a:lnTo>
                  <a:lnTo>
                    <a:pt x="1190" y="1189"/>
                  </a:lnTo>
                  <a:lnTo>
                    <a:pt x="1192" y="1192"/>
                  </a:lnTo>
                  <a:lnTo>
                    <a:pt x="1192" y="1189"/>
                  </a:lnTo>
                  <a:lnTo>
                    <a:pt x="1192" y="1189"/>
                  </a:lnTo>
                  <a:lnTo>
                    <a:pt x="1194" y="1189"/>
                  </a:lnTo>
                  <a:lnTo>
                    <a:pt x="1196" y="1192"/>
                  </a:lnTo>
                  <a:lnTo>
                    <a:pt x="1198" y="1189"/>
                  </a:lnTo>
                  <a:lnTo>
                    <a:pt x="1196" y="1192"/>
                  </a:lnTo>
                  <a:lnTo>
                    <a:pt x="1194" y="1194"/>
                  </a:lnTo>
                  <a:lnTo>
                    <a:pt x="1196" y="1192"/>
                  </a:lnTo>
                  <a:lnTo>
                    <a:pt x="1198" y="1192"/>
                  </a:lnTo>
                  <a:lnTo>
                    <a:pt x="1200" y="1189"/>
                  </a:lnTo>
                  <a:lnTo>
                    <a:pt x="1202" y="1189"/>
                  </a:lnTo>
                  <a:lnTo>
                    <a:pt x="1202" y="1189"/>
                  </a:lnTo>
                  <a:lnTo>
                    <a:pt x="1206" y="1187"/>
                  </a:lnTo>
                  <a:lnTo>
                    <a:pt x="1208" y="1185"/>
                  </a:lnTo>
                  <a:lnTo>
                    <a:pt x="1210" y="1183"/>
                  </a:lnTo>
                  <a:lnTo>
                    <a:pt x="1210" y="1181"/>
                  </a:lnTo>
                  <a:lnTo>
                    <a:pt x="1212" y="1181"/>
                  </a:lnTo>
                  <a:lnTo>
                    <a:pt x="1212" y="1179"/>
                  </a:lnTo>
                  <a:lnTo>
                    <a:pt x="1212" y="1177"/>
                  </a:lnTo>
                  <a:lnTo>
                    <a:pt x="1212" y="1177"/>
                  </a:lnTo>
                  <a:lnTo>
                    <a:pt x="1212" y="1175"/>
                  </a:lnTo>
                  <a:lnTo>
                    <a:pt x="1212" y="1173"/>
                  </a:lnTo>
                  <a:lnTo>
                    <a:pt x="1212" y="1175"/>
                  </a:lnTo>
                  <a:lnTo>
                    <a:pt x="1212" y="1175"/>
                  </a:lnTo>
                  <a:lnTo>
                    <a:pt x="1215" y="1173"/>
                  </a:lnTo>
                  <a:lnTo>
                    <a:pt x="1215" y="1173"/>
                  </a:lnTo>
                  <a:lnTo>
                    <a:pt x="1217" y="1175"/>
                  </a:lnTo>
                  <a:lnTo>
                    <a:pt x="1215" y="1177"/>
                  </a:lnTo>
                  <a:lnTo>
                    <a:pt x="1217" y="1177"/>
                  </a:lnTo>
                  <a:lnTo>
                    <a:pt x="1217" y="1177"/>
                  </a:lnTo>
                  <a:lnTo>
                    <a:pt x="1219" y="1177"/>
                  </a:lnTo>
                  <a:lnTo>
                    <a:pt x="1215" y="1179"/>
                  </a:lnTo>
                  <a:lnTo>
                    <a:pt x="1215" y="1179"/>
                  </a:lnTo>
                  <a:lnTo>
                    <a:pt x="1219" y="1177"/>
                  </a:lnTo>
                  <a:lnTo>
                    <a:pt x="1225" y="1175"/>
                  </a:lnTo>
                  <a:lnTo>
                    <a:pt x="1227" y="1175"/>
                  </a:lnTo>
                  <a:lnTo>
                    <a:pt x="1227" y="1173"/>
                  </a:lnTo>
                  <a:lnTo>
                    <a:pt x="1227" y="1173"/>
                  </a:lnTo>
                  <a:lnTo>
                    <a:pt x="1229" y="1169"/>
                  </a:lnTo>
                  <a:lnTo>
                    <a:pt x="1229" y="1169"/>
                  </a:lnTo>
                  <a:lnTo>
                    <a:pt x="1229" y="1171"/>
                  </a:lnTo>
                  <a:lnTo>
                    <a:pt x="1229" y="1171"/>
                  </a:lnTo>
                  <a:lnTo>
                    <a:pt x="1229" y="1171"/>
                  </a:lnTo>
                  <a:lnTo>
                    <a:pt x="1229" y="1173"/>
                  </a:lnTo>
                  <a:lnTo>
                    <a:pt x="1227" y="1173"/>
                  </a:lnTo>
                  <a:lnTo>
                    <a:pt x="1229" y="1173"/>
                  </a:lnTo>
                  <a:lnTo>
                    <a:pt x="1229" y="1173"/>
                  </a:lnTo>
                  <a:lnTo>
                    <a:pt x="1229" y="1173"/>
                  </a:lnTo>
                  <a:lnTo>
                    <a:pt x="1231" y="1173"/>
                  </a:lnTo>
                  <a:lnTo>
                    <a:pt x="1235" y="1173"/>
                  </a:lnTo>
                  <a:lnTo>
                    <a:pt x="1237" y="1173"/>
                  </a:lnTo>
                  <a:lnTo>
                    <a:pt x="1237" y="1173"/>
                  </a:lnTo>
                  <a:lnTo>
                    <a:pt x="1241" y="1173"/>
                  </a:lnTo>
                  <a:lnTo>
                    <a:pt x="1243" y="1175"/>
                  </a:lnTo>
                  <a:lnTo>
                    <a:pt x="1245" y="1175"/>
                  </a:lnTo>
                  <a:lnTo>
                    <a:pt x="1252" y="1177"/>
                  </a:lnTo>
                  <a:lnTo>
                    <a:pt x="1254" y="1175"/>
                  </a:lnTo>
                  <a:lnTo>
                    <a:pt x="1254" y="1175"/>
                  </a:lnTo>
                  <a:lnTo>
                    <a:pt x="1254" y="1175"/>
                  </a:lnTo>
                  <a:lnTo>
                    <a:pt x="1254" y="1175"/>
                  </a:lnTo>
                  <a:lnTo>
                    <a:pt x="1254" y="1173"/>
                  </a:lnTo>
                  <a:lnTo>
                    <a:pt x="1254" y="1173"/>
                  </a:lnTo>
                  <a:lnTo>
                    <a:pt x="1256" y="1173"/>
                  </a:lnTo>
                  <a:lnTo>
                    <a:pt x="1258" y="1173"/>
                  </a:lnTo>
                  <a:lnTo>
                    <a:pt x="1260" y="1173"/>
                  </a:lnTo>
                  <a:lnTo>
                    <a:pt x="1260" y="1175"/>
                  </a:lnTo>
                  <a:lnTo>
                    <a:pt x="1262" y="1177"/>
                  </a:lnTo>
                  <a:lnTo>
                    <a:pt x="1264" y="1177"/>
                  </a:lnTo>
                  <a:lnTo>
                    <a:pt x="1264" y="1177"/>
                  </a:lnTo>
                  <a:lnTo>
                    <a:pt x="1266" y="1177"/>
                  </a:lnTo>
                  <a:lnTo>
                    <a:pt x="1266" y="1177"/>
                  </a:lnTo>
                  <a:lnTo>
                    <a:pt x="1266" y="1177"/>
                  </a:lnTo>
                  <a:lnTo>
                    <a:pt x="1266" y="1179"/>
                  </a:lnTo>
                  <a:lnTo>
                    <a:pt x="1266" y="1179"/>
                  </a:lnTo>
                  <a:lnTo>
                    <a:pt x="1266" y="1179"/>
                  </a:lnTo>
                  <a:lnTo>
                    <a:pt x="1264" y="1179"/>
                  </a:lnTo>
                  <a:lnTo>
                    <a:pt x="1264" y="1181"/>
                  </a:lnTo>
                  <a:lnTo>
                    <a:pt x="1268" y="1181"/>
                  </a:lnTo>
                  <a:lnTo>
                    <a:pt x="1272" y="1183"/>
                  </a:lnTo>
                  <a:lnTo>
                    <a:pt x="1274" y="1183"/>
                  </a:lnTo>
                  <a:lnTo>
                    <a:pt x="1274" y="1181"/>
                  </a:lnTo>
                  <a:lnTo>
                    <a:pt x="1276" y="1181"/>
                  </a:lnTo>
                  <a:lnTo>
                    <a:pt x="1278" y="1181"/>
                  </a:lnTo>
                  <a:lnTo>
                    <a:pt x="1278" y="1181"/>
                  </a:lnTo>
                  <a:lnTo>
                    <a:pt x="1281" y="1183"/>
                  </a:lnTo>
                  <a:lnTo>
                    <a:pt x="1281" y="1183"/>
                  </a:lnTo>
                  <a:lnTo>
                    <a:pt x="1281" y="1183"/>
                  </a:lnTo>
                  <a:lnTo>
                    <a:pt x="1283" y="1181"/>
                  </a:lnTo>
                  <a:lnTo>
                    <a:pt x="1283" y="1181"/>
                  </a:lnTo>
                  <a:lnTo>
                    <a:pt x="1283" y="1181"/>
                  </a:lnTo>
                  <a:lnTo>
                    <a:pt x="1283" y="1179"/>
                  </a:lnTo>
                  <a:lnTo>
                    <a:pt x="1283" y="1179"/>
                  </a:lnTo>
                  <a:lnTo>
                    <a:pt x="1283" y="1177"/>
                  </a:lnTo>
                  <a:lnTo>
                    <a:pt x="1281" y="1177"/>
                  </a:lnTo>
                  <a:lnTo>
                    <a:pt x="1281" y="1177"/>
                  </a:lnTo>
                  <a:lnTo>
                    <a:pt x="1281" y="1177"/>
                  </a:lnTo>
                  <a:lnTo>
                    <a:pt x="1285" y="1177"/>
                  </a:lnTo>
                  <a:lnTo>
                    <a:pt x="1287" y="1179"/>
                  </a:lnTo>
                  <a:lnTo>
                    <a:pt x="1287" y="1179"/>
                  </a:lnTo>
                  <a:lnTo>
                    <a:pt x="1287" y="1179"/>
                  </a:lnTo>
                  <a:lnTo>
                    <a:pt x="1287" y="1179"/>
                  </a:lnTo>
                  <a:lnTo>
                    <a:pt x="1289" y="1179"/>
                  </a:lnTo>
                  <a:lnTo>
                    <a:pt x="1289" y="1179"/>
                  </a:lnTo>
                  <a:lnTo>
                    <a:pt x="1289" y="1181"/>
                  </a:lnTo>
                  <a:lnTo>
                    <a:pt x="1291" y="1181"/>
                  </a:lnTo>
                  <a:lnTo>
                    <a:pt x="1291" y="1181"/>
                  </a:lnTo>
                  <a:lnTo>
                    <a:pt x="1291" y="1183"/>
                  </a:lnTo>
                  <a:lnTo>
                    <a:pt x="1293" y="1183"/>
                  </a:lnTo>
                  <a:lnTo>
                    <a:pt x="1293" y="1185"/>
                  </a:lnTo>
                  <a:lnTo>
                    <a:pt x="1293" y="1185"/>
                  </a:lnTo>
                  <a:lnTo>
                    <a:pt x="1295" y="1183"/>
                  </a:lnTo>
                  <a:lnTo>
                    <a:pt x="1295" y="1183"/>
                  </a:lnTo>
                  <a:lnTo>
                    <a:pt x="1295" y="1185"/>
                  </a:lnTo>
                  <a:lnTo>
                    <a:pt x="1295" y="1183"/>
                  </a:lnTo>
                  <a:lnTo>
                    <a:pt x="1295" y="1183"/>
                  </a:lnTo>
                  <a:lnTo>
                    <a:pt x="1297" y="1183"/>
                  </a:lnTo>
                  <a:lnTo>
                    <a:pt x="1297" y="1181"/>
                  </a:lnTo>
                  <a:lnTo>
                    <a:pt x="1297" y="1181"/>
                  </a:lnTo>
                  <a:lnTo>
                    <a:pt x="1295" y="1181"/>
                  </a:lnTo>
                  <a:lnTo>
                    <a:pt x="1295" y="1179"/>
                  </a:lnTo>
                  <a:lnTo>
                    <a:pt x="1293" y="1179"/>
                  </a:lnTo>
                  <a:lnTo>
                    <a:pt x="1291" y="1179"/>
                  </a:lnTo>
                  <a:lnTo>
                    <a:pt x="1289" y="1177"/>
                  </a:lnTo>
                  <a:lnTo>
                    <a:pt x="1289" y="1177"/>
                  </a:lnTo>
                  <a:lnTo>
                    <a:pt x="1287" y="1175"/>
                  </a:lnTo>
                  <a:lnTo>
                    <a:pt x="1287" y="1175"/>
                  </a:lnTo>
                  <a:lnTo>
                    <a:pt x="1287" y="1175"/>
                  </a:lnTo>
                  <a:lnTo>
                    <a:pt x="1289" y="1175"/>
                  </a:lnTo>
                  <a:lnTo>
                    <a:pt x="1289" y="1175"/>
                  </a:lnTo>
                  <a:lnTo>
                    <a:pt x="1289" y="1175"/>
                  </a:lnTo>
                  <a:lnTo>
                    <a:pt x="1289" y="1173"/>
                  </a:lnTo>
                  <a:lnTo>
                    <a:pt x="1291" y="1173"/>
                  </a:lnTo>
                  <a:lnTo>
                    <a:pt x="1291" y="1173"/>
                  </a:lnTo>
                  <a:lnTo>
                    <a:pt x="1293" y="1173"/>
                  </a:lnTo>
                  <a:lnTo>
                    <a:pt x="1293" y="1171"/>
                  </a:lnTo>
                  <a:lnTo>
                    <a:pt x="1293" y="1171"/>
                  </a:lnTo>
                  <a:lnTo>
                    <a:pt x="1291" y="1169"/>
                  </a:lnTo>
                  <a:lnTo>
                    <a:pt x="1291" y="1169"/>
                  </a:lnTo>
                  <a:lnTo>
                    <a:pt x="1291" y="1169"/>
                  </a:lnTo>
                  <a:lnTo>
                    <a:pt x="1291" y="1169"/>
                  </a:lnTo>
                  <a:lnTo>
                    <a:pt x="1289" y="1169"/>
                  </a:lnTo>
                  <a:lnTo>
                    <a:pt x="1289" y="1171"/>
                  </a:lnTo>
                  <a:lnTo>
                    <a:pt x="1289" y="1171"/>
                  </a:lnTo>
                  <a:lnTo>
                    <a:pt x="1287" y="1171"/>
                  </a:lnTo>
                  <a:lnTo>
                    <a:pt x="1287" y="1169"/>
                  </a:lnTo>
                  <a:lnTo>
                    <a:pt x="1287" y="1169"/>
                  </a:lnTo>
                  <a:lnTo>
                    <a:pt x="1287" y="1169"/>
                  </a:lnTo>
                  <a:lnTo>
                    <a:pt x="1289" y="1167"/>
                  </a:lnTo>
                  <a:lnTo>
                    <a:pt x="1289" y="1167"/>
                  </a:lnTo>
                  <a:lnTo>
                    <a:pt x="1287" y="1167"/>
                  </a:lnTo>
                  <a:lnTo>
                    <a:pt x="1287" y="1167"/>
                  </a:lnTo>
                  <a:lnTo>
                    <a:pt x="1287" y="1167"/>
                  </a:lnTo>
                  <a:lnTo>
                    <a:pt x="1285" y="1167"/>
                  </a:lnTo>
                  <a:lnTo>
                    <a:pt x="1283" y="1169"/>
                  </a:lnTo>
                  <a:lnTo>
                    <a:pt x="1281" y="1169"/>
                  </a:lnTo>
                  <a:lnTo>
                    <a:pt x="1278" y="1169"/>
                  </a:lnTo>
                  <a:lnTo>
                    <a:pt x="1276" y="1167"/>
                  </a:lnTo>
                  <a:lnTo>
                    <a:pt x="1278" y="1165"/>
                  </a:lnTo>
                  <a:lnTo>
                    <a:pt x="1281" y="1163"/>
                  </a:lnTo>
                  <a:lnTo>
                    <a:pt x="1281" y="1165"/>
                  </a:lnTo>
                  <a:lnTo>
                    <a:pt x="1283" y="1165"/>
                  </a:lnTo>
                  <a:lnTo>
                    <a:pt x="1285" y="1165"/>
                  </a:lnTo>
                  <a:lnTo>
                    <a:pt x="1289" y="1167"/>
                  </a:lnTo>
                  <a:lnTo>
                    <a:pt x="1291" y="1167"/>
                  </a:lnTo>
                  <a:lnTo>
                    <a:pt x="1293" y="1165"/>
                  </a:lnTo>
                  <a:lnTo>
                    <a:pt x="1293" y="1165"/>
                  </a:lnTo>
                  <a:lnTo>
                    <a:pt x="1295" y="1165"/>
                  </a:lnTo>
                  <a:lnTo>
                    <a:pt x="1297" y="1165"/>
                  </a:lnTo>
                  <a:lnTo>
                    <a:pt x="1299" y="1163"/>
                  </a:lnTo>
                  <a:lnTo>
                    <a:pt x="1299" y="1163"/>
                  </a:lnTo>
                  <a:lnTo>
                    <a:pt x="1299" y="1163"/>
                  </a:lnTo>
                  <a:lnTo>
                    <a:pt x="1301" y="1165"/>
                  </a:lnTo>
                  <a:lnTo>
                    <a:pt x="1307" y="1163"/>
                  </a:lnTo>
                  <a:lnTo>
                    <a:pt x="1307" y="1165"/>
                  </a:lnTo>
                  <a:lnTo>
                    <a:pt x="1309" y="1165"/>
                  </a:lnTo>
                  <a:lnTo>
                    <a:pt x="1309" y="1163"/>
                  </a:lnTo>
                  <a:lnTo>
                    <a:pt x="1311" y="1161"/>
                  </a:lnTo>
                  <a:lnTo>
                    <a:pt x="1311" y="1159"/>
                  </a:lnTo>
                  <a:lnTo>
                    <a:pt x="1311" y="1159"/>
                  </a:lnTo>
                  <a:lnTo>
                    <a:pt x="1311" y="1161"/>
                  </a:lnTo>
                  <a:lnTo>
                    <a:pt x="1314" y="1161"/>
                  </a:lnTo>
                  <a:lnTo>
                    <a:pt x="1314" y="1163"/>
                  </a:lnTo>
                  <a:lnTo>
                    <a:pt x="1314" y="1163"/>
                  </a:lnTo>
                  <a:lnTo>
                    <a:pt x="1314" y="1163"/>
                  </a:lnTo>
                  <a:lnTo>
                    <a:pt x="1314" y="1165"/>
                  </a:lnTo>
                  <a:lnTo>
                    <a:pt x="1316" y="1165"/>
                  </a:lnTo>
                  <a:lnTo>
                    <a:pt x="1314" y="1165"/>
                  </a:lnTo>
                  <a:lnTo>
                    <a:pt x="1311" y="1165"/>
                  </a:lnTo>
                  <a:lnTo>
                    <a:pt x="1311" y="1167"/>
                  </a:lnTo>
                  <a:lnTo>
                    <a:pt x="1318" y="1165"/>
                  </a:lnTo>
                  <a:lnTo>
                    <a:pt x="1318" y="1165"/>
                  </a:lnTo>
                  <a:lnTo>
                    <a:pt x="1320" y="1163"/>
                  </a:lnTo>
                  <a:lnTo>
                    <a:pt x="1320" y="1165"/>
                  </a:lnTo>
                  <a:lnTo>
                    <a:pt x="1320" y="1165"/>
                  </a:lnTo>
                  <a:lnTo>
                    <a:pt x="1320" y="1165"/>
                  </a:lnTo>
                  <a:lnTo>
                    <a:pt x="1322" y="1165"/>
                  </a:lnTo>
                  <a:lnTo>
                    <a:pt x="1322" y="1163"/>
                  </a:lnTo>
                  <a:lnTo>
                    <a:pt x="1324" y="1163"/>
                  </a:lnTo>
                  <a:lnTo>
                    <a:pt x="1324" y="1161"/>
                  </a:lnTo>
                  <a:lnTo>
                    <a:pt x="1324" y="1161"/>
                  </a:lnTo>
                  <a:lnTo>
                    <a:pt x="1326" y="1163"/>
                  </a:lnTo>
                  <a:lnTo>
                    <a:pt x="1326" y="1161"/>
                  </a:lnTo>
                  <a:lnTo>
                    <a:pt x="1326" y="1161"/>
                  </a:lnTo>
                  <a:lnTo>
                    <a:pt x="1326" y="1163"/>
                  </a:lnTo>
                  <a:lnTo>
                    <a:pt x="1326" y="1163"/>
                  </a:lnTo>
                  <a:lnTo>
                    <a:pt x="1324" y="1163"/>
                  </a:lnTo>
                  <a:lnTo>
                    <a:pt x="1324" y="1163"/>
                  </a:lnTo>
                  <a:lnTo>
                    <a:pt x="1324" y="1165"/>
                  </a:lnTo>
                  <a:lnTo>
                    <a:pt x="1326" y="1163"/>
                  </a:lnTo>
                  <a:lnTo>
                    <a:pt x="1330" y="1163"/>
                  </a:lnTo>
                  <a:lnTo>
                    <a:pt x="1332" y="1163"/>
                  </a:lnTo>
                  <a:lnTo>
                    <a:pt x="1332" y="1163"/>
                  </a:lnTo>
                  <a:lnTo>
                    <a:pt x="1334" y="1163"/>
                  </a:lnTo>
                  <a:lnTo>
                    <a:pt x="1334" y="1163"/>
                  </a:lnTo>
                  <a:lnTo>
                    <a:pt x="1336" y="1163"/>
                  </a:lnTo>
                  <a:lnTo>
                    <a:pt x="1338" y="1163"/>
                  </a:lnTo>
                  <a:lnTo>
                    <a:pt x="1338" y="1163"/>
                  </a:lnTo>
                  <a:lnTo>
                    <a:pt x="1338" y="1163"/>
                  </a:lnTo>
                  <a:lnTo>
                    <a:pt x="1336" y="1163"/>
                  </a:lnTo>
                  <a:lnTo>
                    <a:pt x="1334" y="1163"/>
                  </a:lnTo>
                  <a:lnTo>
                    <a:pt x="1338" y="1165"/>
                  </a:lnTo>
                  <a:lnTo>
                    <a:pt x="1342" y="1167"/>
                  </a:lnTo>
                  <a:lnTo>
                    <a:pt x="1342" y="1167"/>
                  </a:lnTo>
                  <a:lnTo>
                    <a:pt x="1344" y="1167"/>
                  </a:lnTo>
                  <a:lnTo>
                    <a:pt x="1344" y="1167"/>
                  </a:lnTo>
                  <a:lnTo>
                    <a:pt x="1344" y="1165"/>
                  </a:lnTo>
                  <a:lnTo>
                    <a:pt x="1344" y="1165"/>
                  </a:lnTo>
                  <a:lnTo>
                    <a:pt x="1347" y="1165"/>
                  </a:lnTo>
                  <a:lnTo>
                    <a:pt x="1344" y="1167"/>
                  </a:lnTo>
                  <a:lnTo>
                    <a:pt x="1344" y="1167"/>
                  </a:lnTo>
                  <a:lnTo>
                    <a:pt x="1347" y="1167"/>
                  </a:lnTo>
                  <a:lnTo>
                    <a:pt x="1347" y="1167"/>
                  </a:lnTo>
                  <a:lnTo>
                    <a:pt x="1344" y="1167"/>
                  </a:lnTo>
                  <a:lnTo>
                    <a:pt x="1347" y="1169"/>
                  </a:lnTo>
                  <a:lnTo>
                    <a:pt x="1349" y="1171"/>
                  </a:lnTo>
                  <a:lnTo>
                    <a:pt x="1351" y="1173"/>
                  </a:lnTo>
                  <a:lnTo>
                    <a:pt x="1351" y="1173"/>
                  </a:lnTo>
                  <a:lnTo>
                    <a:pt x="1351" y="1173"/>
                  </a:lnTo>
                  <a:lnTo>
                    <a:pt x="1349" y="1173"/>
                  </a:lnTo>
                  <a:lnTo>
                    <a:pt x="1349" y="1171"/>
                  </a:lnTo>
                  <a:lnTo>
                    <a:pt x="1349" y="1173"/>
                  </a:lnTo>
                  <a:lnTo>
                    <a:pt x="1349" y="1175"/>
                  </a:lnTo>
                  <a:lnTo>
                    <a:pt x="1351" y="1175"/>
                  </a:lnTo>
                  <a:lnTo>
                    <a:pt x="1353" y="1173"/>
                  </a:lnTo>
                  <a:lnTo>
                    <a:pt x="1355" y="1173"/>
                  </a:lnTo>
                  <a:lnTo>
                    <a:pt x="1355" y="1173"/>
                  </a:lnTo>
                  <a:lnTo>
                    <a:pt x="1357" y="1173"/>
                  </a:lnTo>
                  <a:lnTo>
                    <a:pt x="1357" y="1173"/>
                  </a:lnTo>
                  <a:lnTo>
                    <a:pt x="1361" y="1171"/>
                  </a:lnTo>
                  <a:lnTo>
                    <a:pt x="1363" y="1171"/>
                  </a:lnTo>
                  <a:lnTo>
                    <a:pt x="1363" y="1171"/>
                  </a:lnTo>
                  <a:lnTo>
                    <a:pt x="1363" y="1171"/>
                  </a:lnTo>
                  <a:lnTo>
                    <a:pt x="1363" y="1169"/>
                  </a:lnTo>
                  <a:lnTo>
                    <a:pt x="1363" y="1169"/>
                  </a:lnTo>
                  <a:lnTo>
                    <a:pt x="1365" y="1169"/>
                  </a:lnTo>
                  <a:lnTo>
                    <a:pt x="1367" y="1167"/>
                  </a:lnTo>
                  <a:lnTo>
                    <a:pt x="1373" y="1171"/>
                  </a:lnTo>
                  <a:lnTo>
                    <a:pt x="1380" y="1177"/>
                  </a:lnTo>
                  <a:lnTo>
                    <a:pt x="1386" y="1183"/>
                  </a:lnTo>
                  <a:lnTo>
                    <a:pt x="1388" y="1187"/>
                  </a:lnTo>
                  <a:lnTo>
                    <a:pt x="1388" y="1187"/>
                  </a:lnTo>
                  <a:lnTo>
                    <a:pt x="1388" y="1187"/>
                  </a:lnTo>
                  <a:lnTo>
                    <a:pt x="1388" y="1194"/>
                  </a:lnTo>
                  <a:lnTo>
                    <a:pt x="1386" y="1196"/>
                  </a:lnTo>
                  <a:lnTo>
                    <a:pt x="1386" y="1202"/>
                  </a:lnTo>
                  <a:lnTo>
                    <a:pt x="1386" y="1204"/>
                  </a:lnTo>
                  <a:lnTo>
                    <a:pt x="1386" y="1204"/>
                  </a:lnTo>
                  <a:lnTo>
                    <a:pt x="1386" y="1204"/>
                  </a:lnTo>
                  <a:lnTo>
                    <a:pt x="1388" y="1204"/>
                  </a:lnTo>
                  <a:lnTo>
                    <a:pt x="1388" y="1204"/>
                  </a:lnTo>
                  <a:lnTo>
                    <a:pt x="1388" y="1204"/>
                  </a:lnTo>
                  <a:lnTo>
                    <a:pt x="1388" y="1204"/>
                  </a:lnTo>
                  <a:lnTo>
                    <a:pt x="1388" y="1202"/>
                  </a:lnTo>
                  <a:lnTo>
                    <a:pt x="1388" y="1202"/>
                  </a:lnTo>
                  <a:lnTo>
                    <a:pt x="1388" y="1200"/>
                  </a:lnTo>
                  <a:lnTo>
                    <a:pt x="1388" y="1200"/>
                  </a:lnTo>
                  <a:lnTo>
                    <a:pt x="1390" y="1200"/>
                  </a:lnTo>
                  <a:lnTo>
                    <a:pt x="1390" y="1202"/>
                  </a:lnTo>
                  <a:lnTo>
                    <a:pt x="1390" y="1202"/>
                  </a:lnTo>
                  <a:lnTo>
                    <a:pt x="1392" y="1202"/>
                  </a:lnTo>
                  <a:lnTo>
                    <a:pt x="1392" y="1202"/>
                  </a:lnTo>
                  <a:lnTo>
                    <a:pt x="1392" y="1202"/>
                  </a:lnTo>
                  <a:lnTo>
                    <a:pt x="1392" y="1204"/>
                  </a:lnTo>
                  <a:lnTo>
                    <a:pt x="1390" y="1206"/>
                  </a:lnTo>
                  <a:lnTo>
                    <a:pt x="1388" y="1208"/>
                  </a:lnTo>
                  <a:lnTo>
                    <a:pt x="1388" y="1208"/>
                  </a:lnTo>
                  <a:lnTo>
                    <a:pt x="1388" y="1208"/>
                  </a:lnTo>
                  <a:lnTo>
                    <a:pt x="1388" y="1208"/>
                  </a:lnTo>
                  <a:lnTo>
                    <a:pt x="1388" y="1210"/>
                  </a:lnTo>
                  <a:lnTo>
                    <a:pt x="1392" y="1214"/>
                  </a:lnTo>
                  <a:lnTo>
                    <a:pt x="1392" y="1216"/>
                  </a:lnTo>
                  <a:lnTo>
                    <a:pt x="1394" y="1218"/>
                  </a:lnTo>
                  <a:lnTo>
                    <a:pt x="1394" y="1218"/>
                  </a:lnTo>
                  <a:lnTo>
                    <a:pt x="1394" y="1218"/>
                  </a:lnTo>
                  <a:lnTo>
                    <a:pt x="1394" y="1216"/>
                  </a:lnTo>
                  <a:lnTo>
                    <a:pt x="1394" y="1216"/>
                  </a:lnTo>
                  <a:lnTo>
                    <a:pt x="1396" y="1216"/>
                  </a:lnTo>
                  <a:lnTo>
                    <a:pt x="1396" y="1216"/>
                  </a:lnTo>
                  <a:lnTo>
                    <a:pt x="1396" y="1216"/>
                  </a:lnTo>
                  <a:lnTo>
                    <a:pt x="1396" y="1220"/>
                  </a:lnTo>
                  <a:lnTo>
                    <a:pt x="1396" y="1223"/>
                  </a:lnTo>
                  <a:lnTo>
                    <a:pt x="1398" y="1223"/>
                  </a:lnTo>
                  <a:lnTo>
                    <a:pt x="1398" y="1223"/>
                  </a:lnTo>
                  <a:lnTo>
                    <a:pt x="1398" y="1220"/>
                  </a:lnTo>
                  <a:lnTo>
                    <a:pt x="1398" y="1220"/>
                  </a:lnTo>
                  <a:lnTo>
                    <a:pt x="1400" y="1220"/>
                  </a:lnTo>
                  <a:lnTo>
                    <a:pt x="1398" y="1223"/>
                  </a:lnTo>
                  <a:lnTo>
                    <a:pt x="1398" y="1223"/>
                  </a:lnTo>
                  <a:lnTo>
                    <a:pt x="1398" y="1223"/>
                  </a:lnTo>
                  <a:lnTo>
                    <a:pt x="1400" y="1225"/>
                  </a:lnTo>
                  <a:lnTo>
                    <a:pt x="1400" y="1229"/>
                  </a:lnTo>
                  <a:lnTo>
                    <a:pt x="1402" y="1231"/>
                  </a:lnTo>
                  <a:lnTo>
                    <a:pt x="1404" y="1233"/>
                  </a:lnTo>
                  <a:lnTo>
                    <a:pt x="1406" y="1233"/>
                  </a:lnTo>
                  <a:lnTo>
                    <a:pt x="1406" y="1235"/>
                  </a:lnTo>
                  <a:lnTo>
                    <a:pt x="1408" y="1237"/>
                  </a:lnTo>
                  <a:lnTo>
                    <a:pt x="1410" y="1241"/>
                  </a:lnTo>
                  <a:lnTo>
                    <a:pt x="1410" y="1241"/>
                  </a:lnTo>
                  <a:lnTo>
                    <a:pt x="1413" y="1241"/>
                  </a:lnTo>
                  <a:lnTo>
                    <a:pt x="1413" y="1241"/>
                  </a:lnTo>
                  <a:lnTo>
                    <a:pt x="1413" y="1243"/>
                  </a:lnTo>
                  <a:lnTo>
                    <a:pt x="1410" y="1241"/>
                  </a:lnTo>
                  <a:lnTo>
                    <a:pt x="1410" y="1241"/>
                  </a:lnTo>
                  <a:lnTo>
                    <a:pt x="1408" y="1241"/>
                  </a:lnTo>
                  <a:lnTo>
                    <a:pt x="1408" y="1243"/>
                  </a:lnTo>
                  <a:lnTo>
                    <a:pt x="1410" y="1243"/>
                  </a:lnTo>
                  <a:lnTo>
                    <a:pt x="1410" y="1243"/>
                  </a:lnTo>
                  <a:lnTo>
                    <a:pt x="1413" y="1243"/>
                  </a:lnTo>
                  <a:lnTo>
                    <a:pt x="1415" y="1243"/>
                  </a:lnTo>
                  <a:lnTo>
                    <a:pt x="1419" y="1243"/>
                  </a:lnTo>
                  <a:lnTo>
                    <a:pt x="1419" y="1243"/>
                  </a:lnTo>
                  <a:lnTo>
                    <a:pt x="1421" y="1241"/>
                  </a:lnTo>
                  <a:lnTo>
                    <a:pt x="1421" y="1239"/>
                  </a:lnTo>
                  <a:lnTo>
                    <a:pt x="1421" y="1237"/>
                  </a:lnTo>
                  <a:lnTo>
                    <a:pt x="1423" y="1235"/>
                  </a:lnTo>
                  <a:lnTo>
                    <a:pt x="1423" y="1233"/>
                  </a:lnTo>
                  <a:lnTo>
                    <a:pt x="1423" y="1233"/>
                  </a:lnTo>
                  <a:lnTo>
                    <a:pt x="1423" y="1233"/>
                  </a:lnTo>
                  <a:lnTo>
                    <a:pt x="1425" y="1233"/>
                  </a:lnTo>
                  <a:lnTo>
                    <a:pt x="1425" y="1229"/>
                  </a:lnTo>
                  <a:lnTo>
                    <a:pt x="1425" y="1223"/>
                  </a:lnTo>
                  <a:lnTo>
                    <a:pt x="1425" y="1218"/>
                  </a:lnTo>
                  <a:lnTo>
                    <a:pt x="1425" y="1216"/>
                  </a:lnTo>
                  <a:lnTo>
                    <a:pt x="1425" y="1214"/>
                  </a:lnTo>
                  <a:lnTo>
                    <a:pt x="1423" y="1212"/>
                  </a:lnTo>
                  <a:lnTo>
                    <a:pt x="1417" y="1198"/>
                  </a:lnTo>
                  <a:lnTo>
                    <a:pt x="1417" y="1196"/>
                  </a:lnTo>
                  <a:lnTo>
                    <a:pt x="1415" y="1194"/>
                  </a:lnTo>
                  <a:lnTo>
                    <a:pt x="1415" y="1192"/>
                  </a:lnTo>
                  <a:lnTo>
                    <a:pt x="1415" y="1189"/>
                  </a:lnTo>
                  <a:lnTo>
                    <a:pt x="1415" y="1189"/>
                  </a:lnTo>
                  <a:lnTo>
                    <a:pt x="1415" y="1189"/>
                  </a:lnTo>
                  <a:lnTo>
                    <a:pt x="1415" y="1189"/>
                  </a:lnTo>
                  <a:lnTo>
                    <a:pt x="1415" y="1189"/>
                  </a:lnTo>
                  <a:lnTo>
                    <a:pt x="1415" y="1189"/>
                  </a:lnTo>
                  <a:lnTo>
                    <a:pt x="1417" y="1192"/>
                  </a:lnTo>
                  <a:lnTo>
                    <a:pt x="1417" y="1192"/>
                  </a:lnTo>
                  <a:lnTo>
                    <a:pt x="1415" y="1192"/>
                  </a:lnTo>
                  <a:lnTo>
                    <a:pt x="1415" y="1194"/>
                  </a:lnTo>
                  <a:lnTo>
                    <a:pt x="1417" y="1196"/>
                  </a:lnTo>
                  <a:lnTo>
                    <a:pt x="1417" y="1194"/>
                  </a:lnTo>
                  <a:lnTo>
                    <a:pt x="1417" y="1194"/>
                  </a:lnTo>
                  <a:lnTo>
                    <a:pt x="1417" y="1192"/>
                  </a:lnTo>
                  <a:lnTo>
                    <a:pt x="1417" y="1192"/>
                  </a:lnTo>
                  <a:lnTo>
                    <a:pt x="1417" y="1196"/>
                  </a:lnTo>
                  <a:lnTo>
                    <a:pt x="1417" y="1198"/>
                  </a:lnTo>
                  <a:lnTo>
                    <a:pt x="1419" y="1202"/>
                  </a:lnTo>
                  <a:lnTo>
                    <a:pt x="1419" y="1202"/>
                  </a:lnTo>
                  <a:lnTo>
                    <a:pt x="1419" y="1200"/>
                  </a:lnTo>
                  <a:lnTo>
                    <a:pt x="1417" y="1198"/>
                  </a:lnTo>
                  <a:lnTo>
                    <a:pt x="1417" y="1196"/>
                  </a:lnTo>
                  <a:lnTo>
                    <a:pt x="1417" y="1194"/>
                  </a:lnTo>
                  <a:lnTo>
                    <a:pt x="1417" y="1194"/>
                  </a:lnTo>
                  <a:lnTo>
                    <a:pt x="1419" y="1194"/>
                  </a:lnTo>
                  <a:lnTo>
                    <a:pt x="1419" y="1192"/>
                  </a:lnTo>
                  <a:lnTo>
                    <a:pt x="1413" y="1183"/>
                  </a:lnTo>
                  <a:lnTo>
                    <a:pt x="1410" y="1177"/>
                  </a:lnTo>
                  <a:lnTo>
                    <a:pt x="1408" y="1173"/>
                  </a:lnTo>
                  <a:lnTo>
                    <a:pt x="1406" y="1167"/>
                  </a:lnTo>
                  <a:lnTo>
                    <a:pt x="1406" y="1165"/>
                  </a:lnTo>
                  <a:lnTo>
                    <a:pt x="1404" y="1159"/>
                  </a:lnTo>
                  <a:lnTo>
                    <a:pt x="1404" y="1159"/>
                  </a:lnTo>
                  <a:lnTo>
                    <a:pt x="1404" y="1156"/>
                  </a:lnTo>
                  <a:lnTo>
                    <a:pt x="1404" y="1156"/>
                  </a:lnTo>
                  <a:lnTo>
                    <a:pt x="1404" y="1154"/>
                  </a:lnTo>
                  <a:lnTo>
                    <a:pt x="1404" y="1154"/>
                  </a:lnTo>
                  <a:lnTo>
                    <a:pt x="1404" y="1152"/>
                  </a:lnTo>
                  <a:lnTo>
                    <a:pt x="1404" y="1152"/>
                  </a:lnTo>
                  <a:lnTo>
                    <a:pt x="1404" y="1150"/>
                  </a:lnTo>
                  <a:lnTo>
                    <a:pt x="1406" y="1150"/>
                  </a:lnTo>
                  <a:lnTo>
                    <a:pt x="1406" y="1150"/>
                  </a:lnTo>
                  <a:lnTo>
                    <a:pt x="1408" y="1150"/>
                  </a:lnTo>
                  <a:lnTo>
                    <a:pt x="1406" y="1148"/>
                  </a:lnTo>
                  <a:lnTo>
                    <a:pt x="1406" y="1148"/>
                  </a:lnTo>
                  <a:lnTo>
                    <a:pt x="1406" y="1148"/>
                  </a:lnTo>
                  <a:lnTo>
                    <a:pt x="1406" y="1148"/>
                  </a:lnTo>
                  <a:lnTo>
                    <a:pt x="1408" y="1146"/>
                  </a:lnTo>
                  <a:lnTo>
                    <a:pt x="1408" y="1146"/>
                  </a:lnTo>
                  <a:lnTo>
                    <a:pt x="1408" y="1146"/>
                  </a:lnTo>
                  <a:lnTo>
                    <a:pt x="1408" y="1146"/>
                  </a:lnTo>
                  <a:lnTo>
                    <a:pt x="1408" y="1146"/>
                  </a:lnTo>
                  <a:lnTo>
                    <a:pt x="1408" y="1146"/>
                  </a:lnTo>
                  <a:lnTo>
                    <a:pt x="1408" y="1144"/>
                  </a:lnTo>
                  <a:lnTo>
                    <a:pt x="1408" y="1144"/>
                  </a:lnTo>
                  <a:lnTo>
                    <a:pt x="1408" y="1144"/>
                  </a:lnTo>
                  <a:lnTo>
                    <a:pt x="1408" y="1144"/>
                  </a:lnTo>
                  <a:lnTo>
                    <a:pt x="1408" y="1142"/>
                  </a:lnTo>
                  <a:lnTo>
                    <a:pt x="1408" y="1142"/>
                  </a:lnTo>
                  <a:lnTo>
                    <a:pt x="1410" y="1142"/>
                  </a:lnTo>
                  <a:lnTo>
                    <a:pt x="1410" y="1142"/>
                  </a:lnTo>
                  <a:lnTo>
                    <a:pt x="1410" y="1142"/>
                  </a:lnTo>
                  <a:lnTo>
                    <a:pt x="1410" y="1140"/>
                  </a:lnTo>
                  <a:lnTo>
                    <a:pt x="1410" y="1140"/>
                  </a:lnTo>
                  <a:lnTo>
                    <a:pt x="1410" y="1140"/>
                  </a:lnTo>
                  <a:lnTo>
                    <a:pt x="1410" y="1140"/>
                  </a:lnTo>
                  <a:lnTo>
                    <a:pt x="1413" y="1140"/>
                  </a:lnTo>
                  <a:lnTo>
                    <a:pt x="1413" y="1138"/>
                  </a:lnTo>
                  <a:lnTo>
                    <a:pt x="1413" y="1138"/>
                  </a:lnTo>
                  <a:lnTo>
                    <a:pt x="1415" y="1136"/>
                  </a:lnTo>
                  <a:lnTo>
                    <a:pt x="1415" y="1136"/>
                  </a:lnTo>
                  <a:lnTo>
                    <a:pt x="1415" y="1136"/>
                  </a:lnTo>
                  <a:lnTo>
                    <a:pt x="1417" y="1136"/>
                  </a:lnTo>
                  <a:lnTo>
                    <a:pt x="1417" y="1134"/>
                  </a:lnTo>
                  <a:lnTo>
                    <a:pt x="1415" y="1134"/>
                  </a:lnTo>
                  <a:lnTo>
                    <a:pt x="1415" y="1134"/>
                  </a:lnTo>
                  <a:lnTo>
                    <a:pt x="1415" y="1132"/>
                  </a:lnTo>
                  <a:lnTo>
                    <a:pt x="1415" y="1132"/>
                  </a:lnTo>
                  <a:lnTo>
                    <a:pt x="1417" y="1134"/>
                  </a:lnTo>
                  <a:lnTo>
                    <a:pt x="1417" y="1134"/>
                  </a:lnTo>
                  <a:lnTo>
                    <a:pt x="1417" y="1132"/>
                  </a:lnTo>
                  <a:lnTo>
                    <a:pt x="1417" y="1132"/>
                  </a:lnTo>
                  <a:lnTo>
                    <a:pt x="1417" y="1134"/>
                  </a:lnTo>
                  <a:lnTo>
                    <a:pt x="1417" y="1134"/>
                  </a:lnTo>
                  <a:lnTo>
                    <a:pt x="1417" y="1134"/>
                  </a:lnTo>
                  <a:lnTo>
                    <a:pt x="1419" y="1134"/>
                  </a:lnTo>
                  <a:lnTo>
                    <a:pt x="1419" y="1134"/>
                  </a:lnTo>
                  <a:lnTo>
                    <a:pt x="1419" y="1132"/>
                  </a:lnTo>
                  <a:lnTo>
                    <a:pt x="1419" y="1132"/>
                  </a:lnTo>
                  <a:lnTo>
                    <a:pt x="1417" y="1130"/>
                  </a:lnTo>
                  <a:lnTo>
                    <a:pt x="1417" y="1130"/>
                  </a:lnTo>
                  <a:lnTo>
                    <a:pt x="1419" y="1130"/>
                  </a:lnTo>
                  <a:lnTo>
                    <a:pt x="1421" y="1130"/>
                  </a:lnTo>
                  <a:lnTo>
                    <a:pt x="1423" y="1130"/>
                  </a:lnTo>
                  <a:lnTo>
                    <a:pt x="1423" y="1130"/>
                  </a:lnTo>
                  <a:lnTo>
                    <a:pt x="1423" y="1130"/>
                  </a:lnTo>
                  <a:lnTo>
                    <a:pt x="1425" y="1130"/>
                  </a:lnTo>
                  <a:lnTo>
                    <a:pt x="1425" y="1128"/>
                  </a:lnTo>
                  <a:lnTo>
                    <a:pt x="1427" y="1128"/>
                  </a:lnTo>
                  <a:lnTo>
                    <a:pt x="1427" y="1128"/>
                  </a:lnTo>
                  <a:lnTo>
                    <a:pt x="1427" y="1125"/>
                  </a:lnTo>
                  <a:lnTo>
                    <a:pt x="1429" y="1125"/>
                  </a:lnTo>
                  <a:lnTo>
                    <a:pt x="1429" y="1125"/>
                  </a:lnTo>
                  <a:lnTo>
                    <a:pt x="1431" y="1123"/>
                  </a:lnTo>
                  <a:lnTo>
                    <a:pt x="1431" y="1123"/>
                  </a:lnTo>
                  <a:lnTo>
                    <a:pt x="1433" y="1121"/>
                  </a:lnTo>
                  <a:lnTo>
                    <a:pt x="1433" y="1121"/>
                  </a:lnTo>
                  <a:lnTo>
                    <a:pt x="1435" y="1121"/>
                  </a:lnTo>
                  <a:lnTo>
                    <a:pt x="1437" y="1119"/>
                  </a:lnTo>
                  <a:lnTo>
                    <a:pt x="1435" y="1117"/>
                  </a:lnTo>
                  <a:lnTo>
                    <a:pt x="1437" y="1115"/>
                  </a:lnTo>
                  <a:lnTo>
                    <a:pt x="1437" y="1117"/>
                  </a:lnTo>
                  <a:lnTo>
                    <a:pt x="1437" y="1117"/>
                  </a:lnTo>
                  <a:lnTo>
                    <a:pt x="1437" y="1119"/>
                  </a:lnTo>
                  <a:lnTo>
                    <a:pt x="1437" y="1115"/>
                  </a:lnTo>
                  <a:lnTo>
                    <a:pt x="1441" y="1113"/>
                  </a:lnTo>
                  <a:lnTo>
                    <a:pt x="1441" y="1111"/>
                  </a:lnTo>
                  <a:lnTo>
                    <a:pt x="1445" y="1109"/>
                  </a:lnTo>
                  <a:lnTo>
                    <a:pt x="1448" y="1109"/>
                  </a:lnTo>
                  <a:lnTo>
                    <a:pt x="1454" y="1109"/>
                  </a:lnTo>
                  <a:lnTo>
                    <a:pt x="1454" y="1107"/>
                  </a:lnTo>
                  <a:lnTo>
                    <a:pt x="1456" y="1105"/>
                  </a:lnTo>
                  <a:lnTo>
                    <a:pt x="1456" y="1105"/>
                  </a:lnTo>
                  <a:lnTo>
                    <a:pt x="1456" y="1107"/>
                  </a:lnTo>
                  <a:lnTo>
                    <a:pt x="1456" y="1107"/>
                  </a:lnTo>
                  <a:lnTo>
                    <a:pt x="1456" y="1107"/>
                  </a:lnTo>
                  <a:lnTo>
                    <a:pt x="1456" y="1105"/>
                  </a:lnTo>
                  <a:lnTo>
                    <a:pt x="1458" y="1103"/>
                  </a:lnTo>
                  <a:lnTo>
                    <a:pt x="1458" y="1101"/>
                  </a:lnTo>
                  <a:lnTo>
                    <a:pt x="1460" y="1101"/>
                  </a:lnTo>
                  <a:lnTo>
                    <a:pt x="1462" y="1099"/>
                  </a:lnTo>
                  <a:lnTo>
                    <a:pt x="1464" y="1099"/>
                  </a:lnTo>
                  <a:lnTo>
                    <a:pt x="1462" y="1099"/>
                  </a:lnTo>
                  <a:lnTo>
                    <a:pt x="1462" y="1097"/>
                  </a:lnTo>
                  <a:lnTo>
                    <a:pt x="1462" y="1095"/>
                  </a:lnTo>
                  <a:lnTo>
                    <a:pt x="1462" y="1097"/>
                  </a:lnTo>
                  <a:lnTo>
                    <a:pt x="1464" y="1097"/>
                  </a:lnTo>
                  <a:lnTo>
                    <a:pt x="1464" y="1097"/>
                  </a:lnTo>
                  <a:lnTo>
                    <a:pt x="1464" y="1097"/>
                  </a:lnTo>
                  <a:lnTo>
                    <a:pt x="1466" y="1095"/>
                  </a:lnTo>
                  <a:lnTo>
                    <a:pt x="1468" y="1097"/>
                  </a:lnTo>
                  <a:lnTo>
                    <a:pt x="1470" y="1095"/>
                  </a:lnTo>
                  <a:lnTo>
                    <a:pt x="1472" y="1095"/>
                  </a:lnTo>
                  <a:lnTo>
                    <a:pt x="1472" y="1095"/>
                  </a:lnTo>
                  <a:lnTo>
                    <a:pt x="1472" y="1095"/>
                  </a:lnTo>
                  <a:lnTo>
                    <a:pt x="1474" y="1095"/>
                  </a:lnTo>
                  <a:lnTo>
                    <a:pt x="1474" y="1095"/>
                  </a:lnTo>
                  <a:lnTo>
                    <a:pt x="1476" y="1092"/>
                  </a:lnTo>
                  <a:lnTo>
                    <a:pt x="1478" y="1092"/>
                  </a:lnTo>
                  <a:lnTo>
                    <a:pt x="1476" y="1090"/>
                  </a:lnTo>
                  <a:lnTo>
                    <a:pt x="1472" y="1092"/>
                  </a:lnTo>
                  <a:lnTo>
                    <a:pt x="1470" y="1090"/>
                  </a:lnTo>
                  <a:lnTo>
                    <a:pt x="1468" y="1090"/>
                  </a:lnTo>
                  <a:lnTo>
                    <a:pt x="1468" y="1088"/>
                  </a:lnTo>
                  <a:lnTo>
                    <a:pt x="1470" y="1090"/>
                  </a:lnTo>
                  <a:lnTo>
                    <a:pt x="1472" y="1090"/>
                  </a:lnTo>
                  <a:lnTo>
                    <a:pt x="1474" y="1090"/>
                  </a:lnTo>
                  <a:lnTo>
                    <a:pt x="1474" y="1088"/>
                  </a:lnTo>
                  <a:lnTo>
                    <a:pt x="1474" y="1088"/>
                  </a:lnTo>
                  <a:lnTo>
                    <a:pt x="1474" y="1088"/>
                  </a:lnTo>
                  <a:lnTo>
                    <a:pt x="1476" y="1086"/>
                  </a:lnTo>
                  <a:lnTo>
                    <a:pt x="1474" y="1086"/>
                  </a:lnTo>
                  <a:lnTo>
                    <a:pt x="1474" y="1086"/>
                  </a:lnTo>
                  <a:lnTo>
                    <a:pt x="1468" y="1084"/>
                  </a:lnTo>
                  <a:lnTo>
                    <a:pt x="1468" y="1082"/>
                  </a:lnTo>
                  <a:lnTo>
                    <a:pt x="1470" y="1084"/>
                  </a:lnTo>
                  <a:lnTo>
                    <a:pt x="1472" y="1084"/>
                  </a:lnTo>
                  <a:lnTo>
                    <a:pt x="1474" y="1084"/>
                  </a:lnTo>
                  <a:lnTo>
                    <a:pt x="1474" y="1082"/>
                  </a:lnTo>
                  <a:lnTo>
                    <a:pt x="1474" y="1082"/>
                  </a:lnTo>
                  <a:lnTo>
                    <a:pt x="1474" y="1082"/>
                  </a:lnTo>
                  <a:lnTo>
                    <a:pt x="1476" y="1084"/>
                  </a:lnTo>
                  <a:lnTo>
                    <a:pt x="1476" y="1084"/>
                  </a:lnTo>
                  <a:lnTo>
                    <a:pt x="1476" y="1084"/>
                  </a:lnTo>
                  <a:lnTo>
                    <a:pt x="1476" y="1084"/>
                  </a:lnTo>
                  <a:lnTo>
                    <a:pt x="1478" y="1084"/>
                  </a:lnTo>
                  <a:lnTo>
                    <a:pt x="1481" y="1084"/>
                  </a:lnTo>
                  <a:lnTo>
                    <a:pt x="1481" y="1084"/>
                  </a:lnTo>
                  <a:lnTo>
                    <a:pt x="1483" y="1082"/>
                  </a:lnTo>
                  <a:lnTo>
                    <a:pt x="1487" y="1080"/>
                  </a:lnTo>
                  <a:lnTo>
                    <a:pt x="1487" y="1078"/>
                  </a:lnTo>
                  <a:lnTo>
                    <a:pt x="1487" y="1078"/>
                  </a:lnTo>
                  <a:lnTo>
                    <a:pt x="1487" y="1076"/>
                  </a:lnTo>
                  <a:lnTo>
                    <a:pt x="1485" y="1076"/>
                  </a:lnTo>
                  <a:lnTo>
                    <a:pt x="1485" y="1076"/>
                  </a:lnTo>
                  <a:lnTo>
                    <a:pt x="1483" y="1076"/>
                  </a:lnTo>
                  <a:lnTo>
                    <a:pt x="1483" y="1080"/>
                  </a:lnTo>
                  <a:lnTo>
                    <a:pt x="1483" y="1080"/>
                  </a:lnTo>
                  <a:lnTo>
                    <a:pt x="1481" y="1080"/>
                  </a:lnTo>
                  <a:lnTo>
                    <a:pt x="1483" y="1078"/>
                  </a:lnTo>
                  <a:lnTo>
                    <a:pt x="1483" y="1076"/>
                  </a:lnTo>
                  <a:lnTo>
                    <a:pt x="1483" y="1076"/>
                  </a:lnTo>
                  <a:lnTo>
                    <a:pt x="1481" y="1074"/>
                  </a:lnTo>
                  <a:lnTo>
                    <a:pt x="1478" y="1076"/>
                  </a:lnTo>
                  <a:lnTo>
                    <a:pt x="1478" y="1076"/>
                  </a:lnTo>
                  <a:lnTo>
                    <a:pt x="1476" y="1076"/>
                  </a:lnTo>
                  <a:lnTo>
                    <a:pt x="1474" y="1076"/>
                  </a:lnTo>
                  <a:lnTo>
                    <a:pt x="1472" y="1076"/>
                  </a:lnTo>
                  <a:lnTo>
                    <a:pt x="1472" y="1074"/>
                  </a:lnTo>
                  <a:lnTo>
                    <a:pt x="1472" y="1072"/>
                  </a:lnTo>
                  <a:lnTo>
                    <a:pt x="1472" y="1072"/>
                  </a:lnTo>
                  <a:lnTo>
                    <a:pt x="1472" y="1072"/>
                  </a:lnTo>
                  <a:lnTo>
                    <a:pt x="1472" y="1074"/>
                  </a:lnTo>
                  <a:lnTo>
                    <a:pt x="1474" y="1074"/>
                  </a:lnTo>
                  <a:lnTo>
                    <a:pt x="1476" y="1074"/>
                  </a:lnTo>
                  <a:lnTo>
                    <a:pt x="1476" y="1074"/>
                  </a:lnTo>
                  <a:lnTo>
                    <a:pt x="1476" y="1072"/>
                  </a:lnTo>
                  <a:lnTo>
                    <a:pt x="1478" y="1072"/>
                  </a:lnTo>
                  <a:lnTo>
                    <a:pt x="1478" y="1072"/>
                  </a:lnTo>
                  <a:lnTo>
                    <a:pt x="1478" y="1072"/>
                  </a:lnTo>
                  <a:lnTo>
                    <a:pt x="1481" y="1072"/>
                  </a:lnTo>
                  <a:lnTo>
                    <a:pt x="1481" y="1072"/>
                  </a:lnTo>
                  <a:lnTo>
                    <a:pt x="1481" y="1072"/>
                  </a:lnTo>
                  <a:lnTo>
                    <a:pt x="1481" y="1070"/>
                  </a:lnTo>
                  <a:lnTo>
                    <a:pt x="1483" y="1072"/>
                  </a:lnTo>
                  <a:lnTo>
                    <a:pt x="1483" y="1072"/>
                  </a:lnTo>
                  <a:lnTo>
                    <a:pt x="1485" y="1072"/>
                  </a:lnTo>
                  <a:lnTo>
                    <a:pt x="1485" y="1074"/>
                  </a:lnTo>
                  <a:lnTo>
                    <a:pt x="1485" y="1070"/>
                  </a:lnTo>
                  <a:lnTo>
                    <a:pt x="1485" y="1068"/>
                  </a:lnTo>
                  <a:lnTo>
                    <a:pt x="1483" y="1068"/>
                  </a:lnTo>
                  <a:lnTo>
                    <a:pt x="1483" y="1068"/>
                  </a:lnTo>
                  <a:lnTo>
                    <a:pt x="1483" y="1066"/>
                  </a:lnTo>
                  <a:lnTo>
                    <a:pt x="1483" y="1066"/>
                  </a:lnTo>
                  <a:lnTo>
                    <a:pt x="1483" y="1064"/>
                  </a:lnTo>
                  <a:lnTo>
                    <a:pt x="1483" y="1064"/>
                  </a:lnTo>
                  <a:lnTo>
                    <a:pt x="1485" y="1064"/>
                  </a:lnTo>
                  <a:lnTo>
                    <a:pt x="1485" y="1066"/>
                  </a:lnTo>
                  <a:lnTo>
                    <a:pt x="1485" y="1070"/>
                  </a:lnTo>
                  <a:lnTo>
                    <a:pt x="1487" y="1074"/>
                  </a:lnTo>
                  <a:lnTo>
                    <a:pt x="1489" y="1076"/>
                  </a:lnTo>
                  <a:lnTo>
                    <a:pt x="1489" y="1078"/>
                  </a:lnTo>
                  <a:lnTo>
                    <a:pt x="1489" y="1076"/>
                  </a:lnTo>
                  <a:lnTo>
                    <a:pt x="1487" y="1072"/>
                  </a:lnTo>
                  <a:lnTo>
                    <a:pt x="1485" y="1064"/>
                  </a:lnTo>
                  <a:lnTo>
                    <a:pt x="1483" y="1061"/>
                  </a:lnTo>
                  <a:lnTo>
                    <a:pt x="1483" y="1061"/>
                  </a:lnTo>
                  <a:lnTo>
                    <a:pt x="1483" y="1059"/>
                  </a:lnTo>
                  <a:lnTo>
                    <a:pt x="1481" y="1059"/>
                  </a:lnTo>
                  <a:lnTo>
                    <a:pt x="1478" y="1059"/>
                  </a:lnTo>
                  <a:lnTo>
                    <a:pt x="1476" y="1059"/>
                  </a:lnTo>
                  <a:lnTo>
                    <a:pt x="1476" y="1059"/>
                  </a:lnTo>
                  <a:lnTo>
                    <a:pt x="1476" y="1059"/>
                  </a:lnTo>
                  <a:lnTo>
                    <a:pt x="1474" y="1057"/>
                  </a:lnTo>
                  <a:lnTo>
                    <a:pt x="1472" y="1055"/>
                  </a:lnTo>
                  <a:lnTo>
                    <a:pt x="1472" y="1055"/>
                  </a:lnTo>
                  <a:lnTo>
                    <a:pt x="1470" y="1055"/>
                  </a:lnTo>
                  <a:lnTo>
                    <a:pt x="1468" y="1053"/>
                  </a:lnTo>
                  <a:lnTo>
                    <a:pt x="1466" y="1053"/>
                  </a:lnTo>
                  <a:lnTo>
                    <a:pt x="1466" y="1053"/>
                  </a:lnTo>
                  <a:lnTo>
                    <a:pt x="1464" y="1053"/>
                  </a:lnTo>
                  <a:lnTo>
                    <a:pt x="1468" y="1053"/>
                  </a:lnTo>
                  <a:lnTo>
                    <a:pt x="1472" y="1055"/>
                  </a:lnTo>
                  <a:lnTo>
                    <a:pt x="1474" y="1055"/>
                  </a:lnTo>
                  <a:lnTo>
                    <a:pt x="1474" y="1055"/>
                  </a:lnTo>
                  <a:lnTo>
                    <a:pt x="1476" y="1057"/>
                  </a:lnTo>
                  <a:lnTo>
                    <a:pt x="1476" y="1057"/>
                  </a:lnTo>
                  <a:lnTo>
                    <a:pt x="1476" y="1059"/>
                  </a:lnTo>
                  <a:lnTo>
                    <a:pt x="1478" y="1057"/>
                  </a:lnTo>
                  <a:lnTo>
                    <a:pt x="1478" y="1057"/>
                  </a:lnTo>
                  <a:lnTo>
                    <a:pt x="1478" y="1057"/>
                  </a:lnTo>
                  <a:lnTo>
                    <a:pt x="1478" y="1055"/>
                  </a:lnTo>
                  <a:lnTo>
                    <a:pt x="1476" y="1055"/>
                  </a:lnTo>
                  <a:lnTo>
                    <a:pt x="1476" y="1055"/>
                  </a:lnTo>
                  <a:lnTo>
                    <a:pt x="1474" y="1053"/>
                  </a:lnTo>
                  <a:lnTo>
                    <a:pt x="1472" y="1051"/>
                  </a:lnTo>
                  <a:lnTo>
                    <a:pt x="1472" y="1051"/>
                  </a:lnTo>
                  <a:lnTo>
                    <a:pt x="1472" y="1051"/>
                  </a:lnTo>
                  <a:lnTo>
                    <a:pt x="1474" y="1053"/>
                  </a:lnTo>
                  <a:lnTo>
                    <a:pt x="1476" y="1053"/>
                  </a:lnTo>
                  <a:lnTo>
                    <a:pt x="1476" y="1053"/>
                  </a:lnTo>
                  <a:lnTo>
                    <a:pt x="1476" y="1053"/>
                  </a:lnTo>
                  <a:lnTo>
                    <a:pt x="1476" y="1053"/>
                  </a:lnTo>
                  <a:lnTo>
                    <a:pt x="1478" y="1053"/>
                  </a:lnTo>
                  <a:lnTo>
                    <a:pt x="1478" y="1051"/>
                  </a:lnTo>
                  <a:lnTo>
                    <a:pt x="1478" y="1051"/>
                  </a:lnTo>
                  <a:lnTo>
                    <a:pt x="1478" y="1049"/>
                  </a:lnTo>
                  <a:lnTo>
                    <a:pt x="1478" y="1049"/>
                  </a:lnTo>
                  <a:lnTo>
                    <a:pt x="1476" y="1049"/>
                  </a:lnTo>
                  <a:lnTo>
                    <a:pt x="1474" y="1047"/>
                  </a:lnTo>
                  <a:lnTo>
                    <a:pt x="1474" y="1047"/>
                  </a:lnTo>
                  <a:lnTo>
                    <a:pt x="1472" y="1045"/>
                  </a:lnTo>
                  <a:lnTo>
                    <a:pt x="1470" y="1043"/>
                  </a:lnTo>
                  <a:lnTo>
                    <a:pt x="1470" y="1041"/>
                  </a:lnTo>
                  <a:lnTo>
                    <a:pt x="1466" y="1039"/>
                  </a:lnTo>
                  <a:lnTo>
                    <a:pt x="1468" y="1039"/>
                  </a:lnTo>
                  <a:lnTo>
                    <a:pt x="1470" y="1041"/>
                  </a:lnTo>
                  <a:lnTo>
                    <a:pt x="1470" y="1043"/>
                  </a:lnTo>
                  <a:lnTo>
                    <a:pt x="1472" y="1043"/>
                  </a:lnTo>
                  <a:lnTo>
                    <a:pt x="1476" y="1047"/>
                  </a:lnTo>
                  <a:lnTo>
                    <a:pt x="1476" y="1047"/>
                  </a:lnTo>
                  <a:lnTo>
                    <a:pt x="1478" y="1047"/>
                  </a:lnTo>
                  <a:lnTo>
                    <a:pt x="1478" y="1047"/>
                  </a:lnTo>
                  <a:lnTo>
                    <a:pt x="1478" y="1045"/>
                  </a:lnTo>
                  <a:lnTo>
                    <a:pt x="1478" y="1045"/>
                  </a:lnTo>
                  <a:lnTo>
                    <a:pt x="1478" y="1043"/>
                  </a:lnTo>
                  <a:lnTo>
                    <a:pt x="1478" y="1043"/>
                  </a:lnTo>
                  <a:lnTo>
                    <a:pt x="1476" y="1043"/>
                  </a:lnTo>
                  <a:lnTo>
                    <a:pt x="1474" y="1041"/>
                  </a:lnTo>
                  <a:lnTo>
                    <a:pt x="1474" y="1041"/>
                  </a:lnTo>
                  <a:lnTo>
                    <a:pt x="1470" y="1039"/>
                  </a:lnTo>
                  <a:lnTo>
                    <a:pt x="1468" y="1037"/>
                  </a:lnTo>
                  <a:lnTo>
                    <a:pt x="1466" y="1037"/>
                  </a:lnTo>
                  <a:lnTo>
                    <a:pt x="1466" y="1037"/>
                  </a:lnTo>
                  <a:lnTo>
                    <a:pt x="1464" y="1037"/>
                  </a:lnTo>
                  <a:lnTo>
                    <a:pt x="1464" y="1035"/>
                  </a:lnTo>
                  <a:lnTo>
                    <a:pt x="1464" y="1033"/>
                  </a:lnTo>
                  <a:lnTo>
                    <a:pt x="1464" y="1033"/>
                  </a:lnTo>
                  <a:lnTo>
                    <a:pt x="1466" y="1031"/>
                  </a:lnTo>
                  <a:lnTo>
                    <a:pt x="1468" y="1031"/>
                  </a:lnTo>
                  <a:lnTo>
                    <a:pt x="1468" y="1028"/>
                  </a:lnTo>
                  <a:lnTo>
                    <a:pt x="1468" y="1028"/>
                  </a:lnTo>
                  <a:lnTo>
                    <a:pt x="1468" y="1028"/>
                  </a:lnTo>
                  <a:lnTo>
                    <a:pt x="1468" y="1031"/>
                  </a:lnTo>
                  <a:lnTo>
                    <a:pt x="1466" y="1031"/>
                  </a:lnTo>
                  <a:lnTo>
                    <a:pt x="1466" y="1033"/>
                  </a:lnTo>
                  <a:lnTo>
                    <a:pt x="1464" y="1035"/>
                  </a:lnTo>
                  <a:lnTo>
                    <a:pt x="1466" y="1035"/>
                  </a:lnTo>
                  <a:lnTo>
                    <a:pt x="1466" y="1035"/>
                  </a:lnTo>
                  <a:lnTo>
                    <a:pt x="1468" y="1035"/>
                  </a:lnTo>
                  <a:lnTo>
                    <a:pt x="1468" y="1035"/>
                  </a:lnTo>
                  <a:lnTo>
                    <a:pt x="1468" y="1037"/>
                  </a:lnTo>
                  <a:lnTo>
                    <a:pt x="1470" y="1037"/>
                  </a:lnTo>
                  <a:lnTo>
                    <a:pt x="1470" y="1037"/>
                  </a:lnTo>
                  <a:lnTo>
                    <a:pt x="1470" y="1037"/>
                  </a:lnTo>
                  <a:lnTo>
                    <a:pt x="1470" y="1037"/>
                  </a:lnTo>
                  <a:lnTo>
                    <a:pt x="1472" y="1039"/>
                  </a:lnTo>
                  <a:lnTo>
                    <a:pt x="1474" y="1039"/>
                  </a:lnTo>
                  <a:lnTo>
                    <a:pt x="1476" y="1039"/>
                  </a:lnTo>
                  <a:lnTo>
                    <a:pt x="1476" y="1041"/>
                  </a:lnTo>
                  <a:lnTo>
                    <a:pt x="1478" y="1041"/>
                  </a:lnTo>
                  <a:lnTo>
                    <a:pt x="1478" y="1041"/>
                  </a:lnTo>
                  <a:lnTo>
                    <a:pt x="1478" y="1039"/>
                  </a:lnTo>
                  <a:lnTo>
                    <a:pt x="1476" y="1039"/>
                  </a:lnTo>
                  <a:lnTo>
                    <a:pt x="1474" y="1035"/>
                  </a:lnTo>
                  <a:lnTo>
                    <a:pt x="1472" y="1033"/>
                  </a:lnTo>
                  <a:lnTo>
                    <a:pt x="1472" y="1033"/>
                  </a:lnTo>
                  <a:lnTo>
                    <a:pt x="1474" y="1033"/>
                  </a:lnTo>
                  <a:lnTo>
                    <a:pt x="1474" y="1033"/>
                  </a:lnTo>
                  <a:lnTo>
                    <a:pt x="1474" y="1035"/>
                  </a:lnTo>
                  <a:lnTo>
                    <a:pt x="1476" y="1035"/>
                  </a:lnTo>
                  <a:lnTo>
                    <a:pt x="1476" y="1037"/>
                  </a:lnTo>
                  <a:lnTo>
                    <a:pt x="1476" y="1037"/>
                  </a:lnTo>
                  <a:lnTo>
                    <a:pt x="1476" y="1035"/>
                  </a:lnTo>
                  <a:lnTo>
                    <a:pt x="1476" y="1035"/>
                  </a:lnTo>
                  <a:lnTo>
                    <a:pt x="1476" y="1033"/>
                  </a:lnTo>
                  <a:lnTo>
                    <a:pt x="1474" y="1031"/>
                  </a:lnTo>
                  <a:lnTo>
                    <a:pt x="1474" y="1028"/>
                  </a:lnTo>
                  <a:lnTo>
                    <a:pt x="1476" y="1028"/>
                  </a:lnTo>
                  <a:lnTo>
                    <a:pt x="1474" y="1026"/>
                  </a:lnTo>
                  <a:lnTo>
                    <a:pt x="1476" y="1026"/>
                  </a:lnTo>
                  <a:lnTo>
                    <a:pt x="1474" y="1026"/>
                  </a:lnTo>
                  <a:lnTo>
                    <a:pt x="1474" y="1024"/>
                  </a:lnTo>
                  <a:lnTo>
                    <a:pt x="1474" y="1024"/>
                  </a:lnTo>
                  <a:lnTo>
                    <a:pt x="1476" y="1024"/>
                  </a:lnTo>
                  <a:lnTo>
                    <a:pt x="1476" y="1024"/>
                  </a:lnTo>
                  <a:lnTo>
                    <a:pt x="1476" y="1024"/>
                  </a:lnTo>
                  <a:lnTo>
                    <a:pt x="1476" y="1022"/>
                  </a:lnTo>
                  <a:lnTo>
                    <a:pt x="1474" y="1022"/>
                  </a:lnTo>
                  <a:lnTo>
                    <a:pt x="1474" y="1022"/>
                  </a:lnTo>
                  <a:lnTo>
                    <a:pt x="1476" y="1022"/>
                  </a:lnTo>
                  <a:lnTo>
                    <a:pt x="1476" y="1022"/>
                  </a:lnTo>
                  <a:lnTo>
                    <a:pt x="1476" y="1020"/>
                  </a:lnTo>
                  <a:lnTo>
                    <a:pt x="1478" y="1020"/>
                  </a:lnTo>
                  <a:lnTo>
                    <a:pt x="1478" y="1020"/>
                  </a:lnTo>
                  <a:lnTo>
                    <a:pt x="1478" y="1020"/>
                  </a:lnTo>
                  <a:lnTo>
                    <a:pt x="1478" y="1018"/>
                  </a:lnTo>
                  <a:lnTo>
                    <a:pt x="1478" y="1020"/>
                  </a:lnTo>
                  <a:lnTo>
                    <a:pt x="1478" y="1020"/>
                  </a:lnTo>
                  <a:lnTo>
                    <a:pt x="1478" y="1018"/>
                  </a:lnTo>
                  <a:lnTo>
                    <a:pt x="1481" y="1018"/>
                  </a:lnTo>
                  <a:lnTo>
                    <a:pt x="1481" y="1020"/>
                  </a:lnTo>
                  <a:lnTo>
                    <a:pt x="1481" y="1018"/>
                  </a:lnTo>
                  <a:lnTo>
                    <a:pt x="1481" y="1018"/>
                  </a:lnTo>
                  <a:lnTo>
                    <a:pt x="1483" y="1018"/>
                  </a:lnTo>
                  <a:lnTo>
                    <a:pt x="1481" y="1016"/>
                  </a:lnTo>
                  <a:lnTo>
                    <a:pt x="1483" y="1016"/>
                  </a:lnTo>
                  <a:lnTo>
                    <a:pt x="1483" y="1016"/>
                  </a:lnTo>
                  <a:lnTo>
                    <a:pt x="1483" y="1016"/>
                  </a:lnTo>
                  <a:lnTo>
                    <a:pt x="1483" y="1018"/>
                  </a:lnTo>
                  <a:lnTo>
                    <a:pt x="1485" y="1018"/>
                  </a:lnTo>
                  <a:lnTo>
                    <a:pt x="1485" y="1018"/>
                  </a:lnTo>
                  <a:lnTo>
                    <a:pt x="1483" y="1018"/>
                  </a:lnTo>
                  <a:lnTo>
                    <a:pt x="1483" y="1018"/>
                  </a:lnTo>
                  <a:lnTo>
                    <a:pt x="1483" y="1018"/>
                  </a:lnTo>
                  <a:lnTo>
                    <a:pt x="1485" y="1020"/>
                  </a:lnTo>
                  <a:lnTo>
                    <a:pt x="1483" y="1020"/>
                  </a:lnTo>
                  <a:lnTo>
                    <a:pt x="1483" y="1020"/>
                  </a:lnTo>
                  <a:lnTo>
                    <a:pt x="1481" y="1020"/>
                  </a:lnTo>
                  <a:lnTo>
                    <a:pt x="1478" y="1022"/>
                  </a:lnTo>
                  <a:lnTo>
                    <a:pt x="1481" y="1024"/>
                  </a:lnTo>
                  <a:lnTo>
                    <a:pt x="1481" y="1024"/>
                  </a:lnTo>
                  <a:lnTo>
                    <a:pt x="1481" y="1024"/>
                  </a:lnTo>
                  <a:lnTo>
                    <a:pt x="1481" y="1026"/>
                  </a:lnTo>
                  <a:lnTo>
                    <a:pt x="1478" y="1026"/>
                  </a:lnTo>
                  <a:lnTo>
                    <a:pt x="1478" y="1026"/>
                  </a:lnTo>
                  <a:lnTo>
                    <a:pt x="1478" y="1026"/>
                  </a:lnTo>
                  <a:lnTo>
                    <a:pt x="1478" y="1026"/>
                  </a:lnTo>
                  <a:lnTo>
                    <a:pt x="1478" y="1026"/>
                  </a:lnTo>
                  <a:lnTo>
                    <a:pt x="1481" y="1026"/>
                  </a:lnTo>
                  <a:lnTo>
                    <a:pt x="1481" y="1028"/>
                  </a:lnTo>
                  <a:lnTo>
                    <a:pt x="1478" y="1028"/>
                  </a:lnTo>
                  <a:lnTo>
                    <a:pt x="1478" y="1028"/>
                  </a:lnTo>
                  <a:lnTo>
                    <a:pt x="1478" y="1031"/>
                  </a:lnTo>
                  <a:lnTo>
                    <a:pt x="1478" y="1031"/>
                  </a:lnTo>
                  <a:lnTo>
                    <a:pt x="1478" y="1028"/>
                  </a:lnTo>
                  <a:lnTo>
                    <a:pt x="1481" y="1031"/>
                  </a:lnTo>
                  <a:lnTo>
                    <a:pt x="1481" y="1031"/>
                  </a:lnTo>
                  <a:lnTo>
                    <a:pt x="1483" y="1033"/>
                  </a:lnTo>
                  <a:lnTo>
                    <a:pt x="1483" y="1033"/>
                  </a:lnTo>
                  <a:lnTo>
                    <a:pt x="1483" y="1033"/>
                  </a:lnTo>
                  <a:lnTo>
                    <a:pt x="1481" y="1033"/>
                  </a:lnTo>
                  <a:lnTo>
                    <a:pt x="1481" y="1033"/>
                  </a:lnTo>
                  <a:lnTo>
                    <a:pt x="1478" y="1033"/>
                  </a:lnTo>
                  <a:lnTo>
                    <a:pt x="1478" y="1035"/>
                  </a:lnTo>
                  <a:lnTo>
                    <a:pt x="1478" y="1035"/>
                  </a:lnTo>
                  <a:lnTo>
                    <a:pt x="1481" y="1037"/>
                  </a:lnTo>
                  <a:lnTo>
                    <a:pt x="1481" y="1037"/>
                  </a:lnTo>
                  <a:lnTo>
                    <a:pt x="1483" y="1037"/>
                  </a:lnTo>
                  <a:lnTo>
                    <a:pt x="1483" y="1037"/>
                  </a:lnTo>
                  <a:lnTo>
                    <a:pt x="1483" y="1037"/>
                  </a:lnTo>
                  <a:lnTo>
                    <a:pt x="1483" y="1037"/>
                  </a:lnTo>
                  <a:lnTo>
                    <a:pt x="1483" y="1037"/>
                  </a:lnTo>
                  <a:lnTo>
                    <a:pt x="1485" y="1037"/>
                  </a:lnTo>
                  <a:lnTo>
                    <a:pt x="1485" y="1037"/>
                  </a:lnTo>
                  <a:lnTo>
                    <a:pt x="1485" y="1037"/>
                  </a:lnTo>
                  <a:lnTo>
                    <a:pt x="1485" y="1037"/>
                  </a:lnTo>
                  <a:lnTo>
                    <a:pt x="1485" y="1039"/>
                  </a:lnTo>
                  <a:lnTo>
                    <a:pt x="1485" y="1039"/>
                  </a:lnTo>
                  <a:lnTo>
                    <a:pt x="1485" y="1039"/>
                  </a:lnTo>
                  <a:lnTo>
                    <a:pt x="1485" y="1039"/>
                  </a:lnTo>
                  <a:lnTo>
                    <a:pt x="1485" y="1041"/>
                  </a:lnTo>
                  <a:lnTo>
                    <a:pt x="1485" y="1041"/>
                  </a:lnTo>
                  <a:lnTo>
                    <a:pt x="1485" y="1041"/>
                  </a:lnTo>
                  <a:lnTo>
                    <a:pt x="1485" y="1043"/>
                  </a:lnTo>
                  <a:lnTo>
                    <a:pt x="1487" y="1043"/>
                  </a:lnTo>
                  <a:lnTo>
                    <a:pt x="1487" y="1043"/>
                  </a:lnTo>
                  <a:lnTo>
                    <a:pt x="1487" y="1045"/>
                  </a:lnTo>
                  <a:lnTo>
                    <a:pt x="1487" y="1047"/>
                  </a:lnTo>
                  <a:lnTo>
                    <a:pt x="1485" y="1049"/>
                  </a:lnTo>
                  <a:lnTo>
                    <a:pt x="1483" y="1051"/>
                  </a:lnTo>
                  <a:lnTo>
                    <a:pt x="1483" y="1053"/>
                  </a:lnTo>
                  <a:lnTo>
                    <a:pt x="1483" y="1055"/>
                  </a:lnTo>
                  <a:lnTo>
                    <a:pt x="1485" y="1055"/>
                  </a:lnTo>
                  <a:lnTo>
                    <a:pt x="1485" y="1053"/>
                  </a:lnTo>
                  <a:lnTo>
                    <a:pt x="1485" y="1051"/>
                  </a:lnTo>
                  <a:lnTo>
                    <a:pt x="1487" y="1051"/>
                  </a:lnTo>
                  <a:lnTo>
                    <a:pt x="1487" y="1049"/>
                  </a:lnTo>
                  <a:lnTo>
                    <a:pt x="1489" y="1049"/>
                  </a:lnTo>
                  <a:lnTo>
                    <a:pt x="1489" y="1049"/>
                  </a:lnTo>
                  <a:lnTo>
                    <a:pt x="1489" y="1049"/>
                  </a:lnTo>
                  <a:lnTo>
                    <a:pt x="1493" y="1041"/>
                  </a:lnTo>
                  <a:lnTo>
                    <a:pt x="1493" y="1041"/>
                  </a:lnTo>
                  <a:lnTo>
                    <a:pt x="1493" y="1039"/>
                  </a:lnTo>
                  <a:lnTo>
                    <a:pt x="1495" y="1039"/>
                  </a:lnTo>
                  <a:lnTo>
                    <a:pt x="1495" y="1037"/>
                  </a:lnTo>
                  <a:lnTo>
                    <a:pt x="1495" y="1037"/>
                  </a:lnTo>
                  <a:lnTo>
                    <a:pt x="1495" y="1035"/>
                  </a:lnTo>
                  <a:lnTo>
                    <a:pt x="1495" y="1035"/>
                  </a:lnTo>
                  <a:lnTo>
                    <a:pt x="1495" y="1035"/>
                  </a:lnTo>
                  <a:lnTo>
                    <a:pt x="1495" y="1037"/>
                  </a:lnTo>
                  <a:lnTo>
                    <a:pt x="1497" y="1037"/>
                  </a:lnTo>
                  <a:lnTo>
                    <a:pt x="1497" y="1035"/>
                  </a:lnTo>
                  <a:lnTo>
                    <a:pt x="1497" y="1035"/>
                  </a:lnTo>
                  <a:lnTo>
                    <a:pt x="1495" y="1033"/>
                  </a:lnTo>
                  <a:lnTo>
                    <a:pt x="1495" y="1033"/>
                  </a:lnTo>
                  <a:lnTo>
                    <a:pt x="1495" y="1033"/>
                  </a:lnTo>
                  <a:lnTo>
                    <a:pt x="1495" y="1033"/>
                  </a:lnTo>
                  <a:lnTo>
                    <a:pt x="1495" y="1031"/>
                  </a:lnTo>
                  <a:lnTo>
                    <a:pt x="1495" y="1028"/>
                  </a:lnTo>
                  <a:lnTo>
                    <a:pt x="1495" y="1028"/>
                  </a:lnTo>
                  <a:lnTo>
                    <a:pt x="1493" y="1026"/>
                  </a:lnTo>
                  <a:lnTo>
                    <a:pt x="1491" y="1024"/>
                  </a:lnTo>
                  <a:lnTo>
                    <a:pt x="1491" y="1020"/>
                  </a:lnTo>
                  <a:lnTo>
                    <a:pt x="1489" y="1018"/>
                  </a:lnTo>
                  <a:lnTo>
                    <a:pt x="1489" y="1018"/>
                  </a:lnTo>
                  <a:lnTo>
                    <a:pt x="1489" y="1016"/>
                  </a:lnTo>
                  <a:lnTo>
                    <a:pt x="1489" y="1016"/>
                  </a:lnTo>
                  <a:lnTo>
                    <a:pt x="1489" y="1016"/>
                  </a:lnTo>
                  <a:lnTo>
                    <a:pt x="1491" y="1014"/>
                  </a:lnTo>
                  <a:lnTo>
                    <a:pt x="1491" y="1012"/>
                  </a:lnTo>
                  <a:lnTo>
                    <a:pt x="1491" y="1012"/>
                  </a:lnTo>
                  <a:lnTo>
                    <a:pt x="1493" y="1012"/>
                  </a:lnTo>
                  <a:lnTo>
                    <a:pt x="1495" y="1010"/>
                  </a:lnTo>
                  <a:lnTo>
                    <a:pt x="1495" y="1010"/>
                  </a:lnTo>
                  <a:lnTo>
                    <a:pt x="1495" y="1010"/>
                  </a:lnTo>
                  <a:lnTo>
                    <a:pt x="1495" y="1012"/>
                  </a:lnTo>
                  <a:lnTo>
                    <a:pt x="1493" y="1012"/>
                  </a:lnTo>
                  <a:lnTo>
                    <a:pt x="1491" y="1012"/>
                  </a:lnTo>
                  <a:lnTo>
                    <a:pt x="1491" y="1014"/>
                  </a:lnTo>
                  <a:lnTo>
                    <a:pt x="1489" y="1016"/>
                  </a:lnTo>
                  <a:lnTo>
                    <a:pt x="1489" y="1016"/>
                  </a:lnTo>
                  <a:lnTo>
                    <a:pt x="1489" y="1018"/>
                  </a:lnTo>
                  <a:lnTo>
                    <a:pt x="1493" y="1020"/>
                  </a:lnTo>
                  <a:lnTo>
                    <a:pt x="1493" y="1020"/>
                  </a:lnTo>
                  <a:lnTo>
                    <a:pt x="1495" y="1022"/>
                  </a:lnTo>
                  <a:lnTo>
                    <a:pt x="1497" y="1022"/>
                  </a:lnTo>
                  <a:lnTo>
                    <a:pt x="1497" y="1022"/>
                  </a:lnTo>
                  <a:lnTo>
                    <a:pt x="1499" y="1024"/>
                  </a:lnTo>
                  <a:lnTo>
                    <a:pt x="1499" y="1024"/>
                  </a:lnTo>
                  <a:lnTo>
                    <a:pt x="1497" y="1026"/>
                  </a:lnTo>
                  <a:lnTo>
                    <a:pt x="1499" y="1026"/>
                  </a:lnTo>
                  <a:lnTo>
                    <a:pt x="1499" y="1026"/>
                  </a:lnTo>
                  <a:lnTo>
                    <a:pt x="1501" y="1022"/>
                  </a:lnTo>
                  <a:lnTo>
                    <a:pt x="1503" y="1022"/>
                  </a:lnTo>
                  <a:lnTo>
                    <a:pt x="1503" y="1020"/>
                  </a:lnTo>
                  <a:lnTo>
                    <a:pt x="1503" y="1020"/>
                  </a:lnTo>
                  <a:lnTo>
                    <a:pt x="1503" y="1020"/>
                  </a:lnTo>
                  <a:lnTo>
                    <a:pt x="1505" y="1020"/>
                  </a:lnTo>
                  <a:lnTo>
                    <a:pt x="1505" y="1020"/>
                  </a:lnTo>
                  <a:lnTo>
                    <a:pt x="1505" y="1018"/>
                  </a:lnTo>
                  <a:lnTo>
                    <a:pt x="1505" y="1018"/>
                  </a:lnTo>
                  <a:lnTo>
                    <a:pt x="1505" y="1016"/>
                  </a:lnTo>
                  <a:lnTo>
                    <a:pt x="1507" y="1016"/>
                  </a:lnTo>
                  <a:lnTo>
                    <a:pt x="1507" y="1016"/>
                  </a:lnTo>
                  <a:lnTo>
                    <a:pt x="1509" y="1014"/>
                  </a:lnTo>
                  <a:lnTo>
                    <a:pt x="1509" y="1010"/>
                  </a:lnTo>
                  <a:lnTo>
                    <a:pt x="1509" y="1010"/>
                  </a:lnTo>
                  <a:lnTo>
                    <a:pt x="1509" y="1010"/>
                  </a:lnTo>
                  <a:lnTo>
                    <a:pt x="1509" y="1012"/>
                  </a:lnTo>
                  <a:lnTo>
                    <a:pt x="1509" y="1012"/>
                  </a:lnTo>
                  <a:lnTo>
                    <a:pt x="1511" y="1010"/>
                  </a:lnTo>
                  <a:lnTo>
                    <a:pt x="1511" y="1008"/>
                  </a:lnTo>
                  <a:lnTo>
                    <a:pt x="1511" y="1006"/>
                  </a:lnTo>
                  <a:lnTo>
                    <a:pt x="1511" y="1006"/>
                  </a:lnTo>
                  <a:lnTo>
                    <a:pt x="1511" y="1004"/>
                  </a:lnTo>
                  <a:lnTo>
                    <a:pt x="1511" y="1002"/>
                  </a:lnTo>
                  <a:lnTo>
                    <a:pt x="1511" y="1002"/>
                  </a:lnTo>
                  <a:lnTo>
                    <a:pt x="1511" y="1002"/>
                  </a:lnTo>
                  <a:lnTo>
                    <a:pt x="1507" y="1002"/>
                  </a:lnTo>
                  <a:lnTo>
                    <a:pt x="1507" y="1000"/>
                  </a:lnTo>
                  <a:lnTo>
                    <a:pt x="1507" y="1000"/>
                  </a:lnTo>
                  <a:lnTo>
                    <a:pt x="1509" y="997"/>
                  </a:lnTo>
                  <a:lnTo>
                    <a:pt x="1509" y="997"/>
                  </a:lnTo>
                  <a:lnTo>
                    <a:pt x="1509" y="997"/>
                  </a:lnTo>
                  <a:lnTo>
                    <a:pt x="1509" y="997"/>
                  </a:lnTo>
                  <a:lnTo>
                    <a:pt x="1511" y="997"/>
                  </a:lnTo>
                  <a:lnTo>
                    <a:pt x="1511" y="993"/>
                  </a:lnTo>
                  <a:lnTo>
                    <a:pt x="1514" y="993"/>
                  </a:lnTo>
                  <a:lnTo>
                    <a:pt x="1511" y="989"/>
                  </a:lnTo>
                  <a:lnTo>
                    <a:pt x="1511" y="987"/>
                  </a:lnTo>
                  <a:lnTo>
                    <a:pt x="1511" y="989"/>
                  </a:lnTo>
                  <a:lnTo>
                    <a:pt x="1514" y="989"/>
                  </a:lnTo>
                  <a:lnTo>
                    <a:pt x="1514" y="991"/>
                  </a:lnTo>
                  <a:lnTo>
                    <a:pt x="1514" y="993"/>
                  </a:lnTo>
                  <a:lnTo>
                    <a:pt x="1511" y="995"/>
                  </a:lnTo>
                  <a:lnTo>
                    <a:pt x="1511" y="997"/>
                  </a:lnTo>
                  <a:lnTo>
                    <a:pt x="1511" y="995"/>
                  </a:lnTo>
                  <a:lnTo>
                    <a:pt x="1514" y="995"/>
                  </a:lnTo>
                  <a:lnTo>
                    <a:pt x="1514" y="995"/>
                  </a:lnTo>
                  <a:lnTo>
                    <a:pt x="1514" y="995"/>
                  </a:lnTo>
                  <a:lnTo>
                    <a:pt x="1516" y="993"/>
                  </a:lnTo>
                  <a:lnTo>
                    <a:pt x="1518" y="991"/>
                  </a:lnTo>
                  <a:lnTo>
                    <a:pt x="1524" y="989"/>
                  </a:lnTo>
                  <a:lnTo>
                    <a:pt x="1526" y="989"/>
                  </a:lnTo>
                  <a:lnTo>
                    <a:pt x="1526" y="987"/>
                  </a:lnTo>
                  <a:lnTo>
                    <a:pt x="1528" y="987"/>
                  </a:lnTo>
                  <a:lnTo>
                    <a:pt x="1532" y="987"/>
                  </a:lnTo>
                  <a:lnTo>
                    <a:pt x="1534" y="987"/>
                  </a:lnTo>
                  <a:lnTo>
                    <a:pt x="1536" y="987"/>
                  </a:lnTo>
                  <a:lnTo>
                    <a:pt x="1538" y="987"/>
                  </a:lnTo>
                  <a:lnTo>
                    <a:pt x="1540" y="987"/>
                  </a:lnTo>
                  <a:lnTo>
                    <a:pt x="1542" y="987"/>
                  </a:lnTo>
                  <a:lnTo>
                    <a:pt x="1547" y="985"/>
                  </a:lnTo>
                  <a:lnTo>
                    <a:pt x="1549" y="985"/>
                  </a:lnTo>
                  <a:lnTo>
                    <a:pt x="1549" y="981"/>
                  </a:lnTo>
                  <a:lnTo>
                    <a:pt x="1549" y="981"/>
                  </a:lnTo>
                  <a:lnTo>
                    <a:pt x="1549" y="979"/>
                  </a:lnTo>
                  <a:lnTo>
                    <a:pt x="1549" y="979"/>
                  </a:lnTo>
                  <a:lnTo>
                    <a:pt x="1549" y="979"/>
                  </a:lnTo>
                  <a:lnTo>
                    <a:pt x="1549" y="981"/>
                  </a:lnTo>
                  <a:lnTo>
                    <a:pt x="1551" y="981"/>
                  </a:lnTo>
                  <a:lnTo>
                    <a:pt x="1551" y="979"/>
                  </a:lnTo>
                  <a:lnTo>
                    <a:pt x="1553" y="979"/>
                  </a:lnTo>
                  <a:lnTo>
                    <a:pt x="1551" y="981"/>
                  </a:lnTo>
                  <a:lnTo>
                    <a:pt x="1551" y="983"/>
                  </a:lnTo>
                  <a:lnTo>
                    <a:pt x="1551" y="985"/>
                  </a:lnTo>
                  <a:lnTo>
                    <a:pt x="1553" y="983"/>
                  </a:lnTo>
                  <a:lnTo>
                    <a:pt x="1555" y="983"/>
                  </a:lnTo>
                  <a:lnTo>
                    <a:pt x="1559" y="981"/>
                  </a:lnTo>
                  <a:lnTo>
                    <a:pt x="1559" y="981"/>
                  </a:lnTo>
                  <a:lnTo>
                    <a:pt x="1559" y="983"/>
                  </a:lnTo>
                  <a:lnTo>
                    <a:pt x="1559" y="983"/>
                  </a:lnTo>
                  <a:lnTo>
                    <a:pt x="1559" y="983"/>
                  </a:lnTo>
                  <a:lnTo>
                    <a:pt x="1561" y="983"/>
                  </a:lnTo>
                  <a:lnTo>
                    <a:pt x="1563" y="981"/>
                  </a:lnTo>
                  <a:lnTo>
                    <a:pt x="1567" y="981"/>
                  </a:lnTo>
                  <a:lnTo>
                    <a:pt x="1569" y="981"/>
                  </a:lnTo>
                  <a:lnTo>
                    <a:pt x="1569" y="981"/>
                  </a:lnTo>
                  <a:lnTo>
                    <a:pt x="1569" y="981"/>
                  </a:lnTo>
                  <a:lnTo>
                    <a:pt x="1569" y="979"/>
                  </a:lnTo>
                  <a:lnTo>
                    <a:pt x="1569" y="977"/>
                  </a:lnTo>
                  <a:lnTo>
                    <a:pt x="1567" y="975"/>
                  </a:lnTo>
                  <a:lnTo>
                    <a:pt x="1565" y="975"/>
                  </a:lnTo>
                  <a:lnTo>
                    <a:pt x="1565" y="975"/>
                  </a:lnTo>
                  <a:lnTo>
                    <a:pt x="1565" y="975"/>
                  </a:lnTo>
                  <a:lnTo>
                    <a:pt x="1565" y="975"/>
                  </a:lnTo>
                  <a:lnTo>
                    <a:pt x="1565" y="975"/>
                  </a:lnTo>
                  <a:lnTo>
                    <a:pt x="1565" y="975"/>
                  </a:lnTo>
                  <a:lnTo>
                    <a:pt x="1567" y="975"/>
                  </a:lnTo>
                  <a:lnTo>
                    <a:pt x="1567" y="977"/>
                  </a:lnTo>
                  <a:lnTo>
                    <a:pt x="1569" y="977"/>
                  </a:lnTo>
                  <a:lnTo>
                    <a:pt x="1569" y="979"/>
                  </a:lnTo>
                  <a:lnTo>
                    <a:pt x="1567" y="979"/>
                  </a:lnTo>
                  <a:lnTo>
                    <a:pt x="1565" y="981"/>
                  </a:lnTo>
                  <a:lnTo>
                    <a:pt x="1563" y="979"/>
                  </a:lnTo>
                  <a:lnTo>
                    <a:pt x="1561" y="979"/>
                  </a:lnTo>
                  <a:lnTo>
                    <a:pt x="1561" y="977"/>
                  </a:lnTo>
                  <a:lnTo>
                    <a:pt x="1559" y="975"/>
                  </a:lnTo>
                  <a:lnTo>
                    <a:pt x="1559" y="975"/>
                  </a:lnTo>
                  <a:lnTo>
                    <a:pt x="1559" y="975"/>
                  </a:lnTo>
                  <a:lnTo>
                    <a:pt x="1557" y="971"/>
                  </a:lnTo>
                  <a:lnTo>
                    <a:pt x="1557" y="971"/>
                  </a:lnTo>
                  <a:lnTo>
                    <a:pt x="1555" y="971"/>
                  </a:lnTo>
                  <a:lnTo>
                    <a:pt x="1553" y="971"/>
                  </a:lnTo>
                  <a:lnTo>
                    <a:pt x="1555" y="969"/>
                  </a:lnTo>
                  <a:lnTo>
                    <a:pt x="1557" y="966"/>
                  </a:lnTo>
                  <a:lnTo>
                    <a:pt x="1557" y="966"/>
                  </a:lnTo>
                  <a:lnTo>
                    <a:pt x="1557" y="966"/>
                  </a:lnTo>
                  <a:lnTo>
                    <a:pt x="1559" y="964"/>
                  </a:lnTo>
                  <a:lnTo>
                    <a:pt x="1559" y="964"/>
                  </a:lnTo>
                  <a:lnTo>
                    <a:pt x="1559" y="964"/>
                  </a:lnTo>
                  <a:lnTo>
                    <a:pt x="1559" y="964"/>
                  </a:lnTo>
                  <a:lnTo>
                    <a:pt x="1559" y="964"/>
                  </a:lnTo>
                  <a:lnTo>
                    <a:pt x="1559" y="964"/>
                  </a:lnTo>
                  <a:lnTo>
                    <a:pt x="1557" y="964"/>
                  </a:lnTo>
                  <a:lnTo>
                    <a:pt x="1557" y="962"/>
                  </a:lnTo>
                  <a:lnTo>
                    <a:pt x="1557" y="962"/>
                  </a:lnTo>
                  <a:lnTo>
                    <a:pt x="1557" y="962"/>
                  </a:lnTo>
                  <a:lnTo>
                    <a:pt x="1557" y="960"/>
                  </a:lnTo>
                  <a:lnTo>
                    <a:pt x="1557" y="956"/>
                  </a:lnTo>
                  <a:lnTo>
                    <a:pt x="1559" y="956"/>
                  </a:lnTo>
                  <a:lnTo>
                    <a:pt x="1559" y="956"/>
                  </a:lnTo>
                  <a:lnTo>
                    <a:pt x="1561" y="952"/>
                  </a:lnTo>
                  <a:lnTo>
                    <a:pt x="1563" y="950"/>
                  </a:lnTo>
                  <a:lnTo>
                    <a:pt x="1565" y="948"/>
                  </a:lnTo>
                  <a:lnTo>
                    <a:pt x="1565" y="948"/>
                  </a:lnTo>
                  <a:lnTo>
                    <a:pt x="1565" y="946"/>
                  </a:lnTo>
                  <a:lnTo>
                    <a:pt x="1565" y="946"/>
                  </a:lnTo>
                  <a:lnTo>
                    <a:pt x="1567" y="944"/>
                  </a:lnTo>
                  <a:lnTo>
                    <a:pt x="1569" y="944"/>
                  </a:lnTo>
                  <a:lnTo>
                    <a:pt x="1569" y="944"/>
                  </a:lnTo>
                  <a:lnTo>
                    <a:pt x="1569" y="946"/>
                  </a:lnTo>
                  <a:lnTo>
                    <a:pt x="1569" y="944"/>
                  </a:lnTo>
                  <a:lnTo>
                    <a:pt x="1569" y="944"/>
                  </a:lnTo>
                  <a:lnTo>
                    <a:pt x="1571" y="946"/>
                  </a:lnTo>
                  <a:lnTo>
                    <a:pt x="1571" y="946"/>
                  </a:lnTo>
                  <a:lnTo>
                    <a:pt x="1571" y="944"/>
                  </a:lnTo>
                  <a:lnTo>
                    <a:pt x="1571" y="944"/>
                  </a:lnTo>
                  <a:lnTo>
                    <a:pt x="1571" y="942"/>
                  </a:lnTo>
                  <a:lnTo>
                    <a:pt x="1571" y="944"/>
                  </a:lnTo>
                  <a:lnTo>
                    <a:pt x="1571" y="944"/>
                  </a:lnTo>
                  <a:lnTo>
                    <a:pt x="1571" y="944"/>
                  </a:lnTo>
                  <a:lnTo>
                    <a:pt x="1573" y="942"/>
                  </a:lnTo>
                  <a:lnTo>
                    <a:pt x="1573" y="942"/>
                  </a:lnTo>
                  <a:lnTo>
                    <a:pt x="1573" y="942"/>
                  </a:lnTo>
                  <a:lnTo>
                    <a:pt x="1573" y="944"/>
                  </a:lnTo>
                  <a:lnTo>
                    <a:pt x="1573" y="944"/>
                  </a:lnTo>
                  <a:lnTo>
                    <a:pt x="1575" y="942"/>
                  </a:lnTo>
                  <a:lnTo>
                    <a:pt x="1575" y="942"/>
                  </a:lnTo>
                  <a:lnTo>
                    <a:pt x="1575" y="944"/>
                  </a:lnTo>
                  <a:lnTo>
                    <a:pt x="1575" y="944"/>
                  </a:lnTo>
                  <a:lnTo>
                    <a:pt x="1575" y="942"/>
                  </a:lnTo>
                  <a:lnTo>
                    <a:pt x="1577" y="942"/>
                  </a:lnTo>
                  <a:lnTo>
                    <a:pt x="1580" y="942"/>
                  </a:lnTo>
                  <a:lnTo>
                    <a:pt x="1582" y="940"/>
                  </a:lnTo>
                  <a:lnTo>
                    <a:pt x="1582" y="940"/>
                  </a:lnTo>
                  <a:lnTo>
                    <a:pt x="1582" y="938"/>
                  </a:lnTo>
                  <a:lnTo>
                    <a:pt x="1584" y="936"/>
                  </a:lnTo>
                  <a:lnTo>
                    <a:pt x="1584" y="933"/>
                  </a:lnTo>
                  <a:lnTo>
                    <a:pt x="1586" y="933"/>
                  </a:lnTo>
                  <a:lnTo>
                    <a:pt x="1586" y="931"/>
                  </a:lnTo>
                  <a:lnTo>
                    <a:pt x="1586" y="931"/>
                  </a:lnTo>
                  <a:lnTo>
                    <a:pt x="1586" y="931"/>
                  </a:lnTo>
                  <a:lnTo>
                    <a:pt x="1586" y="933"/>
                  </a:lnTo>
                  <a:lnTo>
                    <a:pt x="1586" y="933"/>
                  </a:lnTo>
                  <a:lnTo>
                    <a:pt x="1586" y="933"/>
                  </a:lnTo>
                  <a:lnTo>
                    <a:pt x="1586" y="933"/>
                  </a:lnTo>
                  <a:lnTo>
                    <a:pt x="1586" y="936"/>
                  </a:lnTo>
                  <a:lnTo>
                    <a:pt x="1586" y="936"/>
                  </a:lnTo>
                  <a:lnTo>
                    <a:pt x="1586" y="936"/>
                  </a:lnTo>
                  <a:lnTo>
                    <a:pt x="1588" y="936"/>
                  </a:lnTo>
                  <a:lnTo>
                    <a:pt x="1588" y="936"/>
                  </a:lnTo>
                  <a:lnTo>
                    <a:pt x="1590" y="938"/>
                  </a:lnTo>
                  <a:lnTo>
                    <a:pt x="1590" y="936"/>
                  </a:lnTo>
                  <a:lnTo>
                    <a:pt x="1590" y="936"/>
                  </a:lnTo>
                  <a:lnTo>
                    <a:pt x="1590" y="933"/>
                  </a:lnTo>
                  <a:lnTo>
                    <a:pt x="1590" y="931"/>
                  </a:lnTo>
                  <a:lnTo>
                    <a:pt x="1592" y="933"/>
                  </a:lnTo>
                  <a:lnTo>
                    <a:pt x="1592" y="933"/>
                  </a:lnTo>
                  <a:lnTo>
                    <a:pt x="1592" y="933"/>
                  </a:lnTo>
                  <a:lnTo>
                    <a:pt x="1592" y="931"/>
                  </a:lnTo>
                  <a:lnTo>
                    <a:pt x="1594" y="931"/>
                  </a:lnTo>
                  <a:lnTo>
                    <a:pt x="1594" y="931"/>
                  </a:lnTo>
                  <a:lnTo>
                    <a:pt x="1594" y="933"/>
                  </a:lnTo>
                  <a:lnTo>
                    <a:pt x="1596" y="933"/>
                  </a:lnTo>
                  <a:lnTo>
                    <a:pt x="1596" y="933"/>
                  </a:lnTo>
                  <a:lnTo>
                    <a:pt x="1596" y="936"/>
                  </a:lnTo>
                  <a:lnTo>
                    <a:pt x="1596" y="933"/>
                  </a:lnTo>
                  <a:lnTo>
                    <a:pt x="1596" y="933"/>
                  </a:lnTo>
                  <a:lnTo>
                    <a:pt x="1598" y="933"/>
                  </a:lnTo>
                  <a:lnTo>
                    <a:pt x="1598" y="933"/>
                  </a:lnTo>
                  <a:lnTo>
                    <a:pt x="1598" y="931"/>
                  </a:lnTo>
                  <a:lnTo>
                    <a:pt x="1600" y="931"/>
                  </a:lnTo>
                  <a:lnTo>
                    <a:pt x="1600" y="931"/>
                  </a:lnTo>
                  <a:lnTo>
                    <a:pt x="1602" y="931"/>
                  </a:lnTo>
                  <a:lnTo>
                    <a:pt x="1602" y="931"/>
                  </a:lnTo>
                  <a:lnTo>
                    <a:pt x="1602" y="929"/>
                  </a:lnTo>
                  <a:lnTo>
                    <a:pt x="1604" y="929"/>
                  </a:lnTo>
                  <a:lnTo>
                    <a:pt x="1606" y="929"/>
                  </a:lnTo>
                  <a:lnTo>
                    <a:pt x="1608" y="929"/>
                  </a:lnTo>
                  <a:lnTo>
                    <a:pt x="1610" y="927"/>
                  </a:lnTo>
                  <a:lnTo>
                    <a:pt x="1610" y="927"/>
                  </a:lnTo>
                  <a:lnTo>
                    <a:pt x="1610" y="925"/>
                  </a:lnTo>
                  <a:lnTo>
                    <a:pt x="1610" y="925"/>
                  </a:lnTo>
                  <a:lnTo>
                    <a:pt x="1610" y="925"/>
                  </a:lnTo>
                  <a:lnTo>
                    <a:pt x="1610" y="923"/>
                  </a:lnTo>
                  <a:lnTo>
                    <a:pt x="1610" y="923"/>
                  </a:lnTo>
                  <a:lnTo>
                    <a:pt x="1608" y="921"/>
                  </a:lnTo>
                  <a:lnTo>
                    <a:pt x="1608" y="921"/>
                  </a:lnTo>
                  <a:lnTo>
                    <a:pt x="1610" y="921"/>
                  </a:lnTo>
                  <a:lnTo>
                    <a:pt x="1610" y="921"/>
                  </a:lnTo>
                  <a:lnTo>
                    <a:pt x="1613" y="921"/>
                  </a:lnTo>
                  <a:lnTo>
                    <a:pt x="1613" y="921"/>
                  </a:lnTo>
                  <a:lnTo>
                    <a:pt x="1613" y="923"/>
                  </a:lnTo>
                  <a:lnTo>
                    <a:pt x="1615" y="923"/>
                  </a:lnTo>
                  <a:lnTo>
                    <a:pt x="1619" y="921"/>
                  </a:lnTo>
                  <a:lnTo>
                    <a:pt x="1619" y="923"/>
                  </a:lnTo>
                  <a:lnTo>
                    <a:pt x="1621" y="921"/>
                  </a:lnTo>
                  <a:lnTo>
                    <a:pt x="1621" y="921"/>
                  </a:lnTo>
                  <a:lnTo>
                    <a:pt x="1623" y="919"/>
                  </a:lnTo>
                  <a:lnTo>
                    <a:pt x="1623" y="919"/>
                  </a:lnTo>
                  <a:lnTo>
                    <a:pt x="1623" y="917"/>
                  </a:lnTo>
                  <a:lnTo>
                    <a:pt x="1625" y="917"/>
                  </a:lnTo>
                  <a:lnTo>
                    <a:pt x="1625" y="917"/>
                  </a:lnTo>
                  <a:lnTo>
                    <a:pt x="1625" y="917"/>
                  </a:lnTo>
                  <a:lnTo>
                    <a:pt x="1625" y="917"/>
                  </a:lnTo>
                  <a:lnTo>
                    <a:pt x="1623" y="919"/>
                  </a:lnTo>
                  <a:lnTo>
                    <a:pt x="1627" y="919"/>
                  </a:lnTo>
                  <a:lnTo>
                    <a:pt x="1627" y="919"/>
                  </a:lnTo>
                  <a:lnTo>
                    <a:pt x="1631" y="917"/>
                  </a:lnTo>
                  <a:lnTo>
                    <a:pt x="1635" y="915"/>
                  </a:lnTo>
                  <a:lnTo>
                    <a:pt x="1639" y="915"/>
                  </a:lnTo>
                  <a:lnTo>
                    <a:pt x="1641" y="913"/>
                  </a:lnTo>
                  <a:lnTo>
                    <a:pt x="1643" y="913"/>
                  </a:lnTo>
                  <a:lnTo>
                    <a:pt x="1646" y="909"/>
                  </a:lnTo>
                  <a:lnTo>
                    <a:pt x="1646" y="909"/>
                  </a:lnTo>
                  <a:lnTo>
                    <a:pt x="1646" y="907"/>
                  </a:lnTo>
                  <a:lnTo>
                    <a:pt x="1646" y="909"/>
                  </a:lnTo>
                  <a:lnTo>
                    <a:pt x="1648" y="909"/>
                  </a:lnTo>
                  <a:lnTo>
                    <a:pt x="1648" y="909"/>
                  </a:lnTo>
                  <a:lnTo>
                    <a:pt x="1650" y="909"/>
                  </a:lnTo>
                  <a:lnTo>
                    <a:pt x="1650" y="911"/>
                  </a:lnTo>
                  <a:lnTo>
                    <a:pt x="1648" y="911"/>
                  </a:lnTo>
                  <a:lnTo>
                    <a:pt x="1646" y="913"/>
                  </a:lnTo>
                  <a:lnTo>
                    <a:pt x="1641" y="915"/>
                  </a:lnTo>
                  <a:lnTo>
                    <a:pt x="1641" y="917"/>
                  </a:lnTo>
                  <a:lnTo>
                    <a:pt x="1641" y="917"/>
                  </a:lnTo>
                  <a:lnTo>
                    <a:pt x="1641" y="917"/>
                  </a:lnTo>
                  <a:lnTo>
                    <a:pt x="1643" y="919"/>
                  </a:lnTo>
                  <a:lnTo>
                    <a:pt x="1643" y="917"/>
                  </a:lnTo>
                  <a:lnTo>
                    <a:pt x="1646" y="917"/>
                  </a:lnTo>
                  <a:lnTo>
                    <a:pt x="1650" y="917"/>
                  </a:lnTo>
                  <a:lnTo>
                    <a:pt x="1652" y="917"/>
                  </a:lnTo>
                  <a:lnTo>
                    <a:pt x="1656" y="917"/>
                  </a:lnTo>
                  <a:lnTo>
                    <a:pt x="1660" y="917"/>
                  </a:lnTo>
                  <a:lnTo>
                    <a:pt x="1662" y="917"/>
                  </a:lnTo>
                  <a:lnTo>
                    <a:pt x="1662" y="919"/>
                  </a:lnTo>
                  <a:lnTo>
                    <a:pt x="1658" y="919"/>
                  </a:lnTo>
                  <a:lnTo>
                    <a:pt x="1652" y="919"/>
                  </a:lnTo>
                  <a:lnTo>
                    <a:pt x="1652" y="921"/>
                  </a:lnTo>
                  <a:lnTo>
                    <a:pt x="1652" y="923"/>
                  </a:lnTo>
                  <a:lnTo>
                    <a:pt x="1650" y="921"/>
                  </a:lnTo>
                  <a:lnTo>
                    <a:pt x="1650" y="921"/>
                  </a:lnTo>
                  <a:lnTo>
                    <a:pt x="1650" y="921"/>
                  </a:lnTo>
                  <a:lnTo>
                    <a:pt x="1650" y="919"/>
                  </a:lnTo>
                  <a:lnTo>
                    <a:pt x="1650" y="919"/>
                  </a:lnTo>
                  <a:lnTo>
                    <a:pt x="1650" y="919"/>
                  </a:lnTo>
                  <a:lnTo>
                    <a:pt x="1648" y="917"/>
                  </a:lnTo>
                  <a:lnTo>
                    <a:pt x="1648" y="919"/>
                  </a:lnTo>
                  <a:lnTo>
                    <a:pt x="1648" y="919"/>
                  </a:lnTo>
                  <a:lnTo>
                    <a:pt x="1643" y="921"/>
                  </a:lnTo>
                  <a:lnTo>
                    <a:pt x="1641" y="921"/>
                  </a:lnTo>
                  <a:lnTo>
                    <a:pt x="1631" y="927"/>
                  </a:lnTo>
                  <a:lnTo>
                    <a:pt x="1629" y="929"/>
                  </a:lnTo>
                  <a:lnTo>
                    <a:pt x="1629" y="929"/>
                  </a:lnTo>
                  <a:lnTo>
                    <a:pt x="1631" y="929"/>
                  </a:lnTo>
                  <a:lnTo>
                    <a:pt x="1633" y="927"/>
                  </a:lnTo>
                  <a:lnTo>
                    <a:pt x="1633" y="929"/>
                  </a:lnTo>
                  <a:lnTo>
                    <a:pt x="1631" y="929"/>
                  </a:lnTo>
                  <a:lnTo>
                    <a:pt x="1629" y="929"/>
                  </a:lnTo>
                  <a:lnTo>
                    <a:pt x="1629" y="929"/>
                  </a:lnTo>
                  <a:lnTo>
                    <a:pt x="1627" y="931"/>
                  </a:lnTo>
                  <a:lnTo>
                    <a:pt x="1625" y="931"/>
                  </a:lnTo>
                  <a:lnTo>
                    <a:pt x="1625" y="933"/>
                  </a:lnTo>
                  <a:lnTo>
                    <a:pt x="1623" y="933"/>
                  </a:lnTo>
                  <a:lnTo>
                    <a:pt x="1623" y="933"/>
                  </a:lnTo>
                  <a:lnTo>
                    <a:pt x="1627" y="931"/>
                  </a:lnTo>
                  <a:lnTo>
                    <a:pt x="1627" y="931"/>
                  </a:lnTo>
                  <a:lnTo>
                    <a:pt x="1625" y="936"/>
                  </a:lnTo>
                  <a:lnTo>
                    <a:pt x="1623" y="940"/>
                  </a:lnTo>
                  <a:lnTo>
                    <a:pt x="1623" y="940"/>
                  </a:lnTo>
                  <a:lnTo>
                    <a:pt x="1623" y="944"/>
                  </a:lnTo>
                  <a:lnTo>
                    <a:pt x="1625" y="946"/>
                  </a:lnTo>
                  <a:lnTo>
                    <a:pt x="1625" y="946"/>
                  </a:lnTo>
                  <a:lnTo>
                    <a:pt x="1625" y="944"/>
                  </a:lnTo>
                  <a:lnTo>
                    <a:pt x="1627" y="944"/>
                  </a:lnTo>
                  <a:lnTo>
                    <a:pt x="1627" y="946"/>
                  </a:lnTo>
                  <a:lnTo>
                    <a:pt x="1629" y="948"/>
                  </a:lnTo>
                  <a:lnTo>
                    <a:pt x="1631" y="950"/>
                  </a:lnTo>
                  <a:lnTo>
                    <a:pt x="1631" y="948"/>
                  </a:lnTo>
                  <a:lnTo>
                    <a:pt x="1633" y="950"/>
                  </a:lnTo>
                  <a:lnTo>
                    <a:pt x="1633" y="950"/>
                  </a:lnTo>
                  <a:lnTo>
                    <a:pt x="1633" y="948"/>
                  </a:lnTo>
                  <a:lnTo>
                    <a:pt x="1633" y="948"/>
                  </a:lnTo>
                  <a:lnTo>
                    <a:pt x="1635" y="950"/>
                  </a:lnTo>
                  <a:lnTo>
                    <a:pt x="1635" y="948"/>
                  </a:lnTo>
                  <a:lnTo>
                    <a:pt x="1637" y="946"/>
                  </a:lnTo>
                  <a:lnTo>
                    <a:pt x="1637" y="946"/>
                  </a:lnTo>
                  <a:lnTo>
                    <a:pt x="1639" y="946"/>
                  </a:lnTo>
                  <a:lnTo>
                    <a:pt x="1641" y="944"/>
                  </a:lnTo>
                  <a:lnTo>
                    <a:pt x="1641" y="942"/>
                  </a:lnTo>
                  <a:lnTo>
                    <a:pt x="1643" y="942"/>
                  </a:lnTo>
                  <a:lnTo>
                    <a:pt x="1646" y="940"/>
                  </a:lnTo>
                  <a:lnTo>
                    <a:pt x="1648" y="938"/>
                  </a:lnTo>
                  <a:lnTo>
                    <a:pt x="1648" y="936"/>
                  </a:lnTo>
                  <a:lnTo>
                    <a:pt x="1650" y="936"/>
                  </a:lnTo>
                  <a:lnTo>
                    <a:pt x="1650" y="936"/>
                  </a:lnTo>
                  <a:lnTo>
                    <a:pt x="1650" y="933"/>
                  </a:lnTo>
                  <a:lnTo>
                    <a:pt x="1650" y="933"/>
                  </a:lnTo>
                  <a:lnTo>
                    <a:pt x="1650" y="931"/>
                  </a:lnTo>
                  <a:lnTo>
                    <a:pt x="1652" y="931"/>
                  </a:lnTo>
                  <a:lnTo>
                    <a:pt x="1652" y="933"/>
                  </a:lnTo>
                  <a:lnTo>
                    <a:pt x="1654" y="931"/>
                  </a:lnTo>
                  <a:lnTo>
                    <a:pt x="1654" y="931"/>
                  </a:lnTo>
                  <a:lnTo>
                    <a:pt x="1654" y="929"/>
                  </a:lnTo>
                  <a:lnTo>
                    <a:pt x="1656" y="931"/>
                  </a:lnTo>
                  <a:lnTo>
                    <a:pt x="1656" y="931"/>
                  </a:lnTo>
                  <a:lnTo>
                    <a:pt x="1656" y="931"/>
                  </a:lnTo>
                  <a:lnTo>
                    <a:pt x="1658" y="933"/>
                  </a:lnTo>
                  <a:lnTo>
                    <a:pt x="1660" y="933"/>
                  </a:lnTo>
                  <a:lnTo>
                    <a:pt x="1660" y="931"/>
                  </a:lnTo>
                  <a:lnTo>
                    <a:pt x="1660" y="931"/>
                  </a:lnTo>
                  <a:lnTo>
                    <a:pt x="1660" y="931"/>
                  </a:lnTo>
                  <a:lnTo>
                    <a:pt x="1660" y="929"/>
                  </a:lnTo>
                  <a:lnTo>
                    <a:pt x="1660" y="929"/>
                  </a:lnTo>
                  <a:lnTo>
                    <a:pt x="1662" y="929"/>
                  </a:lnTo>
                  <a:lnTo>
                    <a:pt x="1662" y="929"/>
                  </a:lnTo>
                  <a:lnTo>
                    <a:pt x="1664" y="929"/>
                  </a:lnTo>
                  <a:lnTo>
                    <a:pt x="1666" y="929"/>
                  </a:lnTo>
                  <a:lnTo>
                    <a:pt x="1666" y="929"/>
                  </a:lnTo>
                  <a:lnTo>
                    <a:pt x="1668" y="929"/>
                  </a:lnTo>
                  <a:lnTo>
                    <a:pt x="1672" y="927"/>
                  </a:lnTo>
                  <a:lnTo>
                    <a:pt x="1674" y="927"/>
                  </a:lnTo>
                  <a:lnTo>
                    <a:pt x="1679" y="925"/>
                  </a:lnTo>
                  <a:lnTo>
                    <a:pt x="1683" y="923"/>
                  </a:lnTo>
                  <a:lnTo>
                    <a:pt x="1685" y="923"/>
                  </a:lnTo>
                  <a:lnTo>
                    <a:pt x="1687" y="923"/>
                  </a:lnTo>
                  <a:lnTo>
                    <a:pt x="1687" y="921"/>
                  </a:lnTo>
                  <a:lnTo>
                    <a:pt x="1689" y="921"/>
                  </a:lnTo>
                  <a:lnTo>
                    <a:pt x="1689" y="921"/>
                  </a:lnTo>
                  <a:lnTo>
                    <a:pt x="1691" y="921"/>
                  </a:lnTo>
                  <a:lnTo>
                    <a:pt x="1693" y="919"/>
                  </a:lnTo>
                  <a:lnTo>
                    <a:pt x="1695" y="919"/>
                  </a:lnTo>
                  <a:lnTo>
                    <a:pt x="1695" y="919"/>
                  </a:lnTo>
                  <a:lnTo>
                    <a:pt x="1695" y="919"/>
                  </a:lnTo>
                  <a:lnTo>
                    <a:pt x="1697" y="919"/>
                  </a:lnTo>
                  <a:lnTo>
                    <a:pt x="1695" y="919"/>
                  </a:lnTo>
                  <a:lnTo>
                    <a:pt x="1695" y="917"/>
                  </a:lnTo>
                  <a:lnTo>
                    <a:pt x="1691" y="917"/>
                  </a:lnTo>
                  <a:lnTo>
                    <a:pt x="1691" y="917"/>
                  </a:lnTo>
                  <a:lnTo>
                    <a:pt x="1693" y="917"/>
                  </a:lnTo>
                  <a:lnTo>
                    <a:pt x="1693" y="915"/>
                  </a:lnTo>
                  <a:lnTo>
                    <a:pt x="1691" y="913"/>
                  </a:lnTo>
                  <a:lnTo>
                    <a:pt x="1691" y="913"/>
                  </a:lnTo>
                  <a:lnTo>
                    <a:pt x="1689" y="911"/>
                  </a:lnTo>
                  <a:lnTo>
                    <a:pt x="1687" y="913"/>
                  </a:lnTo>
                  <a:lnTo>
                    <a:pt x="1685" y="913"/>
                  </a:lnTo>
                  <a:lnTo>
                    <a:pt x="1685" y="911"/>
                  </a:lnTo>
                  <a:lnTo>
                    <a:pt x="1683" y="911"/>
                  </a:lnTo>
                  <a:lnTo>
                    <a:pt x="1683" y="909"/>
                  </a:lnTo>
                  <a:lnTo>
                    <a:pt x="1683" y="909"/>
                  </a:lnTo>
                  <a:lnTo>
                    <a:pt x="1679" y="911"/>
                  </a:lnTo>
                  <a:lnTo>
                    <a:pt x="1676" y="913"/>
                  </a:lnTo>
                  <a:lnTo>
                    <a:pt x="1676" y="913"/>
                  </a:lnTo>
                  <a:lnTo>
                    <a:pt x="1676" y="913"/>
                  </a:lnTo>
                  <a:lnTo>
                    <a:pt x="1674" y="913"/>
                  </a:lnTo>
                  <a:lnTo>
                    <a:pt x="1672" y="913"/>
                  </a:lnTo>
                  <a:lnTo>
                    <a:pt x="1672" y="911"/>
                  </a:lnTo>
                  <a:lnTo>
                    <a:pt x="1672" y="911"/>
                  </a:lnTo>
                  <a:lnTo>
                    <a:pt x="1670" y="911"/>
                  </a:lnTo>
                  <a:lnTo>
                    <a:pt x="1666" y="911"/>
                  </a:lnTo>
                  <a:lnTo>
                    <a:pt x="1664" y="911"/>
                  </a:lnTo>
                  <a:lnTo>
                    <a:pt x="1664" y="911"/>
                  </a:lnTo>
                  <a:lnTo>
                    <a:pt x="1664" y="911"/>
                  </a:lnTo>
                  <a:lnTo>
                    <a:pt x="1662" y="909"/>
                  </a:lnTo>
                  <a:lnTo>
                    <a:pt x="1660" y="909"/>
                  </a:lnTo>
                  <a:lnTo>
                    <a:pt x="1660" y="909"/>
                  </a:lnTo>
                  <a:lnTo>
                    <a:pt x="1658" y="909"/>
                  </a:lnTo>
                  <a:lnTo>
                    <a:pt x="1656" y="907"/>
                  </a:lnTo>
                  <a:lnTo>
                    <a:pt x="1654" y="907"/>
                  </a:lnTo>
                  <a:lnTo>
                    <a:pt x="1656" y="905"/>
                  </a:lnTo>
                  <a:lnTo>
                    <a:pt x="1656" y="905"/>
                  </a:lnTo>
                  <a:lnTo>
                    <a:pt x="1656" y="902"/>
                  </a:lnTo>
                  <a:lnTo>
                    <a:pt x="1652" y="902"/>
                  </a:lnTo>
                  <a:lnTo>
                    <a:pt x="1652" y="902"/>
                  </a:lnTo>
                  <a:lnTo>
                    <a:pt x="1646" y="902"/>
                  </a:lnTo>
                  <a:lnTo>
                    <a:pt x="1646" y="900"/>
                  </a:lnTo>
                  <a:lnTo>
                    <a:pt x="1646" y="900"/>
                  </a:lnTo>
                  <a:lnTo>
                    <a:pt x="1646" y="898"/>
                  </a:lnTo>
                  <a:lnTo>
                    <a:pt x="1643" y="896"/>
                  </a:lnTo>
                  <a:lnTo>
                    <a:pt x="1643" y="894"/>
                  </a:lnTo>
                  <a:lnTo>
                    <a:pt x="1641" y="894"/>
                  </a:lnTo>
                  <a:lnTo>
                    <a:pt x="1641" y="892"/>
                  </a:lnTo>
                  <a:lnTo>
                    <a:pt x="1641" y="890"/>
                  </a:lnTo>
                  <a:lnTo>
                    <a:pt x="1641" y="890"/>
                  </a:lnTo>
                  <a:lnTo>
                    <a:pt x="1641" y="888"/>
                  </a:lnTo>
                  <a:lnTo>
                    <a:pt x="1641" y="886"/>
                  </a:lnTo>
                  <a:lnTo>
                    <a:pt x="1639" y="886"/>
                  </a:lnTo>
                  <a:lnTo>
                    <a:pt x="1637" y="888"/>
                  </a:lnTo>
                  <a:lnTo>
                    <a:pt x="1635" y="888"/>
                  </a:lnTo>
                  <a:lnTo>
                    <a:pt x="1635" y="886"/>
                  </a:lnTo>
                  <a:lnTo>
                    <a:pt x="1639" y="884"/>
                  </a:lnTo>
                  <a:lnTo>
                    <a:pt x="1641" y="882"/>
                  </a:lnTo>
                  <a:lnTo>
                    <a:pt x="1641" y="878"/>
                  </a:lnTo>
                  <a:lnTo>
                    <a:pt x="1643" y="876"/>
                  </a:lnTo>
                  <a:lnTo>
                    <a:pt x="1643" y="876"/>
                  </a:lnTo>
                  <a:lnTo>
                    <a:pt x="1641" y="874"/>
                  </a:lnTo>
                  <a:lnTo>
                    <a:pt x="1639" y="874"/>
                  </a:lnTo>
                  <a:lnTo>
                    <a:pt x="1639" y="874"/>
                  </a:lnTo>
                  <a:lnTo>
                    <a:pt x="1637" y="874"/>
                  </a:lnTo>
                  <a:lnTo>
                    <a:pt x="1635" y="876"/>
                  </a:lnTo>
                  <a:lnTo>
                    <a:pt x="1633" y="876"/>
                  </a:lnTo>
                  <a:lnTo>
                    <a:pt x="1631" y="876"/>
                  </a:lnTo>
                  <a:lnTo>
                    <a:pt x="1631" y="876"/>
                  </a:lnTo>
                  <a:lnTo>
                    <a:pt x="1629" y="874"/>
                  </a:lnTo>
                  <a:lnTo>
                    <a:pt x="1627" y="872"/>
                  </a:lnTo>
                  <a:lnTo>
                    <a:pt x="1623" y="872"/>
                  </a:lnTo>
                  <a:lnTo>
                    <a:pt x="1621" y="869"/>
                  </a:lnTo>
                  <a:lnTo>
                    <a:pt x="1619" y="869"/>
                  </a:lnTo>
                  <a:lnTo>
                    <a:pt x="1617" y="869"/>
                  </a:lnTo>
                  <a:lnTo>
                    <a:pt x="1615" y="869"/>
                  </a:lnTo>
                  <a:lnTo>
                    <a:pt x="1619" y="867"/>
                  </a:lnTo>
                  <a:lnTo>
                    <a:pt x="1621" y="869"/>
                  </a:lnTo>
                  <a:lnTo>
                    <a:pt x="1621" y="869"/>
                  </a:lnTo>
                  <a:lnTo>
                    <a:pt x="1625" y="869"/>
                  </a:lnTo>
                  <a:lnTo>
                    <a:pt x="1625" y="867"/>
                  </a:lnTo>
                  <a:lnTo>
                    <a:pt x="1627" y="867"/>
                  </a:lnTo>
                  <a:lnTo>
                    <a:pt x="1629" y="869"/>
                  </a:lnTo>
                  <a:lnTo>
                    <a:pt x="1633" y="869"/>
                  </a:lnTo>
                  <a:lnTo>
                    <a:pt x="1635" y="869"/>
                  </a:lnTo>
                  <a:lnTo>
                    <a:pt x="1635" y="869"/>
                  </a:lnTo>
                  <a:lnTo>
                    <a:pt x="1639" y="869"/>
                  </a:lnTo>
                  <a:lnTo>
                    <a:pt x="1639" y="867"/>
                  </a:lnTo>
                  <a:lnTo>
                    <a:pt x="1641" y="867"/>
                  </a:lnTo>
                  <a:lnTo>
                    <a:pt x="1643" y="867"/>
                  </a:lnTo>
                  <a:lnTo>
                    <a:pt x="1643" y="865"/>
                  </a:lnTo>
                  <a:lnTo>
                    <a:pt x="1646" y="863"/>
                  </a:lnTo>
                  <a:lnTo>
                    <a:pt x="1650" y="863"/>
                  </a:lnTo>
                  <a:lnTo>
                    <a:pt x="1650" y="861"/>
                  </a:lnTo>
                  <a:lnTo>
                    <a:pt x="1650" y="857"/>
                  </a:lnTo>
                  <a:lnTo>
                    <a:pt x="1648" y="855"/>
                  </a:lnTo>
                  <a:lnTo>
                    <a:pt x="1646" y="855"/>
                  </a:lnTo>
                  <a:lnTo>
                    <a:pt x="1648" y="855"/>
                  </a:lnTo>
                  <a:lnTo>
                    <a:pt x="1652" y="855"/>
                  </a:lnTo>
                  <a:lnTo>
                    <a:pt x="1652" y="855"/>
                  </a:lnTo>
                  <a:lnTo>
                    <a:pt x="1650" y="853"/>
                  </a:lnTo>
                  <a:lnTo>
                    <a:pt x="1646" y="851"/>
                  </a:lnTo>
                  <a:lnTo>
                    <a:pt x="1641" y="849"/>
                  </a:lnTo>
                  <a:lnTo>
                    <a:pt x="1633" y="847"/>
                  </a:lnTo>
                  <a:lnTo>
                    <a:pt x="1633" y="847"/>
                  </a:lnTo>
                  <a:lnTo>
                    <a:pt x="1627" y="849"/>
                  </a:lnTo>
                  <a:lnTo>
                    <a:pt x="1623" y="849"/>
                  </a:lnTo>
                  <a:lnTo>
                    <a:pt x="1617" y="851"/>
                  </a:lnTo>
                  <a:lnTo>
                    <a:pt x="1608" y="853"/>
                  </a:lnTo>
                  <a:lnTo>
                    <a:pt x="1602" y="855"/>
                  </a:lnTo>
                  <a:lnTo>
                    <a:pt x="1598" y="857"/>
                  </a:lnTo>
                  <a:lnTo>
                    <a:pt x="1594" y="859"/>
                  </a:lnTo>
                  <a:lnTo>
                    <a:pt x="1590" y="861"/>
                  </a:lnTo>
                  <a:lnTo>
                    <a:pt x="1590" y="863"/>
                  </a:lnTo>
                  <a:lnTo>
                    <a:pt x="1586" y="863"/>
                  </a:lnTo>
                  <a:lnTo>
                    <a:pt x="1586" y="863"/>
                  </a:lnTo>
                  <a:lnTo>
                    <a:pt x="1584" y="865"/>
                  </a:lnTo>
                  <a:lnTo>
                    <a:pt x="1577" y="869"/>
                  </a:lnTo>
                  <a:lnTo>
                    <a:pt x="1575" y="872"/>
                  </a:lnTo>
                  <a:lnTo>
                    <a:pt x="1573" y="874"/>
                  </a:lnTo>
                  <a:lnTo>
                    <a:pt x="1571" y="878"/>
                  </a:lnTo>
                  <a:lnTo>
                    <a:pt x="1567" y="880"/>
                  </a:lnTo>
                  <a:lnTo>
                    <a:pt x="1567" y="882"/>
                  </a:lnTo>
                  <a:lnTo>
                    <a:pt x="1565" y="884"/>
                  </a:lnTo>
                  <a:lnTo>
                    <a:pt x="1563" y="886"/>
                  </a:lnTo>
                  <a:lnTo>
                    <a:pt x="1561" y="888"/>
                  </a:lnTo>
                  <a:lnTo>
                    <a:pt x="1555" y="890"/>
                  </a:lnTo>
                  <a:lnTo>
                    <a:pt x="1553" y="892"/>
                  </a:lnTo>
                  <a:lnTo>
                    <a:pt x="1551" y="892"/>
                  </a:lnTo>
                  <a:lnTo>
                    <a:pt x="1549" y="894"/>
                  </a:lnTo>
                  <a:lnTo>
                    <a:pt x="1544" y="894"/>
                  </a:lnTo>
                  <a:lnTo>
                    <a:pt x="1540" y="894"/>
                  </a:lnTo>
                  <a:lnTo>
                    <a:pt x="1538" y="896"/>
                  </a:lnTo>
                  <a:lnTo>
                    <a:pt x="1536" y="896"/>
                  </a:lnTo>
                  <a:lnTo>
                    <a:pt x="1536" y="898"/>
                  </a:lnTo>
                  <a:lnTo>
                    <a:pt x="1534" y="898"/>
                  </a:lnTo>
                  <a:lnTo>
                    <a:pt x="1532" y="900"/>
                  </a:lnTo>
                  <a:lnTo>
                    <a:pt x="1530" y="902"/>
                  </a:lnTo>
                  <a:lnTo>
                    <a:pt x="1526" y="905"/>
                  </a:lnTo>
                  <a:lnTo>
                    <a:pt x="1524" y="907"/>
                  </a:lnTo>
                  <a:lnTo>
                    <a:pt x="1522" y="909"/>
                  </a:lnTo>
                  <a:lnTo>
                    <a:pt x="1520" y="911"/>
                  </a:lnTo>
                  <a:lnTo>
                    <a:pt x="1520" y="913"/>
                  </a:lnTo>
                  <a:lnTo>
                    <a:pt x="1518" y="913"/>
                  </a:lnTo>
                  <a:lnTo>
                    <a:pt x="1518" y="915"/>
                  </a:lnTo>
                  <a:lnTo>
                    <a:pt x="1518" y="917"/>
                  </a:lnTo>
                  <a:lnTo>
                    <a:pt x="1516" y="917"/>
                  </a:lnTo>
                  <a:lnTo>
                    <a:pt x="1511" y="919"/>
                  </a:lnTo>
                  <a:lnTo>
                    <a:pt x="1507" y="921"/>
                  </a:lnTo>
                  <a:lnTo>
                    <a:pt x="1503" y="923"/>
                  </a:lnTo>
                  <a:lnTo>
                    <a:pt x="1501" y="923"/>
                  </a:lnTo>
                  <a:lnTo>
                    <a:pt x="1505" y="921"/>
                  </a:lnTo>
                  <a:lnTo>
                    <a:pt x="1509" y="919"/>
                  </a:lnTo>
                  <a:lnTo>
                    <a:pt x="1511" y="917"/>
                  </a:lnTo>
                  <a:lnTo>
                    <a:pt x="1511" y="917"/>
                  </a:lnTo>
                  <a:lnTo>
                    <a:pt x="1507" y="915"/>
                  </a:lnTo>
                  <a:lnTo>
                    <a:pt x="1507" y="915"/>
                  </a:lnTo>
                  <a:lnTo>
                    <a:pt x="1511" y="915"/>
                  </a:lnTo>
                  <a:lnTo>
                    <a:pt x="1514" y="915"/>
                  </a:lnTo>
                  <a:lnTo>
                    <a:pt x="1514" y="913"/>
                  </a:lnTo>
                  <a:lnTo>
                    <a:pt x="1516" y="911"/>
                  </a:lnTo>
                  <a:lnTo>
                    <a:pt x="1520" y="911"/>
                  </a:lnTo>
                  <a:lnTo>
                    <a:pt x="1522" y="909"/>
                  </a:lnTo>
                  <a:lnTo>
                    <a:pt x="1524" y="907"/>
                  </a:lnTo>
                  <a:lnTo>
                    <a:pt x="1524" y="905"/>
                  </a:lnTo>
                  <a:lnTo>
                    <a:pt x="1526" y="905"/>
                  </a:lnTo>
                  <a:lnTo>
                    <a:pt x="1526" y="902"/>
                  </a:lnTo>
                  <a:lnTo>
                    <a:pt x="1528" y="902"/>
                  </a:lnTo>
                  <a:lnTo>
                    <a:pt x="1530" y="900"/>
                  </a:lnTo>
                  <a:lnTo>
                    <a:pt x="1536" y="898"/>
                  </a:lnTo>
                  <a:lnTo>
                    <a:pt x="1536" y="896"/>
                  </a:lnTo>
                  <a:lnTo>
                    <a:pt x="1540" y="896"/>
                  </a:lnTo>
                  <a:lnTo>
                    <a:pt x="1542" y="894"/>
                  </a:lnTo>
                  <a:lnTo>
                    <a:pt x="1542" y="894"/>
                  </a:lnTo>
                  <a:lnTo>
                    <a:pt x="1544" y="894"/>
                  </a:lnTo>
                  <a:lnTo>
                    <a:pt x="1551" y="892"/>
                  </a:lnTo>
                  <a:lnTo>
                    <a:pt x="1553" y="890"/>
                  </a:lnTo>
                  <a:lnTo>
                    <a:pt x="1555" y="888"/>
                  </a:lnTo>
                  <a:lnTo>
                    <a:pt x="1559" y="886"/>
                  </a:lnTo>
                  <a:lnTo>
                    <a:pt x="1561" y="882"/>
                  </a:lnTo>
                  <a:lnTo>
                    <a:pt x="1563" y="880"/>
                  </a:lnTo>
                  <a:lnTo>
                    <a:pt x="1569" y="876"/>
                  </a:lnTo>
                  <a:lnTo>
                    <a:pt x="1569" y="874"/>
                  </a:lnTo>
                  <a:lnTo>
                    <a:pt x="1571" y="872"/>
                  </a:lnTo>
                  <a:lnTo>
                    <a:pt x="1571" y="869"/>
                  </a:lnTo>
                  <a:lnTo>
                    <a:pt x="1569" y="867"/>
                  </a:lnTo>
                  <a:lnTo>
                    <a:pt x="1569" y="867"/>
                  </a:lnTo>
                  <a:lnTo>
                    <a:pt x="1567" y="865"/>
                  </a:lnTo>
                  <a:lnTo>
                    <a:pt x="1561" y="863"/>
                  </a:lnTo>
                  <a:lnTo>
                    <a:pt x="1559" y="863"/>
                  </a:lnTo>
                  <a:lnTo>
                    <a:pt x="1557" y="863"/>
                  </a:lnTo>
                  <a:lnTo>
                    <a:pt x="1555" y="863"/>
                  </a:lnTo>
                  <a:lnTo>
                    <a:pt x="1555" y="863"/>
                  </a:lnTo>
                  <a:lnTo>
                    <a:pt x="1563" y="863"/>
                  </a:lnTo>
                  <a:lnTo>
                    <a:pt x="1567" y="865"/>
                  </a:lnTo>
                  <a:lnTo>
                    <a:pt x="1569" y="865"/>
                  </a:lnTo>
                  <a:lnTo>
                    <a:pt x="1571" y="867"/>
                  </a:lnTo>
                  <a:lnTo>
                    <a:pt x="1571" y="867"/>
                  </a:lnTo>
                  <a:lnTo>
                    <a:pt x="1573" y="867"/>
                  </a:lnTo>
                  <a:lnTo>
                    <a:pt x="1575" y="865"/>
                  </a:lnTo>
                  <a:lnTo>
                    <a:pt x="1577" y="863"/>
                  </a:lnTo>
                  <a:lnTo>
                    <a:pt x="1580" y="861"/>
                  </a:lnTo>
                  <a:lnTo>
                    <a:pt x="1584" y="855"/>
                  </a:lnTo>
                  <a:lnTo>
                    <a:pt x="1588" y="853"/>
                  </a:lnTo>
                  <a:lnTo>
                    <a:pt x="1588" y="853"/>
                  </a:lnTo>
                  <a:lnTo>
                    <a:pt x="1590" y="851"/>
                  </a:lnTo>
                  <a:lnTo>
                    <a:pt x="1592" y="851"/>
                  </a:lnTo>
                  <a:lnTo>
                    <a:pt x="1592" y="851"/>
                  </a:lnTo>
                  <a:lnTo>
                    <a:pt x="1594" y="849"/>
                  </a:lnTo>
                  <a:lnTo>
                    <a:pt x="1592" y="849"/>
                  </a:lnTo>
                  <a:lnTo>
                    <a:pt x="1596" y="847"/>
                  </a:lnTo>
                  <a:lnTo>
                    <a:pt x="1604" y="847"/>
                  </a:lnTo>
                  <a:lnTo>
                    <a:pt x="1604" y="847"/>
                  </a:lnTo>
                  <a:lnTo>
                    <a:pt x="1606" y="847"/>
                  </a:lnTo>
                  <a:lnTo>
                    <a:pt x="1606" y="845"/>
                  </a:lnTo>
                  <a:lnTo>
                    <a:pt x="1608" y="841"/>
                  </a:lnTo>
                  <a:lnTo>
                    <a:pt x="1613" y="834"/>
                  </a:lnTo>
                  <a:lnTo>
                    <a:pt x="1615" y="832"/>
                  </a:lnTo>
                  <a:lnTo>
                    <a:pt x="1617" y="830"/>
                  </a:lnTo>
                  <a:lnTo>
                    <a:pt x="1617" y="830"/>
                  </a:lnTo>
                  <a:lnTo>
                    <a:pt x="1619" y="830"/>
                  </a:lnTo>
                  <a:lnTo>
                    <a:pt x="1619" y="830"/>
                  </a:lnTo>
                  <a:lnTo>
                    <a:pt x="1621" y="830"/>
                  </a:lnTo>
                  <a:lnTo>
                    <a:pt x="1623" y="830"/>
                  </a:lnTo>
                  <a:lnTo>
                    <a:pt x="1623" y="830"/>
                  </a:lnTo>
                  <a:lnTo>
                    <a:pt x="1627" y="828"/>
                  </a:lnTo>
                  <a:lnTo>
                    <a:pt x="1629" y="830"/>
                  </a:lnTo>
                  <a:lnTo>
                    <a:pt x="1635" y="828"/>
                  </a:lnTo>
                  <a:lnTo>
                    <a:pt x="1637" y="828"/>
                  </a:lnTo>
                  <a:lnTo>
                    <a:pt x="1641" y="828"/>
                  </a:lnTo>
                  <a:lnTo>
                    <a:pt x="1648" y="828"/>
                  </a:lnTo>
                  <a:lnTo>
                    <a:pt x="1652" y="828"/>
                  </a:lnTo>
                  <a:lnTo>
                    <a:pt x="1654" y="828"/>
                  </a:lnTo>
                  <a:lnTo>
                    <a:pt x="1656" y="828"/>
                  </a:lnTo>
                  <a:lnTo>
                    <a:pt x="1658" y="828"/>
                  </a:lnTo>
                  <a:lnTo>
                    <a:pt x="1660" y="830"/>
                  </a:lnTo>
                  <a:lnTo>
                    <a:pt x="1664" y="830"/>
                  </a:lnTo>
                  <a:lnTo>
                    <a:pt x="1666" y="828"/>
                  </a:lnTo>
                  <a:lnTo>
                    <a:pt x="1668" y="828"/>
                  </a:lnTo>
                  <a:lnTo>
                    <a:pt x="1670" y="828"/>
                  </a:lnTo>
                  <a:lnTo>
                    <a:pt x="1672" y="828"/>
                  </a:lnTo>
                  <a:lnTo>
                    <a:pt x="1674" y="828"/>
                  </a:lnTo>
                  <a:lnTo>
                    <a:pt x="1676" y="828"/>
                  </a:lnTo>
                  <a:lnTo>
                    <a:pt x="1681" y="830"/>
                  </a:lnTo>
                  <a:lnTo>
                    <a:pt x="1683" y="830"/>
                  </a:lnTo>
                  <a:lnTo>
                    <a:pt x="1685" y="830"/>
                  </a:lnTo>
                  <a:lnTo>
                    <a:pt x="1687" y="832"/>
                  </a:lnTo>
                  <a:lnTo>
                    <a:pt x="1693" y="830"/>
                  </a:lnTo>
                  <a:lnTo>
                    <a:pt x="1695" y="830"/>
                  </a:lnTo>
                  <a:lnTo>
                    <a:pt x="1697" y="830"/>
                  </a:lnTo>
                  <a:lnTo>
                    <a:pt x="1699" y="830"/>
                  </a:lnTo>
                  <a:lnTo>
                    <a:pt x="1701" y="830"/>
                  </a:lnTo>
                  <a:lnTo>
                    <a:pt x="1705" y="830"/>
                  </a:lnTo>
                  <a:lnTo>
                    <a:pt x="1709" y="830"/>
                  </a:lnTo>
                  <a:lnTo>
                    <a:pt x="1712" y="828"/>
                  </a:lnTo>
                  <a:lnTo>
                    <a:pt x="1714" y="826"/>
                  </a:lnTo>
                  <a:lnTo>
                    <a:pt x="1716" y="824"/>
                  </a:lnTo>
                  <a:lnTo>
                    <a:pt x="1720" y="822"/>
                  </a:lnTo>
                  <a:lnTo>
                    <a:pt x="1722" y="820"/>
                  </a:lnTo>
                  <a:lnTo>
                    <a:pt x="1724" y="818"/>
                  </a:lnTo>
                  <a:lnTo>
                    <a:pt x="1730" y="812"/>
                  </a:lnTo>
                  <a:lnTo>
                    <a:pt x="1730" y="812"/>
                  </a:lnTo>
                  <a:lnTo>
                    <a:pt x="1730" y="812"/>
                  </a:lnTo>
                  <a:lnTo>
                    <a:pt x="1732" y="810"/>
                  </a:lnTo>
                  <a:lnTo>
                    <a:pt x="1732" y="810"/>
                  </a:lnTo>
                  <a:lnTo>
                    <a:pt x="1736" y="810"/>
                  </a:lnTo>
                  <a:lnTo>
                    <a:pt x="1738" y="810"/>
                  </a:lnTo>
                  <a:lnTo>
                    <a:pt x="1738" y="810"/>
                  </a:lnTo>
                  <a:lnTo>
                    <a:pt x="1742" y="808"/>
                  </a:lnTo>
                  <a:lnTo>
                    <a:pt x="1742" y="808"/>
                  </a:lnTo>
                  <a:lnTo>
                    <a:pt x="1747" y="808"/>
                  </a:lnTo>
                  <a:lnTo>
                    <a:pt x="1749" y="808"/>
                  </a:lnTo>
                  <a:lnTo>
                    <a:pt x="1753" y="808"/>
                  </a:lnTo>
                  <a:lnTo>
                    <a:pt x="1753" y="808"/>
                  </a:lnTo>
                  <a:lnTo>
                    <a:pt x="1755" y="808"/>
                  </a:lnTo>
                  <a:lnTo>
                    <a:pt x="1761" y="803"/>
                  </a:lnTo>
                  <a:lnTo>
                    <a:pt x="1763" y="801"/>
                  </a:lnTo>
                  <a:lnTo>
                    <a:pt x="1767" y="797"/>
                  </a:lnTo>
                  <a:lnTo>
                    <a:pt x="1771" y="795"/>
                  </a:lnTo>
                  <a:lnTo>
                    <a:pt x="1773" y="793"/>
                  </a:lnTo>
                  <a:lnTo>
                    <a:pt x="1771" y="793"/>
                  </a:lnTo>
                  <a:lnTo>
                    <a:pt x="1771" y="791"/>
                  </a:lnTo>
                  <a:lnTo>
                    <a:pt x="1771" y="791"/>
                  </a:lnTo>
                  <a:lnTo>
                    <a:pt x="1767" y="789"/>
                  </a:lnTo>
                  <a:lnTo>
                    <a:pt x="1767" y="789"/>
                  </a:lnTo>
                  <a:lnTo>
                    <a:pt x="1769" y="789"/>
                  </a:lnTo>
                  <a:lnTo>
                    <a:pt x="1771" y="789"/>
                  </a:lnTo>
                  <a:lnTo>
                    <a:pt x="1771" y="789"/>
                  </a:lnTo>
                  <a:lnTo>
                    <a:pt x="1771" y="789"/>
                  </a:lnTo>
                  <a:lnTo>
                    <a:pt x="1771" y="787"/>
                  </a:lnTo>
                  <a:lnTo>
                    <a:pt x="1769" y="787"/>
                  </a:lnTo>
                  <a:lnTo>
                    <a:pt x="1767" y="787"/>
                  </a:lnTo>
                  <a:lnTo>
                    <a:pt x="1765" y="787"/>
                  </a:lnTo>
                  <a:lnTo>
                    <a:pt x="1763" y="787"/>
                  </a:lnTo>
                  <a:lnTo>
                    <a:pt x="1763" y="785"/>
                  </a:lnTo>
                  <a:lnTo>
                    <a:pt x="1765" y="785"/>
                  </a:lnTo>
                  <a:lnTo>
                    <a:pt x="1769" y="785"/>
                  </a:lnTo>
                  <a:lnTo>
                    <a:pt x="1771" y="785"/>
                  </a:lnTo>
                  <a:lnTo>
                    <a:pt x="1771" y="785"/>
                  </a:lnTo>
                  <a:lnTo>
                    <a:pt x="1769" y="783"/>
                  </a:lnTo>
                  <a:lnTo>
                    <a:pt x="1769" y="781"/>
                  </a:lnTo>
                  <a:lnTo>
                    <a:pt x="1771" y="781"/>
                  </a:lnTo>
                  <a:lnTo>
                    <a:pt x="1769" y="779"/>
                  </a:lnTo>
                  <a:lnTo>
                    <a:pt x="1771" y="774"/>
                  </a:lnTo>
                  <a:lnTo>
                    <a:pt x="1771" y="774"/>
                  </a:lnTo>
                  <a:lnTo>
                    <a:pt x="1771" y="772"/>
                  </a:lnTo>
                  <a:lnTo>
                    <a:pt x="1769" y="772"/>
                  </a:lnTo>
                  <a:lnTo>
                    <a:pt x="1769" y="772"/>
                  </a:lnTo>
                  <a:lnTo>
                    <a:pt x="1769" y="770"/>
                  </a:lnTo>
                  <a:lnTo>
                    <a:pt x="1769" y="770"/>
                  </a:lnTo>
                  <a:lnTo>
                    <a:pt x="1769" y="768"/>
                  </a:lnTo>
                  <a:lnTo>
                    <a:pt x="1767" y="766"/>
                  </a:lnTo>
                  <a:lnTo>
                    <a:pt x="1763" y="766"/>
                  </a:lnTo>
                  <a:lnTo>
                    <a:pt x="1763" y="766"/>
                  </a:lnTo>
                  <a:lnTo>
                    <a:pt x="1761" y="764"/>
                  </a:lnTo>
                  <a:lnTo>
                    <a:pt x="1761" y="762"/>
                  </a:lnTo>
                  <a:lnTo>
                    <a:pt x="1761" y="762"/>
                  </a:lnTo>
                  <a:lnTo>
                    <a:pt x="1759" y="762"/>
                  </a:lnTo>
                  <a:lnTo>
                    <a:pt x="1757" y="764"/>
                  </a:lnTo>
                  <a:lnTo>
                    <a:pt x="1753" y="764"/>
                  </a:lnTo>
                  <a:lnTo>
                    <a:pt x="1751" y="768"/>
                  </a:lnTo>
                  <a:lnTo>
                    <a:pt x="1749" y="768"/>
                  </a:lnTo>
                  <a:lnTo>
                    <a:pt x="1749" y="766"/>
                  </a:lnTo>
                  <a:lnTo>
                    <a:pt x="1749" y="766"/>
                  </a:lnTo>
                  <a:lnTo>
                    <a:pt x="1747" y="766"/>
                  </a:lnTo>
                  <a:lnTo>
                    <a:pt x="1747" y="766"/>
                  </a:lnTo>
                  <a:lnTo>
                    <a:pt x="1747" y="766"/>
                  </a:lnTo>
                  <a:lnTo>
                    <a:pt x="1751" y="764"/>
                  </a:lnTo>
                  <a:lnTo>
                    <a:pt x="1751" y="764"/>
                  </a:lnTo>
                  <a:lnTo>
                    <a:pt x="1753" y="762"/>
                  </a:lnTo>
                  <a:lnTo>
                    <a:pt x="1751" y="762"/>
                  </a:lnTo>
                  <a:lnTo>
                    <a:pt x="1751" y="760"/>
                  </a:lnTo>
                  <a:lnTo>
                    <a:pt x="1749" y="756"/>
                  </a:lnTo>
                  <a:lnTo>
                    <a:pt x="1744" y="754"/>
                  </a:lnTo>
                  <a:lnTo>
                    <a:pt x="1736" y="754"/>
                  </a:lnTo>
                  <a:lnTo>
                    <a:pt x="1734" y="754"/>
                  </a:lnTo>
                  <a:lnTo>
                    <a:pt x="1734" y="756"/>
                  </a:lnTo>
                  <a:lnTo>
                    <a:pt x="1734" y="756"/>
                  </a:lnTo>
                  <a:lnTo>
                    <a:pt x="1734" y="756"/>
                  </a:lnTo>
                  <a:lnTo>
                    <a:pt x="1736" y="756"/>
                  </a:lnTo>
                  <a:lnTo>
                    <a:pt x="1738" y="756"/>
                  </a:lnTo>
                  <a:lnTo>
                    <a:pt x="1740" y="756"/>
                  </a:lnTo>
                  <a:lnTo>
                    <a:pt x="1740" y="756"/>
                  </a:lnTo>
                  <a:lnTo>
                    <a:pt x="1738" y="756"/>
                  </a:lnTo>
                  <a:lnTo>
                    <a:pt x="1734" y="758"/>
                  </a:lnTo>
                  <a:lnTo>
                    <a:pt x="1730" y="758"/>
                  </a:lnTo>
                  <a:lnTo>
                    <a:pt x="1726" y="760"/>
                  </a:lnTo>
                  <a:lnTo>
                    <a:pt x="1724" y="764"/>
                  </a:lnTo>
                  <a:lnTo>
                    <a:pt x="1720" y="766"/>
                  </a:lnTo>
                  <a:lnTo>
                    <a:pt x="1718" y="766"/>
                  </a:lnTo>
                  <a:lnTo>
                    <a:pt x="1716" y="768"/>
                  </a:lnTo>
                  <a:lnTo>
                    <a:pt x="1714" y="768"/>
                  </a:lnTo>
                  <a:lnTo>
                    <a:pt x="1714" y="768"/>
                  </a:lnTo>
                  <a:lnTo>
                    <a:pt x="1712" y="770"/>
                  </a:lnTo>
                  <a:lnTo>
                    <a:pt x="1709" y="772"/>
                  </a:lnTo>
                  <a:lnTo>
                    <a:pt x="1705" y="772"/>
                  </a:lnTo>
                  <a:lnTo>
                    <a:pt x="1705" y="772"/>
                  </a:lnTo>
                  <a:lnTo>
                    <a:pt x="1705" y="772"/>
                  </a:lnTo>
                  <a:lnTo>
                    <a:pt x="1707" y="772"/>
                  </a:lnTo>
                  <a:lnTo>
                    <a:pt x="1707" y="770"/>
                  </a:lnTo>
                  <a:lnTo>
                    <a:pt x="1707" y="770"/>
                  </a:lnTo>
                  <a:lnTo>
                    <a:pt x="1707" y="770"/>
                  </a:lnTo>
                  <a:lnTo>
                    <a:pt x="1709" y="768"/>
                  </a:lnTo>
                  <a:lnTo>
                    <a:pt x="1709" y="768"/>
                  </a:lnTo>
                  <a:lnTo>
                    <a:pt x="1709" y="768"/>
                  </a:lnTo>
                  <a:lnTo>
                    <a:pt x="1705" y="766"/>
                  </a:lnTo>
                  <a:lnTo>
                    <a:pt x="1705" y="764"/>
                  </a:lnTo>
                  <a:lnTo>
                    <a:pt x="1707" y="766"/>
                  </a:lnTo>
                  <a:lnTo>
                    <a:pt x="1709" y="766"/>
                  </a:lnTo>
                  <a:lnTo>
                    <a:pt x="1709" y="766"/>
                  </a:lnTo>
                  <a:lnTo>
                    <a:pt x="1709" y="766"/>
                  </a:lnTo>
                  <a:lnTo>
                    <a:pt x="1709" y="764"/>
                  </a:lnTo>
                  <a:lnTo>
                    <a:pt x="1709" y="764"/>
                  </a:lnTo>
                  <a:lnTo>
                    <a:pt x="1712" y="762"/>
                  </a:lnTo>
                  <a:lnTo>
                    <a:pt x="1714" y="762"/>
                  </a:lnTo>
                  <a:lnTo>
                    <a:pt x="1714" y="762"/>
                  </a:lnTo>
                  <a:lnTo>
                    <a:pt x="1714" y="762"/>
                  </a:lnTo>
                  <a:lnTo>
                    <a:pt x="1716" y="762"/>
                  </a:lnTo>
                  <a:lnTo>
                    <a:pt x="1718" y="762"/>
                  </a:lnTo>
                  <a:lnTo>
                    <a:pt x="1722" y="760"/>
                  </a:lnTo>
                  <a:lnTo>
                    <a:pt x="1724" y="760"/>
                  </a:lnTo>
                  <a:lnTo>
                    <a:pt x="1726" y="758"/>
                  </a:lnTo>
                  <a:lnTo>
                    <a:pt x="1726" y="758"/>
                  </a:lnTo>
                  <a:lnTo>
                    <a:pt x="1726" y="758"/>
                  </a:lnTo>
                  <a:lnTo>
                    <a:pt x="1728" y="758"/>
                  </a:lnTo>
                  <a:lnTo>
                    <a:pt x="1730" y="758"/>
                  </a:lnTo>
                  <a:lnTo>
                    <a:pt x="1730" y="758"/>
                  </a:lnTo>
                  <a:lnTo>
                    <a:pt x="1732" y="756"/>
                  </a:lnTo>
                  <a:lnTo>
                    <a:pt x="1734" y="754"/>
                  </a:lnTo>
                  <a:lnTo>
                    <a:pt x="1734" y="754"/>
                  </a:lnTo>
                  <a:lnTo>
                    <a:pt x="1736" y="754"/>
                  </a:lnTo>
                  <a:lnTo>
                    <a:pt x="1736" y="752"/>
                  </a:lnTo>
                  <a:lnTo>
                    <a:pt x="1736" y="752"/>
                  </a:lnTo>
                  <a:lnTo>
                    <a:pt x="1740" y="752"/>
                  </a:lnTo>
                  <a:lnTo>
                    <a:pt x="1744" y="752"/>
                  </a:lnTo>
                  <a:lnTo>
                    <a:pt x="1747" y="750"/>
                  </a:lnTo>
                  <a:lnTo>
                    <a:pt x="1747" y="748"/>
                  </a:lnTo>
                  <a:lnTo>
                    <a:pt x="1749" y="748"/>
                  </a:lnTo>
                  <a:lnTo>
                    <a:pt x="1749" y="748"/>
                  </a:lnTo>
                  <a:lnTo>
                    <a:pt x="1747" y="746"/>
                  </a:lnTo>
                  <a:lnTo>
                    <a:pt x="1744" y="746"/>
                  </a:lnTo>
                  <a:lnTo>
                    <a:pt x="1742" y="746"/>
                  </a:lnTo>
                  <a:lnTo>
                    <a:pt x="1742" y="743"/>
                  </a:lnTo>
                  <a:lnTo>
                    <a:pt x="1740" y="743"/>
                  </a:lnTo>
                  <a:lnTo>
                    <a:pt x="1740" y="741"/>
                  </a:lnTo>
                  <a:lnTo>
                    <a:pt x="1738" y="741"/>
                  </a:lnTo>
                  <a:lnTo>
                    <a:pt x="1736" y="741"/>
                  </a:lnTo>
                  <a:lnTo>
                    <a:pt x="1736" y="743"/>
                  </a:lnTo>
                  <a:lnTo>
                    <a:pt x="1734" y="743"/>
                  </a:lnTo>
                  <a:lnTo>
                    <a:pt x="1732" y="743"/>
                  </a:lnTo>
                  <a:lnTo>
                    <a:pt x="1728" y="741"/>
                  </a:lnTo>
                  <a:lnTo>
                    <a:pt x="1726" y="739"/>
                  </a:lnTo>
                  <a:lnTo>
                    <a:pt x="1726" y="737"/>
                  </a:lnTo>
                  <a:lnTo>
                    <a:pt x="1726" y="735"/>
                  </a:lnTo>
                  <a:lnTo>
                    <a:pt x="1724" y="735"/>
                  </a:lnTo>
                  <a:lnTo>
                    <a:pt x="1722" y="735"/>
                  </a:lnTo>
                  <a:lnTo>
                    <a:pt x="1720" y="735"/>
                  </a:lnTo>
                  <a:lnTo>
                    <a:pt x="1720" y="737"/>
                  </a:lnTo>
                  <a:lnTo>
                    <a:pt x="1720" y="737"/>
                  </a:lnTo>
                  <a:lnTo>
                    <a:pt x="1714" y="741"/>
                  </a:lnTo>
                  <a:lnTo>
                    <a:pt x="1714" y="743"/>
                  </a:lnTo>
                  <a:lnTo>
                    <a:pt x="1714" y="741"/>
                  </a:lnTo>
                  <a:lnTo>
                    <a:pt x="1714" y="739"/>
                  </a:lnTo>
                  <a:lnTo>
                    <a:pt x="1718" y="737"/>
                  </a:lnTo>
                  <a:lnTo>
                    <a:pt x="1720" y="735"/>
                  </a:lnTo>
                  <a:lnTo>
                    <a:pt x="1718" y="735"/>
                  </a:lnTo>
                  <a:lnTo>
                    <a:pt x="1716" y="735"/>
                  </a:lnTo>
                  <a:lnTo>
                    <a:pt x="1716" y="735"/>
                  </a:lnTo>
                  <a:lnTo>
                    <a:pt x="1716" y="733"/>
                  </a:lnTo>
                  <a:lnTo>
                    <a:pt x="1714" y="733"/>
                  </a:lnTo>
                  <a:lnTo>
                    <a:pt x="1714" y="733"/>
                  </a:lnTo>
                  <a:lnTo>
                    <a:pt x="1712" y="733"/>
                  </a:lnTo>
                  <a:lnTo>
                    <a:pt x="1707" y="735"/>
                  </a:lnTo>
                  <a:lnTo>
                    <a:pt x="1705" y="735"/>
                  </a:lnTo>
                  <a:lnTo>
                    <a:pt x="1703" y="737"/>
                  </a:lnTo>
                  <a:lnTo>
                    <a:pt x="1701" y="737"/>
                  </a:lnTo>
                  <a:lnTo>
                    <a:pt x="1703" y="737"/>
                  </a:lnTo>
                  <a:lnTo>
                    <a:pt x="1705" y="735"/>
                  </a:lnTo>
                  <a:lnTo>
                    <a:pt x="1705" y="733"/>
                  </a:lnTo>
                  <a:lnTo>
                    <a:pt x="1705" y="731"/>
                  </a:lnTo>
                  <a:lnTo>
                    <a:pt x="1707" y="731"/>
                  </a:lnTo>
                  <a:lnTo>
                    <a:pt x="1707" y="729"/>
                  </a:lnTo>
                  <a:lnTo>
                    <a:pt x="1707" y="727"/>
                  </a:lnTo>
                  <a:lnTo>
                    <a:pt x="1705" y="727"/>
                  </a:lnTo>
                  <a:lnTo>
                    <a:pt x="1705" y="727"/>
                  </a:lnTo>
                  <a:lnTo>
                    <a:pt x="1705" y="725"/>
                  </a:lnTo>
                  <a:lnTo>
                    <a:pt x="1705" y="723"/>
                  </a:lnTo>
                  <a:lnTo>
                    <a:pt x="1705" y="723"/>
                  </a:lnTo>
                  <a:lnTo>
                    <a:pt x="1703" y="723"/>
                  </a:lnTo>
                  <a:lnTo>
                    <a:pt x="1703" y="725"/>
                  </a:lnTo>
                  <a:lnTo>
                    <a:pt x="1703" y="723"/>
                  </a:lnTo>
                  <a:lnTo>
                    <a:pt x="1701" y="723"/>
                  </a:lnTo>
                  <a:lnTo>
                    <a:pt x="1701" y="721"/>
                  </a:lnTo>
                  <a:lnTo>
                    <a:pt x="1701" y="721"/>
                  </a:lnTo>
                  <a:lnTo>
                    <a:pt x="1699" y="721"/>
                  </a:lnTo>
                  <a:lnTo>
                    <a:pt x="1699" y="721"/>
                  </a:lnTo>
                  <a:lnTo>
                    <a:pt x="1697" y="723"/>
                  </a:lnTo>
                  <a:lnTo>
                    <a:pt x="1695" y="721"/>
                  </a:lnTo>
                  <a:lnTo>
                    <a:pt x="1695" y="721"/>
                  </a:lnTo>
                  <a:lnTo>
                    <a:pt x="1695" y="721"/>
                  </a:lnTo>
                  <a:lnTo>
                    <a:pt x="1693" y="721"/>
                  </a:lnTo>
                  <a:lnTo>
                    <a:pt x="1691" y="719"/>
                  </a:lnTo>
                  <a:lnTo>
                    <a:pt x="1691" y="719"/>
                  </a:lnTo>
                  <a:lnTo>
                    <a:pt x="1691" y="719"/>
                  </a:lnTo>
                  <a:lnTo>
                    <a:pt x="1693" y="719"/>
                  </a:lnTo>
                  <a:lnTo>
                    <a:pt x="1693" y="717"/>
                  </a:lnTo>
                  <a:lnTo>
                    <a:pt x="1691" y="715"/>
                  </a:lnTo>
                  <a:lnTo>
                    <a:pt x="1691" y="715"/>
                  </a:lnTo>
                  <a:lnTo>
                    <a:pt x="1689" y="715"/>
                  </a:lnTo>
                  <a:lnTo>
                    <a:pt x="1687" y="715"/>
                  </a:lnTo>
                  <a:lnTo>
                    <a:pt x="1687" y="713"/>
                  </a:lnTo>
                  <a:lnTo>
                    <a:pt x="1689" y="713"/>
                  </a:lnTo>
                  <a:lnTo>
                    <a:pt x="1691" y="713"/>
                  </a:lnTo>
                  <a:lnTo>
                    <a:pt x="1689" y="710"/>
                  </a:lnTo>
                  <a:lnTo>
                    <a:pt x="1687" y="710"/>
                  </a:lnTo>
                  <a:lnTo>
                    <a:pt x="1683" y="710"/>
                  </a:lnTo>
                  <a:lnTo>
                    <a:pt x="1683" y="710"/>
                  </a:lnTo>
                  <a:lnTo>
                    <a:pt x="1685" y="708"/>
                  </a:lnTo>
                  <a:lnTo>
                    <a:pt x="1687" y="708"/>
                  </a:lnTo>
                  <a:lnTo>
                    <a:pt x="1687" y="708"/>
                  </a:lnTo>
                  <a:lnTo>
                    <a:pt x="1685" y="708"/>
                  </a:lnTo>
                  <a:lnTo>
                    <a:pt x="1685" y="708"/>
                  </a:lnTo>
                  <a:lnTo>
                    <a:pt x="1683" y="706"/>
                  </a:lnTo>
                  <a:lnTo>
                    <a:pt x="1681" y="706"/>
                  </a:lnTo>
                  <a:lnTo>
                    <a:pt x="1676" y="704"/>
                  </a:lnTo>
                  <a:lnTo>
                    <a:pt x="1674" y="702"/>
                  </a:lnTo>
                  <a:lnTo>
                    <a:pt x="1676" y="702"/>
                  </a:lnTo>
                  <a:lnTo>
                    <a:pt x="1676" y="702"/>
                  </a:lnTo>
                  <a:lnTo>
                    <a:pt x="1679" y="702"/>
                  </a:lnTo>
                  <a:lnTo>
                    <a:pt x="1676" y="704"/>
                  </a:lnTo>
                  <a:lnTo>
                    <a:pt x="1676" y="704"/>
                  </a:lnTo>
                  <a:lnTo>
                    <a:pt x="1681" y="704"/>
                  </a:lnTo>
                  <a:lnTo>
                    <a:pt x="1689" y="706"/>
                  </a:lnTo>
                  <a:lnTo>
                    <a:pt x="1691" y="706"/>
                  </a:lnTo>
                  <a:lnTo>
                    <a:pt x="1691" y="704"/>
                  </a:lnTo>
                  <a:lnTo>
                    <a:pt x="1691" y="702"/>
                  </a:lnTo>
                  <a:lnTo>
                    <a:pt x="1691" y="700"/>
                  </a:lnTo>
                  <a:lnTo>
                    <a:pt x="1691" y="698"/>
                  </a:lnTo>
                  <a:lnTo>
                    <a:pt x="1687" y="696"/>
                  </a:lnTo>
                  <a:lnTo>
                    <a:pt x="1687" y="696"/>
                  </a:lnTo>
                  <a:lnTo>
                    <a:pt x="1685" y="696"/>
                  </a:lnTo>
                  <a:lnTo>
                    <a:pt x="1685" y="696"/>
                  </a:lnTo>
                  <a:lnTo>
                    <a:pt x="1683" y="694"/>
                  </a:lnTo>
                  <a:lnTo>
                    <a:pt x="1683" y="694"/>
                  </a:lnTo>
                  <a:lnTo>
                    <a:pt x="1683" y="694"/>
                  </a:lnTo>
                  <a:lnTo>
                    <a:pt x="1685" y="692"/>
                  </a:lnTo>
                  <a:lnTo>
                    <a:pt x="1685" y="692"/>
                  </a:lnTo>
                  <a:lnTo>
                    <a:pt x="1685" y="692"/>
                  </a:lnTo>
                  <a:lnTo>
                    <a:pt x="1683" y="690"/>
                  </a:lnTo>
                  <a:lnTo>
                    <a:pt x="1681" y="690"/>
                  </a:lnTo>
                  <a:lnTo>
                    <a:pt x="1681" y="690"/>
                  </a:lnTo>
                  <a:lnTo>
                    <a:pt x="1679" y="690"/>
                  </a:lnTo>
                  <a:lnTo>
                    <a:pt x="1676" y="690"/>
                  </a:lnTo>
                  <a:lnTo>
                    <a:pt x="1676" y="690"/>
                  </a:lnTo>
                  <a:lnTo>
                    <a:pt x="1674" y="690"/>
                  </a:lnTo>
                  <a:lnTo>
                    <a:pt x="1676" y="690"/>
                  </a:lnTo>
                  <a:lnTo>
                    <a:pt x="1679" y="690"/>
                  </a:lnTo>
                  <a:lnTo>
                    <a:pt x="1679" y="688"/>
                  </a:lnTo>
                  <a:lnTo>
                    <a:pt x="1681" y="688"/>
                  </a:lnTo>
                  <a:lnTo>
                    <a:pt x="1681" y="688"/>
                  </a:lnTo>
                  <a:lnTo>
                    <a:pt x="1683" y="686"/>
                  </a:lnTo>
                  <a:lnTo>
                    <a:pt x="1683" y="686"/>
                  </a:lnTo>
                  <a:lnTo>
                    <a:pt x="1683" y="684"/>
                  </a:lnTo>
                  <a:lnTo>
                    <a:pt x="1683" y="684"/>
                  </a:lnTo>
                  <a:lnTo>
                    <a:pt x="1683" y="682"/>
                  </a:lnTo>
                  <a:lnTo>
                    <a:pt x="1685" y="682"/>
                  </a:lnTo>
                  <a:lnTo>
                    <a:pt x="1683" y="679"/>
                  </a:lnTo>
                  <a:lnTo>
                    <a:pt x="1681" y="679"/>
                  </a:lnTo>
                  <a:lnTo>
                    <a:pt x="1679" y="679"/>
                  </a:lnTo>
                  <a:lnTo>
                    <a:pt x="1679" y="679"/>
                  </a:lnTo>
                  <a:lnTo>
                    <a:pt x="1676" y="675"/>
                  </a:lnTo>
                  <a:lnTo>
                    <a:pt x="1674" y="675"/>
                  </a:lnTo>
                  <a:lnTo>
                    <a:pt x="1670" y="675"/>
                  </a:lnTo>
                  <a:lnTo>
                    <a:pt x="1668" y="677"/>
                  </a:lnTo>
                  <a:lnTo>
                    <a:pt x="1664" y="679"/>
                  </a:lnTo>
                  <a:lnTo>
                    <a:pt x="1664" y="677"/>
                  </a:lnTo>
                  <a:lnTo>
                    <a:pt x="1666" y="677"/>
                  </a:lnTo>
                  <a:lnTo>
                    <a:pt x="1668" y="675"/>
                  </a:lnTo>
                  <a:lnTo>
                    <a:pt x="1670" y="675"/>
                  </a:lnTo>
                  <a:lnTo>
                    <a:pt x="1672" y="671"/>
                  </a:lnTo>
                  <a:lnTo>
                    <a:pt x="1674" y="669"/>
                  </a:lnTo>
                  <a:lnTo>
                    <a:pt x="1674" y="669"/>
                  </a:lnTo>
                  <a:lnTo>
                    <a:pt x="1672" y="669"/>
                  </a:lnTo>
                  <a:lnTo>
                    <a:pt x="1670" y="669"/>
                  </a:lnTo>
                  <a:lnTo>
                    <a:pt x="1666" y="669"/>
                  </a:lnTo>
                  <a:lnTo>
                    <a:pt x="1666" y="671"/>
                  </a:lnTo>
                  <a:lnTo>
                    <a:pt x="1666" y="669"/>
                  </a:lnTo>
                  <a:lnTo>
                    <a:pt x="1666" y="669"/>
                  </a:lnTo>
                  <a:lnTo>
                    <a:pt x="1666" y="669"/>
                  </a:lnTo>
                  <a:lnTo>
                    <a:pt x="1664" y="669"/>
                  </a:lnTo>
                  <a:lnTo>
                    <a:pt x="1662" y="671"/>
                  </a:lnTo>
                  <a:lnTo>
                    <a:pt x="1660" y="671"/>
                  </a:lnTo>
                  <a:lnTo>
                    <a:pt x="1662" y="671"/>
                  </a:lnTo>
                  <a:lnTo>
                    <a:pt x="1662" y="669"/>
                  </a:lnTo>
                  <a:lnTo>
                    <a:pt x="1664" y="667"/>
                  </a:lnTo>
                  <a:lnTo>
                    <a:pt x="1666" y="667"/>
                  </a:lnTo>
                  <a:lnTo>
                    <a:pt x="1670" y="665"/>
                  </a:lnTo>
                  <a:lnTo>
                    <a:pt x="1668" y="663"/>
                  </a:lnTo>
                  <a:lnTo>
                    <a:pt x="1668" y="661"/>
                  </a:lnTo>
                  <a:lnTo>
                    <a:pt x="1668" y="661"/>
                  </a:lnTo>
                  <a:lnTo>
                    <a:pt x="1666" y="661"/>
                  </a:lnTo>
                  <a:lnTo>
                    <a:pt x="1664" y="661"/>
                  </a:lnTo>
                  <a:lnTo>
                    <a:pt x="1664" y="661"/>
                  </a:lnTo>
                  <a:lnTo>
                    <a:pt x="1664" y="659"/>
                  </a:lnTo>
                  <a:lnTo>
                    <a:pt x="1664" y="659"/>
                  </a:lnTo>
                  <a:lnTo>
                    <a:pt x="1664" y="657"/>
                  </a:lnTo>
                  <a:lnTo>
                    <a:pt x="1664" y="657"/>
                  </a:lnTo>
                  <a:lnTo>
                    <a:pt x="1664" y="657"/>
                  </a:lnTo>
                  <a:lnTo>
                    <a:pt x="1664" y="657"/>
                  </a:lnTo>
                  <a:lnTo>
                    <a:pt x="1664" y="657"/>
                  </a:lnTo>
                  <a:lnTo>
                    <a:pt x="1662" y="657"/>
                  </a:lnTo>
                  <a:lnTo>
                    <a:pt x="1660" y="657"/>
                  </a:lnTo>
                  <a:lnTo>
                    <a:pt x="1656" y="657"/>
                  </a:lnTo>
                  <a:lnTo>
                    <a:pt x="1654" y="657"/>
                  </a:lnTo>
                  <a:lnTo>
                    <a:pt x="1654" y="657"/>
                  </a:lnTo>
                  <a:lnTo>
                    <a:pt x="1656" y="657"/>
                  </a:lnTo>
                  <a:lnTo>
                    <a:pt x="1658" y="657"/>
                  </a:lnTo>
                  <a:lnTo>
                    <a:pt x="1658" y="657"/>
                  </a:lnTo>
                  <a:lnTo>
                    <a:pt x="1660" y="655"/>
                  </a:lnTo>
                  <a:lnTo>
                    <a:pt x="1662" y="655"/>
                  </a:lnTo>
                  <a:lnTo>
                    <a:pt x="1660" y="651"/>
                  </a:lnTo>
                  <a:lnTo>
                    <a:pt x="1660" y="651"/>
                  </a:lnTo>
                  <a:lnTo>
                    <a:pt x="1658" y="653"/>
                  </a:lnTo>
                  <a:lnTo>
                    <a:pt x="1658" y="653"/>
                  </a:lnTo>
                  <a:lnTo>
                    <a:pt x="1658" y="651"/>
                  </a:lnTo>
                  <a:lnTo>
                    <a:pt x="1658" y="651"/>
                  </a:lnTo>
                  <a:lnTo>
                    <a:pt x="1654" y="651"/>
                  </a:lnTo>
                  <a:lnTo>
                    <a:pt x="1654" y="649"/>
                  </a:lnTo>
                  <a:lnTo>
                    <a:pt x="1656" y="649"/>
                  </a:lnTo>
                  <a:lnTo>
                    <a:pt x="1658" y="646"/>
                  </a:lnTo>
                  <a:lnTo>
                    <a:pt x="1656" y="646"/>
                  </a:lnTo>
                  <a:lnTo>
                    <a:pt x="1656" y="644"/>
                  </a:lnTo>
                  <a:lnTo>
                    <a:pt x="1654" y="644"/>
                  </a:lnTo>
                  <a:lnTo>
                    <a:pt x="1654" y="642"/>
                  </a:lnTo>
                  <a:lnTo>
                    <a:pt x="1654" y="640"/>
                  </a:lnTo>
                  <a:lnTo>
                    <a:pt x="1652" y="642"/>
                  </a:lnTo>
                  <a:lnTo>
                    <a:pt x="1650" y="642"/>
                  </a:lnTo>
                  <a:lnTo>
                    <a:pt x="1652" y="640"/>
                  </a:lnTo>
                  <a:lnTo>
                    <a:pt x="1652" y="638"/>
                  </a:lnTo>
                  <a:lnTo>
                    <a:pt x="1650" y="636"/>
                  </a:lnTo>
                  <a:lnTo>
                    <a:pt x="1648" y="636"/>
                  </a:lnTo>
                  <a:lnTo>
                    <a:pt x="1646" y="636"/>
                  </a:lnTo>
                  <a:lnTo>
                    <a:pt x="1643" y="636"/>
                  </a:lnTo>
                  <a:lnTo>
                    <a:pt x="1643" y="636"/>
                  </a:lnTo>
                  <a:lnTo>
                    <a:pt x="1643" y="636"/>
                  </a:lnTo>
                  <a:lnTo>
                    <a:pt x="1646" y="634"/>
                  </a:lnTo>
                  <a:lnTo>
                    <a:pt x="1648" y="634"/>
                  </a:lnTo>
                  <a:lnTo>
                    <a:pt x="1648" y="632"/>
                  </a:lnTo>
                  <a:lnTo>
                    <a:pt x="1648" y="632"/>
                  </a:lnTo>
                  <a:lnTo>
                    <a:pt x="1643" y="630"/>
                  </a:lnTo>
                  <a:lnTo>
                    <a:pt x="1641" y="630"/>
                  </a:lnTo>
                  <a:lnTo>
                    <a:pt x="1641" y="630"/>
                  </a:lnTo>
                  <a:lnTo>
                    <a:pt x="1641" y="632"/>
                  </a:lnTo>
                  <a:lnTo>
                    <a:pt x="1641" y="632"/>
                  </a:lnTo>
                  <a:lnTo>
                    <a:pt x="1639" y="636"/>
                  </a:lnTo>
                  <a:lnTo>
                    <a:pt x="1637" y="638"/>
                  </a:lnTo>
                  <a:lnTo>
                    <a:pt x="1637" y="638"/>
                  </a:lnTo>
                  <a:lnTo>
                    <a:pt x="1637" y="640"/>
                  </a:lnTo>
                  <a:lnTo>
                    <a:pt x="1637" y="640"/>
                  </a:lnTo>
                  <a:lnTo>
                    <a:pt x="1637" y="640"/>
                  </a:lnTo>
                  <a:lnTo>
                    <a:pt x="1639" y="642"/>
                  </a:lnTo>
                  <a:lnTo>
                    <a:pt x="1639" y="642"/>
                  </a:lnTo>
                  <a:lnTo>
                    <a:pt x="1637" y="640"/>
                  </a:lnTo>
                  <a:lnTo>
                    <a:pt x="1635" y="640"/>
                  </a:lnTo>
                  <a:lnTo>
                    <a:pt x="1635" y="640"/>
                  </a:lnTo>
                  <a:lnTo>
                    <a:pt x="1633" y="642"/>
                  </a:lnTo>
                  <a:lnTo>
                    <a:pt x="1633" y="642"/>
                  </a:lnTo>
                  <a:lnTo>
                    <a:pt x="1633" y="644"/>
                  </a:lnTo>
                  <a:lnTo>
                    <a:pt x="1633" y="644"/>
                  </a:lnTo>
                  <a:lnTo>
                    <a:pt x="1633" y="644"/>
                  </a:lnTo>
                  <a:lnTo>
                    <a:pt x="1633" y="646"/>
                  </a:lnTo>
                  <a:lnTo>
                    <a:pt x="1635" y="646"/>
                  </a:lnTo>
                  <a:lnTo>
                    <a:pt x="1635" y="649"/>
                  </a:lnTo>
                  <a:lnTo>
                    <a:pt x="1637" y="649"/>
                  </a:lnTo>
                  <a:lnTo>
                    <a:pt x="1639" y="649"/>
                  </a:lnTo>
                  <a:lnTo>
                    <a:pt x="1639" y="651"/>
                  </a:lnTo>
                  <a:lnTo>
                    <a:pt x="1639" y="651"/>
                  </a:lnTo>
                  <a:lnTo>
                    <a:pt x="1635" y="649"/>
                  </a:lnTo>
                  <a:lnTo>
                    <a:pt x="1635" y="649"/>
                  </a:lnTo>
                  <a:lnTo>
                    <a:pt x="1633" y="649"/>
                  </a:lnTo>
                  <a:lnTo>
                    <a:pt x="1633" y="649"/>
                  </a:lnTo>
                  <a:lnTo>
                    <a:pt x="1633" y="651"/>
                  </a:lnTo>
                  <a:lnTo>
                    <a:pt x="1633" y="651"/>
                  </a:lnTo>
                  <a:lnTo>
                    <a:pt x="1633" y="651"/>
                  </a:lnTo>
                  <a:lnTo>
                    <a:pt x="1631" y="651"/>
                  </a:lnTo>
                  <a:lnTo>
                    <a:pt x="1631" y="653"/>
                  </a:lnTo>
                  <a:lnTo>
                    <a:pt x="1631" y="653"/>
                  </a:lnTo>
                  <a:lnTo>
                    <a:pt x="1631" y="653"/>
                  </a:lnTo>
                  <a:lnTo>
                    <a:pt x="1629" y="653"/>
                  </a:lnTo>
                  <a:lnTo>
                    <a:pt x="1629" y="653"/>
                  </a:lnTo>
                  <a:lnTo>
                    <a:pt x="1631" y="655"/>
                  </a:lnTo>
                  <a:lnTo>
                    <a:pt x="1631" y="655"/>
                  </a:lnTo>
                  <a:lnTo>
                    <a:pt x="1631" y="655"/>
                  </a:lnTo>
                  <a:lnTo>
                    <a:pt x="1633" y="657"/>
                  </a:lnTo>
                  <a:lnTo>
                    <a:pt x="1633" y="657"/>
                  </a:lnTo>
                  <a:lnTo>
                    <a:pt x="1633" y="657"/>
                  </a:lnTo>
                  <a:lnTo>
                    <a:pt x="1631" y="657"/>
                  </a:lnTo>
                  <a:lnTo>
                    <a:pt x="1631" y="657"/>
                  </a:lnTo>
                  <a:lnTo>
                    <a:pt x="1629" y="657"/>
                  </a:lnTo>
                  <a:lnTo>
                    <a:pt x="1629" y="657"/>
                  </a:lnTo>
                  <a:lnTo>
                    <a:pt x="1629" y="659"/>
                  </a:lnTo>
                  <a:lnTo>
                    <a:pt x="1629" y="659"/>
                  </a:lnTo>
                  <a:lnTo>
                    <a:pt x="1629" y="659"/>
                  </a:lnTo>
                  <a:lnTo>
                    <a:pt x="1627" y="659"/>
                  </a:lnTo>
                  <a:lnTo>
                    <a:pt x="1627" y="659"/>
                  </a:lnTo>
                  <a:lnTo>
                    <a:pt x="1627" y="661"/>
                  </a:lnTo>
                  <a:lnTo>
                    <a:pt x="1627" y="661"/>
                  </a:lnTo>
                  <a:lnTo>
                    <a:pt x="1627" y="661"/>
                  </a:lnTo>
                  <a:lnTo>
                    <a:pt x="1625" y="661"/>
                  </a:lnTo>
                  <a:lnTo>
                    <a:pt x="1625" y="661"/>
                  </a:lnTo>
                  <a:lnTo>
                    <a:pt x="1625" y="663"/>
                  </a:lnTo>
                  <a:lnTo>
                    <a:pt x="1625" y="663"/>
                  </a:lnTo>
                  <a:lnTo>
                    <a:pt x="1627" y="665"/>
                  </a:lnTo>
                  <a:lnTo>
                    <a:pt x="1627" y="667"/>
                  </a:lnTo>
                  <a:lnTo>
                    <a:pt x="1627" y="667"/>
                  </a:lnTo>
                  <a:lnTo>
                    <a:pt x="1627" y="667"/>
                  </a:lnTo>
                  <a:lnTo>
                    <a:pt x="1625" y="669"/>
                  </a:lnTo>
                  <a:lnTo>
                    <a:pt x="1625" y="669"/>
                  </a:lnTo>
                  <a:lnTo>
                    <a:pt x="1625" y="667"/>
                  </a:lnTo>
                  <a:lnTo>
                    <a:pt x="1625" y="667"/>
                  </a:lnTo>
                  <a:lnTo>
                    <a:pt x="1625" y="665"/>
                  </a:lnTo>
                  <a:lnTo>
                    <a:pt x="1623" y="663"/>
                  </a:lnTo>
                  <a:lnTo>
                    <a:pt x="1623" y="663"/>
                  </a:lnTo>
                  <a:lnTo>
                    <a:pt x="1621" y="663"/>
                  </a:lnTo>
                  <a:lnTo>
                    <a:pt x="1621" y="663"/>
                  </a:lnTo>
                  <a:lnTo>
                    <a:pt x="1619" y="663"/>
                  </a:lnTo>
                  <a:lnTo>
                    <a:pt x="1619" y="665"/>
                  </a:lnTo>
                  <a:lnTo>
                    <a:pt x="1617" y="665"/>
                  </a:lnTo>
                  <a:lnTo>
                    <a:pt x="1617" y="667"/>
                  </a:lnTo>
                  <a:lnTo>
                    <a:pt x="1615" y="669"/>
                  </a:lnTo>
                  <a:lnTo>
                    <a:pt x="1613" y="669"/>
                  </a:lnTo>
                  <a:lnTo>
                    <a:pt x="1610" y="669"/>
                  </a:lnTo>
                  <a:lnTo>
                    <a:pt x="1608" y="671"/>
                  </a:lnTo>
                  <a:lnTo>
                    <a:pt x="1606" y="673"/>
                  </a:lnTo>
                  <a:lnTo>
                    <a:pt x="1602" y="673"/>
                  </a:lnTo>
                  <a:lnTo>
                    <a:pt x="1602" y="675"/>
                  </a:lnTo>
                  <a:lnTo>
                    <a:pt x="1602" y="675"/>
                  </a:lnTo>
                  <a:lnTo>
                    <a:pt x="1602" y="677"/>
                  </a:lnTo>
                  <a:lnTo>
                    <a:pt x="1602" y="679"/>
                  </a:lnTo>
                  <a:lnTo>
                    <a:pt x="1600" y="679"/>
                  </a:lnTo>
                  <a:lnTo>
                    <a:pt x="1602" y="677"/>
                  </a:lnTo>
                  <a:lnTo>
                    <a:pt x="1602" y="675"/>
                  </a:lnTo>
                  <a:lnTo>
                    <a:pt x="1602" y="673"/>
                  </a:lnTo>
                  <a:lnTo>
                    <a:pt x="1600" y="671"/>
                  </a:lnTo>
                  <a:lnTo>
                    <a:pt x="1600" y="671"/>
                  </a:lnTo>
                  <a:lnTo>
                    <a:pt x="1600" y="671"/>
                  </a:lnTo>
                  <a:lnTo>
                    <a:pt x="1600" y="673"/>
                  </a:lnTo>
                  <a:lnTo>
                    <a:pt x="1598" y="673"/>
                  </a:lnTo>
                  <a:lnTo>
                    <a:pt x="1596" y="675"/>
                  </a:lnTo>
                  <a:lnTo>
                    <a:pt x="1596" y="675"/>
                  </a:lnTo>
                  <a:lnTo>
                    <a:pt x="1598" y="673"/>
                  </a:lnTo>
                  <a:lnTo>
                    <a:pt x="1598" y="673"/>
                  </a:lnTo>
                  <a:lnTo>
                    <a:pt x="1598" y="671"/>
                  </a:lnTo>
                  <a:lnTo>
                    <a:pt x="1598" y="669"/>
                  </a:lnTo>
                  <a:lnTo>
                    <a:pt x="1596" y="669"/>
                  </a:lnTo>
                  <a:lnTo>
                    <a:pt x="1596" y="669"/>
                  </a:lnTo>
                  <a:lnTo>
                    <a:pt x="1594" y="671"/>
                  </a:lnTo>
                  <a:lnTo>
                    <a:pt x="1592" y="675"/>
                  </a:lnTo>
                  <a:lnTo>
                    <a:pt x="1592" y="677"/>
                  </a:lnTo>
                  <a:lnTo>
                    <a:pt x="1592" y="677"/>
                  </a:lnTo>
                  <a:lnTo>
                    <a:pt x="1590" y="677"/>
                  </a:lnTo>
                  <a:lnTo>
                    <a:pt x="1586" y="679"/>
                  </a:lnTo>
                  <a:lnTo>
                    <a:pt x="1582" y="682"/>
                  </a:lnTo>
                  <a:lnTo>
                    <a:pt x="1582" y="679"/>
                  </a:lnTo>
                  <a:lnTo>
                    <a:pt x="1584" y="679"/>
                  </a:lnTo>
                  <a:lnTo>
                    <a:pt x="1586" y="679"/>
                  </a:lnTo>
                  <a:lnTo>
                    <a:pt x="1588" y="677"/>
                  </a:lnTo>
                  <a:lnTo>
                    <a:pt x="1590" y="677"/>
                  </a:lnTo>
                  <a:lnTo>
                    <a:pt x="1592" y="675"/>
                  </a:lnTo>
                  <a:lnTo>
                    <a:pt x="1592" y="673"/>
                  </a:lnTo>
                  <a:lnTo>
                    <a:pt x="1594" y="671"/>
                  </a:lnTo>
                  <a:lnTo>
                    <a:pt x="1594" y="669"/>
                  </a:lnTo>
                  <a:lnTo>
                    <a:pt x="1594" y="667"/>
                  </a:lnTo>
                  <a:lnTo>
                    <a:pt x="1594" y="667"/>
                  </a:lnTo>
                  <a:lnTo>
                    <a:pt x="1592" y="667"/>
                  </a:lnTo>
                  <a:lnTo>
                    <a:pt x="1592" y="663"/>
                  </a:lnTo>
                  <a:lnTo>
                    <a:pt x="1592" y="663"/>
                  </a:lnTo>
                  <a:lnTo>
                    <a:pt x="1590" y="661"/>
                  </a:lnTo>
                  <a:lnTo>
                    <a:pt x="1588" y="661"/>
                  </a:lnTo>
                  <a:lnTo>
                    <a:pt x="1588" y="661"/>
                  </a:lnTo>
                  <a:lnTo>
                    <a:pt x="1588" y="661"/>
                  </a:lnTo>
                  <a:lnTo>
                    <a:pt x="1584" y="661"/>
                  </a:lnTo>
                  <a:lnTo>
                    <a:pt x="1582" y="661"/>
                  </a:lnTo>
                  <a:lnTo>
                    <a:pt x="1580" y="661"/>
                  </a:lnTo>
                  <a:lnTo>
                    <a:pt x="1580" y="661"/>
                  </a:lnTo>
                  <a:lnTo>
                    <a:pt x="1577" y="661"/>
                  </a:lnTo>
                  <a:lnTo>
                    <a:pt x="1573" y="663"/>
                  </a:lnTo>
                  <a:lnTo>
                    <a:pt x="1571" y="665"/>
                  </a:lnTo>
                  <a:lnTo>
                    <a:pt x="1569" y="665"/>
                  </a:lnTo>
                  <a:lnTo>
                    <a:pt x="1567" y="663"/>
                  </a:lnTo>
                  <a:lnTo>
                    <a:pt x="1565" y="663"/>
                  </a:lnTo>
                  <a:lnTo>
                    <a:pt x="1565" y="663"/>
                  </a:lnTo>
                  <a:lnTo>
                    <a:pt x="1569" y="661"/>
                  </a:lnTo>
                  <a:lnTo>
                    <a:pt x="1569" y="661"/>
                  </a:lnTo>
                  <a:lnTo>
                    <a:pt x="1571" y="661"/>
                  </a:lnTo>
                  <a:lnTo>
                    <a:pt x="1571" y="661"/>
                  </a:lnTo>
                  <a:lnTo>
                    <a:pt x="1571" y="659"/>
                  </a:lnTo>
                  <a:lnTo>
                    <a:pt x="1571" y="659"/>
                  </a:lnTo>
                  <a:lnTo>
                    <a:pt x="1571" y="659"/>
                  </a:lnTo>
                  <a:lnTo>
                    <a:pt x="1571" y="659"/>
                  </a:lnTo>
                  <a:lnTo>
                    <a:pt x="1573" y="661"/>
                  </a:lnTo>
                  <a:lnTo>
                    <a:pt x="1573" y="661"/>
                  </a:lnTo>
                  <a:lnTo>
                    <a:pt x="1573" y="661"/>
                  </a:lnTo>
                  <a:lnTo>
                    <a:pt x="1575" y="661"/>
                  </a:lnTo>
                  <a:lnTo>
                    <a:pt x="1575" y="659"/>
                  </a:lnTo>
                  <a:lnTo>
                    <a:pt x="1575" y="659"/>
                  </a:lnTo>
                  <a:lnTo>
                    <a:pt x="1575" y="657"/>
                  </a:lnTo>
                  <a:lnTo>
                    <a:pt x="1577" y="657"/>
                  </a:lnTo>
                  <a:lnTo>
                    <a:pt x="1577" y="657"/>
                  </a:lnTo>
                  <a:lnTo>
                    <a:pt x="1575" y="655"/>
                  </a:lnTo>
                  <a:lnTo>
                    <a:pt x="1575" y="655"/>
                  </a:lnTo>
                  <a:lnTo>
                    <a:pt x="1577" y="653"/>
                  </a:lnTo>
                  <a:lnTo>
                    <a:pt x="1577" y="653"/>
                  </a:lnTo>
                  <a:lnTo>
                    <a:pt x="1577" y="651"/>
                  </a:lnTo>
                  <a:lnTo>
                    <a:pt x="1573" y="651"/>
                  </a:lnTo>
                  <a:lnTo>
                    <a:pt x="1573" y="651"/>
                  </a:lnTo>
                  <a:lnTo>
                    <a:pt x="1573" y="649"/>
                  </a:lnTo>
                  <a:lnTo>
                    <a:pt x="1573" y="646"/>
                  </a:lnTo>
                  <a:lnTo>
                    <a:pt x="1573" y="644"/>
                  </a:lnTo>
                  <a:lnTo>
                    <a:pt x="1573" y="644"/>
                  </a:lnTo>
                  <a:lnTo>
                    <a:pt x="1573" y="642"/>
                  </a:lnTo>
                  <a:lnTo>
                    <a:pt x="1573" y="640"/>
                  </a:lnTo>
                  <a:lnTo>
                    <a:pt x="1573" y="640"/>
                  </a:lnTo>
                  <a:lnTo>
                    <a:pt x="1571" y="638"/>
                  </a:lnTo>
                  <a:lnTo>
                    <a:pt x="1571" y="638"/>
                  </a:lnTo>
                  <a:lnTo>
                    <a:pt x="1563" y="638"/>
                  </a:lnTo>
                  <a:lnTo>
                    <a:pt x="1561" y="638"/>
                  </a:lnTo>
                  <a:lnTo>
                    <a:pt x="1559" y="638"/>
                  </a:lnTo>
                  <a:lnTo>
                    <a:pt x="1559" y="636"/>
                  </a:lnTo>
                  <a:lnTo>
                    <a:pt x="1561" y="636"/>
                  </a:lnTo>
                  <a:lnTo>
                    <a:pt x="1569" y="636"/>
                  </a:lnTo>
                  <a:lnTo>
                    <a:pt x="1571" y="636"/>
                  </a:lnTo>
                  <a:lnTo>
                    <a:pt x="1573" y="636"/>
                  </a:lnTo>
                  <a:lnTo>
                    <a:pt x="1573" y="634"/>
                  </a:lnTo>
                  <a:lnTo>
                    <a:pt x="1573" y="634"/>
                  </a:lnTo>
                  <a:lnTo>
                    <a:pt x="1573" y="632"/>
                  </a:lnTo>
                  <a:lnTo>
                    <a:pt x="1573" y="632"/>
                  </a:lnTo>
                  <a:lnTo>
                    <a:pt x="1573" y="632"/>
                  </a:lnTo>
                  <a:lnTo>
                    <a:pt x="1571" y="630"/>
                  </a:lnTo>
                  <a:lnTo>
                    <a:pt x="1571" y="628"/>
                  </a:lnTo>
                  <a:lnTo>
                    <a:pt x="1571" y="628"/>
                  </a:lnTo>
                  <a:lnTo>
                    <a:pt x="1571" y="626"/>
                  </a:lnTo>
                  <a:lnTo>
                    <a:pt x="1571" y="626"/>
                  </a:lnTo>
                  <a:lnTo>
                    <a:pt x="1573" y="622"/>
                  </a:lnTo>
                  <a:lnTo>
                    <a:pt x="1575" y="622"/>
                  </a:lnTo>
                  <a:lnTo>
                    <a:pt x="1575" y="620"/>
                  </a:lnTo>
                  <a:lnTo>
                    <a:pt x="1575" y="620"/>
                  </a:lnTo>
                  <a:lnTo>
                    <a:pt x="1577" y="620"/>
                  </a:lnTo>
                  <a:lnTo>
                    <a:pt x="1577" y="618"/>
                  </a:lnTo>
                  <a:lnTo>
                    <a:pt x="1577" y="618"/>
                  </a:lnTo>
                  <a:lnTo>
                    <a:pt x="1575" y="615"/>
                  </a:lnTo>
                  <a:lnTo>
                    <a:pt x="1575" y="615"/>
                  </a:lnTo>
                  <a:lnTo>
                    <a:pt x="1575" y="615"/>
                  </a:lnTo>
                  <a:lnTo>
                    <a:pt x="1573" y="615"/>
                  </a:lnTo>
                  <a:lnTo>
                    <a:pt x="1573" y="615"/>
                  </a:lnTo>
                  <a:lnTo>
                    <a:pt x="1573" y="618"/>
                  </a:lnTo>
                  <a:lnTo>
                    <a:pt x="1573" y="618"/>
                  </a:lnTo>
                  <a:lnTo>
                    <a:pt x="1571" y="618"/>
                  </a:lnTo>
                  <a:lnTo>
                    <a:pt x="1569" y="620"/>
                  </a:lnTo>
                  <a:lnTo>
                    <a:pt x="1569" y="620"/>
                  </a:lnTo>
                  <a:lnTo>
                    <a:pt x="1567" y="618"/>
                  </a:lnTo>
                  <a:lnTo>
                    <a:pt x="1567" y="618"/>
                  </a:lnTo>
                  <a:lnTo>
                    <a:pt x="1567" y="615"/>
                  </a:lnTo>
                  <a:lnTo>
                    <a:pt x="1565" y="615"/>
                  </a:lnTo>
                  <a:lnTo>
                    <a:pt x="1565" y="615"/>
                  </a:lnTo>
                  <a:lnTo>
                    <a:pt x="1565" y="613"/>
                  </a:lnTo>
                  <a:lnTo>
                    <a:pt x="1563" y="613"/>
                  </a:lnTo>
                  <a:lnTo>
                    <a:pt x="1561" y="615"/>
                  </a:lnTo>
                  <a:lnTo>
                    <a:pt x="1559" y="615"/>
                  </a:lnTo>
                  <a:lnTo>
                    <a:pt x="1553" y="613"/>
                  </a:lnTo>
                  <a:lnTo>
                    <a:pt x="1551" y="613"/>
                  </a:lnTo>
                  <a:lnTo>
                    <a:pt x="1549" y="613"/>
                  </a:lnTo>
                  <a:lnTo>
                    <a:pt x="1549" y="611"/>
                  </a:lnTo>
                  <a:lnTo>
                    <a:pt x="1547" y="611"/>
                  </a:lnTo>
                  <a:lnTo>
                    <a:pt x="1542" y="609"/>
                  </a:lnTo>
                  <a:lnTo>
                    <a:pt x="1544" y="607"/>
                  </a:lnTo>
                  <a:lnTo>
                    <a:pt x="1544" y="607"/>
                  </a:lnTo>
                  <a:lnTo>
                    <a:pt x="1544" y="607"/>
                  </a:lnTo>
                  <a:lnTo>
                    <a:pt x="1542" y="607"/>
                  </a:lnTo>
                  <a:lnTo>
                    <a:pt x="1542" y="607"/>
                  </a:lnTo>
                  <a:lnTo>
                    <a:pt x="1542" y="605"/>
                  </a:lnTo>
                  <a:lnTo>
                    <a:pt x="1542" y="605"/>
                  </a:lnTo>
                  <a:lnTo>
                    <a:pt x="1544" y="603"/>
                  </a:lnTo>
                  <a:lnTo>
                    <a:pt x="1544" y="603"/>
                  </a:lnTo>
                  <a:lnTo>
                    <a:pt x="1544" y="603"/>
                  </a:lnTo>
                  <a:lnTo>
                    <a:pt x="1544" y="603"/>
                  </a:lnTo>
                  <a:lnTo>
                    <a:pt x="1542" y="601"/>
                  </a:lnTo>
                  <a:lnTo>
                    <a:pt x="1540" y="601"/>
                  </a:lnTo>
                  <a:lnTo>
                    <a:pt x="1540" y="601"/>
                  </a:lnTo>
                  <a:lnTo>
                    <a:pt x="1540" y="603"/>
                  </a:lnTo>
                  <a:lnTo>
                    <a:pt x="1536" y="603"/>
                  </a:lnTo>
                  <a:lnTo>
                    <a:pt x="1536" y="603"/>
                  </a:lnTo>
                  <a:lnTo>
                    <a:pt x="1538" y="601"/>
                  </a:lnTo>
                  <a:lnTo>
                    <a:pt x="1538" y="601"/>
                  </a:lnTo>
                  <a:lnTo>
                    <a:pt x="1538" y="601"/>
                  </a:lnTo>
                  <a:lnTo>
                    <a:pt x="1538" y="601"/>
                  </a:lnTo>
                  <a:lnTo>
                    <a:pt x="1538" y="599"/>
                  </a:lnTo>
                  <a:lnTo>
                    <a:pt x="1536" y="599"/>
                  </a:lnTo>
                  <a:lnTo>
                    <a:pt x="1536" y="597"/>
                  </a:lnTo>
                  <a:lnTo>
                    <a:pt x="1534" y="597"/>
                  </a:lnTo>
                  <a:lnTo>
                    <a:pt x="1532" y="595"/>
                  </a:lnTo>
                  <a:lnTo>
                    <a:pt x="1532" y="597"/>
                  </a:lnTo>
                  <a:lnTo>
                    <a:pt x="1530" y="597"/>
                  </a:lnTo>
                  <a:lnTo>
                    <a:pt x="1530" y="597"/>
                  </a:lnTo>
                  <a:lnTo>
                    <a:pt x="1528" y="597"/>
                  </a:lnTo>
                  <a:lnTo>
                    <a:pt x="1530" y="595"/>
                  </a:lnTo>
                  <a:lnTo>
                    <a:pt x="1530" y="593"/>
                  </a:lnTo>
                  <a:lnTo>
                    <a:pt x="1530" y="593"/>
                  </a:lnTo>
                  <a:lnTo>
                    <a:pt x="1530" y="593"/>
                  </a:lnTo>
                  <a:lnTo>
                    <a:pt x="1530" y="591"/>
                  </a:lnTo>
                  <a:lnTo>
                    <a:pt x="1530" y="591"/>
                  </a:lnTo>
                  <a:lnTo>
                    <a:pt x="1530" y="591"/>
                  </a:lnTo>
                  <a:lnTo>
                    <a:pt x="1528" y="591"/>
                  </a:lnTo>
                  <a:lnTo>
                    <a:pt x="1526" y="591"/>
                  </a:lnTo>
                  <a:lnTo>
                    <a:pt x="1524" y="591"/>
                  </a:lnTo>
                  <a:lnTo>
                    <a:pt x="1522" y="589"/>
                  </a:lnTo>
                  <a:lnTo>
                    <a:pt x="1522" y="587"/>
                  </a:lnTo>
                  <a:lnTo>
                    <a:pt x="1520" y="587"/>
                  </a:lnTo>
                  <a:lnTo>
                    <a:pt x="1516" y="584"/>
                  </a:lnTo>
                  <a:lnTo>
                    <a:pt x="1516" y="584"/>
                  </a:lnTo>
                  <a:lnTo>
                    <a:pt x="1516" y="584"/>
                  </a:lnTo>
                  <a:lnTo>
                    <a:pt x="1514" y="584"/>
                  </a:lnTo>
                  <a:lnTo>
                    <a:pt x="1511" y="587"/>
                  </a:lnTo>
                  <a:lnTo>
                    <a:pt x="1507" y="587"/>
                  </a:lnTo>
                  <a:lnTo>
                    <a:pt x="1505" y="589"/>
                  </a:lnTo>
                  <a:lnTo>
                    <a:pt x="1501" y="589"/>
                  </a:lnTo>
                  <a:lnTo>
                    <a:pt x="1501" y="591"/>
                  </a:lnTo>
                  <a:lnTo>
                    <a:pt x="1503" y="591"/>
                  </a:lnTo>
                  <a:lnTo>
                    <a:pt x="1503" y="591"/>
                  </a:lnTo>
                  <a:lnTo>
                    <a:pt x="1499" y="589"/>
                  </a:lnTo>
                  <a:lnTo>
                    <a:pt x="1497" y="589"/>
                  </a:lnTo>
                  <a:lnTo>
                    <a:pt x="1495" y="589"/>
                  </a:lnTo>
                  <a:lnTo>
                    <a:pt x="1493" y="587"/>
                  </a:lnTo>
                  <a:lnTo>
                    <a:pt x="1491" y="587"/>
                  </a:lnTo>
                  <a:lnTo>
                    <a:pt x="1491" y="589"/>
                  </a:lnTo>
                  <a:lnTo>
                    <a:pt x="1487" y="591"/>
                  </a:lnTo>
                  <a:lnTo>
                    <a:pt x="1485" y="591"/>
                  </a:lnTo>
                  <a:lnTo>
                    <a:pt x="1487" y="589"/>
                  </a:lnTo>
                  <a:lnTo>
                    <a:pt x="1485" y="587"/>
                  </a:lnTo>
                  <a:lnTo>
                    <a:pt x="1474" y="584"/>
                  </a:lnTo>
                  <a:lnTo>
                    <a:pt x="1470" y="582"/>
                  </a:lnTo>
                  <a:lnTo>
                    <a:pt x="1466" y="582"/>
                  </a:lnTo>
                  <a:lnTo>
                    <a:pt x="1464" y="582"/>
                  </a:lnTo>
                  <a:lnTo>
                    <a:pt x="1460" y="582"/>
                  </a:lnTo>
                  <a:lnTo>
                    <a:pt x="1456" y="584"/>
                  </a:lnTo>
                  <a:lnTo>
                    <a:pt x="1454" y="587"/>
                  </a:lnTo>
                  <a:lnTo>
                    <a:pt x="1452" y="587"/>
                  </a:lnTo>
                  <a:lnTo>
                    <a:pt x="1452" y="589"/>
                  </a:lnTo>
                  <a:lnTo>
                    <a:pt x="1452" y="589"/>
                  </a:lnTo>
                  <a:lnTo>
                    <a:pt x="1452" y="593"/>
                  </a:lnTo>
                  <a:lnTo>
                    <a:pt x="1454" y="595"/>
                  </a:lnTo>
                  <a:lnTo>
                    <a:pt x="1454" y="597"/>
                  </a:lnTo>
                  <a:lnTo>
                    <a:pt x="1456" y="599"/>
                  </a:lnTo>
                  <a:lnTo>
                    <a:pt x="1456" y="601"/>
                  </a:lnTo>
                  <a:lnTo>
                    <a:pt x="1458" y="601"/>
                  </a:lnTo>
                  <a:lnTo>
                    <a:pt x="1458" y="603"/>
                  </a:lnTo>
                  <a:lnTo>
                    <a:pt x="1462" y="603"/>
                  </a:lnTo>
                  <a:lnTo>
                    <a:pt x="1460" y="605"/>
                  </a:lnTo>
                  <a:lnTo>
                    <a:pt x="1458" y="607"/>
                  </a:lnTo>
                  <a:lnTo>
                    <a:pt x="1458" y="607"/>
                  </a:lnTo>
                  <a:lnTo>
                    <a:pt x="1458" y="611"/>
                  </a:lnTo>
                  <a:lnTo>
                    <a:pt x="1458" y="611"/>
                  </a:lnTo>
                  <a:lnTo>
                    <a:pt x="1458" y="613"/>
                  </a:lnTo>
                  <a:lnTo>
                    <a:pt x="1456" y="613"/>
                  </a:lnTo>
                  <a:lnTo>
                    <a:pt x="1456" y="615"/>
                  </a:lnTo>
                  <a:lnTo>
                    <a:pt x="1452" y="620"/>
                  </a:lnTo>
                  <a:lnTo>
                    <a:pt x="1452" y="620"/>
                  </a:lnTo>
                  <a:lnTo>
                    <a:pt x="1452" y="620"/>
                  </a:lnTo>
                  <a:lnTo>
                    <a:pt x="1454" y="620"/>
                  </a:lnTo>
                  <a:lnTo>
                    <a:pt x="1456" y="620"/>
                  </a:lnTo>
                  <a:lnTo>
                    <a:pt x="1460" y="620"/>
                  </a:lnTo>
                  <a:lnTo>
                    <a:pt x="1460" y="620"/>
                  </a:lnTo>
                  <a:lnTo>
                    <a:pt x="1460" y="620"/>
                  </a:lnTo>
                  <a:lnTo>
                    <a:pt x="1458" y="622"/>
                  </a:lnTo>
                  <a:lnTo>
                    <a:pt x="1458" y="622"/>
                  </a:lnTo>
                  <a:lnTo>
                    <a:pt x="1458" y="624"/>
                  </a:lnTo>
                  <a:lnTo>
                    <a:pt x="1458" y="626"/>
                  </a:lnTo>
                  <a:lnTo>
                    <a:pt x="1460" y="626"/>
                  </a:lnTo>
                  <a:lnTo>
                    <a:pt x="1462" y="626"/>
                  </a:lnTo>
                  <a:lnTo>
                    <a:pt x="1462" y="626"/>
                  </a:lnTo>
                  <a:lnTo>
                    <a:pt x="1460" y="626"/>
                  </a:lnTo>
                  <a:lnTo>
                    <a:pt x="1458" y="628"/>
                  </a:lnTo>
                  <a:lnTo>
                    <a:pt x="1460" y="630"/>
                  </a:lnTo>
                  <a:lnTo>
                    <a:pt x="1462" y="634"/>
                  </a:lnTo>
                  <a:lnTo>
                    <a:pt x="1462" y="634"/>
                  </a:lnTo>
                  <a:lnTo>
                    <a:pt x="1460" y="634"/>
                  </a:lnTo>
                  <a:lnTo>
                    <a:pt x="1460" y="636"/>
                  </a:lnTo>
                  <a:lnTo>
                    <a:pt x="1460" y="636"/>
                  </a:lnTo>
                  <a:lnTo>
                    <a:pt x="1464" y="636"/>
                  </a:lnTo>
                  <a:lnTo>
                    <a:pt x="1464" y="636"/>
                  </a:lnTo>
                  <a:lnTo>
                    <a:pt x="1464" y="638"/>
                  </a:lnTo>
                  <a:lnTo>
                    <a:pt x="1464" y="640"/>
                  </a:lnTo>
                  <a:lnTo>
                    <a:pt x="1464" y="640"/>
                  </a:lnTo>
                  <a:lnTo>
                    <a:pt x="1464" y="642"/>
                  </a:lnTo>
                  <a:lnTo>
                    <a:pt x="1462" y="642"/>
                  </a:lnTo>
                  <a:lnTo>
                    <a:pt x="1462" y="644"/>
                  </a:lnTo>
                  <a:lnTo>
                    <a:pt x="1462" y="644"/>
                  </a:lnTo>
                  <a:lnTo>
                    <a:pt x="1464" y="646"/>
                  </a:lnTo>
                  <a:lnTo>
                    <a:pt x="1462" y="646"/>
                  </a:lnTo>
                  <a:lnTo>
                    <a:pt x="1460" y="644"/>
                  </a:lnTo>
                  <a:lnTo>
                    <a:pt x="1458" y="644"/>
                  </a:lnTo>
                  <a:lnTo>
                    <a:pt x="1458" y="644"/>
                  </a:lnTo>
                  <a:lnTo>
                    <a:pt x="1458" y="646"/>
                  </a:lnTo>
                  <a:lnTo>
                    <a:pt x="1458" y="646"/>
                  </a:lnTo>
                  <a:lnTo>
                    <a:pt x="1456" y="649"/>
                  </a:lnTo>
                  <a:lnTo>
                    <a:pt x="1456" y="649"/>
                  </a:lnTo>
                  <a:lnTo>
                    <a:pt x="1458" y="649"/>
                  </a:lnTo>
                  <a:lnTo>
                    <a:pt x="1458" y="651"/>
                  </a:lnTo>
                  <a:lnTo>
                    <a:pt x="1456" y="653"/>
                  </a:lnTo>
                  <a:lnTo>
                    <a:pt x="1454" y="653"/>
                  </a:lnTo>
                  <a:lnTo>
                    <a:pt x="1454" y="655"/>
                  </a:lnTo>
                  <a:lnTo>
                    <a:pt x="1452" y="655"/>
                  </a:lnTo>
                  <a:lnTo>
                    <a:pt x="1452" y="657"/>
                  </a:lnTo>
                  <a:lnTo>
                    <a:pt x="1448" y="661"/>
                  </a:lnTo>
                  <a:lnTo>
                    <a:pt x="1448" y="661"/>
                  </a:lnTo>
                  <a:lnTo>
                    <a:pt x="1448" y="661"/>
                  </a:lnTo>
                  <a:lnTo>
                    <a:pt x="1448" y="663"/>
                  </a:lnTo>
                  <a:lnTo>
                    <a:pt x="1448" y="665"/>
                  </a:lnTo>
                  <a:lnTo>
                    <a:pt x="1448" y="665"/>
                  </a:lnTo>
                  <a:lnTo>
                    <a:pt x="1448" y="667"/>
                  </a:lnTo>
                  <a:lnTo>
                    <a:pt x="1450" y="667"/>
                  </a:lnTo>
                  <a:lnTo>
                    <a:pt x="1454" y="671"/>
                  </a:lnTo>
                  <a:lnTo>
                    <a:pt x="1456" y="671"/>
                  </a:lnTo>
                  <a:lnTo>
                    <a:pt x="1458" y="673"/>
                  </a:lnTo>
                  <a:lnTo>
                    <a:pt x="1460" y="673"/>
                  </a:lnTo>
                  <a:lnTo>
                    <a:pt x="1462" y="675"/>
                  </a:lnTo>
                  <a:lnTo>
                    <a:pt x="1466" y="677"/>
                  </a:lnTo>
                  <a:lnTo>
                    <a:pt x="1470" y="684"/>
                  </a:lnTo>
                  <a:lnTo>
                    <a:pt x="1470" y="686"/>
                  </a:lnTo>
                  <a:lnTo>
                    <a:pt x="1472" y="688"/>
                  </a:lnTo>
                  <a:lnTo>
                    <a:pt x="1474" y="692"/>
                  </a:lnTo>
                  <a:lnTo>
                    <a:pt x="1474" y="694"/>
                  </a:lnTo>
                  <a:lnTo>
                    <a:pt x="1474" y="696"/>
                  </a:lnTo>
                  <a:lnTo>
                    <a:pt x="1474" y="702"/>
                  </a:lnTo>
                  <a:lnTo>
                    <a:pt x="1474" y="704"/>
                  </a:lnTo>
                  <a:lnTo>
                    <a:pt x="1474" y="708"/>
                  </a:lnTo>
                  <a:lnTo>
                    <a:pt x="1474" y="713"/>
                  </a:lnTo>
                  <a:lnTo>
                    <a:pt x="1474" y="715"/>
                  </a:lnTo>
                  <a:lnTo>
                    <a:pt x="1474" y="717"/>
                  </a:lnTo>
                  <a:lnTo>
                    <a:pt x="1472" y="719"/>
                  </a:lnTo>
                  <a:lnTo>
                    <a:pt x="1470" y="721"/>
                  </a:lnTo>
                  <a:lnTo>
                    <a:pt x="1468" y="725"/>
                  </a:lnTo>
                  <a:lnTo>
                    <a:pt x="1466" y="725"/>
                  </a:lnTo>
                  <a:lnTo>
                    <a:pt x="1464" y="727"/>
                  </a:lnTo>
                  <a:lnTo>
                    <a:pt x="1458" y="731"/>
                  </a:lnTo>
                  <a:lnTo>
                    <a:pt x="1458" y="733"/>
                  </a:lnTo>
                  <a:lnTo>
                    <a:pt x="1456" y="735"/>
                  </a:lnTo>
                  <a:lnTo>
                    <a:pt x="1452" y="735"/>
                  </a:lnTo>
                  <a:lnTo>
                    <a:pt x="1450" y="737"/>
                  </a:lnTo>
                  <a:lnTo>
                    <a:pt x="1448" y="739"/>
                  </a:lnTo>
                  <a:lnTo>
                    <a:pt x="1441" y="741"/>
                  </a:lnTo>
                  <a:lnTo>
                    <a:pt x="1441" y="741"/>
                  </a:lnTo>
                  <a:lnTo>
                    <a:pt x="1431" y="746"/>
                  </a:lnTo>
                  <a:lnTo>
                    <a:pt x="1429" y="746"/>
                  </a:lnTo>
                  <a:lnTo>
                    <a:pt x="1429" y="746"/>
                  </a:lnTo>
                  <a:lnTo>
                    <a:pt x="1431" y="746"/>
                  </a:lnTo>
                  <a:lnTo>
                    <a:pt x="1431" y="746"/>
                  </a:lnTo>
                  <a:lnTo>
                    <a:pt x="1431" y="748"/>
                  </a:lnTo>
                  <a:lnTo>
                    <a:pt x="1433" y="750"/>
                  </a:lnTo>
                  <a:lnTo>
                    <a:pt x="1433" y="752"/>
                  </a:lnTo>
                  <a:lnTo>
                    <a:pt x="1433" y="752"/>
                  </a:lnTo>
                  <a:lnTo>
                    <a:pt x="1435" y="754"/>
                  </a:lnTo>
                  <a:lnTo>
                    <a:pt x="1435" y="754"/>
                  </a:lnTo>
                  <a:lnTo>
                    <a:pt x="1437" y="754"/>
                  </a:lnTo>
                  <a:lnTo>
                    <a:pt x="1437" y="756"/>
                  </a:lnTo>
                  <a:lnTo>
                    <a:pt x="1437" y="756"/>
                  </a:lnTo>
                  <a:lnTo>
                    <a:pt x="1437" y="756"/>
                  </a:lnTo>
                  <a:lnTo>
                    <a:pt x="1437" y="756"/>
                  </a:lnTo>
                  <a:lnTo>
                    <a:pt x="1439" y="758"/>
                  </a:lnTo>
                  <a:lnTo>
                    <a:pt x="1439" y="758"/>
                  </a:lnTo>
                  <a:lnTo>
                    <a:pt x="1439" y="758"/>
                  </a:lnTo>
                  <a:lnTo>
                    <a:pt x="1439" y="760"/>
                  </a:lnTo>
                  <a:lnTo>
                    <a:pt x="1439" y="760"/>
                  </a:lnTo>
                  <a:lnTo>
                    <a:pt x="1439" y="760"/>
                  </a:lnTo>
                  <a:lnTo>
                    <a:pt x="1441" y="762"/>
                  </a:lnTo>
                  <a:lnTo>
                    <a:pt x="1441" y="762"/>
                  </a:lnTo>
                  <a:lnTo>
                    <a:pt x="1439" y="762"/>
                  </a:lnTo>
                  <a:lnTo>
                    <a:pt x="1439" y="762"/>
                  </a:lnTo>
                  <a:lnTo>
                    <a:pt x="1439" y="764"/>
                  </a:lnTo>
                  <a:lnTo>
                    <a:pt x="1439" y="764"/>
                  </a:lnTo>
                  <a:lnTo>
                    <a:pt x="1439" y="764"/>
                  </a:lnTo>
                  <a:lnTo>
                    <a:pt x="1439" y="766"/>
                  </a:lnTo>
                  <a:lnTo>
                    <a:pt x="1439" y="770"/>
                  </a:lnTo>
                  <a:lnTo>
                    <a:pt x="1441" y="774"/>
                  </a:lnTo>
                  <a:lnTo>
                    <a:pt x="1441" y="777"/>
                  </a:lnTo>
                  <a:lnTo>
                    <a:pt x="1441" y="779"/>
                  </a:lnTo>
                  <a:lnTo>
                    <a:pt x="1443" y="779"/>
                  </a:lnTo>
                  <a:lnTo>
                    <a:pt x="1443" y="781"/>
                  </a:lnTo>
                  <a:lnTo>
                    <a:pt x="1443" y="781"/>
                  </a:lnTo>
                  <a:lnTo>
                    <a:pt x="1443" y="783"/>
                  </a:lnTo>
                  <a:lnTo>
                    <a:pt x="1443" y="785"/>
                  </a:lnTo>
                  <a:lnTo>
                    <a:pt x="1443" y="785"/>
                  </a:lnTo>
                  <a:lnTo>
                    <a:pt x="1445" y="787"/>
                  </a:lnTo>
                  <a:lnTo>
                    <a:pt x="1445" y="787"/>
                  </a:lnTo>
                  <a:lnTo>
                    <a:pt x="1448" y="789"/>
                  </a:lnTo>
                  <a:lnTo>
                    <a:pt x="1448" y="791"/>
                  </a:lnTo>
                  <a:lnTo>
                    <a:pt x="1448" y="791"/>
                  </a:lnTo>
                  <a:lnTo>
                    <a:pt x="1448" y="791"/>
                  </a:lnTo>
                  <a:lnTo>
                    <a:pt x="1448" y="791"/>
                  </a:lnTo>
                  <a:lnTo>
                    <a:pt x="1448" y="793"/>
                  </a:lnTo>
                  <a:lnTo>
                    <a:pt x="1445" y="793"/>
                  </a:lnTo>
                  <a:lnTo>
                    <a:pt x="1443" y="795"/>
                  </a:lnTo>
                  <a:lnTo>
                    <a:pt x="1443" y="797"/>
                  </a:lnTo>
                  <a:lnTo>
                    <a:pt x="1441" y="799"/>
                  </a:lnTo>
                  <a:lnTo>
                    <a:pt x="1441" y="799"/>
                  </a:lnTo>
                  <a:lnTo>
                    <a:pt x="1441" y="801"/>
                  </a:lnTo>
                  <a:lnTo>
                    <a:pt x="1439" y="801"/>
                  </a:lnTo>
                  <a:lnTo>
                    <a:pt x="1439" y="801"/>
                  </a:lnTo>
                  <a:lnTo>
                    <a:pt x="1443" y="805"/>
                  </a:lnTo>
                  <a:lnTo>
                    <a:pt x="1443" y="805"/>
                  </a:lnTo>
                  <a:lnTo>
                    <a:pt x="1443" y="805"/>
                  </a:lnTo>
                  <a:lnTo>
                    <a:pt x="1443" y="808"/>
                  </a:lnTo>
                  <a:lnTo>
                    <a:pt x="1441" y="808"/>
                  </a:lnTo>
                  <a:lnTo>
                    <a:pt x="1441" y="810"/>
                  </a:lnTo>
                  <a:lnTo>
                    <a:pt x="1441" y="812"/>
                  </a:lnTo>
                  <a:lnTo>
                    <a:pt x="1441" y="812"/>
                  </a:lnTo>
                  <a:lnTo>
                    <a:pt x="1439" y="808"/>
                  </a:lnTo>
                  <a:lnTo>
                    <a:pt x="1439" y="808"/>
                  </a:lnTo>
                  <a:lnTo>
                    <a:pt x="1439" y="808"/>
                  </a:lnTo>
                  <a:lnTo>
                    <a:pt x="1439" y="805"/>
                  </a:lnTo>
                  <a:lnTo>
                    <a:pt x="1437" y="805"/>
                  </a:lnTo>
                  <a:lnTo>
                    <a:pt x="1437" y="805"/>
                  </a:lnTo>
                  <a:lnTo>
                    <a:pt x="1437" y="805"/>
                  </a:lnTo>
                  <a:lnTo>
                    <a:pt x="1435" y="803"/>
                  </a:lnTo>
                  <a:lnTo>
                    <a:pt x="1435" y="803"/>
                  </a:lnTo>
                  <a:lnTo>
                    <a:pt x="1433" y="805"/>
                  </a:lnTo>
                  <a:lnTo>
                    <a:pt x="1433" y="805"/>
                  </a:lnTo>
                  <a:lnTo>
                    <a:pt x="1433" y="805"/>
                  </a:lnTo>
                  <a:lnTo>
                    <a:pt x="1431" y="808"/>
                  </a:lnTo>
                  <a:lnTo>
                    <a:pt x="1431" y="808"/>
                  </a:lnTo>
                  <a:lnTo>
                    <a:pt x="1431" y="810"/>
                  </a:lnTo>
                  <a:lnTo>
                    <a:pt x="1429" y="812"/>
                  </a:lnTo>
                  <a:lnTo>
                    <a:pt x="1429" y="812"/>
                  </a:lnTo>
                  <a:lnTo>
                    <a:pt x="1429" y="814"/>
                  </a:lnTo>
                  <a:lnTo>
                    <a:pt x="1429" y="814"/>
                  </a:lnTo>
                  <a:lnTo>
                    <a:pt x="1431" y="814"/>
                  </a:lnTo>
                  <a:lnTo>
                    <a:pt x="1433" y="818"/>
                  </a:lnTo>
                  <a:lnTo>
                    <a:pt x="1435" y="818"/>
                  </a:lnTo>
                  <a:lnTo>
                    <a:pt x="1435" y="820"/>
                  </a:lnTo>
                  <a:lnTo>
                    <a:pt x="1433" y="818"/>
                  </a:lnTo>
                  <a:lnTo>
                    <a:pt x="1431" y="816"/>
                  </a:lnTo>
                  <a:lnTo>
                    <a:pt x="1429" y="812"/>
                  </a:lnTo>
                  <a:lnTo>
                    <a:pt x="1427" y="812"/>
                  </a:lnTo>
                  <a:lnTo>
                    <a:pt x="1425" y="810"/>
                  </a:lnTo>
                  <a:lnTo>
                    <a:pt x="1423" y="810"/>
                  </a:lnTo>
                  <a:lnTo>
                    <a:pt x="1421" y="810"/>
                  </a:lnTo>
                  <a:lnTo>
                    <a:pt x="1419" y="810"/>
                  </a:lnTo>
                  <a:lnTo>
                    <a:pt x="1417" y="812"/>
                  </a:lnTo>
                  <a:lnTo>
                    <a:pt x="1415" y="814"/>
                  </a:lnTo>
                  <a:lnTo>
                    <a:pt x="1415" y="814"/>
                  </a:lnTo>
                  <a:lnTo>
                    <a:pt x="1417" y="810"/>
                  </a:lnTo>
                  <a:lnTo>
                    <a:pt x="1419" y="810"/>
                  </a:lnTo>
                  <a:lnTo>
                    <a:pt x="1419" y="808"/>
                  </a:lnTo>
                  <a:lnTo>
                    <a:pt x="1419" y="808"/>
                  </a:lnTo>
                  <a:lnTo>
                    <a:pt x="1419" y="805"/>
                  </a:lnTo>
                  <a:lnTo>
                    <a:pt x="1417" y="803"/>
                  </a:lnTo>
                  <a:lnTo>
                    <a:pt x="1417" y="801"/>
                  </a:lnTo>
                  <a:lnTo>
                    <a:pt x="1417" y="801"/>
                  </a:lnTo>
                  <a:lnTo>
                    <a:pt x="1413" y="797"/>
                  </a:lnTo>
                  <a:lnTo>
                    <a:pt x="1410" y="795"/>
                  </a:lnTo>
                  <a:lnTo>
                    <a:pt x="1408" y="795"/>
                  </a:lnTo>
                  <a:lnTo>
                    <a:pt x="1406" y="793"/>
                  </a:lnTo>
                  <a:lnTo>
                    <a:pt x="1404" y="793"/>
                  </a:lnTo>
                  <a:lnTo>
                    <a:pt x="1404" y="793"/>
                  </a:lnTo>
                  <a:lnTo>
                    <a:pt x="1402" y="793"/>
                  </a:lnTo>
                  <a:lnTo>
                    <a:pt x="1400" y="793"/>
                  </a:lnTo>
                  <a:lnTo>
                    <a:pt x="1400" y="793"/>
                  </a:lnTo>
                  <a:lnTo>
                    <a:pt x="1400" y="791"/>
                  </a:lnTo>
                  <a:lnTo>
                    <a:pt x="1402" y="791"/>
                  </a:lnTo>
                  <a:lnTo>
                    <a:pt x="1402" y="791"/>
                  </a:lnTo>
                  <a:lnTo>
                    <a:pt x="1404" y="789"/>
                  </a:lnTo>
                  <a:lnTo>
                    <a:pt x="1402" y="789"/>
                  </a:lnTo>
                  <a:lnTo>
                    <a:pt x="1400" y="787"/>
                  </a:lnTo>
                  <a:lnTo>
                    <a:pt x="1400" y="785"/>
                  </a:lnTo>
                  <a:lnTo>
                    <a:pt x="1396" y="781"/>
                  </a:lnTo>
                  <a:lnTo>
                    <a:pt x="1396" y="781"/>
                  </a:lnTo>
                  <a:lnTo>
                    <a:pt x="1394" y="779"/>
                  </a:lnTo>
                  <a:lnTo>
                    <a:pt x="1394" y="779"/>
                  </a:lnTo>
                  <a:lnTo>
                    <a:pt x="1394" y="777"/>
                  </a:lnTo>
                  <a:lnTo>
                    <a:pt x="1394" y="777"/>
                  </a:lnTo>
                  <a:lnTo>
                    <a:pt x="1394" y="774"/>
                  </a:lnTo>
                  <a:lnTo>
                    <a:pt x="1394" y="774"/>
                  </a:lnTo>
                  <a:lnTo>
                    <a:pt x="1394" y="772"/>
                  </a:lnTo>
                  <a:lnTo>
                    <a:pt x="1396" y="770"/>
                  </a:lnTo>
                  <a:lnTo>
                    <a:pt x="1394" y="768"/>
                  </a:lnTo>
                  <a:lnTo>
                    <a:pt x="1394" y="766"/>
                  </a:lnTo>
                  <a:lnTo>
                    <a:pt x="1396" y="764"/>
                  </a:lnTo>
                  <a:lnTo>
                    <a:pt x="1396" y="762"/>
                  </a:lnTo>
                  <a:lnTo>
                    <a:pt x="1394" y="760"/>
                  </a:lnTo>
                  <a:lnTo>
                    <a:pt x="1394" y="758"/>
                  </a:lnTo>
                  <a:lnTo>
                    <a:pt x="1394" y="758"/>
                  </a:lnTo>
                  <a:lnTo>
                    <a:pt x="1392" y="756"/>
                  </a:lnTo>
                  <a:lnTo>
                    <a:pt x="1392" y="754"/>
                  </a:lnTo>
                  <a:lnTo>
                    <a:pt x="1392" y="752"/>
                  </a:lnTo>
                  <a:lnTo>
                    <a:pt x="1392" y="750"/>
                  </a:lnTo>
                  <a:lnTo>
                    <a:pt x="1394" y="743"/>
                  </a:lnTo>
                  <a:lnTo>
                    <a:pt x="1394" y="741"/>
                  </a:lnTo>
                  <a:lnTo>
                    <a:pt x="1392" y="739"/>
                  </a:lnTo>
                  <a:lnTo>
                    <a:pt x="1392" y="737"/>
                  </a:lnTo>
                  <a:lnTo>
                    <a:pt x="1390" y="735"/>
                  </a:lnTo>
                  <a:lnTo>
                    <a:pt x="1388" y="735"/>
                  </a:lnTo>
                  <a:lnTo>
                    <a:pt x="1386" y="735"/>
                  </a:lnTo>
                  <a:lnTo>
                    <a:pt x="1386" y="735"/>
                  </a:lnTo>
                  <a:lnTo>
                    <a:pt x="1384" y="735"/>
                  </a:lnTo>
                  <a:lnTo>
                    <a:pt x="1384" y="735"/>
                  </a:lnTo>
                  <a:lnTo>
                    <a:pt x="1380" y="735"/>
                  </a:lnTo>
                  <a:lnTo>
                    <a:pt x="1375" y="733"/>
                  </a:lnTo>
                  <a:lnTo>
                    <a:pt x="1373" y="733"/>
                  </a:lnTo>
                  <a:lnTo>
                    <a:pt x="1369" y="733"/>
                  </a:lnTo>
                  <a:lnTo>
                    <a:pt x="1369" y="733"/>
                  </a:lnTo>
                  <a:lnTo>
                    <a:pt x="1369" y="733"/>
                  </a:lnTo>
                  <a:lnTo>
                    <a:pt x="1367" y="733"/>
                  </a:lnTo>
                  <a:lnTo>
                    <a:pt x="1365" y="733"/>
                  </a:lnTo>
                  <a:lnTo>
                    <a:pt x="1363" y="733"/>
                  </a:lnTo>
                  <a:lnTo>
                    <a:pt x="1361" y="733"/>
                  </a:lnTo>
                  <a:lnTo>
                    <a:pt x="1359" y="733"/>
                  </a:lnTo>
                  <a:lnTo>
                    <a:pt x="1355" y="733"/>
                  </a:lnTo>
                  <a:lnTo>
                    <a:pt x="1353" y="733"/>
                  </a:lnTo>
                  <a:lnTo>
                    <a:pt x="1353" y="733"/>
                  </a:lnTo>
                  <a:lnTo>
                    <a:pt x="1351" y="735"/>
                  </a:lnTo>
                  <a:lnTo>
                    <a:pt x="1349" y="737"/>
                  </a:lnTo>
                  <a:lnTo>
                    <a:pt x="1349" y="737"/>
                  </a:lnTo>
                  <a:lnTo>
                    <a:pt x="1351" y="733"/>
                  </a:lnTo>
                  <a:lnTo>
                    <a:pt x="1351" y="731"/>
                  </a:lnTo>
                  <a:lnTo>
                    <a:pt x="1351" y="731"/>
                  </a:lnTo>
                  <a:lnTo>
                    <a:pt x="1349" y="731"/>
                  </a:lnTo>
                  <a:lnTo>
                    <a:pt x="1349" y="729"/>
                  </a:lnTo>
                  <a:lnTo>
                    <a:pt x="1347" y="729"/>
                  </a:lnTo>
                  <a:lnTo>
                    <a:pt x="1344" y="727"/>
                  </a:lnTo>
                  <a:lnTo>
                    <a:pt x="1342" y="725"/>
                  </a:lnTo>
                  <a:lnTo>
                    <a:pt x="1340" y="725"/>
                  </a:lnTo>
                  <a:lnTo>
                    <a:pt x="1338" y="725"/>
                  </a:lnTo>
                  <a:lnTo>
                    <a:pt x="1334" y="723"/>
                  </a:lnTo>
                  <a:lnTo>
                    <a:pt x="1328" y="721"/>
                  </a:lnTo>
                  <a:lnTo>
                    <a:pt x="1322" y="719"/>
                  </a:lnTo>
                  <a:lnTo>
                    <a:pt x="1320" y="719"/>
                  </a:lnTo>
                  <a:lnTo>
                    <a:pt x="1318" y="719"/>
                  </a:lnTo>
                  <a:lnTo>
                    <a:pt x="1314" y="713"/>
                  </a:lnTo>
                  <a:lnTo>
                    <a:pt x="1311" y="710"/>
                  </a:lnTo>
                  <a:lnTo>
                    <a:pt x="1307" y="708"/>
                  </a:lnTo>
                  <a:lnTo>
                    <a:pt x="1305" y="706"/>
                  </a:lnTo>
                  <a:lnTo>
                    <a:pt x="1301" y="704"/>
                  </a:lnTo>
                  <a:lnTo>
                    <a:pt x="1299" y="702"/>
                  </a:lnTo>
                  <a:lnTo>
                    <a:pt x="1299" y="702"/>
                  </a:lnTo>
                  <a:lnTo>
                    <a:pt x="1295" y="702"/>
                  </a:lnTo>
                  <a:lnTo>
                    <a:pt x="1293" y="700"/>
                  </a:lnTo>
                  <a:lnTo>
                    <a:pt x="1287" y="700"/>
                  </a:lnTo>
                  <a:lnTo>
                    <a:pt x="1283" y="698"/>
                  </a:lnTo>
                  <a:lnTo>
                    <a:pt x="1278" y="696"/>
                  </a:lnTo>
                  <a:lnTo>
                    <a:pt x="1274" y="694"/>
                  </a:lnTo>
                  <a:lnTo>
                    <a:pt x="1270" y="694"/>
                  </a:lnTo>
                  <a:lnTo>
                    <a:pt x="1268" y="694"/>
                  </a:lnTo>
                  <a:lnTo>
                    <a:pt x="1254" y="698"/>
                  </a:lnTo>
                  <a:lnTo>
                    <a:pt x="1252" y="698"/>
                  </a:lnTo>
                  <a:lnTo>
                    <a:pt x="1250" y="700"/>
                  </a:lnTo>
                  <a:lnTo>
                    <a:pt x="1250" y="700"/>
                  </a:lnTo>
                  <a:lnTo>
                    <a:pt x="1250" y="698"/>
                  </a:lnTo>
                  <a:lnTo>
                    <a:pt x="1250" y="698"/>
                  </a:lnTo>
                  <a:lnTo>
                    <a:pt x="1248" y="698"/>
                  </a:lnTo>
                  <a:lnTo>
                    <a:pt x="1248" y="698"/>
                  </a:lnTo>
                  <a:lnTo>
                    <a:pt x="1245" y="700"/>
                  </a:lnTo>
                  <a:lnTo>
                    <a:pt x="1243" y="700"/>
                  </a:lnTo>
                  <a:lnTo>
                    <a:pt x="1243" y="700"/>
                  </a:lnTo>
                  <a:lnTo>
                    <a:pt x="1243" y="700"/>
                  </a:lnTo>
                  <a:lnTo>
                    <a:pt x="1243" y="700"/>
                  </a:lnTo>
                  <a:lnTo>
                    <a:pt x="1245" y="700"/>
                  </a:lnTo>
                  <a:lnTo>
                    <a:pt x="1245" y="698"/>
                  </a:lnTo>
                  <a:lnTo>
                    <a:pt x="1248" y="696"/>
                  </a:lnTo>
                  <a:lnTo>
                    <a:pt x="1248" y="694"/>
                  </a:lnTo>
                  <a:lnTo>
                    <a:pt x="1248" y="694"/>
                  </a:lnTo>
                  <a:lnTo>
                    <a:pt x="1248" y="692"/>
                  </a:lnTo>
                  <a:lnTo>
                    <a:pt x="1248" y="692"/>
                  </a:lnTo>
                  <a:lnTo>
                    <a:pt x="1248" y="690"/>
                  </a:lnTo>
                  <a:lnTo>
                    <a:pt x="1245" y="684"/>
                  </a:lnTo>
                  <a:lnTo>
                    <a:pt x="1243" y="682"/>
                  </a:lnTo>
                  <a:lnTo>
                    <a:pt x="1243" y="677"/>
                  </a:lnTo>
                  <a:lnTo>
                    <a:pt x="1241" y="673"/>
                  </a:lnTo>
                  <a:lnTo>
                    <a:pt x="1239" y="669"/>
                  </a:lnTo>
                  <a:lnTo>
                    <a:pt x="1239" y="667"/>
                  </a:lnTo>
                  <a:lnTo>
                    <a:pt x="1237" y="665"/>
                  </a:lnTo>
                  <a:lnTo>
                    <a:pt x="1237" y="663"/>
                  </a:lnTo>
                  <a:lnTo>
                    <a:pt x="1237" y="663"/>
                  </a:lnTo>
                  <a:lnTo>
                    <a:pt x="1235" y="663"/>
                  </a:lnTo>
                  <a:lnTo>
                    <a:pt x="1233" y="663"/>
                  </a:lnTo>
                  <a:lnTo>
                    <a:pt x="1229" y="663"/>
                  </a:lnTo>
                  <a:lnTo>
                    <a:pt x="1225" y="663"/>
                  </a:lnTo>
                  <a:lnTo>
                    <a:pt x="1225" y="663"/>
                  </a:lnTo>
                  <a:lnTo>
                    <a:pt x="1223" y="665"/>
                  </a:lnTo>
                  <a:lnTo>
                    <a:pt x="1223" y="671"/>
                  </a:lnTo>
                  <a:lnTo>
                    <a:pt x="1221" y="673"/>
                  </a:lnTo>
                  <a:lnTo>
                    <a:pt x="1221" y="671"/>
                  </a:lnTo>
                  <a:lnTo>
                    <a:pt x="1223" y="665"/>
                  </a:lnTo>
                  <a:lnTo>
                    <a:pt x="1223" y="663"/>
                  </a:lnTo>
                  <a:lnTo>
                    <a:pt x="1221" y="663"/>
                  </a:lnTo>
                  <a:lnTo>
                    <a:pt x="1219" y="661"/>
                  </a:lnTo>
                  <a:lnTo>
                    <a:pt x="1219" y="661"/>
                  </a:lnTo>
                  <a:lnTo>
                    <a:pt x="1217" y="661"/>
                  </a:lnTo>
                  <a:lnTo>
                    <a:pt x="1217" y="661"/>
                  </a:lnTo>
                  <a:lnTo>
                    <a:pt x="1217" y="661"/>
                  </a:lnTo>
                  <a:lnTo>
                    <a:pt x="1215" y="659"/>
                  </a:lnTo>
                  <a:lnTo>
                    <a:pt x="1215" y="657"/>
                  </a:lnTo>
                  <a:lnTo>
                    <a:pt x="1215" y="657"/>
                  </a:lnTo>
                  <a:lnTo>
                    <a:pt x="1212" y="657"/>
                  </a:lnTo>
                  <a:lnTo>
                    <a:pt x="1215" y="657"/>
                  </a:lnTo>
                  <a:lnTo>
                    <a:pt x="1215" y="655"/>
                  </a:lnTo>
                  <a:lnTo>
                    <a:pt x="1215" y="653"/>
                  </a:lnTo>
                  <a:lnTo>
                    <a:pt x="1215" y="649"/>
                  </a:lnTo>
                  <a:lnTo>
                    <a:pt x="1215" y="638"/>
                  </a:lnTo>
                  <a:lnTo>
                    <a:pt x="1215" y="634"/>
                  </a:lnTo>
                  <a:lnTo>
                    <a:pt x="1217" y="630"/>
                  </a:lnTo>
                  <a:lnTo>
                    <a:pt x="1217" y="628"/>
                  </a:lnTo>
                  <a:lnTo>
                    <a:pt x="1217" y="628"/>
                  </a:lnTo>
                  <a:lnTo>
                    <a:pt x="1217" y="628"/>
                  </a:lnTo>
                  <a:lnTo>
                    <a:pt x="1215" y="626"/>
                  </a:lnTo>
                  <a:lnTo>
                    <a:pt x="1217" y="626"/>
                  </a:lnTo>
                  <a:lnTo>
                    <a:pt x="1219" y="626"/>
                  </a:lnTo>
                  <a:lnTo>
                    <a:pt x="1219" y="624"/>
                  </a:lnTo>
                  <a:lnTo>
                    <a:pt x="1221" y="622"/>
                  </a:lnTo>
                  <a:lnTo>
                    <a:pt x="1221" y="618"/>
                  </a:lnTo>
                  <a:lnTo>
                    <a:pt x="1225" y="615"/>
                  </a:lnTo>
                  <a:lnTo>
                    <a:pt x="1225" y="613"/>
                  </a:lnTo>
                  <a:lnTo>
                    <a:pt x="1225" y="611"/>
                  </a:lnTo>
                  <a:lnTo>
                    <a:pt x="1225" y="609"/>
                  </a:lnTo>
                  <a:lnTo>
                    <a:pt x="1225" y="609"/>
                  </a:lnTo>
                  <a:lnTo>
                    <a:pt x="1225" y="609"/>
                  </a:lnTo>
                  <a:lnTo>
                    <a:pt x="1227" y="609"/>
                  </a:lnTo>
                  <a:lnTo>
                    <a:pt x="1227" y="609"/>
                  </a:lnTo>
                  <a:lnTo>
                    <a:pt x="1227" y="607"/>
                  </a:lnTo>
                  <a:lnTo>
                    <a:pt x="1227" y="607"/>
                  </a:lnTo>
                  <a:lnTo>
                    <a:pt x="1227" y="605"/>
                  </a:lnTo>
                  <a:lnTo>
                    <a:pt x="1231" y="603"/>
                  </a:lnTo>
                  <a:lnTo>
                    <a:pt x="1235" y="601"/>
                  </a:lnTo>
                  <a:lnTo>
                    <a:pt x="1235" y="599"/>
                  </a:lnTo>
                  <a:lnTo>
                    <a:pt x="1235" y="599"/>
                  </a:lnTo>
                  <a:lnTo>
                    <a:pt x="1235" y="599"/>
                  </a:lnTo>
                  <a:lnTo>
                    <a:pt x="1235" y="599"/>
                  </a:lnTo>
                  <a:lnTo>
                    <a:pt x="1233" y="597"/>
                  </a:lnTo>
                  <a:lnTo>
                    <a:pt x="1233" y="597"/>
                  </a:lnTo>
                  <a:lnTo>
                    <a:pt x="1233" y="595"/>
                  </a:lnTo>
                  <a:lnTo>
                    <a:pt x="1235" y="595"/>
                  </a:lnTo>
                  <a:lnTo>
                    <a:pt x="1235" y="595"/>
                  </a:lnTo>
                  <a:lnTo>
                    <a:pt x="1237" y="595"/>
                  </a:lnTo>
                  <a:lnTo>
                    <a:pt x="1235" y="595"/>
                  </a:lnTo>
                  <a:lnTo>
                    <a:pt x="1235" y="595"/>
                  </a:lnTo>
                  <a:lnTo>
                    <a:pt x="1235" y="593"/>
                  </a:lnTo>
                  <a:lnTo>
                    <a:pt x="1237" y="593"/>
                  </a:lnTo>
                  <a:lnTo>
                    <a:pt x="1239" y="593"/>
                  </a:lnTo>
                  <a:lnTo>
                    <a:pt x="1239" y="593"/>
                  </a:lnTo>
                  <a:lnTo>
                    <a:pt x="1239" y="593"/>
                  </a:lnTo>
                  <a:lnTo>
                    <a:pt x="1239" y="591"/>
                  </a:lnTo>
                  <a:lnTo>
                    <a:pt x="1239" y="591"/>
                  </a:lnTo>
                  <a:lnTo>
                    <a:pt x="1241" y="589"/>
                  </a:lnTo>
                  <a:lnTo>
                    <a:pt x="1241" y="589"/>
                  </a:lnTo>
                  <a:lnTo>
                    <a:pt x="1241" y="589"/>
                  </a:lnTo>
                  <a:lnTo>
                    <a:pt x="1237" y="587"/>
                  </a:lnTo>
                  <a:lnTo>
                    <a:pt x="1237" y="587"/>
                  </a:lnTo>
                  <a:lnTo>
                    <a:pt x="1237" y="587"/>
                  </a:lnTo>
                  <a:lnTo>
                    <a:pt x="1241" y="587"/>
                  </a:lnTo>
                  <a:lnTo>
                    <a:pt x="1243" y="589"/>
                  </a:lnTo>
                  <a:lnTo>
                    <a:pt x="1245" y="589"/>
                  </a:lnTo>
                  <a:lnTo>
                    <a:pt x="1245" y="591"/>
                  </a:lnTo>
                  <a:lnTo>
                    <a:pt x="1248" y="591"/>
                  </a:lnTo>
                  <a:lnTo>
                    <a:pt x="1248" y="591"/>
                  </a:lnTo>
                  <a:lnTo>
                    <a:pt x="1245" y="589"/>
                  </a:lnTo>
                  <a:lnTo>
                    <a:pt x="1245" y="587"/>
                  </a:lnTo>
                  <a:lnTo>
                    <a:pt x="1243" y="587"/>
                  </a:lnTo>
                  <a:lnTo>
                    <a:pt x="1243" y="587"/>
                  </a:lnTo>
                  <a:lnTo>
                    <a:pt x="1245" y="584"/>
                  </a:lnTo>
                  <a:lnTo>
                    <a:pt x="1245" y="584"/>
                  </a:lnTo>
                  <a:lnTo>
                    <a:pt x="1248" y="582"/>
                  </a:lnTo>
                  <a:lnTo>
                    <a:pt x="1248" y="582"/>
                  </a:lnTo>
                  <a:lnTo>
                    <a:pt x="1248" y="582"/>
                  </a:lnTo>
                  <a:lnTo>
                    <a:pt x="1250" y="582"/>
                  </a:lnTo>
                  <a:lnTo>
                    <a:pt x="1250" y="582"/>
                  </a:lnTo>
                  <a:lnTo>
                    <a:pt x="1252" y="580"/>
                  </a:lnTo>
                  <a:lnTo>
                    <a:pt x="1252" y="580"/>
                  </a:lnTo>
                  <a:lnTo>
                    <a:pt x="1254" y="582"/>
                  </a:lnTo>
                  <a:lnTo>
                    <a:pt x="1254" y="582"/>
                  </a:lnTo>
                  <a:lnTo>
                    <a:pt x="1256" y="582"/>
                  </a:lnTo>
                  <a:lnTo>
                    <a:pt x="1256" y="580"/>
                  </a:lnTo>
                  <a:lnTo>
                    <a:pt x="1256" y="580"/>
                  </a:lnTo>
                  <a:lnTo>
                    <a:pt x="1252" y="580"/>
                  </a:lnTo>
                  <a:lnTo>
                    <a:pt x="1252" y="578"/>
                  </a:lnTo>
                  <a:lnTo>
                    <a:pt x="1250" y="578"/>
                  </a:lnTo>
                  <a:lnTo>
                    <a:pt x="1250" y="578"/>
                  </a:lnTo>
                  <a:lnTo>
                    <a:pt x="1250" y="576"/>
                  </a:lnTo>
                  <a:lnTo>
                    <a:pt x="1250" y="576"/>
                  </a:lnTo>
                  <a:lnTo>
                    <a:pt x="1250" y="576"/>
                  </a:lnTo>
                  <a:lnTo>
                    <a:pt x="1252" y="576"/>
                  </a:lnTo>
                  <a:lnTo>
                    <a:pt x="1252" y="576"/>
                  </a:lnTo>
                  <a:lnTo>
                    <a:pt x="1254" y="574"/>
                  </a:lnTo>
                  <a:lnTo>
                    <a:pt x="1254" y="574"/>
                  </a:lnTo>
                  <a:lnTo>
                    <a:pt x="1256" y="576"/>
                  </a:lnTo>
                  <a:lnTo>
                    <a:pt x="1262" y="576"/>
                  </a:lnTo>
                  <a:lnTo>
                    <a:pt x="1264" y="576"/>
                  </a:lnTo>
                  <a:lnTo>
                    <a:pt x="1268" y="574"/>
                  </a:lnTo>
                  <a:lnTo>
                    <a:pt x="1268" y="574"/>
                  </a:lnTo>
                  <a:lnTo>
                    <a:pt x="1270" y="574"/>
                  </a:lnTo>
                  <a:lnTo>
                    <a:pt x="1272" y="572"/>
                  </a:lnTo>
                  <a:lnTo>
                    <a:pt x="1272" y="572"/>
                  </a:lnTo>
                  <a:lnTo>
                    <a:pt x="1272" y="570"/>
                  </a:lnTo>
                  <a:lnTo>
                    <a:pt x="1272" y="570"/>
                  </a:lnTo>
                  <a:lnTo>
                    <a:pt x="1272" y="566"/>
                  </a:lnTo>
                  <a:lnTo>
                    <a:pt x="1272" y="564"/>
                  </a:lnTo>
                  <a:lnTo>
                    <a:pt x="1270" y="562"/>
                  </a:lnTo>
                  <a:lnTo>
                    <a:pt x="1268" y="562"/>
                  </a:lnTo>
                  <a:lnTo>
                    <a:pt x="1264" y="562"/>
                  </a:lnTo>
                  <a:lnTo>
                    <a:pt x="1262" y="560"/>
                  </a:lnTo>
                  <a:lnTo>
                    <a:pt x="1260" y="558"/>
                  </a:lnTo>
                  <a:lnTo>
                    <a:pt x="1258" y="556"/>
                  </a:lnTo>
                  <a:lnTo>
                    <a:pt x="1256" y="558"/>
                  </a:lnTo>
                  <a:lnTo>
                    <a:pt x="1254" y="558"/>
                  </a:lnTo>
                  <a:lnTo>
                    <a:pt x="1250" y="560"/>
                  </a:lnTo>
                  <a:lnTo>
                    <a:pt x="1248" y="560"/>
                  </a:lnTo>
                  <a:lnTo>
                    <a:pt x="1248" y="560"/>
                  </a:lnTo>
                  <a:lnTo>
                    <a:pt x="1252" y="558"/>
                  </a:lnTo>
                  <a:lnTo>
                    <a:pt x="1252" y="558"/>
                  </a:lnTo>
                  <a:lnTo>
                    <a:pt x="1252" y="556"/>
                  </a:lnTo>
                  <a:lnTo>
                    <a:pt x="1250" y="556"/>
                  </a:lnTo>
                  <a:lnTo>
                    <a:pt x="1248" y="556"/>
                  </a:lnTo>
                  <a:lnTo>
                    <a:pt x="1237" y="551"/>
                  </a:lnTo>
                  <a:lnTo>
                    <a:pt x="1237" y="551"/>
                  </a:lnTo>
                  <a:lnTo>
                    <a:pt x="1235" y="551"/>
                  </a:lnTo>
                  <a:lnTo>
                    <a:pt x="1235" y="551"/>
                  </a:lnTo>
                  <a:lnTo>
                    <a:pt x="1235" y="551"/>
                  </a:lnTo>
                  <a:lnTo>
                    <a:pt x="1235" y="554"/>
                  </a:lnTo>
                  <a:lnTo>
                    <a:pt x="1237" y="554"/>
                  </a:lnTo>
                  <a:lnTo>
                    <a:pt x="1237" y="554"/>
                  </a:lnTo>
                  <a:lnTo>
                    <a:pt x="1235" y="554"/>
                  </a:lnTo>
                  <a:lnTo>
                    <a:pt x="1233" y="554"/>
                  </a:lnTo>
                  <a:lnTo>
                    <a:pt x="1231" y="551"/>
                  </a:lnTo>
                  <a:lnTo>
                    <a:pt x="1231" y="549"/>
                  </a:lnTo>
                  <a:lnTo>
                    <a:pt x="1231" y="549"/>
                  </a:lnTo>
                  <a:lnTo>
                    <a:pt x="1231" y="549"/>
                  </a:lnTo>
                  <a:lnTo>
                    <a:pt x="1231" y="547"/>
                  </a:lnTo>
                  <a:lnTo>
                    <a:pt x="1235" y="549"/>
                  </a:lnTo>
                  <a:lnTo>
                    <a:pt x="1241" y="551"/>
                  </a:lnTo>
                  <a:lnTo>
                    <a:pt x="1248" y="554"/>
                  </a:lnTo>
                  <a:lnTo>
                    <a:pt x="1250" y="554"/>
                  </a:lnTo>
                  <a:lnTo>
                    <a:pt x="1252" y="556"/>
                  </a:lnTo>
                  <a:lnTo>
                    <a:pt x="1254" y="556"/>
                  </a:lnTo>
                  <a:lnTo>
                    <a:pt x="1254" y="554"/>
                  </a:lnTo>
                  <a:lnTo>
                    <a:pt x="1256" y="554"/>
                  </a:lnTo>
                  <a:lnTo>
                    <a:pt x="1256" y="554"/>
                  </a:lnTo>
                  <a:lnTo>
                    <a:pt x="1256" y="554"/>
                  </a:lnTo>
                  <a:lnTo>
                    <a:pt x="1256" y="556"/>
                  </a:lnTo>
                  <a:lnTo>
                    <a:pt x="1256" y="556"/>
                  </a:lnTo>
                  <a:lnTo>
                    <a:pt x="1256" y="556"/>
                  </a:lnTo>
                  <a:lnTo>
                    <a:pt x="1260" y="556"/>
                  </a:lnTo>
                  <a:lnTo>
                    <a:pt x="1262" y="556"/>
                  </a:lnTo>
                  <a:lnTo>
                    <a:pt x="1268" y="558"/>
                  </a:lnTo>
                  <a:lnTo>
                    <a:pt x="1270" y="560"/>
                  </a:lnTo>
                  <a:lnTo>
                    <a:pt x="1272" y="560"/>
                  </a:lnTo>
                  <a:lnTo>
                    <a:pt x="1272" y="560"/>
                  </a:lnTo>
                  <a:lnTo>
                    <a:pt x="1274" y="558"/>
                  </a:lnTo>
                  <a:lnTo>
                    <a:pt x="1274" y="558"/>
                  </a:lnTo>
                  <a:lnTo>
                    <a:pt x="1276" y="558"/>
                  </a:lnTo>
                  <a:lnTo>
                    <a:pt x="1276" y="558"/>
                  </a:lnTo>
                  <a:lnTo>
                    <a:pt x="1278" y="558"/>
                  </a:lnTo>
                  <a:lnTo>
                    <a:pt x="1281" y="558"/>
                  </a:lnTo>
                  <a:lnTo>
                    <a:pt x="1281" y="558"/>
                  </a:lnTo>
                  <a:lnTo>
                    <a:pt x="1283" y="554"/>
                  </a:lnTo>
                  <a:lnTo>
                    <a:pt x="1283" y="554"/>
                  </a:lnTo>
                  <a:lnTo>
                    <a:pt x="1283" y="554"/>
                  </a:lnTo>
                  <a:lnTo>
                    <a:pt x="1281" y="549"/>
                  </a:lnTo>
                  <a:lnTo>
                    <a:pt x="1281" y="549"/>
                  </a:lnTo>
                  <a:lnTo>
                    <a:pt x="1285" y="551"/>
                  </a:lnTo>
                  <a:lnTo>
                    <a:pt x="1285" y="551"/>
                  </a:lnTo>
                  <a:lnTo>
                    <a:pt x="1285" y="549"/>
                  </a:lnTo>
                  <a:lnTo>
                    <a:pt x="1285" y="547"/>
                  </a:lnTo>
                  <a:lnTo>
                    <a:pt x="1283" y="547"/>
                  </a:lnTo>
                  <a:lnTo>
                    <a:pt x="1283" y="547"/>
                  </a:lnTo>
                  <a:lnTo>
                    <a:pt x="1283" y="547"/>
                  </a:lnTo>
                  <a:lnTo>
                    <a:pt x="1287" y="545"/>
                  </a:lnTo>
                  <a:lnTo>
                    <a:pt x="1287" y="545"/>
                  </a:lnTo>
                  <a:lnTo>
                    <a:pt x="1287" y="547"/>
                  </a:lnTo>
                  <a:lnTo>
                    <a:pt x="1287" y="547"/>
                  </a:lnTo>
                  <a:lnTo>
                    <a:pt x="1289" y="549"/>
                  </a:lnTo>
                  <a:lnTo>
                    <a:pt x="1289" y="549"/>
                  </a:lnTo>
                  <a:lnTo>
                    <a:pt x="1291" y="549"/>
                  </a:lnTo>
                  <a:lnTo>
                    <a:pt x="1291" y="549"/>
                  </a:lnTo>
                  <a:lnTo>
                    <a:pt x="1291" y="549"/>
                  </a:lnTo>
                  <a:lnTo>
                    <a:pt x="1295" y="549"/>
                  </a:lnTo>
                  <a:lnTo>
                    <a:pt x="1295" y="551"/>
                  </a:lnTo>
                  <a:lnTo>
                    <a:pt x="1295" y="549"/>
                  </a:lnTo>
                  <a:lnTo>
                    <a:pt x="1295" y="547"/>
                  </a:lnTo>
                  <a:lnTo>
                    <a:pt x="1295" y="547"/>
                  </a:lnTo>
                  <a:lnTo>
                    <a:pt x="1297" y="549"/>
                  </a:lnTo>
                  <a:lnTo>
                    <a:pt x="1297" y="549"/>
                  </a:lnTo>
                  <a:lnTo>
                    <a:pt x="1299" y="549"/>
                  </a:lnTo>
                  <a:lnTo>
                    <a:pt x="1303" y="549"/>
                  </a:lnTo>
                  <a:lnTo>
                    <a:pt x="1305" y="547"/>
                  </a:lnTo>
                  <a:lnTo>
                    <a:pt x="1309" y="545"/>
                  </a:lnTo>
                  <a:lnTo>
                    <a:pt x="1311" y="545"/>
                  </a:lnTo>
                  <a:lnTo>
                    <a:pt x="1311" y="543"/>
                  </a:lnTo>
                  <a:lnTo>
                    <a:pt x="1314" y="541"/>
                  </a:lnTo>
                  <a:lnTo>
                    <a:pt x="1322" y="531"/>
                  </a:lnTo>
                  <a:lnTo>
                    <a:pt x="1324" y="529"/>
                  </a:lnTo>
                  <a:lnTo>
                    <a:pt x="1326" y="525"/>
                  </a:lnTo>
                  <a:lnTo>
                    <a:pt x="1326" y="525"/>
                  </a:lnTo>
                  <a:lnTo>
                    <a:pt x="1326" y="523"/>
                  </a:lnTo>
                  <a:lnTo>
                    <a:pt x="1324" y="523"/>
                  </a:lnTo>
                  <a:lnTo>
                    <a:pt x="1320" y="520"/>
                  </a:lnTo>
                  <a:lnTo>
                    <a:pt x="1314" y="520"/>
                  </a:lnTo>
                  <a:lnTo>
                    <a:pt x="1309" y="520"/>
                  </a:lnTo>
                  <a:lnTo>
                    <a:pt x="1297" y="518"/>
                  </a:lnTo>
                  <a:lnTo>
                    <a:pt x="1295" y="518"/>
                  </a:lnTo>
                  <a:lnTo>
                    <a:pt x="1295" y="516"/>
                  </a:lnTo>
                  <a:lnTo>
                    <a:pt x="1289" y="512"/>
                  </a:lnTo>
                  <a:lnTo>
                    <a:pt x="1287" y="510"/>
                  </a:lnTo>
                  <a:lnTo>
                    <a:pt x="1285" y="508"/>
                  </a:lnTo>
                  <a:lnTo>
                    <a:pt x="1283" y="508"/>
                  </a:lnTo>
                  <a:lnTo>
                    <a:pt x="1281" y="508"/>
                  </a:lnTo>
                  <a:lnTo>
                    <a:pt x="1274" y="506"/>
                  </a:lnTo>
                  <a:lnTo>
                    <a:pt x="1268" y="506"/>
                  </a:lnTo>
                  <a:lnTo>
                    <a:pt x="1268" y="506"/>
                  </a:lnTo>
                  <a:lnTo>
                    <a:pt x="1268" y="506"/>
                  </a:lnTo>
                  <a:lnTo>
                    <a:pt x="1268" y="508"/>
                  </a:lnTo>
                  <a:lnTo>
                    <a:pt x="1264" y="506"/>
                  </a:lnTo>
                  <a:lnTo>
                    <a:pt x="1262" y="506"/>
                  </a:lnTo>
                  <a:lnTo>
                    <a:pt x="1264" y="504"/>
                  </a:lnTo>
                  <a:lnTo>
                    <a:pt x="1264" y="504"/>
                  </a:lnTo>
                  <a:lnTo>
                    <a:pt x="1268" y="504"/>
                  </a:lnTo>
                  <a:lnTo>
                    <a:pt x="1272" y="504"/>
                  </a:lnTo>
                  <a:lnTo>
                    <a:pt x="1274" y="506"/>
                  </a:lnTo>
                  <a:lnTo>
                    <a:pt x="1276" y="506"/>
                  </a:lnTo>
                  <a:lnTo>
                    <a:pt x="1278" y="506"/>
                  </a:lnTo>
                  <a:lnTo>
                    <a:pt x="1281" y="506"/>
                  </a:lnTo>
                  <a:lnTo>
                    <a:pt x="1283" y="506"/>
                  </a:lnTo>
                  <a:lnTo>
                    <a:pt x="1285" y="506"/>
                  </a:lnTo>
                  <a:lnTo>
                    <a:pt x="1285" y="506"/>
                  </a:lnTo>
                  <a:lnTo>
                    <a:pt x="1285" y="506"/>
                  </a:lnTo>
                  <a:lnTo>
                    <a:pt x="1285" y="506"/>
                  </a:lnTo>
                  <a:lnTo>
                    <a:pt x="1287" y="506"/>
                  </a:lnTo>
                  <a:lnTo>
                    <a:pt x="1289" y="506"/>
                  </a:lnTo>
                  <a:lnTo>
                    <a:pt x="1291" y="508"/>
                  </a:lnTo>
                  <a:lnTo>
                    <a:pt x="1297" y="510"/>
                  </a:lnTo>
                  <a:lnTo>
                    <a:pt x="1299" y="510"/>
                  </a:lnTo>
                  <a:lnTo>
                    <a:pt x="1301" y="510"/>
                  </a:lnTo>
                  <a:lnTo>
                    <a:pt x="1301" y="512"/>
                  </a:lnTo>
                  <a:lnTo>
                    <a:pt x="1301" y="512"/>
                  </a:lnTo>
                  <a:lnTo>
                    <a:pt x="1303" y="514"/>
                  </a:lnTo>
                  <a:lnTo>
                    <a:pt x="1305" y="514"/>
                  </a:lnTo>
                  <a:lnTo>
                    <a:pt x="1309" y="518"/>
                  </a:lnTo>
                  <a:lnTo>
                    <a:pt x="1311" y="518"/>
                  </a:lnTo>
                  <a:lnTo>
                    <a:pt x="1316" y="518"/>
                  </a:lnTo>
                  <a:lnTo>
                    <a:pt x="1320" y="518"/>
                  </a:lnTo>
                  <a:lnTo>
                    <a:pt x="1322" y="518"/>
                  </a:lnTo>
                  <a:lnTo>
                    <a:pt x="1324" y="518"/>
                  </a:lnTo>
                  <a:lnTo>
                    <a:pt x="1324" y="516"/>
                  </a:lnTo>
                  <a:lnTo>
                    <a:pt x="1326" y="514"/>
                  </a:lnTo>
                  <a:lnTo>
                    <a:pt x="1330" y="512"/>
                  </a:lnTo>
                  <a:lnTo>
                    <a:pt x="1340" y="504"/>
                  </a:lnTo>
                  <a:lnTo>
                    <a:pt x="1340" y="502"/>
                  </a:lnTo>
                  <a:lnTo>
                    <a:pt x="1340" y="502"/>
                  </a:lnTo>
                  <a:lnTo>
                    <a:pt x="1340" y="500"/>
                  </a:lnTo>
                  <a:lnTo>
                    <a:pt x="1340" y="500"/>
                  </a:lnTo>
                  <a:lnTo>
                    <a:pt x="1338" y="498"/>
                  </a:lnTo>
                  <a:lnTo>
                    <a:pt x="1336" y="498"/>
                  </a:lnTo>
                  <a:lnTo>
                    <a:pt x="1332" y="496"/>
                  </a:lnTo>
                  <a:lnTo>
                    <a:pt x="1330" y="496"/>
                  </a:lnTo>
                  <a:lnTo>
                    <a:pt x="1330" y="494"/>
                  </a:lnTo>
                  <a:lnTo>
                    <a:pt x="1330" y="494"/>
                  </a:lnTo>
                  <a:lnTo>
                    <a:pt x="1330" y="494"/>
                  </a:lnTo>
                  <a:lnTo>
                    <a:pt x="1330" y="494"/>
                  </a:lnTo>
                  <a:lnTo>
                    <a:pt x="1330" y="492"/>
                  </a:lnTo>
                  <a:lnTo>
                    <a:pt x="1330" y="492"/>
                  </a:lnTo>
                  <a:lnTo>
                    <a:pt x="1332" y="492"/>
                  </a:lnTo>
                  <a:lnTo>
                    <a:pt x="1338" y="492"/>
                  </a:lnTo>
                  <a:lnTo>
                    <a:pt x="1342" y="492"/>
                  </a:lnTo>
                  <a:lnTo>
                    <a:pt x="1347" y="490"/>
                  </a:lnTo>
                  <a:lnTo>
                    <a:pt x="1349" y="492"/>
                  </a:lnTo>
                  <a:lnTo>
                    <a:pt x="1351" y="494"/>
                  </a:lnTo>
                  <a:lnTo>
                    <a:pt x="1353" y="496"/>
                  </a:lnTo>
                  <a:lnTo>
                    <a:pt x="1353" y="496"/>
                  </a:lnTo>
                  <a:lnTo>
                    <a:pt x="1355" y="498"/>
                  </a:lnTo>
                  <a:lnTo>
                    <a:pt x="1359" y="500"/>
                  </a:lnTo>
                  <a:lnTo>
                    <a:pt x="1361" y="500"/>
                  </a:lnTo>
                  <a:lnTo>
                    <a:pt x="1363" y="500"/>
                  </a:lnTo>
                  <a:lnTo>
                    <a:pt x="1363" y="498"/>
                  </a:lnTo>
                  <a:lnTo>
                    <a:pt x="1365" y="498"/>
                  </a:lnTo>
                  <a:lnTo>
                    <a:pt x="1365" y="498"/>
                  </a:lnTo>
                  <a:lnTo>
                    <a:pt x="1369" y="498"/>
                  </a:lnTo>
                  <a:lnTo>
                    <a:pt x="1369" y="500"/>
                  </a:lnTo>
                  <a:lnTo>
                    <a:pt x="1371" y="500"/>
                  </a:lnTo>
                  <a:lnTo>
                    <a:pt x="1371" y="498"/>
                  </a:lnTo>
                  <a:lnTo>
                    <a:pt x="1371" y="498"/>
                  </a:lnTo>
                  <a:lnTo>
                    <a:pt x="1369" y="494"/>
                  </a:lnTo>
                  <a:lnTo>
                    <a:pt x="1367" y="492"/>
                  </a:lnTo>
                  <a:lnTo>
                    <a:pt x="1367" y="490"/>
                  </a:lnTo>
                  <a:lnTo>
                    <a:pt x="1365" y="490"/>
                  </a:lnTo>
                  <a:lnTo>
                    <a:pt x="1365" y="487"/>
                  </a:lnTo>
                  <a:lnTo>
                    <a:pt x="1365" y="487"/>
                  </a:lnTo>
                  <a:lnTo>
                    <a:pt x="1361" y="483"/>
                  </a:lnTo>
                  <a:lnTo>
                    <a:pt x="1361" y="483"/>
                  </a:lnTo>
                  <a:lnTo>
                    <a:pt x="1359" y="483"/>
                  </a:lnTo>
                  <a:lnTo>
                    <a:pt x="1359" y="481"/>
                  </a:lnTo>
                  <a:lnTo>
                    <a:pt x="1357" y="481"/>
                  </a:lnTo>
                  <a:lnTo>
                    <a:pt x="1357" y="481"/>
                  </a:lnTo>
                  <a:lnTo>
                    <a:pt x="1355" y="483"/>
                  </a:lnTo>
                  <a:lnTo>
                    <a:pt x="1355" y="483"/>
                  </a:lnTo>
                  <a:lnTo>
                    <a:pt x="1353" y="483"/>
                  </a:lnTo>
                  <a:lnTo>
                    <a:pt x="1353" y="483"/>
                  </a:lnTo>
                  <a:lnTo>
                    <a:pt x="1355" y="481"/>
                  </a:lnTo>
                  <a:lnTo>
                    <a:pt x="1357" y="479"/>
                  </a:lnTo>
                  <a:lnTo>
                    <a:pt x="1359" y="479"/>
                  </a:lnTo>
                  <a:lnTo>
                    <a:pt x="1361" y="481"/>
                  </a:lnTo>
                  <a:lnTo>
                    <a:pt x="1361" y="481"/>
                  </a:lnTo>
                  <a:lnTo>
                    <a:pt x="1363" y="481"/>
                  </a:lnTo>
                  <a:lnTo>
                    <a:pt x="1365" y="483"/>
                  </a:lnTo>
                  <a:lnTo>
                    <a:pt x="1365" y="483"/>
                  </a:lnTo>
                  <a:lnTo>
                    <a:pt x="1363" y="485"/>
                  </a:lnTo>
                  <a:lnTo>
                    <a:pt x="1363" y="485"/>
                  </a:lnTo>
                  <a:lnTo>
                    <a:pt x="1365" y="485"/>
                  </a:lnTo>
                  <a:lnTo>
                    <a:pt x="1365" y="487"/>
                  </a:lnTo>
                  <a:lnTo>
                    <a:pt x="1367" y="487"/>
                  </a:lnTo>
                  <a:lnTo>
                    <a:pt x="1367" y="487"/>
                  </a:lnTo>
                  <a:lnTo>
                    <a:pt x="1369" y="487"/>
                  </a:lnTo>
                  <a:lnTo>
                    <a:pt x="1369" y="487"/>
                  </a:lnTo>
                  <a:lnTo>
                    <a:pt x="1373" y="492"/>
                  </a:lnTo>
                  <a:lnTo>
                    <a:pt x="1373" y="492"/>
                  </a:lnTo>
                  <a:lnTo>
                    <a:pt x="1373" y="494"/>
                  </a:lnTo>
                  <a:lnTo>
                    <a:pt x="1375" y="496"/>
                  </a:lnTo>
                  <a:lnTo>
                    <a:pt x="1375" y="496"/>
                  </a:lnTo>
                  <a:lnTo>
                    <a:pt x="1377" y="496"/>
                  </a:lnTo>
                  <a:lnTo>
                    <a:pt x="1380" y="494"/>
                  </a:lnTo>
                  <a:lnTo>
                    <a:pt x="1380" y="494"/>
                  </a:lnTo>
                  <a:lnTo>
                    <a:pt x="1384" y="492"/>
                  </a:lnTo>
                  <a:lnTo>
                    <a:pt x="1388" y="490"/>
                  </a:lnTo>
                  <a:lnTo>
                    <a:pt x="1390" y="490"/>
                  </a:lnTo>
                  <a:lnTo>
                    <a:pt x="1392" y="487"/>
                  </a:lnTo>
                  <a:lnTo>
                    <a:pt x="1394" y="487"/>
                  </a:lnTo>
                  <a:lnTo>
                    <a:pt x="1394" y="485"/>
                  </a:lnTo>
                  <a:lnTo>
                    <a:pt x="1396" y="485"/>
                  </a:lnTo>
                  <a:lnTo>
                    <a:pt x="1398" y="481"/>
                  </a:lnTo>
                  <a:lnTo>
                    <a:pt x="1398" y="481"/>
                  </a:lnTo>
                  <a:lnTo>
                    <a:pt x="1398" y="481"/>
                  </a:lnTo>
                  <a:lnTo>
                    <a:pt x="1402" y="481"/>
                  </a:lnTo>
                  <a:lnTo>
                    <a:pt x="1402" y="479"/>
                  </a:lnTo>
                  <a:lnTo>
                    <a:pt x="1404" y="479"/>
                  </a:lnTo>
                  <a:lnTo>
                    <a:pt x="1404" y="477"/>
                  </a:lnTo>
                  <a:lnTo>
                    <a:pt x="1406" y="475"/>
                  </a:lnTo>
                  <a:lnTo>
                    <a:pt x="1406" y="471"/>
                  </a:lnTo>
                  <a:lnTo>
                    <a:pt x="1408" y="469"/>
                  </a:lnTo>
                  <a:lnTo>
                    <a:pt x="1406" y="469"/>
                  </a:lnTo>
                  <a:lnTo>
                    <a:pt x="1406" y="467"/>
                  </a:lnTo>
                  <a:lnTo>
                    <a:pt x="1404" y="465"/>
                  </a:lnTo>
                  <a:lnTo>
                    <a:pt x="1402" y="463"/>
                  </a:lnTo>
                  <a:lnTo>
                    <a:pt x="1398" y="461"/>
                  </a:lnTo>
                  <a:lnTo>
                    <a:pt x="1398" y="459"/>
                  </a:lnTo>
                  <a:lnTo>
                    <a:pt x="1396" y="459"/>
                  </a:lnTo>
                  <a:lnTo>
                    <a:pt x="1396" y="456"/>
                  </a:lnTo>
                  <a:lnTo>
                    <a:pt x="1396" y="456"/>
                  </a:lnTo>
                  <a:lnTo>
                    <a:pt x="1396" y="454"/>
                  </a:lnTo>
                  <a:lnTo>
                    <a:pt x="1396" y="452"/>
                  </a:lnTo>
                  <a:lnTo>
                    <a:pt x="1398" y="452"/>
                  </a:lnTo>
                  <a:lnTo>
                    <a:pt x="1396" y="452"/>
                  </a:lnTo>
                  <a:lnTo>
                    <a:pt x="1396" y="452"/>
                  </a:lnTo>
                  <a:lnTo>
                    <a:pt x="1396" y="452"/>
                  </a:lnTo>
                  <a:lnTo>
                    <a:pt x="1394" y="452"/>
                  </a:lnTo>
                  <a:lnTo>
                    <a:pt x="1394" y="452"/>
                  </a:lnTo>
                  <a:lnTo>
                    <a:pt x="1392" y="448"/>
                  </a:lnTo>
                  <a:lnTo>
                    <a:pt x="1392" y="448"/>
                  </a:lnTo>
                  <a:lnTo>
                    <a:pt x="1392" y="448"/>
                  </a:lnTo>
                  <a:lnTo>
                    <a:pt x="1392" y="448"/>
                  </a:lnTo>
                  <a:lnTo>
                    <a:pt x="1392" y="448"/>
                  </a:lnTo>
                  <a:lnTo>
                    <a:pt x="1390" y="446"/>
                  </a:lnTo>
                  <a:lnTo>
                    <a:pt x="1390" y="446"/>
                  </a:lnTo>
                  <a:lnTo>
                    <a:pt x="1390" y="444"/>
                  </a:lnTo>
                  <a:lnTo>
                    <a:pt x="1390" y="444"/>
                  </a:lnTo>
                  <a:lnTo>
                    <a:pt x="1392" y="444"/>
                  </a:lnTo>
                  <a:lnTo>
                    <a:pt x="1394" y="444"/>
                  </a:lnTo>
                  <a:lnTo>
                    <a:pt x="1396" y="444"/>
                  </a:lnTo>
                  <a:lnTo>
                    <a:pt x="1398" y="444"/>
                  </a:lnTo>
                  <a:lnTo>
                    <a:pt x="1398" y="444"/>
                  </a:lnTo>
                  <a:lnTo>
                    <a:pt x="1400" y="444"/>
                  </a:lnTo>
                  <a:lnTo>
                    <a:pt x="1402" y="444"/>
                  </a:lnTo>
                  <a:lnTo>
                    <a:pt x="1404" y="442"/>
                  </a:lnTo>
                  <a:lnTo>
                    <a:pt x="1408" y="440"/>
                  </a:lnTo>
                  <a:lnTo>
                    <a:pt x="1408" y="440"/>
                  </a:lnTo>
                  <a:lnTo>
                    <a:pt x="1408" y="438"/>
                  </a:lnTo>
                  <a:lnTo>
                    <a:pt x="1408" y="438"/>
                  </a:lnTo>
                  <a:lnTo>
                    <a:pt x="1406" y="436"/>
                  </a:lnTo>
                  <a:lnTo>
                    <a:pt x="1406" y="436"/>
                  </a:lnTo>
                  <a:lnTo>
                    <a:pt x="1404" y="436"/>
                  </a:lnTo>
                  <a:lnTo>
                    <a:pt x="1402" y="434"/>
                  </a:lnTo>
                  <a:lnTo>
                    <a:pt x="1398" y="434"/>
                  </a:lnTo>
                  <a:lnTo>
                    <a:pt x="1398" y="434"/>
                  </a:lnTo>
                  <a:lnTo>
                    <a:pt x="1400" y="432"/>
                  </a:lnTo>
                  <a:lnTo>
                    <a:pt x="1402" y="432"/>
                  </a:lnTo>
                  <a:lnTo>
                    <a:pt x="1406" y="430"/>
                  </a:lnTo>
                  <a:lnTo>
                    <a:pt x="1406" y="428"/>
                  </a:lnTo>
                  <a:lnTo>
                    <a:pt x="1406" y="428"/>
                  </a:lnTo>
                  <a:lnTo>
                    <a:pt x="1406" y="428"/>
                  </a:lnTo>
                  <a:lnTo>
                    <a:pt x="1400" y="426"/>
                  </a:lnTo>
                  <a:lnTo>
                    <a:pt x="1398" y="426"/>
                  </a:lnTo>
                  <a:lnTo>
                    <a:pt x="1396" y="426"/>
                  </a:lnTo>
                  <a:lnTo>
                    <a:pt x="1394" y="426"/>
                  </a:lnTo>
                  <a:lnTo>
                    <a:pt x="1394" y="426"/>
                  </a:lnTo>
                  <a:lnTo>
                    <a:pt x="1394" y="423"/>
                  </a:lnTo>
                  <a:lnTo>
                    <a:pt x="1394" y="423"/>
                  </a:lnTo>
                  <a:lnTo>
                    <a:pt x="1392" y="421"/>
                  </a:lnTo>
                  <a:lnTo>
                    <a:pt x="1388" y="419"/>
                  </a:lnTo>
                  <a:lnTo>
                    <a:pt x="1386" y="419"/>
                  </a:lnTo>
                  <a:lnTo>
                    <a:pt x="1388" y="419"/>
                  </a:lnTo>
                  <a:lnTo>
                    <a:pt x="1390" y="419"/>
                  </a:lnTo>
                  <a:lnTo>
                    <a:pt x="1392" y="417"/>
                  </a:lnTo>
                  <a:lnTo>
                    <a:pt x="1392" y="415"/>
                  </a:lnTo>
                  <a:lnTo>
                    <a:pt x="1388" y="415"/>
                  </a:lnTo>
                  <a:lnTo>
                    <a:pt x="1386" y="415"/>
                  </a:lnTo>
                  <a:lnTo>
                    <a:pt x="1384" y="415"/>
                  </a:lnTo>
                  <a:lnTo>
                    <a:pt x="1375" y="413"/>
                  </a:lnTo>
                  <a:lnTo>
                    <a:pt x="1373" y="415"/>
                  </a:lnTo>
                  <a:lnTo>
                    <a:pt x="1369" y="413"/>
                  </a:lnTo>
                  <a:lnTo>
                    <a:pt x="1365" y="411"/>
                  </a:lnTo>
                  <a:lnTo>
                    <a:pt x="1365" y="411"/>
                  </a:lnTo>
                  <a:lnTo>
                    <a:pt x="1359" y="411"/>
                  </a:lnTo>
                  <a:lnTo>
                    <a:pt x="1357" y="411"/>
                  </a:lnTo>
                  <a:lnTo>
                    <a:pt x="1355" y="411"/>
                  </a:lnTo>
                  <a:lnTo>
                    <a:pt x="1353" y="411"/>
                  </a:lnTo>
                  <a:lnTo>
                    <a:pt x="1351" y="411"/>
                  </a:lnTo>
                  <a:lnTo>
                    <a:pt x="1349" y="411"/>
                  </a:lnTo>
                  <a:lnTo>
                    <a:pt x="1347" y="411"/>
                  </a:lnTo>
                  <a:lnTo>
                    <a:pt x="1347" y="411"/>
                  </a:lnTo>
                  <a:lnTo>
                    <a:pt x="1347" y="411"/>
                  </a:lnTo>
                  <a:lnTo>
                    <a:pt x="1349" y="413"/>
                  </a:lnTo>
                  <a:lnTo>
                    <a:pt x="1349" y="413"/>
                  </a:lnTo>
                  <a:lnTo>
                    <a:pt x="1347" y="415"/>
                  </a:lnTo>
                  <a:lnTo>
                    <a:pt x="1349" y="417"/>
                  </a:lnTo>
                  <a:lnTo>
                    <a:pt x="1349" y="417"/>
                  </a:lnTo>
                  <a:lnTo>
                    <a:pt x="1349" y="417"/>
                  </a:lnTo>
                  <a:lnTo>
                    <a:pt x="1349" y="419"/>
                  </a:lnTo>
                  <a:lnTo>
                    <a:pt x="1349" y="419"/>
                  </a:lnTo>
                  <a:lnTo>
                    <a:pt x="1349" y="421"/>
                  </a:lnTo>
                  <a:lnTo>
                    <a:pt x="1349" y="421"/>
                  </a:lnTo>
                  <a:lnTo>
                    <a:pt x="1349" y="421"/>
                  </a:lnTo>
                  <a:lnTo>
                    <a:pt x="1349" y="423"/>
                  </a:lnTo>
                  <a:lnTo>
                    <a:pt x="1349" y="423"/>
                  </a:lnTo>
                  <a:lnTo>
                    <a:pt x="1349" y="426"/>
                  </a:lnTo>
                  <a:lnTo>
                    <a:pt x="1351" y="428"/>
                  </a:lnTo>
                  <a:lnTo>
                    <a:pt x="1351" y="428"/>
                  </a:lnTo>
                  <a:lnTo>
                    <a:pt x="1353" y="428"/>
                  </a:lnTo>
                  <a:lnTo>
                    <a:pt x="1357" y="430"/>
                  </a:lnTo>
                  <a:lnTo>
                    <a:pt x="1357" y="430"/>
                  </a:lnTo>
                  <a:lnTo>
                    <a:pt x="1357" y="432"/>
                  </a:lnTo>
                  <a:lnTo>
                    <a:pt x="1357" y="432"/>
                  </a:lnTo>
                  <a:lnTo>
                    <a:pt x="1355" y="432"/>
                  </a:lnTo>
                  <a:lnTo>
                    <a:pt x="1355" y="434"/>
                  </a:lnTo>
                  <a:lnTo>
                    <a:pt x="1353" y="434"/>
                  </a:lnTo>
                  <a:lnTo>
                    <a:pt x="1353" y="436"/>
                  </a:lnTo>
                  <a:lnTo>
                    <a:pt x="1353" y="436"/>
                  </a:lnTo>
                  <a:lnTo>
                    <a:pt x="1357" y="436"/>
                  </a:lnTo>
                  <a:lnTo>
                    <a:pt x="1357" y="438"/>
                  </a:lnTo>
                  <a:lnTo>
                    <a:pt x="1351" y="438"/>
                  </a:lnTo>
                  <a:lnTo>
                    <a:pt x="1351" y="438"/>
                  </a:lnTo>
                  <a:lnTo>
                    <a:pt x="1349" y="438"/>
                  </a:lnTo>
                  <a:lnTo>
                    <a:pt x="1347" y="438"/>
                  </a:lnTo>
                  <a:lnTo>
                    <a:pt x="1347" y="438"/>
                  </a:lnTo>
                  <a:lnTo>
                    <a:pt x="1347" y="438"/>
                  </a:lnTo>
                  <a:lnTo>
                    <a:pt x="1344" y="440"/>
                  </a:lnTo>
                  <a:lnTo>
                    <a:pt x="1344" y="440"/>
                  </a:lnTo>
                  <a:lnTo>
                    <a:pt x="1344" y="440"/>
                  </a:lnTo>
                  <a:lnTo>
                    <a:pt x="1344" y="442"/>
                  </a:lnTo>
                  <a:lnTo>
                    <a:pt x="1344" y="444"/>
                  </a:lnTo>
                  <a:lnTo>
                    <a:pt x="1344" y="446"/>
                  </a:lnTo>
                  <a:lnTo>
                    <a:pt x="1342" y="448"/>
                  </a:lnTo>
                  <a:lnTo>
                    <a:pt x="1340" y="454"/>
                  </a:lnTo>
                  <a:lnTo>
                    <a:pt x="1340" y="454"/>
                  </a:lnTo>
                  <a:lnTo>
                    <a:pt x="1334" y="461"/>
                  </a:lnTo>
                  <a:lnTo>
                    <a:pt x="1334" y="461"/>
                  </a:lnTo>
                  <a:lnTo>
                    <a:pt x="1334" y="463"/>
                  </a:lnTo>
                  <a:lnTo>
                    <a:pt x="1332" y="465"/>
                  </a:lnTo>
                  <a:lnTo>
                    <a:pt x="1332" y="469"/>
                  </a:lnTo>
                  <a:lnTo>
                    <a:pt x="1332" y="469"/>
                  </a:lnTo>
                  <a:lnTo>
                    <a:pt x="1332" y="469"/>
                  </a:lnTo>
                  <a:lnTo>
                    <a:pt x="1330" y="471"/>
                  </a:lnTo>
                  <a:lnTo>
                    <a:pt x="1330" y="471"/>
                  </a:lnTo>
                  <a:lnTo>
                    <a:pt x="1328" y="471"/>
                  </a:lnTo>
                  <a:lnTo>
                    <a:pt x="1328" y="471"/>
                  </a:lnTo>
                  <a:lnTo>
                    <a:pt x="1324" y="473"/>
                  </a:lnTo>
                  <a:lnTo>
                    <a:pt x="1322" y="475"/>
                  </a:lnTo>
                  <a:lnTo>
                    <a:pt x="1322" y="477"/>
                  </a:lnTo>
                  <a:lnTo>
                    <a:pt x="1322" y="475"/>
                  </a:lnTo>
                  <a:lnTo>
                    <a:pt x="1320" y="475"/>
                  </a:lnTo>
                  <a:lnTo>
                    <a:pt x="1320" y="475"/>
                  </a:lnTo>
                  <a:lnTo>
                    <a:pt x="1320" y="473"/>
                  </a:lnTo>
                  <a:lnTo>
                    <a:pt x="1320" y="471"/>
                  </a:lnTo>
                  <a:lnTo>
                    <a:pt x="1311" y="465"/>
                  </a:lnTo>
                  <a:lnTo>
                    <a:pt x="1309" y="463"/>
                  </a:lnTo>
                  <a:lnTo>
                    <a:pt x="1307" y="456"/>
                  </a:lnTo>
                  <a:lnTo>
                    <a:pt x="1307" y="456"/>
                  </a:lnTo>
                  <a:lnTo>
                    <a:pt x="1307" y="452"/>
                  </a:lnTo>
                  <a:lnTo>
                    <a:pt x="1307" y="450"/>
                  </a:lnTo>
                  <a:lnTo>
                    <a:pt x="1307" y="448"/>
                  </a:lnTo>
                  <a:lnTo>
                    <a:pt x="1307" y="448"/>
                  </a:lnTo>
                  <a:lnTo>
                    <a:pt x="1309" y="448"/>
                  </a:lnTo>
                  <a:lnTo>
                    <a:pt x="1309" y="450"/>
                  </a:lnTo>
                  <a:lnTo>
                    <a:pt x="1309" y="450"/>
                  </a:lnTo>
                  <a:lnTo>
                    <a:pt x="1311" y="450"/>
                  </a:lnTo>
                  <a:lnTo>
                    <a:pt x="1314" y="450"/>
                  </a:lnTo>
                  <a:lnTo>
                    <a:pt x="1314" y="450"/>
                  </a:lnTo>
                  <a:lnTo>
                    <a:pt x="1314" y="448"/>
                  </a:lnTo>
                  <a:lnTo>
                    <a:pt x="1314" y="448"/>
                  </a:lnTo>
                  <a:lnTo>
                    <a:pt x="1314" y="446"/>
                  </a:lnTo>
                  <a:lnTo>
                    <a:pt x="1314" y="446"/>
                  </a:lnTo>
                  <a:lnTo>
                    <a:pt x="1314" y="444"/>
                  </a:lnTo>
                  <a:lnTo>
                    <a:pt x="1314" y="442"/>
                  </a:lnTo>
                  <a:lnTo>
                    <a:pt x="1311" y="438"/>
                  </a:lnTo>
                  <a:lnTo>
                    <a:pt x="1311" y="436"/>
                  </a:lnTo>
                  <a:lnTo>
                    <a:pt x="1309" y="434"/>
                  </a:lnTo>
                  <a:lnTo>
                    <a:pt x="1307" y="434"/>
                  </a:lnTo>
                  <a:lnTo>
                    <a:pt x="1303" y="430"/>
                  </a:lnTo>
                  <a:lnTo>
                    <a:pt x="1299" y="428"/>
                  </a:lnTo>
                  <a:lnTo>
                    <a:pt x="1299" y="426"/>
                  </a:lnTo>
                  <a:lnTo>
                    <a:pt x="1297" y="426"/>
                  </a:lnTo>
                  <a:lnTo>
                    <a:pt x="1295" y="426"/>
                  </a:lnTo>
                  <a:lnTo>
                    <a:pt x="1293" y="426"/>
                  </a:lnTo>
                  <a:lnTo>
                    <a:pt x="1293" y="426"/>
                  </a:lnTo>
                  <a:lnTo>
                    <a:pt x="1289" y="430"/>
                  </a:lnTo>
                  <a:lnTo>
                    <a:pt x="1289" y="432"/>
                  </a:lnTo>
                  <a:lnTo>
                    <a:pt x="1287" y="434"/>
                  </a:lnTo>
                  <a:lnTo>
                    <a:pt x="1287" y="436"/>
                  </a:lnTo>
                  <a:lnTo>
                    <a:pt x="1287" y="438"/>
                  </a:lnTo>
                  <a:lnTo>
                    <a:pt x="1285" y="440"/>
                  </a:lnTo>
                  <a:lnTo>
                    <a:pt x="1285" y="442"/>
                  </a:lnTo>
                  <a:lnTo>
                    <a:pt x="1285" y="444"/>
                  </a:lnTo>
                  <a:lnTo>
                    <a:pt x="1285" y="444"/>
                  </a:lnTo>
                  <a:lnTo>
                    <a:pt x="1283" y="446"/>
                  </a:lnTo>
                  <a:lnTo>
                    <a:pt x="1281" y="448"/>
                  </a:lnTo>
                  <a:lnTo>
                    <a:pt x="1281" y="448"/>
                  </a:lnTo>
                  <a:lnTo>
                    <a:pt x="1281" y="450"/>
                  </a:lnTo>
                  <a:lnTo>
                    <a:pt x="1281" y="450"/>
                  </a:lnTo>
                  <a:lnTo>
                    <a:pt x="1281" y="450"/>
                  </a:lnTo>
                  <a:lnTo>
                    <a:pt x="1278" y="448"/>
                  </a:lnTo>
                  <a:lnTo>
                    <a:pt x="1278" y="448"/>
                  </a:lnTo>
                  <a:lnTo>
                    <a:pt x="1278" y="448"/>
                  </a:lnTo>
                  <a:lnTo>
                    <a:pt x="1276" y="446"/>
                  </a:lnTo>
                  <a:lnTo>
                    <a:pt x="1276" y="446"/>
                  </a:lnTo>
                  <a:lnTo>
                    <a:pt x="1274" y="444"/>
                  </a:lnTo>
                  <a:lnTo>
                    <a:pt x="1276" y="442"/>
                  </a:lnTo>
                  <a:lnTo>
                    <a:pt x="1276" y="440"/>
                  </a:lnTo>
                  <a:lnTo>
                    <a:pt x="1276" y="438"/>
                  </a:lnTo>
                  <a:lnTo>
                    <a:pt x="1276" y="436"/>
                  </a:lnTo>
                  <a:lnTo>
                    <a:pt x="1276" y="436"/>
                  </a:lnTo>
                  <a:lnTo>
                    <a:pt x="1276" y="434"/>
                  </a:lnTo>
                  <a:lnTo>
                    <a:pt x="1274" y="434"/>
                  </a:lnTo>
                  <a:lnTo>
                    <a:pt x="1272" y="430"/>
                  </a:lnTo>
                  <a:lnTo>
                    <a:pt x="1266" y="426"/>
                  </a:lnTo>
                  <a:lnTo>
                    <a:pt x="1266" y="423"/>
                  </a:lnTo>
                  <a:lnTo>
                    <a:pt x="1266" y="423"/>
                  </a:lnTo>
                  <a:lnTo>
                    <a:pt x="1268" y="423"/>
                  </a:lnTo>
                  <a:lnTo>
                    <a:pt x="1268" y="423"/>
                  </a:lnTo>
                  <a:lnTo>
                    <a:pt x="1268" y="423"/>
                  </a:lnTo>
                  <a:lnTo>
                    <a:pt x="1268" y="426"/>
                  </a:lnTo>
                  <a:lnTo>
                    <a:pt x="1270" y="426"/>
                  </a:lnTo>
                  <a:lnTo>
                    <a:pt x="1272" y="423"/>
                  </a:lnTo>
                  <a:lnTo>
                    <a:pt x="1272" y="423"/>
                  </a:lnTo>
                  <a:lnTo>
                    <a:pt x="1272" y="421"/>
                  </a:lnTo>
                  <a:lnTo>
                    <a:pt x="1274" y="421"/>
                  </a:lnTo>
                  <a:lnTo>
                    <a:pt x="1274" y="421"/>
                  </a:lnTo>
                  <a:lnTo>
                    <a:pt x="1276" y="421"/>
                  </a:lnTo>
                  <a:lnTo>
                    <a:pt x="1276" y="419"/>
                  </a:lnTo>
                  <a:lnTo>
                    <a:pt x="1276" y="419"/>
                  </a:lnTo>
                  <a:lnTo>
                    <a:pt x="1274" y="419"/>
                  </a:lnTo>
                  <a:lnTo>
                    <a:pt x="1274" y="419"/>
                  </a:lnTo>
                  <a:lnTo>
                    <a:pt x="1272" y="419"/>
                  </a:lnTo>
                  <a:lnTo>
                    <a:pt x="1270" y="419"/>
                  </a:lnTo>
                  <a:lnTo>
                    <a:pt x="1264" y="417"/>
                  </a:lnTo>
                  <a:lnTo>
                    <a:pt x="1262" y="419"/>
                  </a:lnTo>
                  <a:lnTo>
                    <a:pt x="1262" y="417"/>
                  </a:lnTo>
                  <a:lnTo>
                    <a:pt x="1264" y="417"/>
                  </a:lnTo>
                  <a:lnTo>
                    <a:pt x="1266" y="415"/>
                  </a:lnTo>
                  <a:lnTo>
                    <a:pt x="1266" y="415"/>
                  </a:lnTo>
                  <a:lnTo>
                    <a:pt x="1266" y="415"/>
                  </a:lnTo>
                  <a:lnTo>
                    <a:pt x="1264" y="415"/>
                  </a:lnTo>
                  <a:lnTo>
                    <a:pt x="1262" y="417"/>
                  </a:lnTo>
                  <a:lnTo>
                    <a:pt x="1258" y="417"/>
                  </a:lnTo>
                  <a:lnTo>
                    <a:pt x="1256" y="419"/>
                  </a:lnTo>
                  <a:lnTo>
                    <a:pt x="1252" y="417"/>
                  </a:lnTo>
                  <a:lnTo>
                    <a:pt x="1252" y="415"/>
                  </a:lnTo>
                  <a:lnTo>
                    <a:pt x="1252" y="415"/>
                  </a:lnTo>
                  <a:lnTo>
                    <a:pt x="1250" y="415"/>
                  </a:lnTo>
                  <a:lnTo>
                    <a:pt x="1248" y="415"/>
                  </a:lnTo>
                  <a:lnTo>
                    <a:pt x="1245" y="415"/>
                  </a:lnTo>
                  <a:lnTo>
                    <a:pt x="1243" y="415"/>
                  </a:lnTo>
                  <a:lnTo>
                    <a:pt x="1243" y="415"/>
                  </a:lnTo>
                  <a:lnTo>
                    <a:pt x="1241" y="415"/>
                  </a:lnTo>
                  <a:lnTo>
                    <a:pt x="1243" y="413"/>
                  </a:lnTo>
                  <a:lnTo>
                    <a:pt x="1250" y="409"/>
                  </a:lnTo>
                  <a:lnTo>
                    <a:pt x="1254" y="407"/>
                  </a:lnTo>
                  <a:lnTo>
                    <a:pt x="1256" y="405"/>
                  </a:lnTo>
                  <a:lnTo>
                    <a:pt x="1254" y="405"/>
                  </a:lnTo>
                  <a:lnTo>
                    <a:pt x="1254" y="405"/>
                  </a:lnTo>
                  <a:lnTo>
                    <a:pt x="1248" y="405"/>
                  </a:lnTo>
                  <a:lnTo>
                    <a:pt x="1248" y="405"/>
                  </a:lnTo>
                  <a:lnTo>
                    <a:pt x="1248" y="403"/>
                  </a:lnTo>
                  <a:lnTo>
                    <a:pt x="1250" y="401"/>
                  </a:lnTo>
                  <a:lnTo>
                    <a:pt x="1250" y="401"/>
                  </a:lnTo>
                  <a:lnTo>
                    <a:pt x="1250" y="401"/>
                  </a:lnTo>
                  <a:lnTo>
                    <a:pt x="1252" y="401"/>
                  </a:lnTo>
                  <a:lnTo>
                    <a:pt x="1254" y="403"/>
                  </a:lnTo>
                  <a:lnTo>
                    <a:pt x="1254" y="403"/>
                  </a:lnTo>
                  <a:lnTo>
                    <a:pt x="1256" y="403"/>
                  </a:lnTo>
                  <a:lnTo>
                    <a:pt x="1260" y="403"/>
                  </a:lnTo>
                  <a:lnTo>
                    <a:pt x="1260" y="403"/>
                  </a:lnTo>
                  <a:lnTo>
                    <a:pt x="1260" y="403"/>
                  </a:lnTo>
                  <a:lnTo>
                    <a:pt x="1260" y="401"/>
                  </a:lnTo>
                  <a:lnTo>
                    <a:pt x="1258" y="399"/>
                  </a:lnTo>
                  <a:lnTo>
                    <a:pt x="1258" y="399"/>
                  </a:lnTo>
                  <a:lnTo>
                    <a:pt x="1258" y="399"/>
                  </a:lnTo>
                  <a:lnTo>
                    <a:pt x="1256" y="399"/>
                  </a:lnTo>
                  <a:lnTo>
                    <a:pt x="1256" y="399"/>
                  </a:lnTo>
                  <a:lnTo>
                    <a:pt x="1256" y="399"/>
                  </a:lnTo>
                  <a:lnTo>
                    <a:pt x="1254" y="399"/>
                  </a:lnTo>
                  <a:lnTo>
                    <a:pt x="1254" y="399"/>
                  </a:lnTo>
                  <a:lnTo>
                    <a:pt x="1254" y="397"/>
                  </a:lnTo>
                  <a:lnTo>
                    <a:pt x="1254" y="397"/>
                  </a:lnTo>
                  <a:lnTo>
                    <a:pt x="1252" y="395"/>
                  </a:lnTo>
                  <a:lnTo>
                    <a:pt x="1250" y="390"/>
                  </a:lnTo>
                  <a:lnTo>
                    <a:pt x="1250" y="390"/>
                  </a:lnTo>
                  <a:lnTo>
                    <a:pt x="1250" y="390"/>
                  </a:lnTo>
                  <a:lnTo>
                    <a:pt x="1248" y="388"/>
                  </a:lnTo>
                  <a:lnTo>
                    <a:pt x="1245" y="388"/>
                  </a:lnTo>
                  <a:lnTo>
                    <a:pt x="1243" y="386"/>
                  </a:lnTo>
                  <a:lnTo>
                    <a:pt x="1241" y="386"/>
                  </a:lnTo>
                  <a:lnTo>
                    <a:pt x="1241" y="384"/>
                  </a:lnTo>
                  <a:lnTo>
                    <a:pt x="1241" y="384"/>
                  </a:lnTo>
                  <a:lnTo>
                    <a:pt x="1241" y="384"/>
                  </a:lnTo>
                  <a:lnTo>
                    <a:pt x="1241" y="380"/>
                  </a:lnTo>
                  <a:lnTo>
                    <a:pt x="1241" y="378"/>
                  </a:lnTo>
                  <a:lnTo>
                    <a:pt x="1241" y="374"/>
                  </a:lnTo>
                  <a:lnTo>
                    <a:pt x="1241" y="374"/>
                  </a:lnTo>
                  <a:lnTo>
                    <a:pt x="1239" y="372"/>
                  </a:lnTo>
                  <a:lnTo>
                    <a:pt x="1237" y="370"/>
                  </a:lnTo>
                  <a:lnTo>
                    <a:pt x="1235" y="368"/>
                  </a:lnTo>
                  <a:lnTo>
                    <a:pt x="1233" y="366"/>
                  </a:lnTo>
                  <a:lnTo>
                    <a:pt x="1229" y="364"/>
                  </a:lnTo>
                  <a:lnTo>
                    <a:pt x="1229" y="364"/>
                  </a:lnTo>
                  <a:lnTo>
                    <a:pt x="1229" y="361"/>
                  </a:lnTo>
                  <a:lnTo>
                    <a:pt x="1229" y="361"/>
                  </a:lnTo>
                  <a:lnTo>
                    <a:pt x="1229" y="361"/>
                  </a:lnTo>
                  <a:lnTo>
                    <a:pt x="1225" y="361"/>
                  </a:lnTo>
                  <a:lnTo>
                    <a:pt x="1223" y="361"/>
                  </a:lnTo>
                  <a:lnTo>
                    <a:pt x="1221" y="361"/>
                  </a:lnTo>
                  <a:lnTo>
                    <a:pt x="1219" y="359"/>
                  </a:lnTo>
                  <a:lnTo>
                    <a:pt x="1219" y="357"/>
                  </a:lnTo>
                  <a:lnTo>
                    <a:pt x="1219" y="355"/>
                  </a:lnTo>
                  <a:lnTo>
                    <a:pt x="1217" y="355"/>
                  </a:lnTo>
                  <a:lnTo>
                    <a:pt x="1217" y="355"/>
                  </a:lnTo>
                  <a:lnTo>
                    <a:pt x="1212" y="355"/>
                  </a:lnTo>
                  <a:lnTo>
                    <a:pt x="1208" y="357"/>
                  </a:lnTo>
                  <a:lnTo>
                    <a:pt x="1204" y="361"/>
                  </a:lnTo>
                  <a:lnTo>
                    <a:pt x="1202" y="364"/>
                  </a:lnTo>
                  <a:lnTo>
                    <a:pt x="1200" y="366"/>
                  </a:lnTo>
                  <a:lnTo>
                    <a:pt x="1200" y="366"/>
                  </a:lnTo>
                  <a:lnTo>
                    <a:pt x="1200" y="368"/>
                  </a:lnTo>
                  <a:lnTo>
                    <a:pt x="1200" y="368"/>
                  </a:lnTo>
                  <a:lnTo>
                    <a:pt x="1202" y="368"/>
                  </a:lnTo>
                  <a:lnTo>
                    <a:pt x="1206" y="368"/>
                  </a:lnTo>
                  <a:lnTo>
                    <a:pt x="1206" y="368"/>
                  </a:lnTo>
                  <a:lnTo>
                    <a:pt x="1206" y="370"/>
                  </a:lnTo>
                  <a:lnTo>
                    <a:pt x="1204" y="372"/>
                  </a:lnTo>
                  <a:lnTo>
                    <a:pt x="1202" y="372"/>
                  </a:lnTo>
                  <a:lnTo>
                    <a:pt x="1202" y="372"/>
                  </a:lnTo>
                  <a:lnTo>
                    <a:pt x="1200" y="372"/>
                  </a:lnTo>
                  <a:lnTo>
                    <a:pt x="1198" y="372"/>
                  </a:lnTo>
                  <a:lnTo>
                    <a:pt x="1198" y="370"/>
                  </a:lnTo>
                  <a:lnTo>
                    <a:pt x="1196" y="370"/>
                  </a:lnTo>
                  <a:lnTo>
                    <a:pt x="1196" y="372"/>
                  </a:lnTo>
                  <a:lnTo>
                    <a:pt x="1194" y="372"/>
                  </a:lnTo>
                  <a:lnTo>
                    <a:pt x="1192" y="374"/>
                  </a:lnTo>
                  <a:lnTo>
                    <a:pt x="1192" y="374"/>
                  </a:lnTo>
                  <a:lnTo>
                    <a:pt x="1192" y="376"/>
                  </a:lnTo>
                  <a:lnTo>
                    <a:pt x="1192" y="376"/>
                  </a:lnTo>
                  <a:lnTo>
                    <a:pt x="1190" y="378"/>
                  </a:lnTo>
                  <a:lnTo>
                    <a:pt x="1190" y="378"/>
                  </a:lnTo>
                  <a:lnTo>
                    <a:pt x="1192" y="380"/>
                  </a:lnTo>
                  <a:lnTo>
                    <a:pt x="1190" y="380"/>
                  </a:lnTo>
                  <a:lnTo>
                    <a:pt x="1190" y="384"/>
                  </a:lnTo>
                  <a:lnTo>
                    <a:pt x="1190" y="386"/>
                  </a:lnTo>
                  <a:lnTo>
                    <a:pt x="1192" y="388"/>
                  </a:lnTo>
                  <a:lnTo>
                    <a:pt x="1194" y="390"/>
                  </a:lnTo>
                  <a:lnTo>
                    <a:pt x="1196" y="390"/>
                  </a:lnTo>
                  <a:lnTo>
                    <a:pt x="1198" y="388"/>
                  </a:lnTo>
                  <a:lnTo>
                    <a:pt x="1200" y="388"/>
                  </a:lnTo>
                  <a:lnTo>
                    <a:pt x="1198" y="390"/>
                  </a:lnTo>
                  <a:lnTo>
                    <a:pt x="1198" y="392"/>
                  </a:lnTo>
                  <a:lnTo>
                    <a:pt x="1200" y="392"/>
                  </a:lnTo>
                  <a:lnTo>
                    <a:pt x="1196" y="392"/>
                  </a:lnTo>
                  <a:lnTo>
                    <a:pt x="1196" y="392"/>
                  </a:lnTo>
                  <a:lnTo>
                    <a:pt x="1194" y="392"/>
                  </a:lnTo>
                  <a:lnTo>
                    <a:pt x="1194" y="395"/>
                  </a:lnTo>
                  <a:lnTo>
                    <a:pt x="1192" y="395"/>
                  </a:lnTo>
                  <a:lnTo>
                    <a:pt x="1190" y="399"/>
                  </a:lnTo>
                  <a:lnTo>
                    <a:pt x="1190" y="401"/>
                  </a:lnTo>
                  <a:lnTo>
                    <a:pt x="1190" y="401"/>
                  </a:lnTo>
                  <a:lnTo>
                    <a:pt x="1190" y="403"/>
                  </a:lnTo>
                  <a:lnTo>
                    <a:pt x="1194" y="407"/>
                  </a:lnTo>
                  <a:lnTo>
                    <a:pt x="1196" y="409"/>
                  </a:lnTo>
                  <a:lnTo>
                    <a:pt x="1196" y="409"/>
                  </a:lnTo>
                  <a:lnTo>
                    <a:pt x="1196" y="411"/>
                  </a:lnTo>
                  <a:lnTo>
                    <a:pt x="1198" y="411"/>
                  </a:lnTo>
                  <a:lnTo>
                    <a:pt x="1200" y="411"/>
                  </a:lnTo>
                  <a:lnTo>
                    <a:pt x="1202" y="413"/>
                  </a:lnTo>
                  <a:lnTo>
                    <a:pt x="1204" y="413"/>
                  </a:lnTo>
                  <a:lnTo>
                    <a:pt x="1204" y="413"/>
                  </a:lnTo>
                  <a:lnTo>
                    <a:pt x="1208" y="415"/>
                  </a:lnTo>
                  <a:lnTo>
                    <a:pt x="1215" y="417"/>
                  </a:lnTo>
                  <a:lnTo>
                    <a:pt x="1215" y="417"/>
                  </a:lnTo>
                  <a:lnTo>
                    <a:pt x="1217" y="415"/>
                  </a:lnTo>
                  <a:lnTo>
                    <a:pt x="1217" y="415"/>
                  </a:lnTo>
                  <a:lnTo>
                    <a:pt x="1217" y="415"/>
                  </a:lnTo>
                  <a:lnTo>
                    <a:pt x="1219" y="417"/>
                  </a:lnTo>
                  <a:lnTo>
                    <a:pt x="1221" y="419"/>
                  </a:lnTo>
                  <a:lnTo>
                    <a:pt x="1221" y="419"/>
                  </a:lnTo>
                  <a:lnTo>
                    <a:pt x="1223" y="419"/>
                  </a:lnTo>
                  <a:lnTo>
                    <a:pt x="1223" y="421"/>
                  </a:lnTo>
                  <a:lnTo>
                    <a:pt x="1227" y="421"/>
                  </a:lnTo>
                  <a:lnTo>
                    <a:pt x="1227" y="419"/>
                  </a:lnTo>
                  <a:lnTo>
                    <a:pt x="1229" y="419"/>
                  </a:lnTo>
                  <a:lnTo>
                    <a:pt x="1231" y="419"/>
                  </a:lnTo>
                  <a:lnTo>
                    <a:pt x="1233" y="419"/>
                  </a:lnTo>
                  <a:lnTo>
                    <a:pt x="1233" y="421"/>
                  </a:lnTo>
                  <a:lnTo>
                    <a:pt x="1233" y="421"/>
                  </a:lnTo>
                  <a:lnTo>
                    <a:pt x="1233" y="421"/>
                  </a:lnTo>
                  <a:lnTo>
                    <a:pt x="1235" y="421"/>
                  </a:lnTo>
                  <a:lnTo>
                    <a:pt x="1233" y="423"/>
                  </a:lnTo>
                  <a:lnTo>
                    <a:pt x="1233" y="423"/>
                  </a:lnTo>
                  <a:lnTo>
                    <a:pt x="1229" y="426"/>
                  </a:lnTo>
                  <a:lnTo>
                    <a:pt x="1229" y="426"/>
                  </a:lnTo>
                  <a:lnTo>
                    <a:pt x="1229" y="426"/>
                  </a:lnTo>
                  <a:lnTo>
                    <a:pt x="1231" y="421"/>
                  </a:lnTo>
                  <a:lnTo>
                    <a:pt x="1231" y="421"/>
                  </a:lnTo>
                  <a:lnTo>
                    <a:pt x="1229" y="421"/>
                  </a:lnTo>
                  <a:lnTo>
                    <a:pt x="1225" y="423"/>
                  </a:lnTo>
                  <a:lnTo>
                    <a:pt x="1223" y="423"/>
                  </a:lnTo>
                  <a:lnTo>
                    <a:pt x="1223" y="426"/>
                  </a:lnTo>
                  <a:lnTo>
                    <a:pt x="1223" y="426"/>
                  </a:lnTo>
                  <a:lnTo>
                    <a:pt x="1223" y="428"/>
                  </a:lnTo>
                  <a:lnTo>
                    <a:pt x="1223" y="428"/>
                  </a:lnTo>
                  <a:lnTo>
                    <a:pt x="1225" y="428"/>
                  </a:lnTo>
                  <a:lnTo>
                    <a:pt x="1225" y="428"/>
                  </a:lnTo>
                  <a:lnTo>
                    <a:pt x="1223" y="430"/>
                  </a:lnTo>
                  <a:lnTo>
                    <a:pt x="1219" y="432"/>
                  </a:lnTo>
                  <a:lnTo>
                    <a:pt x="1219" y="434"/>
                  </a:lnTo>
                  <a:lnTo>
                    <a:pt x="1217" y="436"/>
                  </a:lnTo>
                  <a:lnTo>
                    <a:pt x="1219" y="438"/>
                  </a:lnTo>
                  <a:lnTo>
                    <a:pt x="1219" y="438"/>
                  </a:lnTo>
                  <a:lnTo>
                    <a:pt x="1223" y="438"/>
                  </a:lnTo>
                  <a:lnTo>
                    <a:pt x="1225" y="438"/>
                  </a:lnTo>
                  <a:lnTo>
                    <a:pt x="1227" y="436"/>
                  </a:lnTo>
                  <a:lnTo>
                    <a:pt x="1227" y="434"/>
                  </a:lnTo>
                  <a:lnTo>
                    <a:pt x="1227" y="432"/>
                  </a:lnTo>
                  <a:lnTo>
                    <a:pt x="1227" y="432"/>
                  </a:lnTo>
                  <a:lnTo>
                    <a:pt x="1229" y="432"/>
                  </a:lnTo>
                  <a:lnTo>
                    <a:pt x="1229" y="432"/>
                  </a:lnTo>
                  <a:lnTo>
                    <a:pt x="1229" y="432"/>
                  </a:lnTo>
                  <a:lnTo>
                    <a:pt x="1231" y="434"/>
                  </a:lnTo>
                  <a:lnTo>
                    <a:pt x="1231" y="434"/>
                  </a:lnTo>
                  <a:lnTo>
                    <a:pt x="1231" y="436"/>
                  </a:lnTo>
                  <a:lnTo>
                    <a:pt x="1231" y="438"/>
                  </a:lnTo>
                  <a:lnTo>
                    <a:pt x="1231" y="440"/>
                  </a:lnTo>
                  <a:lnTo>
                    <a:pt x="1231" y="440"/>
                  </a:lnTo>
                  <a:lnTo>
                    <a:pt x="1231" y="440"/>
                  </a:lnTo>
                  <a:lnTo>
                    <a:pt x="1233" y="442"/>
                  </a:lnTo>
                  <a:lnTo>
                    <a:pt x="1233" y="442"/>
                  </a:lnTo>
                  <a:lnTo>
                    <a:pt x="1231" y="442"/>
                  </a:lnTo>
                  <a:lnTo>
                    <a:pt x="1227" y="444"/>
                  </a:lnTo>
                  <a:lnTo>
                    <a:pt x="1225" y="446"/>
                  </a:lnTo>
                  <a:lnTo>
                    <a:pt x="1223" y="448"/>
                  </a:lnTo>
                  <a:lnTo>
                    <a:pt x="1221" y="450"/>
                  </a:lnTo>
                  <a:lnTo>
                    <a:pt x="1219" y="452"/>
                  </a:lnTo>
                  <a:lnTo>
                    <a:pt x="1215" y="454"/>
                  </a:lnTo>
                  <a:lnTo>
                    <a:pt x="1215" y="454"/>
                  </a:lnTo>
                  <a:lnTo>
                    <a:pt x="1212" y="454"/>
                  </a:lnTo>
                  <a:lnTo>
                    <a:pt x="1210" y="454"/>
                  </a:lnTo>
                  <a:lnTo>
                    <a:pt x="1208" y="454"/>
                  </a:lnTo>
                  <a:lnTo>
                    <a:pt x="1206" y="454"/>
                  </a:lnTo>
                  <a:lnTo>
                    <a:pt x="1206" y="454"/>
                  </a:lnTo>
                  <a:lnTo>
                    <a:pt x="1206" y="456"/>
                  </a:lnTo>
                  <a:lnTo>
                    <a:pt x="1202" y="463"/>
                  </a:lnTo>
                  <a:lnTo>
                    <a:pt x="1202" y="463"/>
                  </a:lnTo>
                  <a:lnTo>
                    <a:pt x="1206" y="465"/>
                  </a:lnTo>
                  <a:lnTo>
                    <a:pt x="1206" y="467"/>
                  </a:lnTo>
                  <a:lnTo>
                    <a:pt x="1208" y="471"/>
                  </a:lnTo>
                  <a:lnTo>
                    <a:pt x="1208" y="473"/>
                  </a:lnTo>
                  <a:lnTo>
                    <a:pt x="1206" y="477"/>
                  </a:lnTo>
                  <a:lnTo>
                    <a:pt x="1206" y="481"/>
                  </a:lnTo>
                  <a:lnTo>
                    <a:pt x="1206" y="481"/>
                  </a:lnTo>
                  <a:lnTo>
                    <a:pt x="1204" y="481"/>
                  </a:lnTo>
                  <a:lnTo>
                    <a:pt x="1202" y="481"/>
                  </a:lnTo>
                  <a:lnTo>
                    <a:pt x="1198" y="481"/>
                  </a:lnTo>
                  <a:lnTo>
                    <a:pt x="1198" y="481"/>
                  </a:lnTo>
                  <a:lnTo>
                    <a:pt x="1196" y="481"/>
                  </a:lnTo>
                  <a:lnTo>
                    <a:pt x="1198" y="483"/>
                  </a:lnTo>
                  <a:lnTo>
                    <a:pt x="1200" y="487"/>
                  </a:lnTo>
                  <a:lnTo>
                    <a:pt x="1202" y="487"/>
                  </a:lnTo>
                  <a:lnTo>
                    <a:pt x="1200" y="490"/>
                  </a:lnTo>
                  <a:lnTo>
                    <a:pt x="1200" y="490"/>
                  </a:lnTo>
                  <a:lnTo>
                    <a:pt x="1200" y="487"/>
                  </a:lnTo>
                  <a:lnTo>
                    <a:pt x="1200" y="485"/>
                  </a:lnTo>
                  <a:lnTo>
                    <a:pt x="1192" y="481"/>
                  </a:lnTo>
                  <a:lnTo>
                    <a:pt x="1192" y="479"/>
                  </a:lnTo>
                  <a:lnTo>
                    <a:pt x="1192" y="479"/>
                  </a:lnTo>
                  <a:lnTo>
                    <a:pt x="1192" y="479"/>
                  </a:lnTo>
                  <a:lnTo>
                    <a:pt x="1192" y="479"/>
                  </a:lnTo>
                  <a:lnTo>
                    <a:pt x="1194" y="481"/>
                  </a:lnTo>
                  <a:lnTo>
                    <a:pt x="1196" y="481"/>
                  </a:lnTo>
                  <a:lnTo>
                    <a:pt x="1198" y="479"/>
                  </a:lnTo>
                  <a:lnTo>
                    <a:pt x="1198" y="479"/>
                  </a:lnTo>
                  <a:lnTo>
                    <a:pt x="1200" y="481"/>
                  </a:lnTo>
                  <a:lnTo>
                    <a:pt x="1200" y="481"/>
                  </a:lnTo>
                  <a:lnTo>
                    <a:pt x="1202" y="481"/>
                  </a:lnTo>
                  <a:lnTo>
                    <a:pt x="1204" y="481"/>
                  </a:lnTo>
                  <a:lnTo>
                    <a:pt x="1204" y="481"/>
                  </a:lnTo>
                  <a:lnTo>
                    <a:pt x="1206" y="481"/>
                  </a:lnTo>
                  <a:lnTo>
                    <a:pt x="1206" y="479"/>
                  </a:lnTo>
                  <a:lnTo>
                    <a:pt x="1206" y="479"/>
                  </a:lnTo>
                  <a:lnTo>
                    <a:pt x="1206" y="477"/>
                  </a:lnTo>
                  <a:lnTo>
                    <a:pt x="1206" y="477"/>
                  </a:lnTo>
                  <a:lnTo>
                    <a:pt x="1204" y="475"/>
                  </a:lnTo>
                  <a:lnTo>
                    <a:pt x="1204" y="475"/>
                  </a:lnTo>
                  <a:lnTo>
                    <a:pt x="1202" y="475"/>
                  </a:lnTo>
                  <a:lnTo>
                    <a:pt x="1200" y="475"/>
                  </a:lnTo>
                  <a:lnTo>
                    <a:pt x="1200" y="475"/>
                  </a:lnTo>
                  <a:lnTo>
                    <a:pt x="1202" y="473"/>
                  </a:lnTo>
                  <a:lnTo>
                    <a:pt x="1202" y="473"/>
                  </a:lnTo>
                  <a:lnTo>
                    <a:pt x="1200" y="473"/>
                  </a:lnTo>
                  <a:lnTo>
                    <a:pt x="1198" y="473"/>
                  </a:lnTo>
                  <a:lnTo>
                    <a:pt x="1196" y="473"/>
                  </a:lnTo>
                  <a:lnTo>
                    <a:pt x="1196" y="473"/>
                  </a:lnTo>
                  <a:lnTo>
                    <a:pt x="1196" y="471"/>
                  </a:lnTo>
                  <a:lnTo>
                    <a:pt x="1194" y="471"/>
                  </a:lnTo>
                  <a:lnTo>
                    <a:pt x="1192" y="469"/>
                  </a:lnTo>
                  <a:lnTo>
                    <a:pt x="1192" y="467"/>
                  </a:lnTo>
                  <a:lnTo>
                    <a:pt x="1194" y="465"/>
                  </a:lnTo>
                  <a:lnTo>
                    <a:pt x="1194" y="463"/>
                  </a:lnTo>
                  <a:lnTo>
                    <a:pt x="1196" y="461"/>
                  </a:lnTo>
                  <a:lnTo>
                    <a:pt x="1198" y="452"/>
                  </a:lnTo>
                  <a:lnTo>
                    <a:pt x="1198" y="450"/>
                  </a:lnTo>
                  <a:lnTo>
                    <a:pt x="1196" y="450"/>
                  </a:lnTo>
                  <a:lnTo>
                    <a:pt x="1192" y="452"/>
                  </a:lnTo>
                  <a:lnTo>
                    <a:pt x="1192" y="452"/>
                  </a:lnTo>
                  <a:lnTo>
                    <a:pt x="1190" y="454"/>
                  </a:lnTo>
                  <a:lnTo>
                    <a:pt x="1190" y="454"/>
                  </a:lnTo>
                  <a:lnTo>
                    <a:pt x="1190" y="454"/>
                  </a:lnTo>
                  <a:lnTo>
                    <a:pt x="1188" y="454"/>
                  </a:lnTo>
                  <a:lnTo>
                    <a:pt x="1188" y="454"/>
                  </a:lnTo>
                  <a:lnTo>
                    <a:pt x="1190" y="450"/>
                  </a:lnTo>
                  <a:lnTo>
                    <a:pt x="1192" y="448"/>
                  </a:lnTo>
                  <a:lnTo>
                    <a:pt x="1192" y="448"/>
                  </a:lnTo>
                  <a:lnTo>
                    <a:pt x="1188" y="450"/>
                  </a:lnTo>
                  <a:lnTo>
                    <a:pt x="1184" y="450"/>
                  </a:lnTo>
                  <a:lnTo>
                    <a:pt x="1184" y="450"/>
                  </a:lnTo>
                  <a:lnTo>
                    <a:pt x="1182" y="448"/>
                  </a:lnTo>
                  <a:lnTo>
                    <a:pt x="1182" y="446"/>
                  </a:lnTo>
                  <a:lnTo>
                    <a:pt x="1179" y="446"/>
                  </a:lnTo>
                  <a:lnTo>
                    <a:pt x="1179" y="444"/>
                  </a:lnTo>
                  <a:lnTo>
                    <a:pt x="1177" y="444"/>
                  </a:lnTo>
                  <a:lnTo>
                    <a:pt x="1177" y="444"/>
                  </a:lnTo>
                  <a:lnTo>
                    <a:pt x="1175" y="444"/>
                  </a:lnTo>
                  <a:lnTo>
                    <a:pt x="1173" y="444"/>
                  </a:lnTo>
                  <a:lnTo>
                    <a:pt x="1171" y="444"/>
                  </a:lnTo>
                  <a:lnTo>
                    <a:pt x="1169" y="444"/>
                  </a:lnTo>
                  <a:lnTo>
                    <a:pt x="1169" y="444"/>
                  </a:lnTo>
                  <a:lnTo>
                    <a:pt x="1171" y="446"/>
                  </a:lnTo>
                  <a:lnTo>
                    <a:pt x="1171" y="446"/>
                  </a:lnTo>
                  <a:lnTo>
                    <a:pt x="1167" y="448"/>
                  </a:lnTo>
                  <a:lnTo>
                    <a:pt x="1165" y="448"/>
                  </a:lnTo>
                  <a:lnTo>
                    <a:pt x="1163" y="446"/>
                  </a:lnTo>
                  <a:lnTo>
                    <a:pt x="1161" y="446"/>
                  </a:lnTo>
                  <a:lnTo>
                    <a:pt x="1161" y="446"/>
                  </a:lnTo>
                  <a:lnTo>
                    <a:pt x="1159" y="448"/>
                  </a:lnTo>
                  <a:lnTo>
                    <a:pt x="1161" y="448"/>
                  </a:lnTo>
                  <a:lnTo>
                    <a:pt x="1163" y="450"/>
                  </a:lnTo>
                  <a:lnTo>
                    <a:pt x="1163" y="450"/>
                  </a:lnTo>
                  <a:lnTo>
                    <a:pt x="1163" y="452"/>
                  </a:lnTo>
                  <a:lnTo>
                    <a:pt x="1163" y="452"/>
                  </a:lnTo>
                  <a:lnTo>
                    <a:pt x="1163" y="452"/>
                  </a:lnTo>
                  <a:lnTo>
                    <a:pt x="1163" y="452"/>
                  </a:lnTo>
                  <a:lnTo>
                    <a:pt x="1163" y="454"/>
                  </a:lnTo>
                  <a:lnTo>
                    <a:pt x="1167" y="459"/>
                  </a:lnTo>
                  <a:lnTo>
                    <a:pt x="1167" y="459"/>
                  </a:lnTo>
                  <a:lnTo>
                    <a:pt x="1171" y="456"/>
                  </a:lnTo>
                  <a:lnTo>
                    <a:pt x="1173" y="456"/>
                  </a:lnTo>
                  <a:lnTo>
                    <a:pt x="1175" y="456"/>
                  </a:lnTo>
                  <a:lnTo>
                    <a:pt x="1179" y="459"/>
                  </a:lnTo>
                  <a:lnTo>
                    <a:pt x="1179" y="461"/>
                  </a:lnTo>
                  <a:lnTo>
                    <a:pt x="1182" y="461"/>
                  </a:lnTo>
                  <a:lnTo>
                    <a:pt x="1182" y="461"/>
                  </a:lnTo>
                  <a:lnTo>
                    <a:pt x="1182" y="463"/>
                  </a:lnTo>
                  <a:lnTo>
                    <a:pt x="1182" y="463"/>
                  </a:lnTo>
                  <a:lnTo>
                    <a:pt x="1182" y="463"/>
                  </a:lnTo>
                  <a:lnTo>
                    <a:pt x="1179" y="465"/>
                  </a:lnTo>
                  <a:lnTo>
                    <a:pt x="1177" y="465"/>
                  </a:lnTo>
                  <a:lnTo>
                    <a:pt x="1175" y="465"/>
                  </a:lnTo>
                  <a:lnTo>
                    <a:pt x="1169" y="463"/>
                  </a:lnTo>
                  <a:lnTo>
                    <a:pt x="1169" y="463"/>
                  </a:lnTo>
                  <a:lnTo>
                    <a:pt x="1169" y="463"/>
                  </a:lnTo>
                  <a:lnTo>
                    <a:pt x="1163" y="456"/>
                  </a:lnTo>
                  <a:lnTo>
                    <a:pt x="1161" y="454"/>
                  </a:lnTo>
                  <a:lnTo>
                    <a:pt x="1161" y="454"/>
                  </a:lnTo>
                  <a:lnTo>
                    <a:pt x="1159" y="454"/>
                  </a:lnTo>
                  <a:lnTo>
                    <a:pt x="1159" y="454"/>
                  </a:lnTo>
                  <a:lnTo>
                    <a:pt x="1159" y="456"/>
                  </a:lnTo>
                  <a:lnTo>
                    <a:pt x="1159" y="456"/>
                  </a:lnTo>
                  <a:lnTo>
                    <a:pt x="1161" y="459"/>
                  </a:lnTo>
                  <a:lnTo>
                    <a:pt x="1163" y="461"/>
                  </a:lnTo>
                  <a:lnTo>
                    <a:pt x="1163" y="461"/>
                  </a:lnTo>
                  <a:lnTo>
                    <a:pt x="1163" y="461"/>
                  </a:lnTo>
                  <a:lnTo>
                    <a:pt x="1163" y="461"/>
                  </a:lnTo>
                  <a:lnTo>
                    <a:pt x="1159" y="461"/>
                  </a:lnTo>
                  <a:lnTo>
                    <a:pt x="1157" y="463"/>
                  </a:lnTo>
                  <a:lnTo>
                    <a:pt x="1157" y="463"/>
                  </a:lnTo>
                  <a:lnTo>
                    <a:pt x="1155" y="463"/>
                  </a:lnTo>
                  <a:lnTo>
                    <a:pt x="1153" y="463"/>
                  </a:lnTo>
                  <a:lnTo>
                    <a:pt x="1151" y="463"/>
                  </a:lnTo>
                  <a:lnTo>
                    <a:pt x="1149" y="461"/>
                  </a:lnTo>
                  <a:lnTo>
                    <a:pt x="1144" y="461"/>
                  </a:lnTo>
                  <a:lnTo>
                    <a:pt x="1138" y="461"/>
                  </a:lnTo>
                  <a:lnTo>
                    <a:pt x="1134" y="461"/>
                  </a:lnTo>
                  <a:lnTo>
                    <a:pt x="1134" y="461"/>
                  </a:lnTo>
                  <a:lnTo>
                    <a:pt x="1132" y="461"/>
                  </a:lnTo>
                  <a:lnTo>
                    <a:pt x="1130" y="461"/>
                  </a:lnTo>
                  <a:lnTo>
                    <a:pt x="1128" y="461"/>
                  </a:lnTo>
                  <a:lnTo>
                    <a:pt x="1126" y="463"/>
                  </a:lnTo>
                  <a:lnTo>
                    <a:pt x="1126" y="463"/>
                  </a:lnTo>
                  <a:lnTo>
                    <a:pt x="1118" y="463"/>
                  </a:lnTo>
                  <a:lnTo>
                    <a:pt x="1116" y="463"/>
                  </a:lnTo>
                  <a:lnTo>
                    <a:pt x="1114" y="463"/>
                  </a:lnTo>
                  <a:lnTo>
                    <a:pt x="1111" y="463"/>
                  </a:lnTo>
                  <a:lnTo>
                    <a:pt x="1109" y="463"/>
                  </a:lnTo>
                  <a:lnTo>
                    <a:pt x="1107" y="463"/>
                  </a:lnTo>
                  <a:lnTo>
                    <a:pt x="1107" y="463"/>
                  </a:lnTo>
                  <a:lnTo>
                    <a:pt x="1103" y="461"/>
                  </a:lnTo>
                  <a:lnTo>
                    <a:pt x="1099" y="461"/>
                  </a:lnTo>
                  <a:lnTo>
                    <a:pt x="1097" y="459"/>
                  </a:lnTo>
                  <a:lnTo>
                    <a:pt x="1093" y="454"/>
                  </a:lnTo>
                  <a:lnTo>
                    <a:pt x="1091" y="452"/>
                  </a:lnTo>
                  <a:lnTo>
                    <a:pt x="1089" y="454"/>
                  </a:lnTo>
                  <a:lnTo>
                    <a:pt x="1085" y="454"/>
                  </a:lnTo>
                  <a:lnTo>
                    <a:pt x="1081" y="454"/>
                  </a:lnTo>
                  <a:lnTo>
                    <a:pt x="1078" y="454"/>
                  </a:lnTo>
                  <a:lnTo>
                    <a:pt x="1076" y="454"/>
                  </a:lnTo>
                  <a:lnTo>
                    <a:pt x="1074" y="452"/>
                  </a:lnTo>
                  <a:lnTo>
                    <a:pt x="1074" y="452"/>
                  </a:lnTo>
                  <a:lnTo>
                    <a:pt x="1074" y="450"/>
                  </a:lnTo>
                  <a:lnTo>
                    <a:pt x="1074" y="450"/>
                  </a:lnTo>
                  <a:lnTo>
                    <a:pt x="1072" y="450"/>
                  </a:lnTo>
                  <a:lnTo>
                    <a:pt x="1070" y="450"/>
                  </a:lnTo>
                  <a:lnTo>
                    <a:pt x="1070" y="450"/>
                  </a:lnTo>
                  <a:lnTo>
                    <a:pt x="1070" y="448"/>
                  </a:lnTo>
                  <a:lnTo>
                    <a:pt x="1070" y="448"/>
                  </a:lnTo>
                  <a:lnTo>
                    <a:pt x="1070" y="448"/>
                  </a:lnTo>
                  <a:lnTo>
                    <a:pt x="1068" y="448"/>
                  </a:lnTo>
                  <a:lnTo>
                    <a:pt x="1068" y="448"/>
                  </a:lnTo>
                  <a:lnTo>
                    <a:pt x="1066" y="448"/>
                  </a:lnTo>
                  <a:lnTo>
                    <a:pt x="1064" y="446"/>
                  </a:lnTo>
                  <a:lnTo>
                    <a:pt x="1064" y="444"/>
                  </a:lnTo>
                  <a:lnTo>
                    <a:pt x="1062" y="442"/>
                  </a:lnTo>
                  <a:lnTo>
                    <a:pt x="1062" y="438"/>
                  </a:lnTo>
                  <a:lnTo>
                    <a:pt x="1060" y="438"/>
                  </a:lnTo>
                  <a:lnTo>
                    <a:pt x="1060" y="436"/>
                  </a:lnTo>
                  <a:lnTo>
                    <a:pt x="1058" y="436"/>
                  </a:lnTo>
                  <a:lnTo>
                    <a:pt x="1056" y="434"/>
                  </a:lnTo>
                  <a:lnTo>
                    <a:pt x="1054" y="434"/>
                  </a:lnTo>
                  <a:lnTo>
                    <a:pt x="1050" y="434"/>
                  </a:lnTo>
                  <a:lnTo>
                    <a:pt x="1045" y="436"/>
                  </a:lnTo>
                  <a:lnTo>
                    <a:pt x="1043" y="436"/>
                  </a:lnTo>
                  <a:lnTo>
                    <a:pt x="1035" y="440"/>
                  </a:lnTo>
                  <a:lnTo>
                    <a:pt x="1029" y="440"/>
                  </a:lnTo>
                  <a:lnTo>
                    <a:pt x="1023" y="442"/>
                  </a:lnTo>
                  <a:lnTo>
                    <a:pt x="1021" y="442"/>
                  </a:lnTo>
                  <a:lnTo>
                    <a:pt x="1017" y="446"/>
                  </a:lnTo>
                  <a:lnTo>
                    <a:pt x="1017" y="448"/>
                  </a:lnTo>
                  <a:lnTo>
                    <a:pt x="1017" y="450"/>
                  </a:lnTo>
                  <a:lnTo>
                    <a:pt x="1021" y="452"/>
                  </a:lnTo>
                  <a:lnTo>
                    <a:pt x="1023" y="452"/>
                  </a:lnTo>
                  <a:lnTo>
                    <a:pt x="1023" y="452"/>
                  </a:lnTo>
                  <a:lnTo>
                    <a:pt x="1025" y="452"/>
                  </a:lnTo>
                  <a:lnTo>
                    <a:pt x="1027" y="452"/>
                  </a:lnTo>
                  <a:lnTo>
                    <a:pt x="1031" y="452"/>
                  </a:lnTo>
                  <a:lnTo>
                    <a:pt x="1031" y="450"/>
                  </a:lnTo>
                  <a:lnTo>
                    <a:pt x="1031" y="450"/>
                  </a:lnTo>
                  <a:lnTo>
                    <a:pt x="1031" y="448"/>
                  </a:lnTo>
                  <a:lnTo>
                    <a:pt x="1031" y="448"/>
                  </a:lnTo>
                  <a:lnTo>
                    <a:pt x="1033" y="448"/>
                  </a:lnTo>
                  <a:lnTo>
                    <a:pt x="1037" y="448"/>
                  </a:lnTo>
                  <a:lnTo>
                    <a:pt x="1039" y="448"/>
                  </a:lnTo>
                  <a:lnTo>
                    <a:pt x="1039" y="448"/>
                  </a:lnTo>
                  <a:lnTo>
                    <a:pt x="1041" y="446"/>
                  </a:lnTo>
                  <a:lnTo>
                    <a:pt x="1043" y="446"/>
                  </a:lnTo>
                  <a:lnTo>
                    <a:pt x="1043" y="446"/>
                  </a:lnTo>
                  <a:lnTo>
                    <a:pt x="1045" y="448"/>
                  </a:lnTo>
                  <a:lnTo>
                    <a:pt x="1048" y="446"/>
                  </a:lnTo>
                  <a:lnTo>
                    <a:pt x="1048" y="444"/>
                  </a:lnTo>
                  <a:lnTo>
                    <a:pt x="1048" y="444"/>
                  </a:lnTo>
                  <a:lnTo>
                    <a:pt x="1052" y="442"/>
                  </a:lnTo>
                  <a:lnTo>
                    <a:pt x="1054" y="440"/>
                  </a:lnTo>
                  <a:lnTo>
                    <a:pt x="1056" y="440"/>
                  </a:lnTo>
                  <a:lnTo>
                    <a:pt x="1058" y="442"/>
                  </a:lnTo>
                  <a:lnTo>
                    <a:pt x="1058" y="442"/>
                  </a:lnTo>
                  <a:lnTo>
                    <a:pt x="1058" y="444"/>
                  </a:lnTo>
                  <a:lnTo>
                    <a:pt x="1058" y="444"/>
                  </a:lnTo>
                  <a:lnTo>
                    <a:pt x="1056" y="446"/>
                  </a:lnTo>
                  <a:lnTo>
                    <a:pt x="1054" y="446"/>
                  </a:lnTo>
                  <a:lnTo>
                    <a:pt x="1054" y="446"/>
                  </a:lnTo>
                  <a:lnTo>
                    <a:pt x="1052" y="446"/>
                  </a:lnTo>
                  <a:lnTo>
                    <a:pt x="1050" y="448"/>
                  </a:lnTo>
                  <a:lnTo>
                    <a:pt x="1050" y="448"/>
                  </a:lnTo>
                  <a:lnTo>
                    <a:pt x="1050" y="450"/>
                  </a:lnTo>
                  <a:lnTo>
                    <a:pt x="1048" y="452"/>
                  </a:lnTo>
                  <a:lnTo>
                    <a:pt x="1048" y="450"/>
                  </a:lnTo>
                  <a:lnTo>
                    <a:pt x="1045" y="450"/>
                  </a:lnTo>
                  <a:lnTo>
                    <a:pt x="1045" y="450"/>
                  </a:lnTo>
                  <a:lnTo>
                    <a:pt x="1043" y="452"/>
                  </a:lnTo>
                  <a:lnTo>
                    <a:pt x="1043" y="452"/>
                  </a:lnTo>
                  <a:lnTo>
                    <a:pt x="1041" y="454"/>
                  </a:lnTo>
                  <a:lnTo>
                    <a:pt x="1041" y="454"/>
                  </a:lnTo>
                  <a:lnTo>
                    <a:pt x="1039" y="454"/>
                  </a:lnTo>
                  <a:lnTo>
                    <a:pt x="1037" y="454"/>
                  </a:lnTo>
                  <a:lnTo>
                    <a:pt x="1035" y="454"/>
                  </a:lnTo>
                  <a:lnTo>
                    <a:pt x="1035" y="454"/>
                  </a:lnTo>
                  <a:lnTo>
                    <a:pt x="1033" y="454"/>
                  </a:lnTo>
                  <a:lnTo>
                    <a:pt x="1029" y="454"/>
                  </a:lnTo>
                  <a:lnTo>
                    <a:pt x="1029" y="454"/>
                  </a:lnTo>
                  <a:lnTo>
                    <a:pt x="1029" y="456"/>
                  </a:lnTo>
                  <a:lnTo>
                    <a:pt x="1031" y="456"/>
                  </a:lnTo>
                  <a:lnTo>
                    <a:pt x="1029" y="459"/>
                  </a:lnTo>
                  <a:lnTo>
                    <a:pt x="1029" y="461"/>
                  </a:lnTo>
                  <a:lnTo>
                    <a:pt x="1027" y="461"/>
                  </a:lnTo>
                  <a:lnTo>
                    <a:pt x="1027" y="463"/>
                  </a:lnTo>
                  <a:lnTo>
                    <a:pt x="1027" y="463"/>
                  </a:lnTo>
                  <a:lnTo>
                    <a:pt x="1029" y="465"/>
                  </a:lnTo>
                  <a:lnTo>
                    <a:pt x="1031" y="467"/>
                  </a:lnTo>
                  <a:lnTo>
                    <a:pt x="1031" y="469"/>
                  </a:lnTo>
                  <a:lnTo>
                    <a:pt x="1031" y="469"/>
                  </a:lnTo>
                  <a:lnTo>
                    <a:pt x="1031" y="471"/>
                  </a:lnTo>
                  <a:lnTo>
                    <a:pt x="1031" y="471"/>
                  </a:lnTo>
                  <a:lnTo>
                    <a:pt x="1033" y="473"/>
                  </a:lnTo>
                  <a:lnTo>
                    <a:pt x="1033" y="475"/>
                  </a:lnTo>
                  <a:lnTo>
                    <a:pt x="1037" y="477"/>
                  </a:lnTo>
                  <a:lnTo>
                    <a:pt x="1037" y="477"/>
                  </a:lnTo>
                  <a:lnTo>
                    <a:pt x="1035" y="479"/>
                  </a:lnTo>
                  <a:lnTo>
                    <a:pt x="1035" y="479"/>
                  </a:lnTo>
                  <a:lnTo>
                    <a:pt x="1037" y="481"/>
                  </a:lnTo>
                  <a:lnTo>
                    <a:pt x="1039" y="483"/>
                  </a:lnTo>
                  <a:lnTo>
                    <a:pt x="1037" y="483"/>
                  </a:lnTo>
                  <a:lnTo>
                    <a:pt x="1035" y="481"/>
                  </a:lnTo>
                  <a:lnTo>
                    <a:pt x="1035" y="481"/>
                  </a:lnTo>
                  <a:lnTo>
                    <a:pt x="1035" y="481"/>
                  </a:lnTo>
                  <a:lnTo>
                    <a:pt x="1035" y="481"/>
                  </a:lnTo>
                  <a:lnTo>
                    <a:pt x="1033" y="481"/>
                  </a:lnTo>
                  <a:lnTo>
                    <a:pt x="1031" y="479"/>
                  </a:lnTo>
                  <a:lnTo>
                    <a:pt x="1031" y="481"/>
                  </a:lnTo>
                  <a:lnTo>
                    <a:pt x="1031" y="481"/>
                  </a:lnTo>
                  <a:lnTo>
                    <a:pt x="1031" y="485"/>
                  </a:lnTo>
                  <a:lnTo>
                    <a:pt x="1031" y="485"/>
                  </a:lnTo>
                  <a:lnTo>
                    <a:pt x="1031" y="485"/>
                  </a:lnTo>
                  <a:lnTo>
                    <a:pt x="1033" y="490"/>
                  </a:lnTo>
                  <a:lnTo>
                    <a:pt x="1037" y="494"/>
                  </a:lnTo>
                  <a:lnTo>
                    <a:pt x="1037" y="494"/>
                  </a:lnTo>
                  <a:lnTo>
                    <a:pt x="1037" y="494"/>
                  </a:lnTo>
                  <a:lnTo>
                    <a:pt x="1035" y="494"/>
                  </a:lnTo>
                  <a:lnTo>
                    <a:pt x="1033" y="492"/>
                  </a:lnTo>
                  <a:lnTo>
                    <a:pt x="1031" y="490"/>
                  </a:lnTo>
                  <a:lnTo>
                    <a:pt x="1029" y="487"/>
                  </a:lnTo>
                  <a:lnTo>
                    <a:pt x="1027" y="485"/>
                  </a:lnTo>
                  <a:lnTo>
                    <a:pt x="1027" y="485"/>
                  </a:lnTo>
                  <a:lnTo>
                    <a:pt x="1025" y="483"/>
                  </a:lnTo>
                  <a:lnTo>
                    <a:pt x="1025" y="483"/>
                  </a:lnTo>
                  <a:lnTo>
                    <a:pt x="1025" y="483"/>
                  </a:lnTo>
                  <a:lnTo>
                    <a:pt x="1023" y="481"/>
                  </a:lnTo>
                  <a:lnTo>
                    <a:pt x="1021" y="479"/>
                  </a:lnTo>
                  <a:lnTo>
                    <a:pt x="1019" y="477"/>
                  </a:lnTo>
                  <a:lnTo>
                    <a:pt x="1021" y="477"/>
                  </a:lnTo>
                  <a:lnTo>
                    <a:pt x="1021" y="479"/>
                  </a:lnTo>
                  <a:lnTo>
                    <a:pt x="1023" y="479"/>
                  </a:lnTo>
                  <a:lnTo>
                    <a:pt x="1025" y="479"/>
                  </a:lnTo>
                  <a:lnTo>
                    <a:pt x="1027" y="477"/>
                  </a:lnTo>
                  <a:lnTo>
                    <a:pt x="1027" y="477"/>
                  </a:lnTo>
                  <a:lnTo>
                    <a:pt x="1027" y="477"/>
                  </a:lnTo>
                  <a:lnTo>
                    <a:pt x="1027" y="475"/>
                  </a:lnTo>
                  <a:lnTo>
                    <a:pt x="1027" y="475"/>
                  </a:lnTo>
                  <a:lnTo>
                    <a:pt x="1021" y="471"/>
                  </a:lnTo>
                  <a:lnTo>
                    <a:pt x="1019" y="469"/>
                  </a:lnTo>
                  <a:lnTo>
                    <a:pt x="1019" y="467"/>
                  </a:lnTo>
                  <a:lnTo>
                    <a:pt x="1019" y="467"/>
                  </a:lnTo>
                  <a:lnTo>
                    <a:pt x="1017" y="465"/>
                  </a:lnTo>
                  <a:lnTo>
                    <a:pt x="1017" y="467"/>
                  </a:lnTo>
                  <a:lnTo>
                    <a:pt x="1015" y="469"/>
                  </a:lnTo>
                  <a:lnTo>
                    <a:pt x="1015" y="471"/>
                  </a:lnTo>
                  <a:lnTo>
                    <a:pt x="1015" y="469"/>
                  </a:lnTo>
                  <a:lnTo>
                    <a:pt x="1012" y="469"/>
                  </a:lnTo>
                  <a:lnTo>
                    <a:pt x="1012" y="467"/>
                  </a:lnTo>
                  <a:lnTo>
                    <a:pt x="1012" y="465"/>
                  </a:lnTo>
                  <a:lnTo>
                    <a:pt x="1012" y="463"/>
                  </a:lnTo>
                  <a:lnTo>
                    <a:pt x="1010" y="463"/>
                  </a:lnTo>
                  <a:lnTo>
                    <a:pt x="1008" y="463"/>
                  </a:lnTo>
                  <a:lnTo>
                    <a:pt x="1004" y="463"/>
                  </a:lnTo>
                  <a:lnTo>
                    <a:pt x="1002" y="463"/>
                  </a:lnTo>
                  <a:lnTo>
                    <a:pt x="1002" y="461"/>
                  </a:lnTo>
                  <a:lnTo>
                    <a:pt x="1000" y="459"/>
                  </a:lnTo>
                  <a:lnTo>
                    <a:pt x="1000" y="459"/>
                  </a:lnTo>
                  <a:lnTo>
                    <a:pt x="998" y="459"/>
                  </a:lnTo>
                  <a:lnTo>
                    <a:pt x="998" y="456"/>
                  </a:lnTo>
                  <a:lnTo>
                    <a:pt x="996" y="456"/>
                  </a:lnTo>
                  <a:lnTo>
                    <a:pt x="996" y="456"/>
                  </a:lnTo>
                  <a:lnTo>
                    <a:pt x="994" y="456"/>
                  </a:lnTo>
                  <a:lnTo>
                    <a:pt x="992" y="456"/>
                  </a:lnTo>
                  <a:lnTo>
                    <a:pt x="986" y="461"/>
                  </a:lnTo>
                  <a:lnTo>
                    <a:pt x="984" y="461"/>
                  </a:lnTo>
                  <a:lnTo>
                    <a:pt x="982" y="461"/>
                  </a:lnTo>
                  <a:lnTo>
                    <a:pt x="982" y="461"/>
                  </a:lnTo>
                  <a:lnTo>
                    <a:pt x="982" y="461"/>
                  </a:lnTo>
                  <a:lnTo>
                    <a:pt x="979" y="461"/>
                  </a:lnTo>
                  <a:lnTo>
                    <a:pt x="977" y="461"/>
                  </a:lnTo>
                  <a:lnTo>
                    <a:pt x="975" y="463"/>
                  </a:lnTo>
                  <a:lnTo>
                    <a:pt x="973" y="463"/>
                  </a:lnTo>
                  <a:lnTo>
                    <a:pt x="967" y="463"/>
                  </a:lnTo>
                  <a:lnTo>
                    <a:pt x="967" y="463"/>
                  </a:lnTo>
                  <a:lnTo>
                    <a:pt x="965" y="463"/>
                  </a:lnTo>
                  <a:lnTo>
                    <a:pt x="963" y="465"/>
                  </a:lnTo>
                  <a:lnTo>
                    <a:pt x="963" y="465"/>
                  </a:lnTo>
                  <a:lnTo>
                    <a:pt x="957" y="465"/>
                  </a:lnTo>
                  <a:lnTo>
                    <a:pt x="955" y="465"/>
                  </a:lnTo>
                  <a:lnTo>
                    <a:pt x="953" y="463"/>
                  </a:lnTo>
                  <a:lnTo>
                    <a:pt x="946" y="463"/>
                  </a:lnTo>
                  <a:lnTo>
                    <a:pt x="942" y="463"/>
                  </a:lnTo>
                  <a:lnTo>
                    <a:pt x="940" y="463"/>
                  </a:lnTo>
                  <a:lnTo>
                    <a:pt x="938" y="463"/>
                  </a:lnTo>
                  <a:lnTo>
                    <a:pt x="936" y="463"/>
                  </a:lnTo>
                  <a:lnTo>
                    <a:pt x="934" y="463"/>
                  </a:lnTo>
                  <a:lnTo>
                    <a:pt x="932" y="461"/>
                  </a:lnTo>
                  <a:lnTo>
                    <a:pt x="928" y="461"/>
                  </a:lnTo>
                  <a:lnTo>
                    <a:pt x="926" y="461"/>
                  </a:lnTo>
                  <a:lnTo>
                    <a:pt x="924" y="461"/>
                  </a:lnTo>
                  <a:lnTo>
                    <a:pt x="922" y="459"/>
                  </a:lnTo>
                  <a:lnTo>
                    <a:pt x="920" y="459"/>
                  </a:lnTo>
                  <a:lnTo>
                    <a:pt x="920" y="459"/>
                  </a:lnTo>
                  <a:lnTo>
                    <a:pt x="924" y="456"/>
                  </a:lnTo>
                  <a:lnTo>
                    <a:pt x="924" y="456"/>
                  </a:lnTo>
                  <a:lnTo>
                    <a:pt x="924" y="454"/>
                  </a:lnTo>
                  <a:lnTo>
                    <a:pt x="924" y="454"/>
                  </a:lnTo>
                  <a:lnTo>
                    <a:pt x="926" y="452"/>
                  </a:lnTo>
                  <a:lnTo>
                    <a:pt x="928" y="452"/>
                  </a:lnTo>
                  <a:lnTo>
                    <a:pt x="930" y="450"/>
                  </a:lnTo>
                  <a:lnTo>
                    <a:pt x="936" y="450"/>
                  </a:lnTo>
                  <a:lnTo>
                    <a:pt x="940" y="450"/>
                  </a:lnTo>
                  <a:lnTo>
                    <a:pt x="940" y="450"/>
                  </a:lnTo>
                  <a:lnTo>
                    <a:pt x="940" y="448"/>
                  </a:lnTo>
                  <a:lnTo>
                    <a:pt x="942" y="446"/>
                  </a:lnTo>
                  <a:lnTo>
                    <a:pt x="940" y="446"/>
                  </a:lnTo>
                  <a:lnTo>
                    <a:pt x="940" y="446"/>
                  </a:lnTo>
                  <a:lnTo>
                    <a:pt x="940" y="446"/>
                  </a:lnTo>
                  <a:lnTo>
                    <a:pt x="940" y="444"/>
                  </a:lnTo>
                  <a:lnTo>
                    <a:pt x="938" y="442"/>
                  </a:lnTo>
                  <a:lnTo>
                    <a:pt x="934" y="440"/>
                  </a:lnTo>
                  <a:lnTo>
                    <a:pt x="932" y="438"/>
                  </a:lnTo>
                  <a:lnTo>
                    <a:pt x="926" y="436"/>
                  </a:lnTo>
                  <a:lnTo>
                    <a:pt x="924" y="434"/>
                  </a:lnTo>
                  <a:lnTo>
                    <a:pt x="920" y="434"/>
                  </a:lnTo>
                  <a:lnTo>
                    <a:pt x="918" y="432"/>
                  </a:lnTo>
                  <a:lnTo>
                    <a:pt x="916" y="432"/>
                  </a:lnTo>
                  <a:lnTo>
                    <a:pt x="913" y="432"/>
                  </a:lnTo>
                  <a:lnTo>
                    <a:pt x="913" y="432"/>
                  </a:lnTo>
                  <a:lnTo>
                    <a:pt x="909" y="432"/>
                  </a:lnTo>
                  <a:lnTo>
                    <a:pt x="909" y="432"/>
                  </a:lnTo>
                  <a:lnTo>
                    <a:pt x="909" y="432"/>
                  </a:lnTo>
                  <a:lnTo>
                    <a:pt x="911" y="436"/>
                  </a:lnTo>
                  <a:lnTo>
                    <a:pt x="911" y="436"/>
                  </a:lnTo>
                  <a:lnTo>
                    <a:pt x="909" y="436"/>
                  </a:lnTo>
                  <a:lnTo>
                    <a:pt x="907" y="434"/>
                  </a:lnTo>
                  <a:lnTo>
                    <a:pt x="907" y="434"/>
                  </a:lnTo>
                  <a:lnTo>
                    <a:pt x="905" y="434"/>
                  </a:lnTo>
                  <a:lnTo>
                    <a:pt x="897" y="434"/>
                  </a:lnTo>
                  <a:lnTo>
                    <a:pt x="897" y="434"/>
                  </a:lnTo>
                  <a:lnTo>
                    <a:pt x="895" y="434"/>
                  </a:lnTo>
                  <a:lnTo>
                    <a:pt x="893" y="434"/>
                  </a:lnTo>
                  <a:lnTo>
                    <a:pt x="887" y="432"/>
                  </a:lnTo>
                  <a:lnTo>
                    <a:pt x="883" y="430"/>
                  </a:lnTo>
                  <a:lnTo>
                    <a:pt x="880" y="430"/>
                  </a:lnTo>
                  <a:lnTo>
                    <a:pt x="876" y="428"/>
                  </a:lnTo>
                  <a:lnTo>
                    <a:pt x="874" y="426"/>
                  </a:lnTo>
                  <a:lnTo>
                    <a:pt x="872" y="426"/>
                  </a:lnTo>
                  <a:lnTo>
                    <a:pt x="858" y="423"/>
                  </a:lnTo>
                  <a:lnTo>
                    <a:pt x="854" y="421"/>
                  </a:lnTo>
                  <a:lnTo>
                    <a:pt x="852" y="421"/>
                  </a:lnTo>
                  <a:lnTo>
                    <a:pt x="843" y="417"/>
                  </a:lnTo>
                  <a:lnTo>
                    <a:pt x="841" y="415"/>
                  </a:lnTo>
                  <a:lnTo>
                    <a:pt x="837" y="413"/>
                  </a:lnTo>
                  <a:lnTo>
                    <a:pt x="833" y="413"/>
                  </a:lnTo>
                  <a:lnTo>
                    <a:pt x="831" y="411"/>
                  </a:lnTo>
                  <a:lnTo>
                    <a:pt x="827" y="411"/>
                  </a:lnTo>
                  <a:lnTo>
                    <a:pt x="821" y="411"/>
                  </a:lnTo>
                  <a:lnTo>
                    <a:pt x="817" y="411"/>
                  </a:lnTo>
                  <a:lnTo>
                    <a:pt x="817" y="411"/>
                  </a:lnTo>
                  <a:lnTo>
                    <a:pt x="812" y="411"/>
                  </a:lnTo>
                  <a:lnTo>
                    <a:pt x="812" y="411"/>
                  </a:lnTo>
                  <a:lnTo>
                    <a:pt x="812" y="413"/>
                  </a:lnTo>
                  <a:lnTo>
                    <a:pt x="810" y="413"/>
                  </a:lnTo>
                  <a:lnTo>
                    <a:pt x="810" y="415"/>
                  </a:lnTo>
                  <a:lnTo>
                    <a:pt x="810" y="417"/>
                  </a:lnTo>
                  <a:lnTo>
                    <a:pt x="808" y="419"/>
                  </a:lnTo>
                  <a:lnTo>
                    <a:pt x="808" y="419"/>
                  </a:lnTo>
                  <a:lnTo>
                    <a:pt x="806" y="421"/>
                  </a:lnTo>
                  <a:lnTo>
                    <a:pt x="804" y="421"/>
                  </a:lnTo>
                  <a:lnTo>
                    <a:pt x="804" y="421"/>
                  </a:lnTo>
                  <a:lnTo>
                    <a:pt x="798" y="421"/>
                  </a:lnTo>
                  <a:lnTo>
                    <a:pt x="796" y="423"/>
                  </a:lnTo>
                  <a:lnTo>
                    <a:pt x="794" y="423"/>
                  </a:lnTo>
                  <a:lnTo>
                    <a:pt x="792" y="421"/>
                  </a:lnTo>
                  <a:lnTo>
                    <a:pt x="792" y="421"/>
                  </a:lnTo>
                  <a:lnTo>
                    <a:pt x="792" y="421"/>
                  </a:lnTo>
                  <a:lnTo>
                    <a:pt x="792" y="419"/>
                  </a:lnTo>
                  <a:lnTo>
                    <a:pt x="792" y="419"/>
                  </a:lnTo>
                  <a:lnTo>
                    <a:pt x="796" y="415"/>
                  </a:lnTo>
                  <a:lnTo>
                    <a:pt x="796" y="415"/>
                  </a:lnTo>
                  <a:lnTo>
                    <a:pt x="794" y="413"/>
                  </a:lnTo>
                  <a:lnTo>
                    <a:pt x="792" y="413"/>
                  </a:lnTo>
                  <a:lnTo>
                    <a:pt x="792" y="409"/>
                  </a:lnTo>
                  <a:lnTo>
                    <a:pt x="792" y="407"/>
                  </a:lnTo>
                  <a:lnTo>
                    <a:pt x="792" y="405"/>
                  </a:lnTo>
                  <a:lnTo>
                    <a:pt x="792" y="403"/>
                  </a:lnTo>
                  <a:lnTo>
                    <a:pt x="792" y="403"/>
                  </a:lnTo>
                  <a:lnTo>
                    <a:pt x="790" y="403"/>
                  </a:lnTo>
                  <a:lnTo>
                    <a:pt x="790" y="403"/>
                  </a:lnTo>
                  <a:lnTo>
                    <a:pt x="788" y="403"/>
                  </a:lnTo>
                  <a:lnTo>
                    <a:pt x="788" y="405"/>
                  </a:lnTo>
                  <a:lnTo>
                    <a:pt x="786" y="405"/>
                  </a:lnTo>
                  <a:lnTo>
                    <a:pt x="784" y="407"/>
                  </a:lnTo>
                  <a:lnTo>
                    <a:pt x="786" y="407"/>
                  </a:lnTo>
                  <a:lnTo>
                    <a:pt x="786" y="407"/>
                  </a:lnTo>
                  <a:lnTo>
                    <a:pt x="786" y="407"/>
                  </a:lnTo>
                  <a:lnTo>
                    <a:pt x="788" y="407"/>
                  </a:lnTo>
                  <a:lnTo>
                    <a:pt x="788" y="407"/>
                  </a:lnTo>
                  <a:lnTo>
                    <a:pt x="786" y="409"/>
                  </a:lnTo>
                  <a:lnTo>
                    <a:pt x="786" y="409"/>
                  </a:lnTo>
                  <a:lnTo>
                    <a:pt x="784" y="411"/>
                  </a:lnTo>
                  <a:lnTo>
                    <a:pt x="784" y="411"/>
                  </a:lnTo>
                  <a:lnTo>
                    <a:pt x="782" y="411"/>
                  </a:lnTo>
                  <a:lnTo>
                    <a:pt x="782" y="411"/>
                  </a:lnTo>
                  <a:lnTo>
                    <a:pt x="782" y="413"/>
                  </a:lnTo>
                  <a:lnTo>
                    <a:pt x="782" y="413"/>
                  </a:lnTo>
                  <a:lnTo>
                    <a:pt x="779" y="415"/>
                  </a:lnTo>
                  <a:lnTo>
                    <a:pt x="779" y="415"/>
                  </a:lnTo>
                  <a:lnTo>
                    <a:pt x="779" y="417"/>
                  </a:lnTo>
                  <a:lnTo>
                    <a:pt x="782" y="419"/>
                  </a:lnTo>
                  <a:lnTo>
                    <a:pt x="782" y="421"/>
                  </a:lnTo>
                  <a:lnTo>
                    <a:pt x="779" y="423"/>
                  </a:lnTo>
                  <a:lnTo>
                    <a:pt x="777" y="423"/>
                  </a:lnTo>
                  <a:lnTo>
                    <a:pt x="773" y="421"/>
                  </a:lnTo>
                  <a:lnTo>
                    <a:pt x="771" y="421"/>
                  </a:lnTo>
                  <a:lnTo>
                    <a:pt x="769" y="419"/>
                  </a:lnTo>
                  <a:lnTo>
                    <a:pt x="767" y="417"/>
                  </a:lnTo>
                  <a:lnTo>
                    <a:pt x="761" y="413"/>
                  </a:lnTo>
                  <a:lnTo>
                    <a:pt x="761" y="413"/>
                  </a:lnTo>
                  <a:lnTo>
                    <a:pt x="759" y="411"/>
                  </a:lnTo>
                  <a:lnTo>
                    <a:pt x="759" y="407"/>
                  </a:lnTo>
                  <a:lnTo>
                    <a:pt x="757" y="405"/>
                  </a:lnTo>
                  <a:lnTo>
                    <a:pt x="753" y="401"/>
                  </a:lnTo>
                  <a:lnTo>
                    <a:pt x="753" y="399"/>
                  </a:lnTo>
                  <a:lnTo>
                    <a:pt x="751" y="397"/>
                  </a:lnTo>
                  <a:lnTo>
                    <a:pt x="744" y="392"/>
                  </a:lnTo>
                  <a:lnTo>
                    <a:pt x="742" y="392"/>
                  </a:lnTo>
                  <a:lnTo>
                    <a:pt x="742" y="392"/>
                  </a:lnTo>
                  <a:lnTo>
                    <a:pt x="740" y="392"/>
                  </a:lnTo>
                  <a:lnTo>
                    <a:pt x="740" y="392"/>
                  </a:lnTo>
                  <a:lnTo>
                    <a:pt x="738" y="395"/>
                  </a:lnTo>
                  <a:lnTo>
                    <a:pt x="738" y="397"/>
                  </a:lnTo>
                  <a:lnTo>
                    <a:pt x="740" y="397"/>
                  </a:lnTo>
                  <a:lnTo>
                    <a:pt x="742" y="397"/>
                  </a:lnTo>
                  <a:lnTo>
                    <a:pt x="740" y="399"/>
                  </a:lnTo>
                  <a:lnTo>
                    <a:pt x="740" y="399"/>
                  </a:lnTo>
                  <a:lnTo>
                    <a:pt x="742" y="399"/>
                  </a:lnTo>
                  <a:lnTo>
                    <a:pt x="746" y="401"/>
                  </a:lnTo>
                  <a:lnTo>
                    <a:pt x="744" y="401"/>
                  </a:lnTo>
                  <a:lnTo>
                    <a:pt x="740" y="403"/>
                  </a:lnTo>
                  <a:lnTo>
                    <a:pt x="738" y="405"/>
                  </a:lnTo>
                  <a:lnTo>
                    <a:pt x="736" y="407"/>
                  </a:lnTo>
                  <a:lnTo>
                    <a:pt x="736" y="407"/>
                  </a:lnTo>
                  <a:lnTo>
                    <a:pt x="732" y="411"/>
                  </a:lnTo>
                  <a:lnTo>
                    <a:pt x="730" y="413"/>
                  </a:lnTo>
                  <a:lnTo>
                    <a:pt x="728" y="413"/>
                  </a:lnTo>
                  <a:lnTo>
                    <a:pt x="726" y="415"/>
                  </a:lnTo>
                  <a:lnTo>
                    <a:pt x="726" y="413"/>
                  </a:lnTo>
                  <a:lnTo>
                    <a:pt x="726" y="413"/>
                  </a:lnTo>
                  <a:lnTo>
                    <a:pt x="726" y="411"/>
                  </a:lnTo>
                  <a:lnTo>
                    <a:pt x="726" y="411"/>
                  </a:lnTo>
                  <a:lnTo>
                    <a:pt x="728" y="409"/>
                  </a:lnTo>
                  <a:lnTo>
                    <a:pt x="728" y="409"/>
                  </a:lnTo>
                  <a:lnTo>
                    <a:pt x="728" y="407"/>
                  </a:lnTo>
                  <a:lnTo>
                    <a:pt x="728" y="407"/>
                  </a:lnTo>
                  <a:lnTo>
                    <a:pt x="728" y="409"/>
                  </a:lnTo>
                  <a:lnTo>
                    <a:pt x="726" y="409"/>
                  </a:lnTo>
                  <a:lnTo>
                    <a:pt x="726" y="409"/>
                  </a:lnTo>
                  <a:lnTo>
                    <a:pt x="724" y="411"/>
                  </a:lnTo>
                  <a:lnTo>
                    <a:pt x="720" y="411"/>
                  </a:lnTo>
                  <a:lnTo>
                    <a:pt x="711" y="413"/>
                  </a:lnTo>
                  <a:lnTo>
                    <a:pt x="707" y="415"/>
                  </a:lnTo>
                  <a:lnTo>
                    <a:pt x="705" y="417"/>
                  </a:lnTo>
                  <a:lnTo>
                    <a:pt x="703" y="419"/>
                  </a:lnTo>
                  <a:lnTo>
                    <a:pt x="701" y="423"/>
                  </a:lnTo>
                  <a:lnTo>
                    <a:pt x="699" y="426"/>
                  </a:lnTo>
                  <a:lnTo>
                    <a:pt x="699" y="426"/>
                  </a:lnTo>
                  <a:lnTo>
                    <a:pt x="699" y="426"/>
                  </a:lnTo>
                  <a:lnTo>
                    <a:pt x="699" y="423"/>
                  </a:lnTo>
                  <a:lnTo>
                    <a:pt x="699" y="421"/>
                  </a:lnTo>
                  <a:lnTo>
                    <a:pt x="697" y="421"/>
                  </a:lnTo>
                  <a:lnTo>
                    <a:pt x="697" y="419"/>
                  </a:lnTo>
                  <a:lnTo>
                    <a:pt x="697" y="419"/>
                  </a:lnTo>
                  <a:lnTo>
                    <a:pt x="695" y="421"/>
                  </a:lnTo>
                  <a:lnTo>
                    <a:pt x="695" y="423"/>
                  </a:lnTo>
                  <a:lnTo>
                    <a:pt x="695" y="423"/>
                  </a:lnTo>
                  <a:lnTo>
                    <a:pt x="695" y="421"/>
                  </a:lnTo>
                  <a:lnTo>
                    <a:pt x="693" y="421"/>
                  </a:lnTo>
                  <a:lnTo>
                    <a:pt x="691" y="419"/>
                  </a:lnTo>
                  <a:lnTo>
                    <a:pt x="689" y="419"/>
                  </a:lnTo>
                  <a:lnTo>
                    <a:pt x="687" y="421"/>
                  </a:lnTo>
                  <a:lnTo>
                    <a:pt x="687" y="421"/>
                  </a:lnTo>
                  <a:lnTo>
                    <a:pt x="687" y="421"/>
                  </a:lnTo>
                  <a:lnTo>
                    <a:pt x="687" y="423"/>
                  </a:lnTo>
                  <a:lnTo>
                    <a:pt x="687" y="423"/>
                  </a:lnTo>
                  <a:lnTo>
                    <a:pt x="685" y="423"/>
                  </a:lnTo>
                  <a:lnTo>
                    <a:pt x="683" y="426"/>
                  </a:lnTo>
                  <a:lnTo>
                    <a:pt x="680" y="428"/>
                  </a:lnTo>
                  <a:lnTo>
                    <a:pt x="678" y="428"/>
                  </a:lnTo>
                  <a:lnTo>
                    <a:pt x="676" y="428"/>
                  </a:lnTo>
                  <a:lnTo>
                    <a:pt x="674" y="430"/>
                  </a:lnTo>
                  <a:lnTo>
                    <a:pt x="674" y="430"/>
                  </a:lnTo>
                  <a:lnTo>
                    <a:pt x="674" y="432"/>
                  </a:lnTo>
                  <a:lnTo>
                    <a:pt x="674" y="432"/>
                  </a:lnTo>
                  <a:lnTo>
                    <a:pt x="674" y="434"/>
                  </a:lnTo>
                  <a:lnTo>
                    <a:pt x="674" y="434"/>
                  </a:lnTo>
                  <a:lnTo>
                    <a:pt x="676" y="434"/>
                  </a:lnTo>
                  <a:lnTo>
                    <a:pt x="676" y="434"/>
                  </a:lnTo>
                  <a:lnTo>
                    <a:pt x="676" y="436"/>
                  </a:lnTo>
                  <a:lnTo>
                    <a:pt x="674" y="436"/>
                  </a:lnTo>
                  <a:lnTo>
                    <a:pt x="666" y="436"/>
                  </a:lnTo>
                  <a:lnTo>
                    <a:pt x="666" y="436"/>
                  </a:lnTo>
                  <a:lnTo>
                    <a:pt x="666" y="436"/>
                  </a:lnTo>
                  <a:lnTo>
                    <a:pt x="668" y="438"/>
                  </a:lnTo>
                  <a:lnTo>
                    <a:pt x="668" y="438"/>
                  </a:lnTo>
                  <a:lnTo>
                    <a:pt x="668" y="438"/>
                  </a:lnTo>
                  <a:lnTo>
                    <a:pt x="666" y="438"/>
                  </a:lnTo>
                  <a:lnTo>
                    <a:pt x="664" y="438"/>
                  </a:lnTo>
                  <a:lnTo>
                    <a:pt x="664" y="436"/>
                  </a:lnTo>
                  <a:lnTo>
                    <a:pt x="664" y="434"/>
                  </a:lnTo>
                  <a:lnTo>
                    <a:pt x="666" y="432"/>
                  </a:lnTo>
                  <a:lnTo>
                    <a:pt x="668" y="432"/>
                  </a:lnTo>
                  <a:lnTo>
                    <a:pt x="670" y="430"/>
                  </a:lnTo>
                  <a:lnTo>
                    <a:pt x="672" y="428"/>
                  </a:lnTo>
                  <a:lnTo>
                    <a:pt x="674" y="426"/>
                  </a:lnTo>
                  <a:lnTo>
                    <a:pt x="678" y="426"/>
                  </a:lnTo>
                  <a:lnTo>
                    <a:pt x="680" y="423"/>
                  </a:lnTo>
                  <a:lnTo>
                    <a:pt x="683" y="423"/>
                  </a:lnTo>
                  <a:lnTo>
                    <a:pt x="683" y="421"/>
                  </a:lnTo>
                  <a:lnTo>
                    <a:pt x="685" y="419"/>
                  </a:lnTo>
                  <a:lnTo>
                    <a:pt x="685" y="419"/>
                  </a:lnTo>
                  <a:lnTo>
                    <a:pt x="687" y="417"/>
                  </a:lnTo>
                  <a:lnTo>
                    <a:pt x="693" y="417"/>
                  </a:lnTo>
                  <a:lnTo>
                    <a:pt x="695" y="417"/>
                  </a:lnTo>
                  <a:lnTo>
                    <a:pt x="695" y="417"/>
                  </a:lnTo>
                  <a:lnTo>
                    <a:pt x="699" y="415"/>
                  </a:lnTo>
                  <a:lnTo>
                    <a:pt x="701" y="415"/>
                  </a:lnTo>
                  <a:lnTo>
                    <a:pt x="703" y="415"/>
                  </a:lnTo>
                  <a:lnTo>
                    <a:pt x="707" y="413"/>
                  </a:lnTo>
                  <a:lnTo>
                    <a:pt x="718" y="407"/>
                  </a:lnTo>
                  <a:lnTo>
                    <a:pt x="720" y="405"/>
                  </a:lnTo>
                  <a:lnTo>
                    <a:pt x="720" y="405"/>
                  </a:lnTo>
                  <a:lnTo>
                    <a:pt x="718" y="403"/>
                  </a:lnTo>
                  <a:lnTo>
                    <a:pt x="718" y="401"/>
                  </a:lnTo>
                  <a:lnTo>
                    <a:pt x="718" y="403"/>
                  </a:lnTo>
                  <a:lnTo>
                    <a:pt x="713" y="405"/>
                  </a:lnTo>
                  <a:lnTo>
                    <a:pt x="713" y="405"/>
                  </a:lnTo>
                  <a:lnTo>
                    <a:pt x="711" y="405"/>
                  </a:lnTo>
                  <a:lnTo>
                    <a:pt x="709" y="405"/>
                  </a:lnTo>
                  <a:lnTo>
                    <a:pt x="709" y="405"/>
                  </a:lnTo>
                  <a:lnTo>
                    <a:pt x="707" y="403"/>
                  </a:lnTo>
                  <a:lnTo>
                    <a:pt x="705" y="403"/>
                  </a:lnTo>
                  <a:lnTo>
                    <a:pt x="703" y="403"/>
                  </a:lnTo>
                  <a:lnTo>
                    <a:pt x="699" y="405"/>
                  </a:lnTo>
                  <a:lnTo>
                    <a:pt x="699" y="407"/>
                  </a:lnTo>
                  <a:lnTo>
                    <a:pt x="699" y="407"/>
                  </a:lnTo>
                  <a:lnTo>
                    <a:pt x="697" y="409"/>
                  </a:lnTo>
                  <a:lnTo>
                    <a:pt x="695" y="409"/>
                  </a:lnTo>
                  <a:lnTo>
                    <a:pt x="695" y="409"/>
                  </a:lnTo>
                  <a:lnTo>
                    <a:pt x="693" y="409"/>
                  </a:lnTo>
                  <a:lnTo>
                    <a:pt x="691" y="409"/>
                  </a:lnTo>
                  <a:lnTo>
                    <a:pt x="685" y="413"/>
                  </a:lnTo>
                  <a:lnTo>
                    <a:pt x="683" y="413"/>
                  </a:lnTo>
                  <a:lnTo>
                    <a:pt x="680" y="413"/>
                  </a:lnTo>
                  <a:lnTo>
                    <a:pt x="680" y="413"/>
                  </a:lnTo>
                  <a:lnTo>
                    <a:pt x="678" y="413"/>
                  </a:lnTo>
                  <a:lnTo>
                    <a:pt x="676" y="413"/>
                  </a:lnTo>
                  <a:lnTo>
                    <a:pt x="676" y="413"/>
                  </a:lnTo>
                  <a:lnTo>
                    <a:pt x="676" y="415"/>
                  </a:lnTo>
                  <a:lnTo>
                    <a:pt x="678" y="415"/>
                  </a:lnTo>
                  <a:lnTo>
                    <a:pt x="678" y="415"/>
                  </a:lnTo>
                  <a:lnTo>
                    <a:pt x="678" y="415"/>
                  </a:lnTo>
                  <a:lnTo>
                    <a:pt x="678" y="415"/>
                  </a:lnTo>
                  <a:lnTo>
                    <a:pt x="676" y="415"/>
                  </a:lnTo>
                  <a:lnTo>
                    <a:pt x="672" y="415"/>
                  </a:lnTo>
                  <a:lnTo>
                    <a:pt x="672" y="415"/>
                  </a:lnTo>
                  <a:lnTo>
                    <a:pt x="670" y="419"/>
                  </a:lnTo>
                  <a:lnTo>
                    <a:pt x="668" y="419"/>
                  </a:lnTo>
                  <a:lnTo>
                    <a:pt x="668" y="421"/>
                  </a:lnTo>
                  <a:lnTo>
                    <a:pt x="666" y="421"/>
                  </a:lnTo>
                  <a:lnTo>
                    <a:pt x="664" y="421"/>
                  </a:lnTo>
                  <a:lnTo>
                    <a:pt x="660" y="423"/>
                  </a:lnTo>
                  <a:lnTo>
                    <a:pt x="656" y="423"/>
                  </a:lnTo>
                  <a:lnTo>
                    <a:pt x="654" y="426"/>
                  </a:lnTo>
                  <a:lnTo>
                    <a:pt x="654" y="426"/>
                  </a:lnTo>
                  <a:lnTo>
                    <a:pt x="656" y="421"/>
                  </a:lnTo>
                  <a:lnTo>
                    <a:pt x="656" y="421"/>
                  </a:lnTo>
                  <a:lnTo>
                    <a:pt x="658" y="419"/>
                  </a:lnTo>
                  <a:lnTo>
                    <a:pt x="658" y="419"/>
                  </a:lnTo>
                  <a:lnTo>
                    <a:pt x="656" y="417"/>
                  </a:lnTo>
                  <a:lnTo>
                    <a:pt x="654" y="417"/>
                  </a:lnTo>
                  <a:lnTo>
                    <a:pt x="654" y="415"/>
                  </a:lnTo>
                  <a:lnTo>
                    <a:pt x="652" y="415"/>
                  </a:lnTo>
                  <a:lnTo>
                    <a:pt x="650" y="415"/>
                  </a:lnTo>
                  <a:lnTo>
                    <a:pt x="650" y="415"/>
                  </a:lnTo>
                  <a:lnTo>
                    <a:pt x="650" y="415"/>
                  </a:lnTo>
                  <a:lnTo>
                    <a:pt x="650" y="417"/>
                  </a:lnTo>
                  <a:lnTo>
                    <a:pt x="650" y="417"/>
                  </a:lnTo>
                  <a:lnTo>
                    <a:pt x="650" y="419"/>
                  </a:lnTo>
                  <a:lnTo>
                    <a:pt x="650" y="419"/>
                  </a:lnTo>
                  <a:lnTo>
                    <a:pt x="643" y="419"/>
                  </a:lnTo>
                  <a:lnTo>
                    <a:pt x="639" y="419"/>
                  </a:lnTo>
                  <a:lnTo>
                    <a:pt x="639" y="421"/>
                  </a:lnTo>
                  <a:lnTo>
                    <a:pt x="639" y="421"/>
                  </a:lnTo>
                  <a:lnTo>
                    <a:pt x="637" y="423"/>
                  </a:lnTo>
                  <a:lnTo>
                    <a:pt x="637" y="423"/>
                  </a:lnTo>
                  <a:lnTo>
                    <a:pt x="635" y="423"/>
                  </a:lnTo>
                  <a:lnTo>
                    <a:pt x="633" y="423"/>
                  </a:lnTo>
                  <a:lnTo>
                    <a:pt x="631" y="423"/>
                  </a:lnTo>
                  <a:lnTo>
                    <a:pt x="629" y="430"/>
                  </a:lnTo>
                  <a:lnTo>
                    <a:pt x="629" y="430"/>
                  </a:lnTo>
                  <a:lnTo>
                    <a:pt x="631" y="430"/>
                  </a:lnTo>
                  <a:lnTo>
                    <a:pt x="633" y="432"/>
                  </a:lnTo>
                  <a:lnTo>
                    <a:pt x="633" y="432"/>
                  </a:lnTo>
                  <a:lnTo>
                    <a:pt x="633" y="432"/>
                  </a:lnTo>
                  <a:lnTo>
                    <a:pt x="631" y="432"/>
                  </a:lnTo>
                  <a:lnTo>
                    <a:pt x="629" y="432"/>
                  </a:lnTo>
                  <a:lnTo>
                    <a:pt x="629" y="432"/>
                  </a:lnTo>
                  <a:lnTo>
                    <a:pt x="629" y="432"/>
                  </a:lnTo>
                  <a:lnTo>
                    <a:pt x="629" y="434"/>
                  </a:lnTo>
                  <a:lnTo>
                    <a:pt x="629" y="434"/>
                  </a:lnTo>
                  <a:lnTo>
                    <a:pt x="633" y="434"/>
                  </a:lnTo>
                  <a:lnTo>
                    <a:pt x="635" y="436"/>
                  </a:lnTo>
                  <a:lnTo>
                    <a:pt x="635" y="436"/>
                  </a:lnTo>
                  <a:lnTo>
                    <a:pt x="639" y="440"/>
                  </a:lnTo>
                  <a:lnTo>
                    <a:pt x="637" y="440"/>
                  </a:lnTo>
                  <a:lnTo>
                    <a:pt x="637" y="440"/>
                  </a:lnTo>
                  <a:lnTo>
                    <a:pt x="629" y="436"/>
                  </a:lnTo>
                  <a:lnTo>
                    <a:pt x="625" y="434"/>
                  </a:lnTo>
                  <a:lnTo>
                    <a:pt x="621" y="434"/>
                  </a:lnTo>
                  <a:lnTo>
                    <a:pt x="617" y="434"/>
                  </a:lnTo>
                  <a:lnTo>
                    <a:pt x="612" y="434"/>
                  </a:lnTo>
                  <a:lnTo>
                    <a:pt x="610" y="432"/>
                  </a:lnTo>
                  <a:lnTo>
                    <a:pt x="600" y="430"/>
                  </a:lnTo>
                  <a:lnTo>
                    <a:pt x="598" y="428"/>
                  </a:lnTo>
                  <a:lnTo>
                    <a:pt x="594" y="426"/>
                  </a:lnTo>
                  <a:lnTo>
                    <a:pt x="590" y="423"/>
                  </a:lnTo>
                  <a:lnTo>
                    <a:pt x="581" y="419"/>
                  </a:lnTo>
                  <a:lnTo>
                    <a:pt x="571" y="415"/>
                  </a:lnTo>
                  <a:lnTo>
                    <a:pt x="565" y="417"/>
                  </a:lnTo>
                  <a:lnTo>
                    <a:pt x="559" y="415"/>
                  </a:lnTo>
                  <a:lnTo>
                    <a:pt x="557" y="415"/>
                  </a:lnTo>
                  <a:lnTo>
                    <a:pt x="555" y="415"/>
                  </a:lnTo>
                  <a:lnTo>
                    <a:pt x="553" y="415"/>
                  </a:lnTo>
                  <a:lnTo>
                    <a:pt x="551" y="415"/>
                  </a:lnTo>
                  <a:lnTo>
                    <a:pt x="551" y="415"/>
                  </a:lnTo>
                  <a:lnTo>
                    <a:pt x="548" y="413"/>
                  </a:lnTo>
                  <a:lnTo>
                    <a:pt x="546" y="413"/>
                  </a:lnTo>
                  <a:lnTo>
                    <a:pt x="538" y="409"/>
                  </a:lnTo>
                  <a:lnTo>
                    <a:pt x="536" y="409"/>
                  </a:lnTo>
                  <a:lnTo>
                    <a:pt x="532" y="405"/>
                  </a:lnTo>
                  <a:lnTo>
                    <a:pt x="524" y="403"/>
                  </a:lnTo>
                  <a:lnTo>
                    <a:pt x="524" y="405"/>
                  </a:lnTo>
                  <a:lnTo>
                    <a:pt x="522" y="405"/>
                  </a:lnTo>
                  <a:lnTo>
                    <a:pt x="520" y="405"/>
                  </a:lnTo>
                  <a:lnTo>
                    <a:pt x="518" y="405"/>
                  </a:lnTo>
                  <a:lnTo>
                    <a:pt x="511" y="405"/>
                  </a:lnTo>
                  <a:lnTo>
                    <a:pt x="507" y="405"/>
                  </a:lnTo>
                  <a:lnTo>
                    <a:pt x="505" y="407"/>
                  </a:lnTo>
                  <a:lnTo>
                    <a:pt x="497" y="407"/>
                  </a:lnTo>
                  <a:lnTo>
                    <a:pt x="495" y="405"/>
                  </a:lnTo>
                  <a:lnTo>
                    <a:pt x="493" y="405"/>
                  </a:lnTo>
                  <a:lnTo>
                    <a:pt x="487" y="403"/>
                  </a:lnTo>
                  <a:lnTo>
                    <a:pt x="485" y="403"/>
                  </a:lnTo>
                  <a:lnTo>
                    <a:pt x="480" y="403"/>
                  </a:lnTo>
                  <a:lnTo>
                    <a:pt x="474" y="403"/>
                  </a:lnTo>
                  <a:lnTo>
                    <a:pt x="470" y="403"/>
                  </a:lnTo>
                  <a:lnTo>
                    <a:pt x="460" y="401"/>
                  </a:lnTo>
                  <a:lnTo>
                    <a:pt x="460" y="401"/>
                  </a:lnTo>
                  <a:lnTo>
                    <a:pt x="458" y="399"/>
                  </a:lnTo>
                  <a:lnTo>
                    <a:pt x="456" y="399"/>
                  </a:lnTo>
                  <a:lnTo>
                    <a:pt x="454" y="397"/>
                  </a:lnTo>
                  <a:lnTo>
                    <a:pt x="454" y="397"/>
                  </a:lnTo>
                  <a:lnTo>
                    <a:pt x="452" y="399"/>
                  </a:lnTo>
                  <a:lnTo>
                    <a:pt x="450" y="399"/>
                  </a:lnTo>
                  <a:lnTo>
                    <a:pt x="445" y="397"/>
                  </a:lnTo>
                  <a:lnTo>
                    <a:pt x="443" y="397"/>
                  </a:lnTo>
                  <a:lnTo>
                    <a:pt x="437" y="395"/>
                  </a:lnTo>
                  <a:lnTo>
                    <a:pt x="437" y="395"/>
                  </a:lnTo>
                  <a:lnTo>
                    <a:pt x="435" y="395"/>
                  </a:lnTo>
                  <a:lnTo>
                    <a:pt x="429" y="395"/>
                  </a:lnTo>
                  <a:lnTo>
                    <a:pt x="425" y="395"/>
                  </a:lnTo>
                  <a:lnTo>
                    <a:pt x="425" y="397"/>
                  </a:lnTo>
                  <a:lnTo>
                    <a:pt x="423" y="395"/>
                  </a:lnTo>
                  <a:lnTo>
                    <a:pt x="421" y="395"/>
                  </a:lnTo>
                  <a:lnTo>
                    <a:pt x="419" y="395"/>
                  </a:lnTo>
                  <a:lnTo>
                    <a:pt x="414" y="395"/>
                  </a:lnTo>
                  <a:lnTo>
                    <a:pt x="412" y="395"/>
                  </a:lnTo>
                  <a:lnTo>
                    <a:pt x="410" y="397"/>
                  </a:lnTo>
                  <a:lnTo>
                    <a:pt x="400" y="395"/>
                  </a:lnTo>
                  <a:lnTo>
                    <a:pt x="402" y="395"/>
                  </a:lnTo>
                  <a:lnTo>
                    <a:pt x="402" y="392"/>
                  </a:lnTo>
                  <a:lnTo>
                    <a:pt x="402" y="392"/>
                  </a:lnTo>
                  <a:lnTo>
                    <a:pt x="396" y="392"/>
                  </a:lnTo>
                  <a:lnTo>
                    <a:pt x="396" y="392"/>
                  </a:lnTo>
                  <a:lnTo>
                    <a:pt x="396" y="390"/>
                  </a:lnTo>
                  <a:lnTo>
                    <a:pt x="394" y="390"/>
                  </a:lnTo>
                  <a:lnTo>
                    <a:pt x="392" y="390"/>
                  </a:lnTo>
                  <a:lnTo>
                    <a:pt x="394" y="388"/>
                  </a:lnTo>
                  <a:lnTo>
                    <a:pt x="396" y="386"/>
                  </a:lnTo>
                  <a:lnTo>
                    <a:pt x="396" y="384"/>
                  </a:lnTo>
                  <a:lnTo>
                    <a:pt x="392" y="384"/>
                  </a:lnTo>
                  <a:lnTo>
                    <a:pt x="390" y="384"/>
                  </a:lnTo>
                  <a:lnTo>
                    <a:pt x="388" y="384"/>
                  </a:lnTo>
                  <a:lnTo>
                    <a:pt x="381" y="382"/>
                  </a:lnTo>
                  <a:lnTo>
                    <a:pt x="377" y="384"/>
                  </a:lnTo>
                  <a:lnTo>
                    <a:pt x="375" y="384"/>
                  </a:lnTo>
                  <a:lnTo>
                    <a:pt x="371" y="384"/>
                  </a:lnTo>
                  <a:lnTo>
                    <a:pt x="367" y="386"/>
                  </a:lnTo>
                  <a:lnTo>
                    <a:pt x="365" y="386"/>
                  </a:lnTo>
                  <a:lnTo>
                    <a:pt x="363" y="384"/>
                  </a:lnTo>
                  <a:lnTo>
                    <a:pt x="359" y="384"/>
                  </a:lnTo>
                  <a:lnTo>
                    <a:pt x="361" y="382"/>
                  </a:lnTo>
                  <a:lnTo>
                    <a:pt x="361" y="382"/>
                  </a:lnTo>
                  <a:lnTo>
                    <a:pt x="359" y="380"/>
                  </a:lnTo>
                  <a:lnTo>
                    <a:pt x="357" y="378"/>
                  </a:lnTo>
                  <a:lnTo>
                    <a:pt x="355" y="378"/>
                  </a:lnTo>
                  <a:lnTo>
                    <a:pt x="353" y="378"/>
                  </a:lnTo>
                  <a:lnTo>
                    <a:pt x="353" y="380"/>
                  </a:lnTo>
                  <a:lnTo>
                    <a:pt x="348" y="384"/>
                  </a:lnTo>
                  <a:lnTo>
                    <a:pt x="346" y="384"/>
                  </a:lnTo>
                  <a:lnTo>
                    <a:pt x="344" y="386"/>
                  </a:lnTo>
                  <a:lnTo>
                    <a:pt x="342" y="384"/>
                  </a:lnTo>
                  <a:lnTo>
                    <a:pt x="342" y="384"/>
                  </a:lnTo>
                  <a:lnTo>
                    <a:pt x="340" y="382"/>
                  </a:lnTo>
                  <a:lnTo>
                    <a:pt x="344" y="382"/>
                  </a:lnTo>
                  <a:lnTo>
                    <a:pt x="346" y="380"/>
                  </a:lnTo>
                  <a:lnTo>
                    <a:pt x="348" y="378"/>
                  </a:lnTo>
                  <a:lnTo>
                    <a:pt x="346" y="376"/>
                  </a:lnTo>
                  <a:lnTo>
                    <a:pt x="344" y="376"/>
                  </a:lnTo>
                  <a:lnTo>
                    <a:pt x="336" y="374"/>
                  </a:lnTo>
                  <a:lnTo>
                    <a:pt x="334" y="372"/>
                  </a:lnTo>
                  <a:lnTo>
                    <a:pt x="336" y="372"/>
                  </a:lnTo>
                  <a:lnTo>
                    <a:pt x="336" y="372"/>
                  </a:lnTo>
                  <a:lnTo>
                    <a:pt x="336" y="370"/>
                  </a:lnTo>
                  <a:lnTo>
                    <a:pt x="332" y="372"/>
                  </a:lnTo>
                  <a:lnTo>
                    <a:pt x="328" y="376"/>
                  </a:lnTo>
                  <a:lnTo>
                    <a:pt x="326" y="378"/>
                  </a:lnTo>
                  <a:lnTo>
                    <a:pt x="324" y="380"/>
                  </a:lnTo>
                  <a:lnTo>
                    <a:pt x="320" y="382"/>
                  </a:lnTo>
                  <a:lnTo>
                    <a:pt x="315" y="384"/>
                  </a:lnTo>
                  <a:lnTo>
                    <a:pt x="313" y="384"/>
                  </a:lnTo>
                  <a:lnTo>
                    <a:pt x="307" y="384"/>
                  </a:lnTo>
                  <a:lnTo>
                    <a:pt x="307" y="386"/>
                  </a:lnTo>
                  <a:lnTo>
                    <a:pt x="305" y="386"/>
                  </a:lnTo>
                  <a:lnTo>
                    <a:pt x="299" y="386"/>
                  </a:lnTo>
                  <a:lnTo>
                    <a:pt x="299" y="386"/>
                  </a:lnTo>
                  <a:lnTo>
                    <a:pt x="295" y="388"/>
                  </a:lnTo>
                  <a:lnTo>
                    <a:pt x="295" y="388"/>
                  </a:lnTo>
                  <a:lnTo>
                    <a:pt x="295" y="386"/>
                  </a:lnTo>
                  <a:lnTo>
                    <a:pt x="295" y="386"/>
                  </a:lnTo>
                  <a:lnTo>
                    <a:pt x="297" y="386"/>
                  </a:lnTo>
                  <a:lnTo>
                    <a:pt x="297" y="384"/>
                  </a:lnTo>
                  <a:lnTo>
                    <a:pt x="297" y="384"/>
                  </a:lnTo>
                  <a:lnTo>
                    <a:pt x="295" y="384"/>
                  </a:lnTo>
                  <a:lnTo>
                    <a:pt x="289" y="386"/>
                  </a:lnTo>
                  <a:lnTo>
                    <a:pt x="285" y="390"/>
                  </a:lnTo>
                  <a:lnTo>
                    <a:pt x="287" y="390"/>
                  </a:lnTo>
                  <a:lnTo>
                    <a:pt x="289" y="392"/>
                  </a:lnTo>
                  <a:lnTo>
                    <a:pt x="295" y="392"/>
                  </a:lnTo>
                  <a:lnTo>
                    <a:pt x="289" y="395"/>
                  </a:lnTo>
                  <a:lnTo>
                    <a:pt x="289" y="395"/>
                  </a:lnTo>
                  <a:lnTo>
                    <a:pt x="287" y="395"/>
                  </a:lnTo>
                  <a:lnTo>
                    <a:pt x="287" y="397"/>
                  </a:lnTo>
                  <a:lnTo>
                    <a:pt x="287" y="399"/>
                  </a:lnTo>
                  <a:lnTo>
                    <a:pt x="287" y="399"/>
                  </a:lnTo>
                  <a:lnTo>
                    <a:pt x="287" y="399"/>
                  </a:lnTo>
                  <a:lnTo>
                    <a:pt x="285" y="399"/>
                  </a:lnTo>
                  <a:lnTo>
                    <a:pt x="285" y="395"/>
                  </a:lnTo>
                  <a:lnTo>
                    <a:pt x="285" y="395"/>
                  </a:lnTo>
                  <a:lnTo>
                    <a:pt x="287" y="392"/>
                  </a:lnTo>
                  <a:lnTo>
                    <a:pt x="285" y="392"/>
                  </a:lnTo>
                  <a:lnTo>
                    <a:pt x="282" y="392"/>
                  </a:lnTo>
                  <a:lnTo>
                    <a:pt x="276" y="395"/>
                  </a:lnTo>
                  <a:lnTo>
                    <a:pt x="276" y="397"/>
                  </a:lnTo>
                  <a:lnTo>
                    <a:pt x="270" y="399"/>
                  </a:lnTo>
                  <a:lnTo>
                    <a:pt x="262" y="401"/>
                  </a:lnTo>
                  <a:lnTo>
                    <a:pt x="260" y="401"/>
                  </a:lnTo>
                  <a:lnTo>
                    <a:pt x="256" y="403"/>
                  </a:lnTo>
                  <a:lnTo>
                    <a:pt x="256" y="403"/>
                  </a:lnTo>
                  <a:lnTo>
                    <a:pt x="256" y="403"/>
                  </a:lnTo>
                  <a:lnTo>
                    <a:pt x="258" y="401"/>
                  </a:lnTo>
                  <a:lnTo>
                    <a:pt x="260" y="401"/>
                  </a:lnTo>
                  <a:lnTo>
                    <a:pt x="260" y="401"/>
                  </a:lnTo>
                  <a:lnTo>
                    <a:pt x="260" y="399"/>
                  </a:lnTo>
                  <a:lnTo>
                    <a:pt x="260" y="399"/>
                  </a:lnTo>
                  <a:lnTo>
                    <a:pt x="258" y="399"/>
                  </a:lnTo>
                  <a:lnTo>
                    <a:pt x="258" y="399"/>
                  </a:lnTo>
                  <a:lnTo>
                    <a:pt x="256" y="401"/>
                  </a:lnTo>
                  <a:lnTo>
                    <a:pt x="252" y="405"/>
                  </a:lnTo>
                  <a:lnTo>
                    <a:pt x="243" y="413"/>
                  </a:lnTo>
                  <a:lnTo>
                    <a:pt x="241" y="417"/>
                  </a:lnTo>
                  <a:lnTo>
                    <a:pt x="241" y="421"/>
                  </a:lnTo>
                  <a:lnTo>
                    <a:pt x="239" y="421"/>
                  </a:lnTo>
                  <a:lnTo>
                    <a:pt x="239" y="421"/>
                  </a:lnTo>
                  <a:lnTo>
                    <a:pt x="239" y="421"/>
                  </a:lnTo>
                  <a:lnTo>
                    <a:pt x="239" y="423"/>
                  </a:lnTo>
                  <a:lnTo>
                    <a:pt x="235" y="428"/>
                  </a:lnTo>
                  <a:lnTo>
                    <a:pt x="231" y="432"/>
                  </a:lnTo>
                  <a:lnTo>
                    <a:pt x="227" y="432"/>
                  </a:lnTo>
                  <a:lnTo>
                    <a:pt x="225" y="434"/>
                  </a:lnTo>
                  <a:lnTo>
                    <a:pt x="214" y="434"/>
                  </a:lnTo>
                  <a:lnTo>
                    <a:pt x="212" y="434"/>
                  </a:lnTo>
                  <a:lnTo>
                    <a:pt x="206" y="436"/>
                  </a:lnTo>
                  <a:lnTo>
                    <a:pt x="196" y="434"/>
                  </a:lnTo>
                  <a:lnTo>
                    <a:pt x="198" y="436"/>
                  </a:lnTo>
                  <a:lnTo>
                    <a:pt x="196" y="442"/>
                  </a:lnTo>
                  <a:lnTo>
                    <a:pt x="194" y="446"/>
                  </a:lnTo>
                  <a:lnTo>
                    <a:pt x="194" y="446"/>
                  </a:lnTo>
                  <a:lnTo>
                    <a:pt x="192" y="448"/>
                  </a:lnTo>
                  <a:lnTo>
                    <a:pt x="190" y="446"/>
                  </a:lnTo>
                  <a:lnTo>
                    <a:pt x="192" y="446"/>
                  </a:lnTo>
                  <a:lnTo>
                    <a:pt x="190" y="446"/>
                  </a:lnTo>
                  <a:lnTo>
                    <a:pt x="188" y="448"/>
                  </a:lnTo>
                  <a:lnTo>
                    <a:pt x="192" y="448"/>
                  </a:lnTo>
                  <a:lnTo>
                    <a:pt x="194" y="448"/>
                  </a:lnTo>
                  <a:lnTo>
                    <a:pt x="196" y="450"/>
                  </a:lnTo>
                  <a:lnTo>
                    <a:pt x="200" y="452"/>
                  </a:lnTo>
                  <a:lnTo>
                    <a:pt x="208" y="454"/>
                  </a:lnTo>
                  <a:lnTo>
                    <a:pt x="227" y="465"/>
                  </a:lnTo>
                  <a:lnTo>
                    <a:pt x="229" y="469"/>
                  </a:lnTo>
                  <a:lnTo>
                    <a:pt x="231" y="473"/>
                  </a:lnTo>
                  <a:lnTo>
                    <a:pt x="233" y="475"/>
                  </a:lnTo>
                  <a:lnTo>
                    <a:pt x="235" y="477"/>
                  </a:lnTo>
                  <a:lnTo>
                    <a:pt x="243" y="479"/>
                  </a:lnTo>
                  <a:lnTo>
                    <a:pt x="245" y="479"/>
                  </a:lnTo>
                  <a:lnTo>
                    <a:pt x="247" y="479"/>
                  </a:lnTo>
                  <a:lnTo>
                    <a:pt x="252" y="477"/>
                  </a:lnTo>
                  <a:lnTo>
                    <a:pt x="252" y="479"/>
                  </a:lnTo>
                  <a:lnTo>
                    <a:pt x="252" y="479"/>
                  </a:lnTo>
                  <a:lnTo>
                    <a:pt x="258" y="479"/>
                  </a:lnTo>
                  <a:lnTo>
                    <a:pt x="260" y="479"/>
                  </a:lnTo>
                  <a:lnTo>
                    <a:pt x="262" y="481"/>
                  </a:lnTo>
                  <a:lnTo>
                    <a:pt x="260" y="481"/>
                  </a:lnTo>
                  <a:lnTo>
                    <a:pt x="258" y="485"/>
                  </a:lnTo>
                  <a:lnTo>
                    <a:pt x="258" y="487"/>
                  </a:lnTo>
                  <a:lnTo>
                    <a:pt x="262" y="490"/>
                  </a:lnTo>
                  <a:lnTo>
                    <a:pt x="262" y="490"/>
                  </a:lnTo>
                  <a:lnTo>
                    <a:pt x="266" y="492"/>
                  </a:lnTo>
                  <a:lnTo>
                    <a:pt x="270" y="487"/>
                  </a:lnTo>
                  <a:lnTo>
                    <a:pt x="272" y="487"/>
                  </a:lnTo>
                  <a:lnTo>
                    <a:pt x="276" y="490"/>
                  </a:lnTo>
                  <a:lnTo>
                    <a:pt x="280" y="490"/>
                  </a:lnTo>
                  <a:lnTo>
                    <a:pt x="280" y="490"/>
                  </a:lnTo>
                  <a:lnTo>
                    <a:pt x="282" y="492"/>
                  </a:lnTo>
                  <a:lnTo>
                    <a:pt x="282" y="494"/>
                  </a:lnTo>
                  <a:lnTo>
                    <a:pt x="276" y="496"/>
                  </a:lnTo>
                  <a:lnTo>
                    <a:pt x="274" y="496"/>
                  </a:lnTo>
                  <a:lnTo>
                    <a:pt x="270" y="494"/>
                  </a:lnTo>
                  <a:lnTo>
                    <a:pt x="268" y="492"/>
                  </a:lnTo>
                  <a:lnTo>
                    <a:pt x="266" y="492"/>
                  </a:lnTo>
                  <a:lnTo>
                    <a:pt x="262" y="494"/>
                  </a:lnTo>
                  <a:lnTo>
                    <a:pt x="258" y="492"/>
                  </a:lnTo>
                  <a:lnTo>
                    <a:pt x="256" y="487"/>
                  </a:lnTo>
                  <a:lnTo>
                    <a:pt x="256" y="485"/>
                  </a:lnTo>
                  <a:lnTo>
                    <a:pt x="256" y="485"/>
                  </a:lnTo>
                  <a:lnTo>
                    <a:pt x="254" y="481"/>
                  </a:lnTo>
                  <a:lnTo>
                    <a:pt x="252" y="481"/>
                  </a:lnTo>
                  <a:lnTo>
                    <a:pt x="249" y="481"/>
                  </a:lnTo>
                  <a:lnTo>
                    <a:pt x="247" y="483"/>
                  </a:lnTo>
                  <a:lnTo>
                    <a:pt x="249" y="485"/>
                  </a:lnTo>
                  <a:lnTo>
                    <a:pt x="249" y="487"/>
                  </a:lnTo>
                  <a:lnTo>
                    <a:pt x="252" y="487"/>
                  </a:lnTo>
                  <a:lnTo>
                    <a:pt x="254" y="487"/>
                  </a:lnTo>
                  <a:lnTo>
                    <a:pt x="258" y="492"/>
                  </a:lnTo>
                  <a:lnTo>
                    <a:pt x="258" y="494"/>
                  </a:lnTo>
                  <a:lnTo>
                    <a:pt x="260" y="496"/>
                  </a:lnTo>
                  <a:lnTo>
                    <a:pt x="264" y="494"/>
                  </a:lnTo>
                  <a:lnTo>
                    <a:pt x="270" y="496"/>
                  </a:lnTo>
                  <a:lnTo>
                    <a:pt x="270" y="498"/>
                  </a:lnTo>
                  <a:lnTo>
                    <a:pt x="270" y="500"/>
                  </a:lnTo>
                  <a:lnTo>
                    <a:pt x="270" y="498"/>
                  </a:lnTo>
                  <a:lnTo>
                    <a:pt x="268" y="498"/>
                  </a:lnTo>
                  <a:lnTo>
                    <a:pt x="266" y="498"/>
                  </a:lnTo>
                  <a:lnTo>
                    <a:pt x="264" y="498"/>
                  </a:lnTo>
                  <a:lnTo>
                    <a:pt x="264" y="498"/>
                  </a:lnTo>
                  <a:lnTo>
                    <a:pt x="260" y="502"/>
                  </a:lnTo>
                  <a:lnTo>
                    <a:pt x="258" y="502"/>
                  </a:lnTo>
                  <a:lnTo>
                    <a:pt x="254" y="502"/>
                  </a:lnTo>
                  <a:lnTo>
                    <a:pt x="247" y="502"/>
                  </a:lnTo>
                  <a:lnTo>
                    <a:pt x="245" y="502"/>
                  </a:lnTo>
                  <a:lnTo>
                    <a:pt x="243" y="502"/>
                  </a:lnTo>
                  <a:lnTo>
                    <a:pt x="239" y="502"/>
                  </a:lnTo>
                  <a:lnTo>
                    <a:pt x="233" y="502"/>
                  </a:lnTo>
                  <a:lnTo>
                    <a:pt x="227" y="498"/>
                  </a:lnTo>
                  <a:lnTo>
                    <a:pt x="229" y="498"/>
                  </a:lnTo>
                  <a:lnTo>
                    <a:pt x="229" y="498"/>
                  </a:lnTo>
                  <a:lnTo>
                    <a:pt x="229" y="496"/>
                  </a:lnTo>
                  <a:lnTo>
                    <a:pt x="231" y="492"/>
                  </a:lnTo>
                  <a:lnTo>
                    <a:pt x="231" y="492"/>
                  </a:lnTo>
                  <a:lnTo>
                    <a:pt x="231" y="492"/>
                  </a:lnTo>
                  <a:lnTo>
                    <a:pt x="229" y="490"/>
                  </a:lnTo>
                  <a:lnTo>
                    <a:pt x="231" y="490"/>
                  </a:lnTo>
                  <a:lnTo>
                    <a:pt x="233" y="490"/>
                  </a:lnTo>
                  <a:lnTo>
                    <a:pt x="233" y="490"/>
                  </a:lnTo>
                  <a:lnTo>
                    <a:pt x="227" y="490"/>
                  </a:lnTo>
                  <a:lnTo>
                    <a:pt x="221" y="490"/>
                  </a:lnTo>
                  <a:lnTo>
                    <a:pt x="219" y="492"/>
                  </a:lnTo>
                  <a:lnTo>
                    <a:pt x="212" y="494"/>
                  </a:lnTo>
                  <a:lnTo>
                    <a:pt x="210" y="494"/>
                  </a:lnTo>
                  <a:lnTo>
                    <a:pt x="208" y="494"/>
                  </a:lnTo>
                  <a:lnTo>
                    <a:pt x="202" y="496"/>
                  </a:lnTo>
                  <a:lnTo>
                    <a:pt x="202" y="498"/>
                  </a:lnTo>
                  <a:lnTo>
                    <a:pt x="202" y="498"/>
                  </a:lnTo>
                  <a:lnTo>
                    <a:pt x="206" y="500"/>
                  </a:lnTo>
                  <a:lnTo>
                    <a:pt x="206" y="500"/>
                  </a:lnTo>
                  <a:lnTo>
                    <a:pt x="204" y="500"/>
                  </a:lnTo>
                  <a:lnTo>
                    <a:pt x="204" y="502"/>
                  </a:lnTo>
                  <a:lnTo>
                    <a:pt x="200" y="502"/>
                  </a:lnTo>
                  <a:lnTo>
                    <a:pt x="198" y="500"/>
                  </a:lnTo>
                  <a:lnTo>
                    <a:pt x="196" y="500"/>
                  </a:lnTo>
                  <a:lnTo>
                    <a:pt x="194" y="500"/>
                  </a:lnTo>
                  <a:lnTo>
                    <a:pt x="192" y="502"/>
                  </a:lnTo>
                  <a:lnTo>
                    <a:pt x="190" y="502"/>
                  </a:lnTo>
                  <a:lnTo>
                    <a:pt x="188" y="504"/>
                  </a:lnTo>
                  <a:lnTo>
                    <a:pt x="186" y="506"/>
                  </a:lnTo>
                  <a:lnTo>
                    <a:pt x="184" y="506"/>
                  </a:lnTo>
                  <a:lnTo>
                    <a:pt x="179" y="508"/>
                  </a:lnTo>
                  <a:lnTo>
                    <a:pt x="177" y="510"/>
                  </a:lnTo>
                  <a:lnTo>
                    <a:pt x="173" y="512"/>
                  </a:lnTo>
                  <a:lnTo>
                    <a:pt x="171" y="510"/>
                  </a:lnTo>
                  <a:lnTo>
                    <a:pt x="171" y="510"/>
                  </a:lnTo>
                  <a:lnTo>
                    <a:pt x="171" y="510"/>
                  </a:lnTo>
                  <a:lnTo>
                    <a:pt x="169" y="512"/>
                  </a:lnTo>
                  <a:lnTo>
                    <a:pt x="171" y="512"/>
                  </a:lnTo>
                  <a:lnTo>
                    <a:pt x="171" y="514"/>
                  </a:lnTo>
                  <a:lnTo>
                    <a:pt x="179" y="516"/>
                  </a:lnTo>
                  <a:lnTo>
                    <a:pt x="190" y="518"/>
                  </a:lnTo>
                  <a:lnTo>
                    <a:pt x="192" y="518"/>
                  </a:lnTo>
                  <a:lnTo>
                    <a:pt x="196" y="520"/>
                  </a:lnTo>
                  <a:lnTo>
                    <a:pt x="198" y="520"/>
                  </a:lnTo>
                  <a:lnTo>
                    <a:pt x="198" y="520"/>
                  </a:lnTo>
                  <a:lnTo>
                    <a:pt x="196" y="520"/>
                  </a:lnTo>
                  <a:lnTo>
                    <a:pt x="194" y="520"/>
                  </a:lnTo>
                  <a:lnTo>
                    <a:pt x="192" y="523"/>
                  </a:lnTo>
                  <a:lnTo>
                    <a:pt x="190" y="525"/>
                  </a:lnTo>
                  <a:lnTo>
                    <a:pt x="188" y="525"/>
                  </a:lnTo>
                  <a:lnTo>
                    <a:pt x="188" y="523"/>
                  </a:lnTo>
                  <a:lnTo>
                    <a:pt x="186" y="523"/>
                  </a:lnTo>
                  <a:lnTo>
                    <a:pt x="188" y="525"/>
                  </a:lnTo>
                  <a:lnTo>
                    <a:pt x="192" y="529"/>
                  </a:lnTo>
                  <a:lnTo>
                    <a:pt x="194" y="529"/>
                  </a:lnTo>
                  <a:lnTo>
                    <a:pt x="194" y="531"/>
                  </a:lnTo>
                  <a:lnTo>
                    <a:pt x="192" y="531"/>
                  </a:lnTo>
                  <a:lnTo>
                    <a:pt x="192" y="533"/>
                  </a:lnTo>
                  <a:lnTo>
                    <a:pt x="196" y="535"/>
                  </a:lnTo>
                  <a:lnTo>
                    <a:pt x="198" y="537"/>
                  </a:lnTo>
                  <a:lnTo>
                    <a:pt x="208" y="539"/>
                  </a:lnTo>
                  <a:lnTo>
                    <a:pt x="212" y="539"/>
                  </a:lnTo>
                  <a:lnTo>
                    <a:pt x="214" y="539"/>
                  </a:lnTo>
                  <a:lnTo>
                    <a:pt x="214" y="539"/>
                  </a:lnTo>
                  <a:lnTo>
                    <a:pt x="216" y="539"/>
                  </a:lnTo>
                  <a:lnTo>
                    <a:pt x="216" y="539"/>
                  </a:lnTo>
                  <a:lnTo>
                    <a:pt x="216" y="537"/>
                  </a:lnTo>
                  <a:lnTo>
                    <a:pt x="219" y="537"/>
                  </a:lnTo>
                  <a:lnTo>
                    <a:pt x="219" y="539"/>
                  </a:lnTo>
                  <a:lnTo>
                    <a:pt x="225" y="537"/>
                  </a:lnTo>
                  <a:lnTo>
                    <a:pt x="233" y="537"/>
                  </a:lnTo>
                  <a:lnTo>
                    <a:pt x="235" y="537"/>
                  </a:lnTo>
                  <a:lnTo>
                    <a:pt x="239" y="539"/>
                  </a:lnTo>
                  <a:lnTo>
                    <a:pt x="241" y="541"/>
                  </a:lnTo>
                  <a:lnTo>
                    <a:pt x="241" y="539"/>
                  </a:lnTo>
                  <a:lnTo>
                    <a:pt x="241" y="537"/>
                  </a:lnTo>
                  <a:lnTo>
                    <a:pt x="239" y="537"/>
                  </a:lnTo>
                  <a:lnTo>
                    <a:pt x="239" y="537"/>
                  </a:lnTo>
                  <a:lnTo>
                    <a:pt x="237" y="537"/>
                  </a:lnTo>
                  <a:lnTo>
                    <a:pt x="239" y="535"/>
                  </a:lnTo>
                  <a:lnTo>
                    <a:pt x="243" y="539"/>
                  </a:lnTo>
                  <a:lnTo>
                    <a:pt x="245" y="541"/>
                  </a:lnTo>
                  <a:lnTo>
                    <a:pt x="247" y="541"/>
                  </a:lnTo>
                  <a:lnTo>
                    <a:pt x="247" y="539"/>
                  </a:lnTo>
                  <a:lnTo>
                    <a:pt x="252" y="535"/>
                  </a:lnTo>
                  <a:lnTo>
                    <a:pt x="254" y="535"/>
                  </a:lnTo>
                  <a:lnTo>
                    <a:pt x="258" y="533"/>
                  </a:lnTo>
                  <a:lnTo>
                    <a:pt x="260" y="531"/>
                  </a:lnTo>
                  <a:lnTo>
                    <a:pt x="262" y="531"/>
                  </a:lnTo>
                  <a:lnTo>
                    <a:pt x="264" y="531"/>
                  </a:lnTo>
                  <a:lnTo>
                    <a:pt x="268" y="529"/>
                  </a:lnTo>
                  <a:lnTo>
                    <a:pt x="268" y="529"/>
                  </a:lnTo>
                  <a:lnTo>
                    <a:pt x="270" y="529"/>
                  </a:lnTo>
                  <a:lnTo>
                    <a:pt x="272" y="531"/>
                  </a:lnTo>
                  <a:lnTo>
                    <a:pt x="272" y="531"/>
                  </a:lnTo>
                  <a:lnTo>
                    <a:pt x="272" y="533"/>
                  </a:lnTo>
                  <a:lnTo>
                    <a:pt x="274" y="535"/>
                  </a:lnTo>
                  <a:lnTo>
                    <a:pt x="272" y="535"/>
                  </a:lnTo>
                  <a:lnTo>
                    <a:pt x="272" y="537"/>
                  </a:lnTo>
                  <a:lnTo>
                    <a:pt x="270" y="537"/>
                  </a:lnTo>
                  <a:lnTo>
                    <a:pt x="268" y="539"/>
                  </a:lnTo>
                  <a:lnTo>
                    <a:pt x="266" y="537"/>
                  </a:lnTo>
                  <a:lnTo>
                    <a:pt x="264" y="539"/>
                  </a:lnTo>
                  <a:lnTo>
                    <a:pt x="266" y="539"/>
                  </a:lnTo>
                  <a:lnTo>
                    <a:pt x="268" y="541"/>
                  </a:lnTo>
                  <a:lnTo>
                    <a:pt x="270" y="543"/>
                  </a:lnTo>
                  <a:lnTo>
                    <a:pt x="272" y="549"/>
                  </a:lnTo>
                  <a:lnTo>
                    <a:pt x="272" y="551"/>
                  </a:lnTo>
                  <a:lnTo>
                    <a:pt x="274" y="554"/>
                  </a:lnTo>
                  <a:lnTo>
                    <a:pt x="274" y="556"/>
                  </a:lnTo>
                  <a:lnTo>
                    <a:pt x="272" y="558"/>
                  </a:lnTo>
                  <a:lnTo>
                    <a:pt x="270" y="560"/>
                  </a:lnTo>
                  <a:lnTo>
                    <a:pt x="268" y="562"/>
                  </a:lnTo>
                  <a:lnTo>
                    <a:pt x="264" y="562"/>
                  </a:lnTo>
                  <a:lnTo>
                    <a:pt x="258" y="562"/>
                  </a:lnTo>
                  <a:lnTo>
                    <a:pt x="256" y="562"/>
                  </a:lnTo>
                  <a:lnTo>
                    <a:pt x="256" y="560"/>
                  </a:lnTo>
                  <a:lnTo>
                    <a:pt x="254" y="560"/>
                  </a:lnTo>
                  <a:lnTo>
                    <a:pt x="254" y="560"/>
                  </a:lnTo>
                  <a:lnTo>
                    <a:pt x="252" y="562"/>
                  </a:lnTo>
                  <a:lnTo>
                    <a:pt x="247" y="566"/>
                  </a:lnTo>
                  <a:lnTo>
                    <a:pt x="245" y="568"/>
                  </a:lnTo>
                  <a:lnTo>
                    <a:pt x="243" y="570"/>
                  </a:lnTo>
                  <a:lnTo>
                    <a:pt x="241" y="570"/>
                  </a:lnTo>
                  <a:lnTo>
                    <a:pt x="239" y="572"/>
                  </a:lnTo>
                  <a:lnTo>
                    <a:pt x="237" y="572"/>
                  </a:lnTo>
                  <a:lnTo>
                    <a:pt x="237" y="570"/>
                  </a:lnTo>
                  <a:lnTo>
                    <a:pt x="235" y="570"/>
                  </a:lnTo>
                  <a:lnTo>
                    <a:pt x="233" y="570"/>
                  </a:lnTo>
                  <a:lnTo>
                    <a:pt x="231" y="572"/>
                  </a:lnTo>
                  <a:lnTo>
                    <a:pt x="231" y="572"/>
                  </a:lnTo>
                  <a:lnTo>
                    <a:pt x="233" y="570"/>
                  </a:lnTo>
                  <a:lnTo>
                    <a:pt x="233" y="570"/>
                  </a:lnTo>
                  <a:lnTo>
                    <a:pt x="233" y="570"/>
                  </a:lnTo>
                  <a:lnTo>
                    <a:pt x="233" y="570"/>
                  </a:lnTo>
                  <a:lnTo>
                    <a:pt x="231" y="568"/>
                  </a:lnTo>
                  <a:lnTo>
                    <a:pt x="229" y="566"/>
                  </a:lnTo>
                  <a:lnTo>
                    <a:pt x="227" y="566"/>
                  </a:lnTo>
                  <a:lnTo>
                    <a:pt x="223" y="568"/>
                  </a:lnTo>
                  <a:lnTo>
                    <a:pt x="221" y="568"/>
                  </a:lnTo>
                  <a:lnTo>
                    <a:pt x="221" y="570"/>
                  </a:lnTo>
                  <a:lnTo>
                    <a:pt x="223" y="570"/>
                  </a:lnTo>
                  <a:lnTo>
                    <a:pt x="223" y="572"/>
                  </a:lnTo>
                  <a:lnTo>
                    <a:pt x="223" y="572"/>
                  </a:lnTo>
                  <a:lnTo>
                    <a:pt x="219" y="572"/>
                  </a:lnTo>
                  <a:lnTo>
                    <a:pt x="216" y="572"/>
                  </a:lnTo>
                  <a:lnTo>
                    <a:pt x="216" y="574"/>
                  </a:lnTo>
                  <a:lnTo>
                    <a:pt x="216" y="576"/>
                  </a:lnTo>
                  <a:lnTo>
                    <a:pt x="216" y="578"/>
                  </a:lnTo>
                  <a:lnTo>
                    <a:pt x="216" y="580"/>
                  </a:lnTo>
                  <a:lnTo>
                    <a:pt x="219" y="578"/>
                  </a:lnTo>
                  <a:lnTo>
                    <a:pt x="221" y="578"/>
                  </a:lnTo>
                  <a:lnTo>
                    <a:pt x="221" y="578"/>
                  </a:lnTo>
                  <a:lnTo>
                    <a:pt x="219" y="580"/>
                  </a:lnTo>
                  <a:lnTo>
                    <a:pt x="216" y="580"/>
                  </a:lnTo>
                  <a:lnTo>
                    <a:pt x="216" y="582"/>
                  </a:lnTo>
                  <a:lnTo>
                    <a:pt x="216" y="582"/>
                  </a:lnTo>
                  <a:lnTo>
                    <a:pt x="216" y="584"/>
                  </a:lnTo>
                  <a:lnTo>
                    <a:pt x="214" y="582"/>
                  </a:lnTo>
                  <a:lnTo>
                    <a:pt x="214" y="582"/>
                  </a:lnTo>
                  <a:lnTo>
                    <a:pt x="212" y="582"/>
                  </a:lnTo>
                  <a:lnTo>
                    <a:pt x="210" y="584"/>
                  </a:lnTo>
                  <a:lnTo>
                    <a:pt x="208" y="587"/>
                  </a:lnTo>
                  <a:lnTo>
                    <a:pt x="204" y="593"/>
                  </a:lnTo>
                  <a:lnTo>
                    <a:pt x="204" y="595"/>
                  </a:lnTo>
                  <a:lnTo>
                    <a:pt x="204" y="595"/>
                  </a:lnTo>
                  <a:lnTo>
                    <a:pt x="204" y="595"/>
                  </a:lnTo>
                  <a:lnTo>
                    <a:pt x="204" y="597"/>
                  </a:lnTo>
                  <a:lnTo>
                    <a:pt x="202" y="597"/>
                  </a:lnTo>
                  <a:lnTo>
                    <a:pt x="200" y="597"/>
                  </a:lnTo>
                  <a:lnTo>
                    <a:pt x="198" y="599"/>
                  </a:lnTo>
                  <a:lnTo>
                    <a:pt x="200" y="599"/>
                  </a:lnTo>
                  <a:lnTo>
                    <a:pt x="202" y="601"/>
                  </a:lnTo>
                  <a:lnTo>
                    <a:pt x="202" y="601"/>
                  </a:lnTo>
                  <a:lnTo>
                    <a:pt x="198" y="601"/>
                  </a:lnTo>
                  <a:lnTo>
                    <a:pt x="198" y="601"/>
                  </a:lnTo>
                  <a:lnTo>
                    <a:pt x="198" y="601"/>
                  </a:lnTo>
                  <a:lnTo>
                    <a:pt x="198" y="603"/>
                  </a:lnTo>
                  <a:lnTo>
                    <a:pt x="198" y="603"/>
                  </a:lnTo>
                  <a:lnTo>
                    <a:pt x="198" y="605"/>
                  </a:lnTo>
                  <a:lnTo>
                    <a:pt x="200" y="603"/>
                  </a:lnTo>
                  <a:lnTo>
                    <a:pt x="202" y="605"/>
                  </a:lnTo>
                  <a:lnTo>
                    <a:pt x="202" y="605"/>
                  </a:lnTo>
                  <a:lnTo>
                    <a:pt x="200" y="607"/>
                  </a:lnTo>
                  <a:lnTo>
                    <a:pt x="202" y="609"/>
                  </a:lnTo>
                  <a:lnTo>
                    <a:pt x="204" y="609"/>
                  </a:lnTo>
                  <a:lnTo>
                    <a:pt x="204" y="611"/>
                  </a:lnTo>
                  <a:lnTo>
                    <a:pt x="206" y="613"/>
                  </a:lnTo>
                  <a:lnTo>
                    <a:pt x="206" y="613"/>
                  </a:lnTo>
                  <a:lnTo>
                    <a:pt x="208" y="613"/>
                  </a:lnTo>
                  <a:lnTo>
                    <a:pt x="208" y="611"/>
                  </a:lnTo>
                  <a:lnTo>
                    <a:pt x="208" y="611"/>
                  </a:lnTo>
                  <a:lnTo>
                    <a:pt x="208" y="609"/>
                  </a:lnTo>
                  <a:lnTo>
                    <a:pt x="210" y="609"/>
                  </a:lnTo>
                  <a:lnTo>
                    <a:pt x="210" y="609"/>
                  </a:lnTo>
                  <a:lnTo>
                    <a:pt x="210" y="611"/>
                  </a:lnTo>
                  <a:lnTo>
                    <a:pt x="208" y="611"/>
                  </a:lnTo>
                  <a:lnTo>
                    <a:pt x="210" y="611"/>
                  </a:lnTo>
                  <a:lnTo>
                    <a:pt x="210" y="613"/>
                  </a:lnTo>
                  <a:lnTo>
                    <a:pt x="212" y="611"/>
                  </a:lnTo>
                  <a:lnTo>
                    <a:pt x="212" y="611"/>
                  </a:lnTo>
                  <a:lnTo>
                    <a:pt x="212" y="613"/>
                  </a:lnTo>
                  <a:lnTo>
                    <a:pt x="212" y="613"/>
                  </a:lnTo>
                  <a:lnTo>
                    <a:pt x="214" y="613"/>
                  </a:lnTo>
                  <a:lnTo>
                    <a:pt x="216" y="613"/>
                  </a:lnTo>
                  <a:lnTo>
                    <a:pt x="216" y="613"/>
                  </a:lnTo>
                  <a:lnTo>
                    <a:pt x="214" y="615"/>
                  </a:lnTo>
                  <a:lnTo>
                    <a:pt x="210" y="615"/>
                  </a:lnTo>
                  <a:lnTo>
                    <a:pt x="212" y="618"/>
                  </a:lnTo>
                  <a:lnTo>
                    <a:pt x="212" y="618"/>
                  </a:lnTo>
                  <a:lnTo>
                    <a:pt x="216" y="618"/>
                  </a:lnTo>
                  <a:lnTo>
                    <a:pt x="223" y="618"/>
                  </a:lnTo>
                  <a:lnTo>
                    <a:pt x="229" y="620"/>
                  </a:lnTo>
                  <a:lnTo>
                    <a:pt x="231" y="615"/>
                  </a:lnTo>
                  <a:lnTo>
                    <a:pt x="233" y="618"/>
                  </a:lnTo>
                  <a:lnTo>
                    <a:pt x="233" y="618"/>
                  </a:lnTo>
                  <a:lnTo>
                    <a:pt x="233" y="618"/>
                  </a:lnTo>
                  <a:lnTo>
                    <a:pt x="231" y="618"/>
                  </a:lnTo>
                  <a:lnTo>
                    <a:pt x="229" y="620"/>
                  </a:lnTo>
                  <a:lnTo>
                    <a:pt x="233" y="620"/>
                  </a:lnTo>
                  <a:lnTo>
                    <a:pt x="235" y="620"/>
                  </a:lnTo>
                  <a:lnTo>
                    <a:pt x="237" y="622"/>
                  </a:lnTo>
                  <a:lnTo>
                    <a:pt x="235" y="624"/>
                  </a:lnTo>
                  <a:lnTo>
                    <a:pt x="231" y="624"/>
                  </a:lnTo>
                  <a:lnTo>
                    <a:pt x="231" y="624"/>
                  </a:lnTo>
                  <a:lnTo>
                    <a:pt x="229" y="622"/>
                  </a:lnTo>
                  <a:lnTo>
                    <a:pt x="229" y="622"/>
                  </a:lnTo>
                  <a:lnTo>
                    <a:pt x="229" y="622"/>
                  </a:lnTo>
                  <a:lnTo>
                    <a:pt x="227" y="622"/>
                  </a:lnTo>
                  <a:lnTo>
                    <a:pt x="223" y="624"/>
                  </a:lnTo>
                  <a:lnTo>
                    <a:pt x="223" y="624"/>
                  </a:lnTo>
                  <a:lnTo>
                    <a:pt x="223" y="624"/>
                  </a:lnTo>
                  <a:lnTo>
                    <a:pt x="225" y="622"/>
                  </a:lnTo>
                  <a:lnTo>
                    <a:pt x="223" y="622"/>
                  </a:lnTo>
                  <a:lnTo>
                    <a:pt x="223" y="620"/>
                  </a:lnTo>
                  <a:lnTo>
                    <a:pt x="221" y="620"/>
                  </a:lnTo>
                  <a:lnTo>
                    <a:pt x="219" y="618"/>
                  </a:lnTo>
                  <a:lnTo>
                    <a:pt x="216" y="618"/>
                  </a:lnTo>
                  <a:lnTo>
                    <a:pt x="214" y="618"/>
                  </a:lnTo>
                  <a:lnTo>
                    <a:pt x="214" y="622"/>
                  </a:lnTo>
                  <a:lnTo>
                    <a:pt x="208" y="626"/>
                  </a:lnTo>
                  <a:lnTo>
                    <a:pt x="210" y="626"/>
                  </a:lnTo>
                  <a:lnTo>
                    <a:pt x="212" y="626"/>
                  </a:lnTo>
                  <a:lnTo>
                    <a:pt x="214" y="626"/>
                  </a:lnTo>
                  <a:lnTo>
                    <a:pt x="212" y="628"/>
                  </a:lnTo>
                  <a:lnTo>
                    <a:pt x="212" y="628"/>
                  </a:lnTo>
                  <a:lnTo>
                    <a:pt x="214" y="630"/>
                  </a:lnTo>
                  <a:lnTo>
                    <a:pt x="216" y="630"/>
                  </a:lnTo>
                  <a:lnTo>
                    <a:pt x="219" y="630"/>
                  </a:lnTo>
                  <a:lnTo>
                    <a:pt x="221" y="634"/>
                  </a:lnTo>
                  <a:lnTo>
                    <a:pt x="227" y="638"/>
                  </a:lnTo>
                  <a:lnTo>
                    <a:pt x="227" y="638"/>
                  </a:lnTo>
                  <a:lnTo>
                    <a:pt x="227" y="640"/>
                  </a:lnTo>
                  <a:lnTo>
                    <a:pt x="229" y="640"/>
                  </a:lnTo>
                  <a:lnTo>
                    <a:pt x="233" y="640"/>
                  </a:lnTo>
                  <a:lnTo>
                    <a:pt x="239" y="640"/>
                  </a:lnTo>
                  <a:lnTo>
                    <a:pt x="243" y="638"/>
                  </a:lnTo>
                  <a:lnTo>
                    <a:pt x="245" y="638"/>
                  </a:lnTo>
                  <a:lnTo>
                    <a:pt x="249" y="638"/>
                  </a:lnTo>
                  <a:lnTo>
                    <a:pt x="249" y="636"/>
                  </a:lnTo>
                  <a:lnTo>
                    <a:pt x="249" y="634"/>
                  </a:lnTo>
                  <a:lnTo>
                    <a:pt x="249" y="632"/>
                  </a:lnTo>
                  <a:lnTo>
                    <a:pt x="249" y="632"/>
                  </a:lnTo>
                  <a:lnTo>
                    <a:pt x="247" y="632"/>
                  </a:lnTo>
                  <a:lnTo>
                    <a:pt x="247" y="630"/>
                  </a:lnTo>
                  <a:lnTo>
                    <a:pt x="249" y="628"/>
                  </a:lnTo>
                  <a:lnTo>
                    <a:pt x="254" y="624"/>
                  </a:lnTo>
                  <a:lnTo>
                    <a:pt x="254" y="624"/>
                  </a:lnTo>
                  <a:lnTo>
                    <a:pt x="256" y="622"/>
                  </a:lnTo>
                  <a:lnTo>
                    <a:pt x="256" y="622"/>
                  </a:lnTo>
                  <a:lnTo>
                    <a:pt x="258" y="622"/>
                  </a:lnTo>
                  <a:lnTo>
                    <a:pt x="258" y="622"/>
                  </a:lnTo>
                  <a:lnTo>
                    <a:pt x="254" y="624"/>
                  </a:lnTo>
                  <a:lnTo>
                    <a:pt x="252" y="628"/>
                  </a:lnTo>
                  <a:lnTo>
                    <a:pt x="252" y="632"/>
                  </a:lnTo>
                  <a:lnTo>
                    <a:pt x="254" y="634"/>
                  </a:lnTo>
                  <a:lnTo>
                    <a:pt x="256" y="638"/>
                  </a:lnTo>
                  <a:lnTo>
                    <a:pt x="258" y="642"/>
                  </a:lnTo>
                  <a:lnTo>
                    <a:pt x="260" y="646"/>
                  </a:lnTo>
                  <a:lnTo>
                    <a:pt x="260" y="646"/>
                  </a:lnTo>
                  <a:lnTo>
                    <a:pt x="258" y="649"/>
                  </a:lnTo>
                  <a:lnTo>
                    <a:pt x="258" y="651"/>
                  </a:lnTo>
                  <a:lnTo>
                    <a:pt x="256" y="653"/>
                  </a:lnTo>
                  <a:lnTo>
                    <a:pt x="258" y="655"/>
                  </a:lnTo>
                  <a:lnTo>
                    <a:pt x="258" y="657"/>
                  </a:lnTo>
                  <a:lnTo>
                    <a:pt x="260" y="657"/>
                  </a:lnTo>
                  <a:lnTo>
                    <a:pt x="262" y="657"/>
                  </a:lnTo>
                  <a:lnTo>
                    <a:pt x="260" y="657"/>
                  </a:lnTo>
                  <a:lnTo>
                    <a:pt x="260" y="659"/>
                  </a:lnTo>
                  <a:lnTo>
                    <a:pt x="260" y="661"/>
                  </a:lnTo>
                  <a:lnTo>
                    <a:pt x="260" y="663"/>
                  </a:lnTo>
                  <a:lnTo>
                    <a:pt x="258" y="663"/>
                  </a:lnTo>
                  <a:lnTo>
                    <a:pt x="256" y="665"/>
                  </a:lnTo>
                  <a:lnTo>
                    <a:pt x="254" y="665"/>
                  </a:lnTo>
                  <a:lnTo>
                    <a:pt x="260" y="667"/>
                  </a:lnTo>
                  <a:lnTo>
                    <a:pt x="266" y="665"/>
                  </a:lnTo>
                  <a:lnTo>
                    <a:pt x="266" y="663"/>
                  </a:lnTo>
                  <a:lnTo>
                    <a:pt x="266" y="663"/>
                  </a:lnTo>
                  <a:lnTo>
                    <a:pt x="268" y="663"/>
                  </a:lnTo>
                  <a:lnTo>
                    <a:pt x="268" y="663"/>
                  </a:lnTo>
                  <a:lnTo>
                    <a:pt x="272" y="661"/>
                  </a:lnTo>
                  <a:lnTo>
                    <a:pt x="274" y="661"/>
                  </a:lnTo>
                  <a:lnTo>
                    <a:pt x="276" y="659"/>
                  </a:lnTo>
                  <a:lnTo>
                    <a:pt x="278" y="659"/>
                  </a:lnTo>
                  <a:lnTo>
                    <a:pt x="280" y="657"/>
                  </a:lnTo>
                  <a:lnTo>
                    <a:pt x="280" y="659"/>
                  </a:lnTo>
                  <a:lnTo>
                    <a:pt x="282" y="661"/>
                  </a:lnTo>
                  <a:lnTo>
                    <a:pt x="287" y="661"/>
                  </a:lnTo>
                  <a:lnTo>
                    <a:pt x="287" y="661"/>
                  </a:lnTo>
                  <a:lnTo>
                    <a:pt x="289" y="661"/>
                  </a:lnTo>
                  <a:lnTo>
                    <a:pt x="291" y="661"/>
                  </a:lnTo>
                  <a:lnTo>
                    <a:pt x="293" y="663"/>
                  </a:lnTo>
                  <a:lnTo>
                    <a:pt x="295" y="663"/>
                  </a:lnTo>
                  <a:lnTo>
                    <a:pt x="299" y="669"/>
                  </a:lnTo>
                  <a:lnTo>
                    <a:pt x="301" y="671"/>
                  </a:lnTo>
                  <a:lnTo>
                    <a:pt x="303" y="669"/>
                  </a:lnTo>
                  <a:lnTo>
                    <a:pt x="303" y="667"/>
                  </a:lnTo>
                  <a:lnTo>
                    <a:pt x="301" y="663"/>
                  </a:lnTo>
                  <a:lnTo>
                    <a:pt x="301" y="663"/>
                  </a:lnTo>
                  <a:lnTo>
                    <a:pt x="303" y="661"/>
                  </a:lnTo>
                  <a:lnTo>
                    <a:pt x="303" y="659"/>
                  </a:lnTo>
                  <a:lnTo>
                    <a:pt x="303" y="659"/>
                  </a:lnTo>
                  <a:lnTo>
                    <a:pt x="303" y="659"/>
                  </a:lnTo>
                  <a:lnTo>
                    <a:pt x="305" y="659"/>
                  </a:lnTo>
                  <a:lnTo>
                    <a:pt x="307" y="657"/>
                  </a:lnTo>
                  <a:lnTo>
                    <a:pt x="307" y="657"/>
                  </a:lnTo>
                  <a:lnTo>
                    <a:pt x="311" y="657"/>
                  </a:lnTo>
                  <a:lnTo>
                    <a:pt x="313" y="659"/>
                  </a:lnTo>
                  <a:lnTo>
                    <a:pt x="311" y="659"/>
                  </a:lnTo>
                  <a:lnTo>
                    <a:pt x="309" y="659"/>
                  </a:lnTo>
                  <a:lnTo>
                    <a:pt x="307" y="659"/>
                  </a:lnTo>
                  <a:lnTo>
                    <a:pt x="307" y="659"/>
                  </a:lnTo>
                  <a:lnTo>
                    <a:pt x="307" y="661"/>
                  </a:lnTo>
                  <a:lnTo>
                    <a:pt x="307" y="663"/>
                  </a:lnTo>
                  <a:lnTo>
                    <a:pt x="307" y="663"/>
                  </a:lnTo>
                  <a:lnTo>
                    <a:pt x="309" y="665"/>
                  </a:lnTo>
                  <a:lnTo>
                    <a:pt x="311" y="665"/>
                  </a:lnTo>
                  <a:lnTo>
                    <a:pt x="313" y="665"/>
                  </a:lnTo>
                  <a:lnTo>
                    <a:pt x="318" y="663"/>
                  </a:lnTo>
                  <a:lnTo>
                    <a:pt x="326" y="661"/>
                  </a:lnTo>
                  <a:lnTo>
                    <a:pt x="328" y="659"/>
                  </a:lnTo>
                  <a:lnTo>
                    <a:pt x="330" y="655"/>
                  </a:lnTo>
                  <a:lnTo>
                    <a:pt x="330" y="659"/>
                  </a:lnTo>
                  <a:lnTo>
                    <a:pt x="328" y="663"/>
                  </a:lnTo>
                  <a:lnTo>
                    <a:pt x="328" y="663"/>
                  </a:lnTo>
                  <a:lnTo>
                    <a:pt x="328" y="663"/>
                  </a:lnTo>
                  <a:lnTo>
                    <a:pt x="324" y="665"/>
                  </a:lnTo>
                  <a:lnTo>
                    <a:pt x="322" y="669"/>
                  </a:lnTo>
                  <a:lnTo>
                    <a:pt x="320" y="669"/>
                  </a:lnTo>
                  <a:lnTo>
                    <a:pt x="320" y="671"/>
                  </a:lnTo>
                  <a:lnTo>
                    <a:pt x="322" y="673"/>
                  </a:lnTo>
                  <a:lnTo>
                    <a:pt x="322" y="673"/>
                  </a:lnTo>
                  <a:lnTo>
                    <a:pt x="324" y="673"/>
                  </a:lnTo>
                  <a:lnTo>
                    <a:pt x="326" y="675"/>
                  </a:lnTo>
                  <a:lnTo>
                    <a:pt x="322" y="675"/>
                  </a:lnTo>
                  <a:lnTo>
                    <a:pt x="320" y="675"/>
                  </a:lnTo>
                  <a:lnTo>
                    <a:pt x="320" y="677"/>
                  </a:lnTo>
                  <a:lnTo>
                    <a:pt x="320" y="682"/>
                  </a:lnTo>
                  <a:lnTo>
                    <a:pt x="318" y="684"/>
                  </a:lnTo>
                  <a:lnTo>
                    <a:pt x="318" y="686"/>
                  </a:lnTo>
                  <a:lnTo>
                    <a:pt x="318" y="686"/>
                  </a:lnTo>
                  <a:lnTo>
                    <a:pt x="320" y="688"/>
                  </a:lnTo>
                  <a:lnTo>
                    <a:pt x="320" y="688"/>
                  </a:lnTo>
                  <a:lnTo>
                    <a:pt x="320" y="688"/>
                  </a:lnTo>
                  <a:lnTo>
                    <a:pt x="322" y="688"/>
                  </a:lnTo>
                  <a:lnTo>
                    <a:pt x="322" y="688"/>
                  </a:lnTo>
                  <a:lnTo>
                    <a:pt x="320" y="690"/>
                  </a:lnTo>
                  <a:lnTo>
                    <a:pt x="320" y="690"/>
                  </a:lnTo>
                  <a:lnTo>
                    <a:pt x="318" y="688"/>
                  </a:lnTo>
                  <a:lnTo>
                    <a:pt x="318" y="688"/>
                  </a:lnTo>
                  <a:lnTo>
                    <a:pt x="318" y="688"/>
                  </a:lnTo>
                  <a:lnTo>
                    <a:pt x="315" y="688"/>
                  </a:lnTo>
                  <a:lnTo>
                    <a:pt x="315" y="688"/>
                  </a:lnTo>
                  <a:lnTo>
                    <a:pt x="313" y="690"/>
                  </a:lnTo>
                  <a:lnTo>
                    <a:pt x="311" y="692"/>
                  </a:lnTo>
                  <a:lnTo>
                    <a:pt x="311" y="692"/>
                  </a:lnTo>
                  <a:lnTo>
                    <a:pt x="309" y="694"/>
                  </a:lnTo>
                  <a:lnTo>
                    <a:pt x="307" y="696"/>
                  </a:lnTo>
                  <a:lnTo>
                    <a:pt x="305" y="696"/>
                  </a:lnTo>
                  <a:lnTo>
                    <a:pt x="305" y="698"/>
                  </a:lnTo>
                  <a:lnTo>
                    <a:pt x="303" y="698"/>
                  </a:lnTo>
                  <a:lnTo>
                    <a:pt x="303" y="700"/>
                  </a:lnTo>
                  <a:lnTo>
                    <a:pt x="303" y="702"/>
                  </a:lnTo>
                  <a:lnTo>
                    <a:pt x="305" y="702"/>
                  </a:lnTo>
                  <a:lnTo>
                    <a:pt x="303" y="702"/>
                  </a:lnTo>
                  <a:lnTo>
                    <a:pt x="303" y="704"/>
                  </a:lnTo>
                  <a:lnTo>
                    <a:pt x="303" y="702"/>
                  </a:lnTo>
                  <a:lnTo>
                    <a:pt x="301" y="702"/>
                  </a:lnTo>
                  <a:lnTo>
                    <a:pt x="301" y="702"/>
                  </a:lnTo>
                  <a:lnTo>
                    <a:pt x="301" y="702"/>
                  </a:lnTo>
                  <a:lnTo>
                    <a:pt x="299" y="702"/>
                  </a:lnTo>
                  <a:lnTo>
                    <a:pt x="297" y="704"/>
                  </a:lnTo>
                  <a:lnTo>
                    <a:pt x="295" y="706"/>
                  </a:lnTo>
                  <a:lnTo>
                    <a:pt x="289" y="708"/>
                  </a:lnTo>
                  <a:lnTo>
                    <a:pt x="285" y="710"/>
                  </a:lnTo>
                  <a:lnTo>
                    <a:pt x="282" y="710"/>
                  </a:lnTo>
                  <a:lnTo>
                    <a:pt x="280" y="713"/>
                  </a:lnTo>
                  <a:lnTo>
                    <a:pt x="280" y="715"/>
                  </a:lnTo>
                  <a:lnTo>
                    <a:pt x="278" y="717"/>
                  </a:lnTo>
                  <a:lnTo>
                    <a:pt x="278" y="719"/>
                  </a:lnTo>
                  <a:lnTo>
                    <a:pt x="278" y="719"/>
                  </a:lnTo>
                  <a:lnTo>
                    <a:pt x="278" y="721"/>
                  </a:lnTo>
                  <a:lnTo>
                    <a:pt x="278" y="721"/>
                  </a:lnTo>
                  <a:lnTo>
                    <a:pt x="280" y="721"/>
                  </a:lnTo>
                  <a:lnTo>
                    <a:pt x="280" y="723"/>
                  </a:lnTo>
                  <a:lnTo>
                    <a:pt x="280" y="723"/>
                  </a:lnTo>
                  <a:lnTo>
                    <a:pt x="280" y="723"/>
                  </a:lnTo>
                  <a:lnTo>
                    <a:pt x="278" y="723"/>
                  </a:lnTo>
                  <a:lnTo>
                    <a:pt x="278" y="723"/>
                  </a:lnTo>
                  <a:lnTo>
                    <a:pt x="278" y="723"/>
                  </a:lnTo>
                  <a:lnTo>
                    <a:pt x="276" y="721"/>
                  </a:lnTo>
                  <a:lnTo>
                    <a:pt x="274" y="721"/>
                  </a:lnTo>
                  <a:lnTo>
                    <a:pt x="274" y="723"/>
                  </a:lnTo>
                  <a:lnTo>
                    <a:pt x="274" y="723"/>
                  </a:lnTo>
                  <a:lnTo>
                    <a:pt x="274" y="725"/>
                  </a:lnTo>
                  <a:lnTo>
                    <a:pt x="274" y="725"/>
                  </a:lnTo>
                  <a:lnTo>
                    <a:pt x="272" y="723"/>
                  </a:lnTo>
                  <a:lnTo>
                    <a:pt x="270" y="721"/>
                  </a:lnTo>
                  <a:lnTo>
                    <a:pt x="270" y="721"/>
                  </a:lnTo>
                  <a:lnTo>
                    <a:pt x="272" y="721"/>
                  </a:lnTo>
                  <a:lnTo>
                    <a:pt x="272" y="719"/>
                  </a:lnTo>
                  <a:lnTo>
                    <a:pt x="272" y="719"/>
                  </a:lnTo>
                  <a:lnTo>
                    <a:pt x="272" y="719"/>
                  </a:lnTo>
                  <a:lnTo>
                    <a:pt x="268" y="721"/>
                  </a:lnTo>
                  <a:lnTo>
                    <a:pt x="268" y="721"/>
                  </a:lnTo>
                  <a:lnTo>
                    <a:pt x="268" y="719"/>
                  </a:lnTo>
                  <a:lnTo>
                    <a:pt x="268" y="719"/>
                  </a:lnTo>
                  <a:lnTo>
                    <a:pt x="268" y="719"/>
                  </a:lnTo>
                  <a:lnTo>
                    <a:pt x="262" y="721"/>
                  </a:lnTo>
                  <a:lnTo>
                    <a:pt x="258" y="723"/>
                  </a:lnTo>
                  <a:lnTo>
                    <a:pt x="254" y="725"/>
                  </a:lnTo>
                  <a:lnTo>
                    <a:pt x="252" y="727"/>
                  </a:lnTo>
                  <a:lnTo>
                    <a:pt x="249" y="729"/>
                  </a:lnTo>
                  <a:lnTo>
                    <a:pt x="247" y="731"/>
                  </a:lnTo>
                  <a:lnTo>
                    <a:pt x="245" y="733"/>
                  </a:lnTo>
                  <a:lnTo>
                    <a:pt x="245" y="733"/>
                  </a:lnTo>
                  <a:lnTo>
                    <a:pt x="243" y="735"/>
                  </a:lnTo>
                  <a:lnTo>
                    <a:pt x="243" y="735"/>
                  </a:lnTo>
                  <a:lnTo>
                    <a:pt x="243" y="735"/>
                  </a:lnTo>
                  <a:lnTo>
                    <a:pt x="241" y="735"/>
                  </a:lnTo>
                  <a:lnTo>
                    <a:pt x="241" y="735"/>
                  </a:lnTo>
                  <a:lnTo>
                    <a:pt x="241" y="735"/>
                  </a:lnTo>
                  <a:lnTo>
                    <a:pt x="239" y="737"/>
                  </a:lnTo>
                  <a:lnTo>
                    <a:pt x="237" y="737"/>
                  </a:lnTo>
                  <a:lnTo>
                    <a:pt x="237" y="737"/>
                  </a:lnTo>
                  <a:lnTo>
                    <a:pt x="239" y="739"/>
                  </a:lnTo>
                  <a:lnTo>
                    <a:pt x="237" y="739"/>
                  </a:lnTo>
                  <a:lnTo>
                    <a:pt x="237" y="741"/>
                  </a:lnTo>
                  <a:lnTo>
                    <a:pt x="237" y="741"/>
                  </a:lnTo>
                  <a:lnTo>
                    <a:pt x="239" y="741"/>
                  </a:lnTo>
                  <a:lnTo>
                    <a:pt x="239" y="741"/>
                  </a:lnTo>
                  <a:lnTo>
                    <a:pt x="241" y="741"/>
                  </a:lnTo>
                  <a:lnTo>
                    <a:pt x="241" y="739"/>
                  </a:lnTo>
                  <a:lnTo>
                    <a:pt x="241" y="737"/>
                  </a:lnTo>
                  <a:lnTo>
                    <a:pt x="241" y="737"/>
                  </a:lnTo>
                  <a:lnTo>
                    <a:pt x="243" y="737"/>
                  </a:lnTo>
                  <a:lnTo>
                    <a:pt x="243" y="739"/>
                  </a:lnTo>
                  <a:lnTo>
                    <a:pt x="245" y="739"/>
                  </a:lnTo>
                  <a:lnTo>
                    <a:pt x="247" y="739"/>
                  </a:lnTo>
                  <a:lnTo>
                    <a:pt x="247" y="737"/>
                  </a:lnTo>
                  <a:lnTo>
                    <a:pt x="247" y="737"/>
                  </a:lnTo>
                  <a:lnTo>
                    <a:pt x="247" y="735"/>
                  </a:lnTo>
                  <a:lnTo>
                    <a:pt x="247" y="733"/>
                  </a:lnTo>
                  <a:lnTo>
                    <a:pt x="249" y="733"/>
                  </a:lnTo>
                  <a:lnTo>
                    <a:pt x="249" y="735"/>
                  </a:lnTo>
                  <a:lnTo>
                    <a:pt x="252" y="735"/>
                  </a:lnTo>
                  <a:lnTo>
                    <a:pt x="252" y="737"/>
                  </a:lnTo>
                  <a:lnTo>
                    <a:pt x="249" y="737"/>
                  </a:lnTo>
                  <a:lnTo>
                    <a:pt x="249" y="737"/>
                  </a:lnTo>
                  <a:lnTo>
                    <a:pt x="249" y="737"/>
                  </a:lnTo>
                  <a:lnTo>
                    <a:pt x="252" y="737"/>
                  </a:lnTo>
                  <a:lnTo>
                    <a:pt x="252" y="737"/>
                  </a:lnTo>
                  <a:lnTo>
                    <a:pt x="254" y="737"/>
                  </a:lnTo>
                  <a:lnTo>
                    <a:pt x="254" y="737"/>
                  </a:lnTo>
                  <a:lnTo>
                    <a:pt x="254" y="735"/>
                  </a:lnTo>
                  <a:lnTo>
                    <a:pt x="256" y="735"/>
                  </a:lnTo>
                  <a:lnTo>
                    <a:pt x="258" y="735"/>
                  </a:lnTo>
                  <a:lnTo>
                    <a:pt x="260" y="731"/>
                  </a:lnTo>
                  <a:lnTo>
                    <a:pt x="260" y="731"/>
                  </a:lnTo>
                  <a:lnTo>
                    <a:pt x="262" y="729"/>
                  </a:lnTo>
                  <a:lnTo>
                    <a:pt x="262" y="727"/>
                  </a:lnTo>
                  <a:lnTo>
                    <a:pt x="262" y="727"/>
                  </a:lnTo>
                  <a:lnTo>
                    <a:pt x="264" y="727"/>
                  </a:lnTo>
                  <a:lnTo>
                    <a:pt x="264" y="727"/>
                  </a:lnTo>
                  <a:lnTo>
                    <a:pt x="266" y="727"/>
                  </a:lnTo>
                  <a:lnTo>
                    <a:pt x="268" y="727"/>
                  </a:lnTo>
                  <a:lnTo>
                    <a:pt x="268" y="727"/>
                  </a:lnTo>
                  <a:lnTo>
                    <a:pt x="268" y="729"/>
                  </a:lnTo>
                  <a:lnTo>
                    <a:pt x="266" y="727"/>
                  </a:lnTo>
                  <a:lnTo>
                    <a:pt x="266" y="727"/>
                  </a:lnTo>
                  <a:lnTo>
                    <a:pt x="266" y="729"/>
                  </a:lnTo>
                  <a:lnTo>
                    <a:pt x="264" y="729"/>
                  </a:lnTo>
                  <a:lnTo>
                    <a:pt x="264" y="729"/>
                  </a:lnTo>
                  <a:lnTo>
                    <a:pt x="264" y="731"/>
                  </a:lnTo>
                  <a:lnTo>
                    <a:pt x="264" y="731"/>
                  </a:lnTo>
                  <a:lnTo>
                    <a:pt x="266" y="731"/>
                  </a:lnTo>
                  <a:lnTo>
                    <a:pt x="268" y="731"/>
                  </a:lnTo>
                  <a:lnTo>
                    <a:pt x="270" y="731"/>
                  </a:lnTo>
                  <a:lnTo>
                    <a:pt x="270" y="731"/>
                  </a:lnTo>
                  <a:lnTo>
                    <a:pt x="272" y="729"/>
                  </a:lnTo>
                  <a:lnTo>
                    <a:pt x="272" y="729"/>
                  </a:lnTo>
                  <a:lnTo>
                    <a:pt x="274" y="729"/>
                  </a:lnTo>
                  <a:lnTo>
                    <a:pt x="274" y="729"/>
                  </a:lnTo>
                  <a:lnTo>
                    <a:pt x="276" y="729"/>
                  </a:lnTo>
                  <a:lnTo>
                    <a:pt x="276" y="727"/>
                  </a:lnTo>
                  <a:lnTo>
                    <a:pt x="276" y="729"/>
                  </a:lnTo>
                  <a:lnTo>
                    <a:pt x="278" y="729"/>
                  </a:lnTo>
                  <a:lnTo>
                    <a:pt x="278" y="727"/>
                  </a:lnTo>
                  <a:lnTo>
                    <a:pt x="278" y="727"/>
                  </a:lnTo>
                  <a:lnTo>
                    <a:pt x="280" y="727"/>
                  </a:lnTo>
                  <a:lnTo>
                    <a:pt x="282" y="725"/>
                  </a:lnTo>
                  <a:lnTo>
                    <a:pt x="285" y="723"/>
                  </a:lnTo>
                  <a:lnTo>
                    <a:pt x="287" y="723"/>
                  </a:lnTo>
                  <a:lnTo>
                    <a:pt x="287" y="723"/>
                  </a:lnTo>
                  <a:lnTo>
                    <a:pt x="287" y="723"/>
                  </a:lnTo>
                  <a:lnTo>
                    <a:pt x="289" y="723"/>
                  </a:lnTo>
                  <a:lnTo>
                    <a:pt x="289" y="723"/>
                  </a:lnTo>
                  <a:lnTo>
                    <a:pt x="289" y="723"/>
                  </a:lnTo>
                  <a:lnTo>
                    <a:pt x="291" y="723"/>
                  </a:lnTo>
                  <a:lnTo>
                    <a:pt x="291" y="723"/>
                  </a:lnTo>
                  <a:lnTo>
                    <a:pt x="291" y="727"/>
                  </a:lnTo>
                  <a:lnTo>
                    <a:pt x="291" y="727"/>
                  </a:lnTo>
                  <a:lnTo>
                    <a:pt x="291" y="727"/>
                  </a:lnTo>
                  <a:lnTo>
                    <a:pt x="291" y="725"/>
                  </a:lnTo>
                  <a:lnTo>
                    <a:pt x="291" y="725"/>
                  </a:lnTo>
                  <a:lnTo>
                    <a:pt x="293" y="723"/>
                  </a:lnTo>
                  <a:lnTo>
                    <a:pt x="293" y="723"/>
                  </a:lnTo>
                  <a:lnTo>
                    <a:pt x="303" y="719"/>
                  </a:lnTo>
                  <a:lnTo>
                    <a:pt x="303" y="719"/>
                  </a:lnTo>
                  <a:lnTo>
                    <a:pt x="305" y="717"/>
                  </a:lnTo>
                  <a:lnTo>
                    <a:pt x="305" y="715"/>
                  </a:lnTo>
                  <a:lnTo>
                    <a:pt x="305" y="715"/>
                  </a:lnTo>
                  <a:lnTo>
                    <a:pt x="305" y="717"/>
                  </a:lnTo>
                  <a:lnTo>
                    <a:pt x="305" y="717"/>
                  </a:lnTo>
                  <a:lnTo>
                    <a:pt x="307" y="719"/>
                  </a:lnTo>
                  <a:lnTo>
                    <a:pt x="307" y="717"/>
                  </a:lnTo>
                  <a:lnTo>
                    <a:pt x="307" y="717"/>
                  </a:lnTo>
                  <a:lnTo>
                    <a:pt x="309" y="715"/>
                  </a:lnTo>
                  <a:lnTo>
                    <a:pt x="309" y="715"/>
                  </a:lnTo>
                  <a:lnTo>
                    <a:pt x="309" y="715"/>
                  </a:lnTo>
                  <a:lnTo>
                    <a:pt x="309" y="713"/>
                  </a:lnTo>
                  <a:lnTo>
                    <a:pt x="307" y="713"/>
                  </a:lnTo>
                  <a:lnTo>
                    <a:pt x="307" y="713"/>
                  </a:lnTo>
                  <a:lnTo>
                    <a:pt x="305" y="713"/>
                  </a:lnTo>
                  <a:lnTo>
                    <a:pt x="305" y="713"/>
                  </a:lnTo>
                  <a:lnTo>
                    <a:pt x="305" y="713"/>
                  </a:lnTo>
                  <a:lnTo>
                    <a:pt x="307" y="710"/>
                  </a:lnTo>
                  <a:lnTo>
                    <a:pt x="309" y="710"/>
                  </a:lnTo>
                  <a:lnTo>
                    <a:pt x="311" y="710"/>
                  </a:lnTo>
                  <a:lnTo>
                    <a:pt x="311" y="708"/>
                  </a:lnTo>
                  <a:lnTo>
                    <a:pt x="313" y="708"/>
                  </a:lnTo>
                  <a:lnTo>
                    <a:pt x="313" y="708"/>
                  </a:lnTo>
                  <a:lnTo>
                    <a:pt x="315" y="708"/>
                  </a:lnTo>
                  <a:lnTo>
                    <a:pt x="315" y="708"/>
                  </a:lnTo>
                  <a:lnTo>
                    <a:pt x="313" y="708"/>
                  </a:lnTo>
                  <a:lnTo>
                    <a:pt x="313" y="708"/>
                  </a:lnTo>
                  <a:lnTo>
                    <a:pt x="313" y="706"/>
                  </a:lnTo>
                  <a:lnTo>
                    <a:pt x="315" y="706"/>
                  </a:lnTo>
                  <a:lnTo>
                    <a:pt x="318" y="706"/>
                  </a:lnTo>
                  <a:lnTo>
                    <a:pt x="318" y="706"/>
                  </a:lnTo>
                  <a:lnTo>
                    <a:pt x="320" y="706"/>
                  </a:lnTo>
                  <a:lnTo>
                    <a:pt x="320" y="706"/>
                  </a:lnTo>
                  <a:lnTo>
                    <a:pt x="320" y="706"/>
                  </a:lnTo>
                  <a:lnTo>
                    <a:pt x="322" y="704"/>
                  </a:lnTo>
                  <a:lnTo>
                    <a:pt x="322" y="704"/>
                  </a:lnTo>
                  <a:lnTo>
                    <a:pt x="322" y="702"/>
                  </a:lnTo>
                  <a:lnTo>
                    <a:pt x="324" y="702"/>
                  </a:lnTo>
                  <a:lnTo>
                    <a:pt x="324" y="702"/>
                  </a:lnTo>
                  <a:lnTo>
                    <a:pt x="326" y="702"/>
                  </a:lnTo>
                  <a:lnTo>
                    <a:pt x="326" y="702"/>
                  </a:lnTo>
                  <a:lnTo>
                    <a:pt x="328" y="702"/>
                  </a:lnTo>
                  <a:lnTo>
                    <a:pt x="328" y="700"/>
                  </a:lnTo>
                  <a:lnTo>
                    <a:pt x="330" y="700"/>
                  </a:lnTo>
                  <a:lnTo>
                    <a:pt x="330" y="700"/>
                  </a:lnTo>
                  <a:lnTo>
                    <a:pt x="330" y="700"/>
                  </a:lnTo>
                  <a:lnTo>
                    <a:pt x="332" y="698"/>
                  </a:lnTo>
                  <a:lnTo>
                    <a:pt x="332" y="698"/>
                  </a:lnTo>
                  <a:lnTo>
                    <a:pt x="334" y="698"/>
                  </a:lnTo>
                  <a:lnTo>
                    <a:pt x="334" y="698"/>
                  </a:lnTo>
                  <a:lnTo>
                    <a:pt x="334" y="698"/>
                  </a:lnTo>
                  <a:lnTo>
                    <a:pt x="336" y="696"/>
                  </a:lnTo>
                  <a:lnTo>
                    <a:pt x="336" y="694"/>
                  </a:lnTo>
                  <a:lnTo>
                    <a:pt x="336" y="694"/>
                  </a:lnTo>
                  <a:lnTo>
                    <a:pt x="336" y="694"/>
                  </a:lnTo>
                  <a:lnTo>
                    <a:pt x="336" y="692"/>
                  </a:lnTo>
                  <a:lnTo>
                    <a:pt x="336" y="692"/>
                  </a:lnTo>
                  <a:lnTo>
                    <a:pt x="336" y="692"/>
                  </a:lnTo>
                  <a:lnTo>
                    <a:pt x="338" y="690"/>
                  </a:lnTo>
                  <a:lnTo>
                    <a:pt x="340" y="690"/>
                  </a:lnTo>
                  <a:lnTo>
                    <a:pt x="340" y="690"/>
                  </a:lnTo>
                  <a:lnTo>
                    <a:pt x="342" y="690"/>
                  </a:lnTo>
                  <a:lnTo>
                    <a:pt x="342" y="688"/>
                  </a:lnTo>
                  <a:lnTo>
                    <a:pt x="342" y="688"/>
                  </a:lnTo>
                  <a:lnTo>
                    <a:pt x="344" y="688"/>
                  </a:lnTo>
                  <a:lnTo>
                    <a:pt x="344" y="688"/>
                  </a:lnTo>
                  <a:lnTo>
                    <a:pt x="346" y="686"/>
                  </a:lnTo>
                  <a:lnTo>
                    <a:pt x="348" y="686"/>
                  </a:lnTo>
                  <a:lnTo>
                    <a:pt x="348" y="686"/>
                  </a:lnTo>
                  <a:lnTo>
                    <a:pt x="348" y="684"/>
                  </a:lnTo>
                  <a:lnTo>
                    <a:pt x="348" y="684"/>
                  </a:lnTo>
                  <a:lnTo>
                    <a:pt x="351" y="684"/>
                  </a:lnTo>
                  <a:lnTo>
                    <a:pt x="353" y="684"/>
                  </a:lnTo>
                  <a:lnTo>
                    <a:pt x="355" y="682"/>
                  </a:lnTo>
                  <a:lnTo>
                    <a:pt x="355" y="679"/>
                  </a:lnTo>
                  <a:lnTo>
                    <a:pt x="357" y="677"/>
                  </a:lnTo>
                  <a:lnTo>
                    <a:pt x="363" y="677"/>
                  </a:lnTo>
                  <a:lnTo>
                    <a:pt x="363" y="677"/>
                  </a:lnTo>
                  <a:lnTo>
                    <a:pt x="363" y="675"/>
                  </a:lnTo>
                  <a:lnTo>
                    <a:pt x="365" y="675"/>
                  </a:lnTo>
                  <a:lnTo>
                    <a:pt x="367" y="675"/>
                  </a:lnTo>
                  <a:lnTo>
                    <a:pt x="367" y="675"/>
                  </a:lnTo>
                  <a:lnTo>
                    <a:pt x="367" y="673"/>
                  </a:lnTo>
                  <a:lnTo>
                    <a:pt x="367" y="673"/>
                  </a:lnTo>
                  <a:lnTo>
                    <a:pt x="367" y="673"/>
                  </a:lnTo>
                  <a:lnTo>
                    <a:pt x="367" y="673"/>
                  </a:lnTo>
                  <a:lnTo>
                    <a:pt x="369" y="671"/>
                  </a:lnTo>
                  <a:lnTo>
                    <a:pt x="369" y="671"/>
                  </a:lnTo>
                  <a:lnTo>
                    <a:pt x="369" y="669"/>
                  </a:lnTo>
                  <a:lnTo>
                    <a:pt x="371" y="669"/>
                  </a:lnTo>
                  <a:lnTo>
                    <a:pt x="373" y="667"/>
                  </a:lnTo>
                  <a:lnTo>
                    <a:pt x="373" y="667"/>
                  </a:lnTo>
                  <a:lnTo>
                    <a:pt x="375" y="665"/>
                  </a:lnTo>
                  <a:lnTo>
                    <a:pt x="375" y="665"/>
                  </a:lnTo>
                  <a:lnTo>
                    <a:pt x="379" y="663"/>
                  </a:lnTo>
                  <a:lnTo>
                    <a:pt x="379" y="661"/>
                  </a:lnTo>
                  <a:lnTo>
                    <a:pt x="379" y="661"/>
                  </a:lnTo>
                  <a:lnTo>
                    <a:pt x="379" y="661"/>
                  </a:lnTo>
                  <a:lnTo>
                    <a:pt x="379" y="661"/>
                  </a:lnTo>
                  <a:lnTo>
                    <a:pt x="379" y="659"/>
                  </a:lnTo>
                  <a:lnTo>
                    <a:pt x="375" y="657"/>
                  </a:lnTo>
                  <a:lnTo>
                    <a:pt x="373" y="657"/>
                  </a:lnTo>
                  <a:lnTo>
                    <a:pt x="371" y="657"/>
                  </a:lnTo>
                  <a:lnTo>
                    <a:pt x="369" y="655"/>
                  </a:lnTo>
                  <a:lnTo>
                    <a:pt x="369" y="655"/>
                  </a:lnTo>
                  <a:lnTo>
                    <a:pt x="369" y="653"/>
                  </a:lnTo>
                  <a:lnTo>
                    <a:pt x="369" y="651"/>
                  </a:lnTo>
                  <a:lnTo>
                    <a:pt x="369" y="651"/>
                  </a:lnTo>
                  <a:lnTo>
                    <a:pt x="373" y="649"/>
                  </a:lnTo>
                  <a:lnTo>
                    <a:pt x="373" y="646"/>
                  </a:lnTo>
                  <a:lnTo>
                    <a:pt x="375" y="646"/>
                  </a:lnTo>
                  <a:lnTo>
                    <a:pt x="375" y="646"/>
                  </a:lnTo>
                  <a:lnTo>
                    <a:pt x="375" y="644"/>
                  </a:lnTo>
                  <a:lnTo>
                    <a:pt x="375" y="644"/>
                  </a:lnTo>
                  <a:lnTo>
                    <a:pt x="375" y="644"/>
                  </a:lnTo>
                  <a:lnTo>
                    <a:pt x="377" y="642"/>
                  </a:lnTo>
                  <a:lnTo>
                    <a:pt x="379" y="642"/>
                  </a:lnTo>
                  <a:lnTo>
                    <a:pt x="379" y="642"/>
                  </a:lnTo>
                  <a:lnTo>
                    <a:pt x="379" y="642"/>
                  </a:lnTo>
                  <a:lnTo>
                    <a:pt x="379" y="644"/>
                  </a:lnTo>
                  <a:lnTo>
                    <a:pt x="379" y="644"/>
                  </a:lnTo>
                  <a:lnTo>
                    <a:pt x="381" y="644"/>
                  </a:lnTo>
                  <a:lnTo>
                    <a:pt x="384" y="642"/>
                  </a:lnTo>
                  <a:lnTo>
                    <a:pt x="384" y="642"/>
                  </a:lnTo>
                  <a:lnTo>
                    <a:pt x="386" y="642"/>
                  </a:lnTo>
                  <a:lnTo>
                    <a:pt x="384" y="640"/>
                  </a:lnTo>
                  <a:lnTo>
                    <a:pt x="381" y="640"/>
                  </a:lnTo>
                  <a:lnTo>
                    <a:pt x="381" y="640"/>
                  </a:lnTo>
                  <a:lnTo>
                    <a:pt x="384" y="640"/>
                  </a:lnTo>
                  <a:lnTo>
                    <a:pt x="388" y="638"/>
                  </a:lnTo>
                  <a:lnTo>
                    <a:pt x="388" y="638"/>
                  </a:lnTo>
                  <a:lnTo>
                    <a:pt x="390" y="636"/>
                  </a:lnTo>
                  <a:lnTo>
                    <a:pt x="390" y="636"/>
                  </a:lnTo>
                  <a:lnTo>
                    <a:pt x="390" y="636"/>
                  </a:lnTo>
                  <a:lnTo>
                    <a:pt x="390" y="634"/>
                  </a:lnTo>
                  <a:lnTo>
                    <a:pt x="388" y="634"/>
                  </a:lnTo>
                  <a:lnTo>
                    <a:pt x="386" y="632"/>
                  </a:lnTo>
                  <a:lnTo>
                    <a:pt x="384" y="630"/>
                  </a:lnTo>
                  <a:lnTo>
                    <a:pt x="386" y="630"/>
                  </a:lnTo>
                  <a:lnTo>
                    <a:pt x="386" y="630"/>
                  </a:lnTo>
                  <a:lnTo>
                    <a:pt x="388" y="632"/>
                  </a:lnTo>
                  <a:lnTo>
                    <a:pt x="390" y="632"/>
                  </a:lnTo>
                  <a:lnTo>
                    <a:pt x="390" y="632"/>
                  </a:lnTo>
                  <a:lnTo>
                    <a:pt x="392" y="632"/>
                  </a:lnTo>
                  <a:lnTo>
                    <a:pt x="394" y="630"/>
                  </a:lnTo>
                  <a:lnTo>
                    <a:pt x="396" y="630"/>
                  </a:lnTo>
                  <a:lnTo>
                    <a:pt x="396" y="628"/>
                  </a:lnTo>
                  <a:lnTo>
                    <a:pt x="394" y="628"/>
                  </a:lnTo>
                  <a:lnTo>
                    <a:pt x="394" y="628"/>
                  </a:lnTo>
                  <a:lnTo>
                    <a:pt x="396" y="626"/>
                  </a:lnTo>
                  <a:lnTo>
                    <a:pt x="400" y="622"/>
                  </a:lnTo>
                  <a:lnTo>
                    <a:pt x="402" y="622"/>
                  </a:lnTo>
                  <a:lnTo>
                    <a:pt x="402" y="622"/>
                  </a:lnTo>
                  <a:lnTo>
                    <a:pt x="402" y="622"/>
                  </a:lnTo>
                  <a:lnTo>
                    <a:pt x="402" y="620"/>
                  </a:lnTo>
                  <a:lnTo>
                    <a:pt x="402" y="620"/>
                  </a:lnTo>
                  <a:lnTo>
                    <a:pt x="402" y="618"/>
                  </a:lnTo>
                  <a:lnTo>
                    <a:pt x="404" y="615"/>
                  </a:lnTo>
                  <a:lnTo>
                    <a:pt x="406" y="615"/>
                  </a:lnTo>
                  <a:lnTo>
                    <a:pt x="410" y="615"/>
                  </a:lnTo>
                  <a:lnTo>
                    <a:pt x="410" y="613"/>
                  </a:lnTo>
                  <a:lnTo>
                    <a:pt x="412" y="613"/>
                  </a:lnTo>
                  <a:lnTo>
                    <a:pt x="414" y="611"/>
                  </a:lnTo>
                  <a:lnTo>
                    <a:pt x="419" y="609"/>
                  </a:lnTo>
                  <a:lnTo>
                    <a:pt x="421" y="609"/>
                  </a:lnTo>
                  <a:lnTo>
                    <a:pt x="421" y="609"/>
                  </a:lnTo>
                  <a:lnTo>
                    <a:pt x="421" y="609"/>
                  </a:lnTo>
                  <a:lnTo>
                    <a:pt x="427" y="609"/>
                  </a:lnTo>
                  <a:lnTo>
                    <a:pt x="429" y="609"/>
                  </a:lnTo>
                  <a:lnTo>
                    <a:pt x="429" y="609"/>
                  </a:lnTo>
                  <a:lnTo>
                    <a:pt x="429" y="607"/>
                  </a:lnTo>
                  <a:lnTo>
                    <a:pt x="431" y="607"/>
                  </a:lnTo>
                  <a:lnTo>
                    <a:pt x="433" y="605"/>
                  </a:lnTo>
                  <a:lnTo>
                    <a:pt x="433" y="605"/>
                  </a:lnTo>
                  <a:lnTo>
                    <a:pt x="435" y="605"/>
                  </a:lnTo>
                  <a:lnTo>
                    <a:pt x="437" y="605"/>
                  </a:lnTo>
                  <a:lnTo>
                    <a:pt x="433" y="607"/>
                  </a:lnTo>
                  <a:lnTo>
                    <a:pt x="431" y="607"/>
                  </a:lnTo>
                  <a:lnTo>
                    <a:pt x="431" y="609"/>
                  </a:lnTo>
                  <a:lnTo>
                    <a:pt x="429" y="609"/>
                  </a:lnTo>
                  <a:lnTo>
                    <a:pt x="429" y="611"/>
                  </a:lnTo>
                  <a:lnTo>
                    <a:pt x="429" y="611"/>
                  </a:lnTo>
                  <a:lnTo>
                    <a:pt x="427" y="611"/>
                  </a:lnTo>
                  <a:lnTo>
                    <a:pt x="427" y="611"/>
                  </a:lnTo>
                  <a:lnTo>
                    <a:pt x="429" y="613"/>
                  </a:lnTo>
                  <a:lnTo>
                    <a:pt x="433" y="615"/>
                  </a:lnTo>
                  <a:lnTo>
                    <a:pt x="435" y="618"/>
                  </a:lnTo>
                  <a:lnTo>
                    <a:pt x="439" y="618"/>
                  </a:lnTo>
                  <a:lnTo>
                    <a:pt x="441" y="618"/>
                  </a:lnTo>
                  <a:lnTo>
                    <a:pt x="441" y="618"/>
                  </a:lnTo>
                  <a:lnTo>
                    <a:pt x="439" y="618"/>
                  </a:lnTo>
                  <a:lnTo>
                    <a:pt x="433" y="618"/>
                  </a:lnTo>
                  <a:lnTo>
                    <a:pt x="429" y="618"/>
                  </a:lnTo>
                  <a:lnTo>
                    <a:pt x="427" y="618"/>
                  </a:lnTo>
                  <a:lnTo>
                    <a:pt x="427" y="618"/>
                  </a:lnTo>
                  <a:lnTo>
                    <a:pt x="425" y="618"/>
                  </a:lnTo>
                  <a:lnTo>
                    <a:pt x="423" y="615"/>
                  </a:lnTo>
                  <a:lnTo>
                    <a:pt x="423" y="615"/>
                  </a:lnTo>
                  <a:lnTo>
                    <a:pt x="421" y="615"/>
                  </a:lnTo>
                  <a:lnTo>
                    <a:pt x="417" y="618"/>
                  </a:lnTo>
                  <a:lnTo>
                    <a:pt x="414" y="620"/>
                  </a:lnTo>
                  <a:lnTo>
                    <a:pt x="408" y="622"/>
                  </a:lnTo>
                  <a:lnTo>
                    <a:pt x="408" y="622"/>
                  </a:lnTo>
                  <a:lnTo>
                    <a:pt x="408" y="624"/>
                  </a:lnTo>
                  <a:lnTo>
                    <a:pt x="408" y="626"/>
                  </a:lnTo>
                  <a:lnTo>
                    <a:pt x="408" y="628"/>
                  </a:lnTo>
                  <a:lnTo>
                    <a:pt x="408" y="632"/>
                  </a:lnTo>
                  <a:lnTo>
                    <a:pt x="406" y="632"/>
                  </a:lnTo>
                  <a:lnTo>
                    <a:pt x="404" y="636"/>
                  </a:lnTo>
                  <a:lnTo>
                    <a:pt x="402" y="638"/>
                  </a:lnTo>
                  <a:lnTo>
                    <a:pt x="402" y="638"/>
                  </a:lnTo>
                  <a:lnTo>
                    <a:pt x="402" y="642"/>
                  </a:lnTo>
                  <a:lnTo>
                    <a:pt x="402" y="642"/>
                  </a:lnTo>
                  <a:lnTo>
                    <a:pt x="402" y="644"/>
                  </a:lnTo>
                  <a:lnTo>
                    <a:pt x="406" y="644"/>
                  </a:lnTo>
                  <a:lnTo>
                    <a:pt x="406" y="644"/>
                  </a:lnTo>
                  <a:lnTo>
                    <a:pt x="408" y="644"/>
                  </a:lnTo>
                  <a:lnTo>
                    <a:pt x="412" y="642"/>
                  </a:lnTo>
                  <a:lnTo>
                    <a:pt x="412" y="642"/>
                  </a:lnTo>
                  <a:lnTo>
                    <a:pt x="412" y="642"/>
                  </a:lnTo>
                  <a:lnTo>
                    <a:pt x="410" y="644"/>
                  </a:lnTo>
                  <a:lnTo>
                    <a:pt x="410" y="646"/>
                  </a:lnTo>
                  <a:lnTo>
                    <a:pt x="408" y="646"/>
                  </a:lnTo>
                  <a:lnTo>
                    <a:pt x="406" y="649"/>
                  </a:lnTo>
                  <a:lnTo>
                    <a:pt x="404" y="649"/>
                  </a:lnTo>
                  <a:lnTo>
                    <a:pt x="402" y="651"/>
                  </a:lnTo>
                  <a:lnTo>
                    <a:pt x="400" y="651"/>
                  </a:lnTo>
                  <a:lnTo>
                    <a:pt x="400" y="651"/>
                  </a:lnTo>
                  <a:lnTo>
                    <a:pt x="400" y="653"/>
                  </a:lnTo>
                  <a:lnTo>
                    <a:pt x="400" y="653"/>
                  </a:lnTo>
                  <a:lnTo>
                    <a:pt x="400" y="653"/>
                  </a:lnTo>
                  <a:lnTo>
                    <a:pt x="402" y="655"/>
                  </a:lnTo>
                  <a:lnTo>
                    <a:pt x="404" y="655"/>
                  </a:lnTo>
                  <a:lnTo>
                    <a:pt x="406" y="653"/>
                  </a:lnTo>
                  <a:lnTo>
                    <a:pt x="408" y="653"/>
                  </a:lnTo>
                  <a:lnTo>
                    <a:pt x="410" y="653"/>
                  </a:lnTo>
                  <a:lnTo>
                    <a:pt x="410" y="653"/>
                  </a:lnTo>
                  <a:lnTo>
                    <a:pt x="410" y="653"/>
                  </a:lnTo>
                  <a:lnTo>
                    <a:pt x="410" y="653"/>
                  </a:lnTo>
                  <a:lnTo>
                    <a:pt x="410" y="653"/>
                  </a:lnTo>
                  <a:lnTo>
                    <a:pt x="410" y="653"/>
                  </a:lnTo>
                  <a:lnTo>
                    <a:pt x="412" y="653"/>
                  </a:lnTo>
                  <a:lnTo>
                    <a:pt x="414" y="653"/>
                  </a:lnTo>
                  <a:lnTo>
                    <a:pt x="414" y="653"/>
                  </a:lnTo>
                  <a:lnTo>
                    <a:pt x="414" y="653"/>
                  </a:lnTo>
                  <a:lnTo>
                    <a:pt x="417" y="651"/>
                  </a:lnTo>
                  <a:lnTo>
                    <a:pt x="419" y="649"/>
                  </a:lnTo>
                  <a:lnTo>
                    <a:pt x="419" y="649"/>
                  </a:lnTo>
                  <a:lnTo>
                    <a:pt x="419" y="646"/>
                  </a:lnTo>
                  <a:lnTo>
                    <a:pt x="419" y="646"/>
                  </a:lnTo>
                  <a:lnTo>
                    <a:pt x="419" y="646"/>
                  </a:lnTo>
                  <a:lnTo>
                    <a:pt x="421" y="646"/>
                  </a:lnTo>
                  <a:lnTo>
                    <a:pt x="421" y="646"/>
                  </a:lnTo>
                  <a:lnTo>
                    <a:pt x="423" y="646"/>
                  </a:lnTo>
                  <a:lnTo>
                    <a:pt x="423" y="646"/>
                  </a:lnTo>
                  <a:lnTo>
                    <a:pt x="425" y="646"/>
                  </a:lnTo>
                  <a:lnTo>
                    <a:pt x="425" y="646"/>
                  </a:lnTo>
                  <a:lnTo>
                    <a:pt x="429" y="644"/>
                  </a:lnTo>
                  <a:lnTo>
                    <a:pt x="429" y="642"/>
                  </a:lnTo>
                  <a:lnTo>
                    <a:pt x="427" y="642"/>
                  </a:lnTo>
                  <a:lnTo>
                    <a:pt x="427" y="642"/>
                  </a:lnTo>
                  <a:lnTo>
                    <a:pt x="429" y="642"/>
                  </a:lnTo>
                  <a:lnTo>
                    <a:pt x="431" y="642"/>
                  </a:lnTo>
                  <a:lnTo>
                    <a:pt x="431" y="642"/>
                  </a:lnTo>
                  <a:lnTo>
                    <a:pt x="431" y="640"/>
                  </a:lnTo>
                  <a:lnTo>
                    <a:pt x="431" y="640"/>
                  </a:lnTo>
                  <a:lnTo>
                    <a:pt x="431" y="638"/>
                  </a:lnTo>
                  <a:lnTo>
                    <a:pt x="433" y="640"/>
                  </a:lnTo>
                  <a:lnTo>
                    <a:pt x="433" y="642"/>
                  </a:lnTo>
                  <a:lnTo>
                    <a:pt x="433" y="642"/>
                  </a:lnTo>
                  <a:lnTo>
                    <a:pt x="433" y="642"/>
                  </a:lnTo>
                  <a:lnTo>
                    <a:pt x="435" y="640"/>
                  </a:lnTo>
                  <a:lnTo>
                    <a:pt x="435" y="638"/>
                  </a:lnTo>
                  <a:lnTo>
                    <a:pt x="435" y="636"/>
                  </a:lnTo>
                  <a:lnTo>
                    <a:pt x="435" y="634"/>
                  </a:lnTo>
                  <a:lnTo>
                    <a:pt x="437" y="634"/>
                  </a:lnTo>
                  <a:lnTo>
                    <a:pt x="437" y="636"/>
                  </a:lnTo>
                  <a:lnTo>
                    <a:pt x="437" y="636"/>
                  </a:lnTo>
                  <a:lnTo>
                    <a:pt x="441" y="636"/>
                  </a:lnTo>
                  <a:lnTo>
                    <a:pt x="441" y="636"/>
                  </a:lnTo>
                  <a:lnTo>
                    <a:pt x="441" y="638"/>
                  </a:lnTo>
                  <a:lnTo>
                    <a:pt x="443" y="638"/>
                  </a:lnTo>
                  <a:lnTo>
                    <a:pt x="445" y="638"/>
                  </a:lnTo>
                  <a:lnTo>
                    <a:pt x="447" y="638"/>
                  </a:lnTo>
                  <a:lnTo>
                    <a:pt x="447" y="638"/>
                  </a:lnTo>
                  <a:lnTo>
                    <a:pt x="450" y="638"/>
                  </a:lnTo>
                  <a:lnTo>
                    <a:pt x="450" y="638"/>
                  </a:lnTo>
                  <a:lnTo>
                    <a:pt x="450" y="638"/>
                  </a:lnTo>
                  <a:lnTo>
                    <a:pt x="450" y="638"/>
                  </a:lnTo>
                  <a:lnTo>
                    <a:pt x="452" y="634"/>
                  </a:lnTo>
                  <a:lnTo>
                    <a:pt x="452" y="634"/>
                  </a:lnTo>
                  <a:lnTo>
                    <a:pt x="454" y="634"/>
                  </a:lnTo>
                  <a:lnTo>
                    <a:pt x="454" y="634"/>
                  </a:lnTo>
                  <a:lnTo>
                    <a:pt x="454" y="634"/>
                  </a:lnTo>
                  <a:lnTo>
                    <a:pt x="454" y="632"/>
                  </a:lnTo>
                  <a:lnTo>
                    <a:pt x="454" y="630"/>
                  </a:lnTo>
                  <a:lnTo>
                    <a:pt x="454" y="630"/>
                  </a:lnTo>
                  <a:lnTo>
                    <a:pt x="454" y="628"/>
                  </a:lnTo>
                  <a:lnTo>
                    <a:pt x="454" y="628"/>
                  </a:lnTo>
                  <a:lnTo>
                    <a:pt x="456" y="628"/>
                  </a:lnTo>
                  <a:lnTo>
                    <a:pt x="456" y="628"/>
                  </a:lnTo>
                  <a:lnTo>
                    <a:pt x="458" y="626"/>
                  </a:lnTo>
                  <a:lnTo>
                    <a:pt x="456" y="626"/>
                  </a:lnTo>
                  <a:lnTo>
                    <a:pt x="456" y="626"/>
                  </a:lnTo>
                  <a:lnTo>
                    <a:pt x="454" y="626"/>
                  </a:lnTo>
                  <a:lnTo>
                    <a:pt x="454" y="626"/>
                  </a:lnTo>
                  <a:lnTo>
                    <a:pt x="452" y="626"/>
                  </a:lnTo>
                  <a:lnTo>
                    <a:pt x="450" y="626"/>
                  </a:lnTo>
                  <a:lnTo>
                    <a:pt x="447" y="626"/>
                  </a:lnTo>
                  <a:lnTo>
                    <a:pt x="447" y="626"/>
                  </a:lnTo>
                  <a:lnTo>
                    <a:pt x="447" y="626"/>
                  </a:lnTo>
                  <a:lnTo>
                    <a:pt x="447" y="626"/>
                  </a:lnTo>
                  <a:lnTo>
                    <a:pt x="450" y="626"/>
                  </a:lnTo>
                  <a:lnTo>
                    <a:pt x="450" y="626"/>
                  </a:lnTo>
                  <a:lnTo>
                    <a:pt x="452" y="626"/>
                  </a:lnTo>
                  <a:lnTo>
                    <a:pt x="452" y="624"/>
                  </a:lnTo>
                  <a:lnTo>
                    <a:pt x="452" y="624"/>
                  </a:lnTo>
                  <a:lnTo>
                    <a:pt x="452" y="624"/>
                  </a:lnTo>
                  <a:lnTo>
                    <a:pt x="452" y="622"/>
                  </a:lnTo>
                  <a:lnTo>
                    <a:pt x="452" y="622"/>
                  </a:lnTo>
                  <a:lnTo>
                    <a:pt x="450" y="622"/>
                  </a:lnTo>
                  <a:lnTo>
                    <a:pt x="447" y="620"/>
                  </a:lnTo>
                  <a:lnTo>
                    <a:pt x="447" y="620"/>
                  </a:lnTo>
                  <a:lnTo>
                    <a:pt x="450" y="620"/>
                  </a:lnTo>
                  <a:lnTo>
                    <a:pt x="452" y="620"/>
                  </a:lnTo>
                  <a:lnTo>
                    <a:pt x="452" y="620"/>
                  </a:lnTo>
                  <a:lnTo>
                    <a:pt x="452" y="618"/>
                  </a:lnTo>
                  <a:lnTo>
                    <a:pt x="454" y="615"/>
                  </a:lnTo>
                  <a:lnTo>
                    <a:pt x="454" y="615"/>
                  </a:lnTo>
                  <a:lnTo>
                    <a:pt x="452" y="615"/>
                  </a:lnTo>
                  <a:lnTo>
                    <a:pt x="452" y="615"/>
                  </a:lnTo>
                  <a:lnTo>
                    <a:pt x="450" y="615"/>
                  </a:lnTo>
                  <a:lnTo>
                    <a:pt x="452" y="615"/>
                  </a:lnTo>
                  <a:lnTo>
                    <a:pt x="452" y="615"/>
                  </a:lnTo>
                  <a:lnTo>
                    <a:pt x="452" y="613"/>
                  </a:lnTo>
                  <a:lnTo>
                    <a:pt x="454" y="613"/>
                  </a:lnTo>
                  <a:lnTo>
                    <a:pt x="454" y="613"/>
                  </a:lnTo>
                  <a:lnTo>
                    <a:pt x="456" y="613"/>
                  </a:lnTo>
                  <a:lnTo>
                    <a:pt x="456" y="613"/>
                  </a:lnTo>
                  <a:lnTo>
                    <a:pt x="458" y="611"/>
                  </a:lnTo>
                  <a:lnTo>
                    <a:pt x="460" y="611"/>
                  </a:lnTo>
                  <a:lnTo>
                    <a:pt x="460" y="611"/>
                  </a:lnTo>
                  <a:lnTo>
                    <a:pt x="456" y="615"/>
                  </a:lnTo>
                  <a:lnTo>
                    <a:pt x="456" y="615"/>
                  </a:lnTo>
                  <a:lnTo>
                    <a:pt x="456" y="618"/>
                  </a:lnTo>
                  <a:lnTo>
                    <a:pt x="458" y="618"/>
                  </a:lnTo>
                  <a:lnTo>
                    <a:pt x="460" y="618"/>
                  </a:lnTo>
                  <a:lnTo>
                    <a:pt x="462" y="618"/>
                  </a:lnTo>
                  <a:lnTo>
                    <a:pt x="462" y="618"/>
                  </a:lnTo>
                  <a:lnTo>
                    <a:pt x="462" y="615"/>
                  </a:lnTo>
                  <a:lnTo>
                    <a:pt x="462" y="615"/>
                  </a:lnTo>
                  <a:lnTo>
                    <a:pt x="464" y="615"/>
                  </a:lnTo>
                  <a:lnTo>
                    <a:pt x="464" y="618"/>
                  </a:lnTo>
                  <a:lnTo>
                    <a:pt x="464" y="618"/>
                  </a:lnTo>
                  <a:lnTo>
                    <a:pt x="466" y="618"/>
                  </a:lnTo>
                  <a:lnTo>
                    <a:pt x="466" y="618"/>
                  </a:lnTo>
                  <a:lnTo>
                    <a:pt x="466" y="618"/>
                  </a:lnTo>
                  <a:lnTo>
                    <a:pt x="466" y="615"/>
                  </a:lnTo>
                  <a:lnTo>
                    <a:pt x="468" y="615"/>
                  </a:lnTo>
                  <a:lnTo>
                    <a:pt x="468" y="615"/>
                  </a:lnTo>
                  <a:lnTo>
                    <a:pt x="470" y="615"/>
                  </a:lnTo>
                  <a:lnTo>
                    <a:pt x="470" y="615"/>
                  </a:lnTo>
                  <a:lnTo>
                    <a:pt x="472" y="615"/>
                  </a:lnTo>
                  <a:lnTo>
                    <a:pt x="474" y="613"/>
                  </a:lnTo>
                  <a:lnTo>
                    <a:pt x="476" y="613"/>
                  </a:lnTo>
                  <a:lnTo>
                    <a:pt x="478" y="613"/>
                  </a:lnTo>
                  <a:lnTo>
                    <a:pt x="480" y="613"/>
                  </a:lnTo>
                  <a:lnTo>
                    <a:pt x="476" y="615"/>
                  </a:lnTo>
                  <a:lnTo>
                    <a:pt x="476" y="615"/>
                  </a:lnTo>
                  <a:lnTo>
                    <a:pt x="476" y="618"/>
                  </a:lnTo>
                  <a:lnTo>
                    <a:pt x="476" y="618"/>
                  </a:lnTo>
                  <a:lnTo>
                    <a:pt x="476" y="620"/>
                  </a:lnTo>
                  <a:lnTo>
                    <a:pt x="478" y="620"/>
                  </a:lnTo>
                  <a:lnTo>
                    <a:pt x="478" y="622"/>
                  </a:lnTo>
                  <a:lnTo>
                    <a:pt x="476" y="622"/>
                  </a:lnTo>
                  <a:lnTo>
                    <a:pt x="476" y="622"/>
                  </a:lnTo>
                  <a:lnTo>
                    <a:pt x="478" y="622"/>
                  </a:lnTo>
                  <a:lnTo>
                    <a:pt x="480" y="622"/>
                  </a:lnTo>
                  <a:lnTo>
                    <a:pt x="480" y="622"/>
                  </a:lnTo>
                  <a:lnTo>
                    <a:pt x="483" y="622"/>
                  </a:lnTo>
                  <a:lnTo>
                    <a:pt x="483" y="622"/>
                  </a:lnTo>
                  <a:lnTo>
                    <a:pt x="483" y="622"/>
                  </a:lnTo>
                  <a:lnTo>
                    <a:pt x="483" y="624"/>
                  </a:lnTo>
                  <a:lnTo>
                    <a:pt x="489" y="624"/>
                  </a:lnTo>
                  <a:lnTo>
                    <a:pt x="489" y="624"/>
                  </a:lnTo>
                  <a:lnTo>
                    <a:pt x="489" y="626"/>
                  </a:lnTo>
                  <a:lnTo>
                    <a:pt x="487" y="626"/>
                  </a:lnTo>
                  <a:lnTo>
                    <a:pt x="487" y="628"/>
                  </a:lnTo>
                  <a:lnTo>
                    <a:pt x="487" y="628"/>
                  </a:lnTo>
                  <a:lnTo>
                    <a:pt x="489" y="628"/>
                  </a:lnTo>
                  <a:lnTo>
                    <a:pt x="491" y="628"/>
                  </a:lnTo>
                  <a:lnTo>
                    <a:pt x="493" y="628"/>
                  </a:lnTo>
                  <a:lnTo>
                    <a:pt x="495" y="630"/>
                  </a:lnTo>
                  <a:lnTo>
                    <a:pt x="497" y="628"/>
                  </a:lnTo>
                  <a:lnTo>
                    <a:pt x="497" y="628"/>
                  </a:lnTo>
                  <a:lnTo>
                    <a:pt x="499" y="626"/>
                  </a:lnTo>
                  <a:lnTo>
                    <a:pt x="501" y="624"/>
                  </a:lnTo>
                  <a:lnTo>
                    <a:pt x="503" y="624"/>
                  </a:lnTo>
                  <a:lnTo>
                    <a:pt x="503" y="624"/>
                  </a:lnTo>
                  <a:lnTo>
                    <a:pt x="501" y="624"/>
                  </a:lnTo>
                  <a:lnTo>
                    <a:pt x="501" y="626"/>
                  </a:lnTo>
                  <a:lnTo>
                    <a:pt x="501" y="628"/>
                  </a:lnTo>
                  <a:lnTo>
                    <a:pt x="501" y="630"/>
                  </a:lnTo>
                  <a:lnTo>
                    <a:pt x="501" y="630"/>
                  </a:lnTo>
                  <a:lnTo>
                    <a:pt x="503" y="632"/>
                  </a:lnTo>
                  <a:lnTo>
                    <a:pt x="503" y="632"/>
                  </a:lnTo>
                  <a:lnTo>
                    <a:pt x="503" y="632"/>
                  </a:lnTo>
                  <a:lnTo>
                    <a:pt x="505" y="632"/>
                  </a:lnTo>
                  <a:lnTo>
                    <a:pt x="509" y="632"/>
                  </a:lnTo>
                  <a:lnTo>
                    <a:pt x="511" y="634"/>
                  </a:lnTo>
                  <a:lnTo>
                    <a:pt x="511" y="636"/>
                  </a:lnTo>
                  <a:lnTo>
                    <a:pt x="511" y="636"/>
                  </a:lnTo>
                  <a:lnTo>
                    <a:pt x="511" y="636"/>
                  </a:lnTo>
                  <a:lnTo>
                    <a:pt x="511" y="636"/>
                  </a:lnTo>
                  <a:lnTo>
                    <a:pt x="513" y="636"/>
                  </a:lnTo>
                  <a:lnTo>
                    <a:pt x="515" y="636"/>
                  </a:lnTo>
                  <a:lnTo>
                    <a:pt x="520" y="636"/>
                  </a:lnTo>
                  <a:lnTo>
                    <a:pt x="528" y="634"/>
                  </a:lnTo>
                  <a:lnTo>
                    <a:pt x="534" y="636"/>
                  </a:lnTo>
                  <a:lnTo>
                    <a:pt x="540" y="636"/>
                  </a:lnTo>
                  <a:lnTo>
                    <a:pt x="546" y="638"/>
                  </a:lnTo>
                  <a:lnTo>
                    <a:pt x="548" y="638"/>
                  </a:lnTo>
                  <a:lnTo>
                    <a:pt x="551" y="636"/>
                  </a:lnTo>
                  <a:lnTo>
                    <a:pt x="551" y="636"/>
                  </a:lnTo>
                  <a:lnTo>
                    <a:pt x="551" y="636"/>
                  </a:lnTo>
                  <a:lnTo>
                    <a:pt x="551" y="634"/>
                  </a:lnTo>
                  <a:lnTo>
                    <a:pt x="551" y="634"/>
                  </a:lnTo>
                  <a:lnTo>
                    <a:pt x="551" y="634"/>
                  </a:lnTo>
                  <a:lnTo>
                    <a:pt x="551" y="636"/>
                  </a:lnTo>
                  <a:lnTo>
                    <a:pt x="553" y="636"/>
                  </a:lnTo>
                  <a:lnTo>
                    <a:pt x="553" y="638"/>
                  </a:lnTo>
                  <a:lnTo>
                    <a:pt x="551" y="638"/>
                  </a:lnTo>
                  <a:lnTo>
                    <a:pt x="551" y="640"/>
                  </a:lnTo>
                  <a:lnTo>
                    <a:pt x="559" y="642"/>
                  </a:lnTo>
                  <a:lnTo>
                    <a:pt x="561" y="642"/>
                  </a:lnTo>
                  <a:lnTo>
                    <a:pt x="565" y="642"/>
                  </a:lnTo>
                  <a:lnTo>
                    <a:pt x="567" y="642"/>
                  </a:lnTo>
                  <a:lnTo>
                    <a:pt x="571" y="640"/>
                  </a:lnTo>
                  <a:lnTo>
                    <a:pt x="573" y="640"/>
                  </a:lnTo>
                  <a:lnTo>
                    <a:pt x="575" y="638"/>
                  </a:lnTo>
                  <a:lnTo>
                    <a:pt x="577" y="636"/>
                  </a:lnTo>
                  <a:lnTo>
                    <a:pt x="577" y="636"/>
                  </a:lnTo>
                  <a:lnTo>
                    <a:pt x="579" y="636"/>
                  </a:lnTo>
                  <a:lnTo>
                    <a:pt x="581" y="640"/>
                  </a:lnTo>
                  <a:lnTo>
                    <a:pt x="586" y="640"/>
                  </a:lnTo>
                  <a:lnTo>
                    <a:pt x="584" y="640"/>
                  </a:lnTo>
                  <a:lnTo>
                    <a:pt x="581" y="640"/>
                  </a:lnTo>
                  <a:lnTo>
                    <a:pt x="581" y="640"/>
                  </a:lnTo>
                  <a:lnTo>
                    <a:pt x="581" y="642"/>
                  </a:lnTo>
                  <a:lnTo>
                    <a:pt x="581" y="642"/>
                  </a:lnTo>
                  <a:lnTo>
                    <a:pt x="581" y="644"/>
                  </a:lnTo>
                  <a:lnTo>
                    <a:pt x="581" y="644"/>
                  </a:lnTo>
                  <a:lnTo>
                    <a:pt x="579" y="644"/>
                  </a:lnTo>
                  <a:lnTo>
                    <a:pt x="579" y="642"/>
                  </a:lnTo>
                  <a:lnTo>
                    <a:pt x="579" y="640"/>
                  </a:lnTo>
                  <a:lnTo>
                    <a:pt x="579" y="640"/>
                  </a:lnTo>
                  <a:lnTo>
                    <a:pt x="577" y="638"/>
                  </a:lnTo>
                  <a:lnTo>
                    <a:pt x="577" y="638"/>
                  </a:lnTo>
                  <a:lnTo>
                    <a:pt x="577" y="638"/>
                  </a:lnTo>
                  <a:lnTo>
                    <a:pt x="577" y="638"/>
                  </a:lnTo>
                  <a:lnTo>
                    <a:pt x="577" y="638"/>
                  </a:lnTo>
                  <a:lnTo>
                    <a:pt x="575" y="640"/>
                  </a:lnTo>
                  <a:lnTo>
                    <a:pt x="575" y="640"/>
                  </a:lnTo>
                  <a:lnTo>
                    <a:pt x="577" y="642"/>
                  </a:lnTo>
                  <a:lnTo>
                    <a:pt x="577" y="642"/>
                  </a:lnTo>
                  <a:lnTo>
                    <a:pt x="577" y="644"/>
                  </a:lnTo>
                  <a:lnTo>
                    <a:pt x="575" y="644"/>
                  </a:lnTo>
                  <a:lnTo>
                    <a:pt x="575" y="646"/>
                  </a:lnTo>
                  <a:lnTo>
                    <a:pt x="573" y="646"/>
                  </a:lnTo>
                  <a:lnTo>
                    <a:pt x="573" y="646"/>
                  </a:lnTo>
                  <a:lnTo>
                    <a:pt x="573" y="646"/>
                  </a:lnTo>
                  <a:lnTo>
                    <a:pt x="575" y="649"/>
                  </a:lnTo>
                  <a:lnTo>
                    <a:pt x="575" y="649"/>
                  </a:lnTo>
                  <a:lnTo>
                    <a:pt x="579" y="651"/>
                  </a:lnTo>
                  <a:lnTo>
                    <a:pt x="586" y="653"/>
                  </a:lnTo>
                  <a:lnTo>
                    <a:pt x="590" y="655"/>
                  </a:lnTo>
                  <a:lnTo>
                    <a:pt x="592" y="655"/>
                  </a:lnTo>
                  <a:lnTo>
                    <a:pt x="592" y="655"/>
                  </a:lnTo>
                  <a:lnTo>
                    <a:pt x="592" y="655"/>
                  </a:lnTo>
                  <a:lnTo>
                    <a:pt x="592" y="655"/>
                  </a:lnTo>
                  <a:lnTo>
                    <a:pt x="592" y="655"/>
                  </a:lnTo>
                  <a:lnTo>
                    <a:pt x="594" y="657"/>
                  </a:lnTo>
                  <a:lnTo>
                    <a:pt x="596" y="657"/>
                  </a:lnTo>
                  <a:lnTo>
                    <a:pt x="598" y="659"/>
                  </a:lnTo>
                  <a:lnTo>
                    <a:pt x="600" y="661"/>
                  </a:lnTo>
                  <a:lnTo>
                    <a:pt x="600" y="661"/>
                  </a:lnTo>
                  <a:lnTo>
                    <a:pt x="600" y="663"/>
                  </a:lnTo>
                  <a:lnTo>
                    <a:pt x="602" y="665"/>
                  </a:lnTo>
                  <a:lnTo>
                    <a:pt x="604" y="665"/>
                  </a:lnTo>
                  <a:lnTo>
                    <a:pt x="604" y="665"/>
                  </a:lnTo>
                  <a:lnTo>
                    <a:pt x="604" y="665"/>
                  </a:lnTo>
                  <a:lnTo>
                    <a:pt x="604" y="667"/>
                  </a:lnTo>
                  <a:lnTo>
                    <a:pt x="606" y="667"/>
                  </a:lnTo>
                  <a:lnTo>
                    <a:pt x="612" y="671"/>
                  </a:lnTo>
                  <a:lnTo>
                    <a:pt x="614" y="671"/>
                  </a:lnTo>
                  <a:lnTo>
                    <a:pt x="617" y="673"/>
                  </a:lnTo>
                  <a:lnTo>
                    <a:pt x="619" y="673"/>
                  </a:lnTo>
                  <a:lnTo>
                    <a:pt x="619" y="673"/>
                  </a:lnTo>
                  <a:lnTo>
                    <a:pt x="621" y="671"/>
                  </a:lnTo>
                  <a:lnTo>
                    <a:pt x="625" y="671"/>
                  </a:lnTo>
                  <a:lnTo>
                    <a:pt x="627" y="671"/>
                  </a:lnTo>
                  <a:lnTo>
                    <a:pt x="627" y="671"/>
                  </a:lnTo>
                  <a:lnTo>
                    <a:pt x="627" y="669"/>
                  </a:lnTo>
                  <a:lnTo>
                    <a:pt x="627" y="669"/>
                  </a:lnTo>
                  <a:lnTo>
                    <a:pt x="625" y="667"/>
                  </a:lnTo>
                  <a:lnTo>
                    <a:pt x="623" y="665"/>
                  </a:lnTo>
                  <a:lnTo>
                    <a:pt x="621" y="665"/>
                  </a:lnTo>
                  <a:lnTo>
                    <a:pt x="621" y="665"/>
                  </a:lnTo>
                  <a:lnTo>
                    <a:pt x="621" y="665"/>
                  </a:lnTo>
                  <a:lnTo>
                    <a:pt x="621" y="663"/>
                  </a:lnTo>
                  <a:lnTo>
                    <a:pt x="619" y="663"/>
                  </a:lnTo>
                  <a:lnTo>
                    <a:pt x="619" y="663"/>
                  </a:lnTo>
                  <a:lnTo>
                    <a:pt x="619" y="663"/>
                  </a:lnTo>
                  <a:lnTo>
                    <a:pt x="617" y="661"/>
                  </a:lnTo>
                  <a:lnTo>
                    <a:pt x="614" y="661"/>
                  </a:lnTo>
                  <a:lnTo>
                    <a:pt x="614" y="661"/>
                  </a:lnTo>
                  <a:lnTo>
                    <a:pt x="612" y="661"/>
                  </a:lnTo>
                  <a:lnTo>
                    <a:pt x="612" y="661"/>
                  </a:lnTo>
                  <a:lnTo>
                    <a:pt x="612" y="659"/>
                  </a:lnTo>
                  <a:lnTo>
                    <a:pt x="614" y="659"/>
                  </a:lnTo>
                  <a:lnTo>
                    <a:pt x="614" y="659"/>
                  </a:lnTo>
                  <a:lnTo>
                    <a:pt x="612" y="657"/>
                  </a:lnTo>
                  <a:lnTo>
                    <a:pt x="612" y="657"/>
                  </a:lnTo>
                  <a:lnTo>
                    <a:pt x="614" y="659"/>
                  </a:lnTo>
                  <a:lnTo>
                    <a:pt x="619" y="659"/>
                  </a:lnTo>
                  <a:lnTo>
                    <a:pt x="621" y="661"/>
                  </a:lnTo>
                  <a:lnTo>
                    <a:pt x="621" y="661"/>
                  </a:lnTo>
                  <a:lnTo>
                    <a:pt x="621" y="661"/>
                  </a:lnTo>
                  <a:lnTo>
                    <a:pt x="623" y="661"/>
                  </a:lnTo>
                  <a:lnTo>
                    <a:pt x="623" y="663"/>
                  </a:lnTo>
                  <a:lnTo>
                    <a:pt x="625" y="663"/>
                  </a:lnTo>
                  <a:lnTo>
                    <a:pt x="625" y="663"/>
                  </a:lnTo>
                  <a:lnTo>
                    <a:pt x="625" y="663"/>
                  </a:lnTo>
                  <a:lnTo>
                    <a:pt x="625" y="661"/>
                  </a:lnTo>
                  <a:lnTo>
                    <a:pt x="625" y="661"/>
                  </a:lnTo>
                  <a:lnTo>
                    <a:pt x="625" y="661"/>
                  </a:lnTo>
                  <a:lnTo>
                    <a:pt x="625" y="659"/>
                  </a:lnTo>
                  <a:lnTo>
                    <a:pt x="625" y="657"/>
                  </a:lnTo>
                  <a:lnTo>
                    <a:pt x="625" y="657"/>
                  </a:lnTo>
                  <a:lnTo>
                    <a:pt x="627" y="659"/>
                  </a:lnTo>
                  <a:lnTo>
                    <a:pt x="627" y="661"/>
                  </a:lnTo>
                  <a:lnTo>
                    <a:pt x="627" y="661"/>
                  </a:lnTo>
                  <a:lnTo>
                    <a:pt x="629" y="661"/>
                  </a:lnTo>
                  <a:lnTo>
                    <a:pt x="629" y="661"/>
                  </a:lnTo>
                  <a:lnTo>
                    <a:pt x="627" y="661"/>
                  </a:lnTo>
                  <a:lnTo>
                    <a:pt x="627" y="663"/>
                  </a:lnTo>
                  <a:lnTo>
                    <a:pt x="629" y="665"/>
                  </a:lnTo>
                  <a:lnTo>
                    <a:pt x="629" y="667"/>
                  </a:lnTo>
                  <a:lnTo>
                    <a:pt x="629" y="669"/>
                  </a:lnTo>
                  <a:lnTo>
                    <a:pt x="629" y="671"/>
                  </a:lnTo>
                  <a:lnTo>
                    <a:pt x="629" y="671"/>
                  </a:lnTo>
                  <a:lnTo>
                    <a:pt x="633" y="671"/>
                  </a:lnTo>
                  <a:lnTo>
                    <a:pt x="635" y="671"/>
                  </a:lnTo>
                  <a:lnTo>
                    <a:pt x="637" y="673"/>
                  </a:lnTo>
                  <a:lnTo>
                    <a:pt x="637" y="673"/>
                  </a:lnTo>
                  <a:lnTo>
                    <a:pt x="639" y="673"/>
                  </a:lnTo>
                  <a:lnTo>
                    <a:pt x="641" y="673"/>
                  </a:lnTo>
                  <a:lnTo>
                    <a:pt x="641" y="673"/>
                  </a:lnTo>
                  <a:lnTo>
                    <a:pt x="641" y="673"/>
                  </a:lnTo>
                  <a:lnTo>
                    <a:pt x="641" y="671"/>
                  </a:lnTo>
                  <a:lnTo>
                    <a:pt x="639" y="669"/>
                  </a:lnTo>
                  <a:lnTo>
                    <a:pt x="639" y="667"/>
                  </a:lnTo>
                  <a:lnTo>
                    <a:pt x="639" y="665"/>
                  </a:lnTo>
                  <a:lnTo>
                    <a:pt x="637" y="663"/>
                  </a:lnTo>
                  <a:lnTo>
                    <a:pt x="637" y="661"/>
                  </a:lnTo>
                  <a:lnTo>
                    <a:pt x="635" y="657"/>
                  </a:lnTo>
                  <a:lnTo>
                    <a:pt x="635" y="655"/>
                  </a:lnTo>
                  <a:lnTo>
                    <a:pt x="635" y="653"/>
                  </a:lnTo>
                  <a:lnTo>
                    <a:pt x="635" y="655"/>
                  </a:lnTo>
                  <a:lnTo>
                    <a:pt x="635" y="653"/>
                  </a:lnTo>
                  <a:lnTo>
                    <a:pt x="635" y="651"/>
                  </a:lnTo>
                  <a:lnTo>
                    <a:pt x="635" y="651"/>
                  </a:lnTo>
                  <a:lnTo>
                    <a:pt x="635" y="651"/>
                  </a:lnTo>
                  <a:lnTo>
                    <a:pt x="637" y="649"/>
                  </a:lnTo>
                  <a:lnTo>
                    <a:pt x="637" y="649"/>
                  </a:lnTo>
                  <a:lnTo>
                    <a:pt x="637" y="651"/>
                  </a:lnTo>
                  <a:lnTo>
                    <a:pt x="637" y="653"/>
                  </a:lnTo>
                  <a:lnTo>
                    <a:pt x="639" y="657"/>
                  </a:lnTo>
                  <a:lnTo>
                    <a:pt x="639" y="661"/>
                  </a:lnTo>
                  <a:lnTo>
                    <a:pt x="641" y="663"/>
                  </a:lnTo>
                  <a:lnTo>
                    <a:pt x="641" y="663"/>
                  </a:lnTo>
                  <a:lnTo>
                    <a:pt x="641" y="663"/>
                  </a:lnTo>
                  <a:lnTo>
                    <a:pt x="643" y="665"/>
                  </a:lnTo>
                  <a:lnTo>
                    <a:pt x="645" y="669"/>
                  </a:lnTo>
                  <a:lnTo>
                    <a:pt x="645" y="671"/>
                  </a:lnTo>
                  <a:lnTo>
                    <a:pt x="650" y="671"/>
                  </a:lnTo>
                  <a:lnTo>
                    <a:pt x="652" y="673"/>
                  </a:lnTo>
                  <a:lnTo>
                    <a:pt x="652" y="673"/>
                  </a:lnTo>
                  <a:lnTo>
                    <a:pt x="654" y="673"/>
                  </a:lnTo>
                  <a:lnTo>
                    <a:pt x="654" y="673"/>
                  </a:lnTo>
                  <a:lnTo>
                    <a:pt x="656" y="669"/>
                  </a:lnTo>
                  <a:lnTo>
                    <a:pt x="656" y="669"/>
                  </a:lnTo>
                  <a:lnTo>
                    <a:pt x="658" y="667"/>
                  </a:lnTo>
                  <a:lnTo>
                    <a:pt x="658" y="667"/>
                  </a:lnTo>
                  <a:lnTo>
                    <a:pt x="658" y="669"/>
                  </a:lnTo>
                  <a:lnTo>
                    <a:pt x="658" y="669"/>
                  </a:lnTo>
                  <a:lnTo>
                    <a:pt x="656" y="673"/>
                  </a:lnTo>
                  <a:lnTo>
                    <a:pt x="656" y="675"/>
                  </a:lnTo>
                  <a:lnTo>
                    <a:pt x="656" y="675"/>
                  </a:lnTo>
                  <a:lnTo>
                    <a:pt x="656" y="677"/>
                  </a:lnTo>
                  <a:lnTo>
                    <a:pt x="658" y="679"/>
                  </a:lnTo>
                  <a:lnTo>
                    <a:pt x="658" y="679"/>
                  </a:lnTo>
                  <a:lnTo>
                    <a:pt x="660" y="682"/>
                  </a:lnTo>
                  <a:lnTo>
                    <a:pt x="660" y="682"/>
                  </a:lnTo>
                  <a:lnTo>
                    <a:pt x="660" y="682"/>
                  </a:lnTo>
                  <a:lnTo>
                    <a:pt x="662" y="682"/>
                  </a:lnTo>
                  <a:lnTo>
                    <a:pt x="662" y="679"/>
                  </a:lnTo>
                  <a:lnTo>
                    <a:pt x="664" y="679"/>
                  </a:lnTo>
                  <a:lnTo>
                    <a:pt x="668" y="682"/>
                  </a:lnTo>
                  <a:lnTo>
                    <a:pt x="668" y="682"/>
                  </a:lnTo>
                  <a:lnTo>
                    <a:pt x="662" y="682"/>
                  </a:lnTo>
                  <a:lnTo>
                    <a:pt x="662" y="682"/>
                  </a:lnTo>
                  <a:lnTo>
                    <a:pt x="662" y="682"/>
                  </a:lnTo>
                  <a:lnTo>
                    <a:pt x="662" y="684"/>
                  </a:lnTo>
                  <a:lnTo>
                    <a:pt x="664" y="684"/>
                  </a:lnTo>
                  <a:lnTo>
                    <a:pt x="668" y="688"/>
                  </a:lnTo>
                  <a:lnTo>
                    <a:pt x="668" y="688"/>
                  </a:lnTo>
                  <a:lnTo>
                    <a:pt x="666" y="686"/>
                  </a:lnTo>
                  <a:lnTo>
                    <a:pt x="662" y="686"/>
                  </a:lnTo>
                  <a:lnTo>
                    <a:pt x="662" y="686"/>
                  </a:lnTo>
                  <a:lnTo>
                    <a:pt x="662" y="686"/>
                  </a:lnTo>
                  <a:lnTo>
                    <a:pt x="660" y="686"/>
                  </a:lnTo>
                  <a:lnTo>
                    <a:pt x="662" y="688"/>
                  </a:lnTo>
                  <a:lnTo>
                    <a:pt x="664" y="692"/>
                  </a:lnTo>
                  <a:lnTo>
                    <a:pt x="664" y="696"/>
                  </a:lnTo>
                  <a:lnTo>
                    <a:pt x="672" y="698"/>
                  </a:lnTo>
                  <a:lnTo>
                    <a:pt x="672" y="698"/>
                  </a:lnTo>
                  <a:lnTo>
                    <a:pt x="672" y="698"/>
                  </a:lnTo>
                  <a:lnTo>
                    <a:pt x="672" y="700"/>
                  </a:lnTo>
                  <a:lnTo>
                    <a:pt x="672" y="700"/>
                  </a:lnTo>
                  <a:lnTo>
                    <a:pt x="672" y="700"/>
                  </a:lnTo>
                  <a:lnTo>
                    <a:pt x="674" y="702"/>
                  </a:lnTo>
                  <a:lnTo>
                    <a:pt x="674" y="702"/>
                  </a:lnTo>
                  <a:lnTo>
                    <a:pt x="678" y="704"/>
                  </a:lnTo>
                  <a:lnTo>
                    <a:pt x="678" y="706"/>
                  </a:lnTo>
                  <a:lnTo>
                    <a:pt x="678" y="706"/>
                  </a:lnTo>
                  <a:lnTo>
                    <a:pt x="678" y="706"/>
                  </a:lnTo>
                  <a:lnTo>
                    <a:pt x="680" y="706"/>
                  </a:lnTo>
                  <a:lnTo>
                    <a:pt x="680" y="708"/>
                  </a:lnTo>
                  <a:lnTo>
                    <a:pt x="680" y="708"/>
                  </a:lnTo>
                  <a:lnTo>
                    <a:pt x="680" y="708"/>
                  </a:lnTo>
                  <a:lnTo>
                    <a:pt x="683" y="710"/>
                  </a:lnTo>
                  <a:lnTo>
                    <a:pt x="683" y="710"/>
                  </a:lnTo>
                  <a:lnTo>
                    <a:pt x="685" y="713"/>
                  </a:lnTo>
                  <a:lnTo>
                    <a:pt x="685" y="713"/>
                  </a:lnTo>
                  <a:lnTo>
                    <a:pt x="685" y="715"/>
                  </a:lnTo>
                  <a:lnTo>
                    <a:pt x="687" y="715"/>
                  </a:lnTo>
                  <a:lnTo>
                    <a:pt x="687" y="715"/>
                  </a:lnTo>
                  <a:lnTo>
                    <a:pt x="691" y="715"/>
                  </a:lnTo>
                  <a:lnTo>
                    <a:pt x="689" y="717"/>
                  </a:lnTo>
                  <a:lnTo>
                    <a:pt x="687" y="717"/>
                  </a:lnTo>
                  <a:lnTo>
                    <a:pt x="685" y="721"/>
                  </a:lnTo>
                  <a:lnTo>
                    <a:pt x="683" y="723"/>
                  </a:lnTo>
                  <a:lnTo>
                    <a:pt x="683" y="723"/>
                  </a:lnTo>
                  <a:lnTo>
                    <a:pt x="680" y="725"/>
                  </a:lnTo>
                  <a:lnTo>
                    <a:pt x="680" y="725"/>
                  </a:lnTo>
                  <a:lnTo>
                    <a:pt x="683" y="727"/>
                  </a:lnTo>
                  <a:lnTo>
                    <a:pt x="683" y="727"/>
                  </a:lnTo>
                  <a:lnTo>
                    <a:pt x="685" y="729"/>
                  </a:lnTo>
                  <a:lnTo>
                    <a:pt x="685" y="727"/>
                  </a:lnTo>
                  <a:lnTo>
                    <a:pt x="687" y="727"/>
                  </a:lnTo>
                  <a:lnTo>
                    <a:pt x="687" y="725"/>
                  </a:lnTo>
                  <a:lnTo>
                    <a:pt x="687" y="723"/>
                  </a:lnTo>
                  <a:lnTo>
                    <a:pt x="687" y="723"/>
                  </a:lnTo>
                  <a:lnTo>
                    <a:pt x="687" y="723"/>
                  </a:lnTo>
                  <a:lnTo>
                    <a:pt x="687" y="723"/>
                  </a:lnTo>
                  <a:lnTo>
                    <a:pt x="687" y="721"/>
                  </a:lnTo>
                  <a:lnTo>
                    <a:pt x="689" y="721"/>
                  </a:lnTo>
                  <a:lnTo>
                    <a:pt x="695" y="719"/>
                  </a:lnTo>
                  <a:lnTo>
                    <a:pt x="699" y="717"/>
                  </a:lnTo>
                  <a:lnTo>
                    <a:pt x="697" y="719"/>
                  </a:lnTo>
                  <a:lnTo>
                    <a:pt x="697" y="719"/>
                  </a:lnTo>
                  <a:lnTo>
                    <a:pt x="697" y="721"/>
                  </a:lnTo>
                  <a:lnTo>
                    <a:pt x="699" y="723"/>
                  </a:lnTo>
                  <a:lnTo>
                    <a:pt x="699" y="725"/>
                  </a:lnTo>
                  <a:lnTo>
                    <a:pt x="701" y="727"/>
                  </a:lnTo>
                  <a:lnTo>
                    <a:pt x="701" y="729"/>
                  </a:lnTo>
                  <a:lnTo>
                    <a:pt x="701" y="729"/>
                  </a:lnTo>
                  <a:lnTo>
                    <a:pt x="701" y="731"/>
                  </a:lnTo>
                  <a:lnTo>
                    <a:pt x="701" y="733"/>
                  </a:lnTo>
                  <a:lnTo>
                    <a:pt x="703" y="733"/>
                  </a:lnTo>
                  <a:lnTo>
                    <a:pt x="703" y="733"/>
                  </a:lnTo>
                  <a:lnTo>
                    <a:pt x="699" y="733"/>
                  </a:lnTo>
                  <a:lnTo>
                    <a:pt x="697" y="735"/>
                  </a:lnTo>
                  <a:lnTo>
                    <a:pt x="697" y="735"/>
                  </a:lnTo>
                  <a:lnTo>
                    <a:pt x="699" y="737"/>
                  </a:lnTo>
                  <a:lnTo>
                    <a:pt x="699" y="739"/>
                  </a:lnTo>
                  <a:lnTo>
                    <a:pt x="701" y="743"/>
                  </a:lnTo>
                  <a:lnTo>
                    <a:pt x="703" y="743"/>
                  </a:lnTo>
                  <a:lnTo>
                    <a:pt x="705" y="743"/>
                  </a:lnTo>
                  <a:lnTo>
                    <a:pt x="705" y="743"/>
                  </a:lnTo>
                  <a:lnTo>
                    <a:pt x="707" y="743"/>
                  </a:lnTo>
                  <a:lnTo>
                    <a:pt x="709" y="739"/>
                  </a:lnTo>
                  <a:lnTo>
                    <a:pt x="709" y="739"/>
                  </a:lnTo>
                  <a:lnTo>
                    <a:pt x="709" y="737"/>
                  </a:lnTo>
                  <a:lnTo>
                    <a:pt x="711" y="735"/>
                  </a:lnTo>
                  <a:lnTo>
                    <a:pt x="711" y="733"/>
                  </a:lnTo>
                  <a:lnTo>
                    <a:pt x="711" y="731"/>
                  </a:lnTo>
                  <a:lnTo>
                    <a:pt x="711" y="731"/>
                  </a:lnTo>
                  <a:lnTo>
                    <a:pt x="711" y="729"/>
                  </a:lnTo>
                  <a:lnTo>
                    <a:pt x="711" y="727"/>
                  </a:lnTo>
                  <a:lnTo>
                    <a:pt x="711" y="727"/>
                  </a:lnTo>
                  <a:lnTo>
                    <a:pt x="711" y="725"/>
                  </a:lnTo>
                  <a:lnTo>
                    <a:pt x="711" y="723"/>
                  </a:lnTo>
                  <a:lnTo>
                    <a:pt x="711" y="723"/>
                  </a:lnTo>
                  <a:lnTo>
                    <a:pt x="713" y="721"/>
                  </a:lnTo>
                  <a:lnTo>
                    <a:pt x="713" y="721"/>
                  </a:lnTo>
                  <a:lnTo>
                    <a:pt x="711" y="723"/>
                  </a:lnTo>
                  <a:lnTo>
                    <a:pt x="711" y="725"/>
                  </a:lnTo>
                  <a:lnTo>
                    <a:pt x="711" y="725"/>
                  </a:lnTo>
                  <a:lnTo>
                    <a:pt x="711" y="727"/>
                  </a:lnTo>
                  <a:lnTo>
                    <a:pt x="711" y="727"/>
                  </a:lnTo>
                  <a:lnTo>
                    <a:pt x="711" y="729"/>
                  </a:lnTo>
                  <a:lnTo>
                    <a:pt x="713" y="731"/>
                  </a:lnTo>
                  <a:lnTo>
                    <a:pt x="713" y="733"/>
                  </a:lnTo>
                  <a:lnTo>
                    <a:pt x="711" y="735"/>
                  </a:lnTo>
                  <a:lnTo>
                    <a:pt x="711" y="737"/>
                  </a:lnTo>
                  <a:lnTo>
                    <a:pt x="711" y="737"/>
                  </a:lnTo>
                  <a:lnTo>
                    <a:pt x="713" y="737"/>
                  </a:lnTo>
                  <a:lnTo>
                    <a:pt x="716" y="733"/>
                  </a:lnTo>
                  <a:lnTo>
                    <a:pt x="716" y="733"/>
                  </a:lnTo>
                  <a:lnTo>
                    <a:pt x="716" y="731"/>
                  </a:lnTo>
                  <a:lnTo>
                    <a:pt x="716" y="729"/>
                  </a:lnTo>
                  <a:lnTo>
                    <a:pt x="716" y="727"/>
                  </a:lnTo>
                  <a:lnTo>
                    <a:pt x="716" y="729"/>
                  </a:lnTo>
                  <a:lnTo>
                    <a:pt x="718" y="729"/>
                  </a:lnTo>
                  <a:lnTo>
                    <a:pt x="718" y="731"/>
                  </a:lnTo>
                  <a:lnTo>
                    <a:pt x="718" y="731"/>
                  </a:lnTo>
                  <a:lnTo>
                    <a:pt x="718" y="729"/>
                  </a:lnTo>
                  <a:lnTo>
                    <a:pt x="720" y="729"/>
                  </a:lnTo>
                  <a:lnTo>
                    <a:pt x="716" y="733"/>
                  </a:lnTo>
                  <a:lnTo>
                    <a:pt x="713" y="735"/>
                  </a:lnTo>
                  <a:lnTo>
                    <a:pt x="713" y="737"/>
                  </a:lnTo>
                  <a:lnTo>
                    <a:pt x="711" y="741"/>
                  </a:lnTo>
                  <a:lnTo>
                    <a:pt x="711" y="741"/>
                  </a:lnTo>
                  <a:lnTo>
                    <a:pt x="709" y="743"/>
                  </a:lnTo>
                  <a:lnTo>
                    <a:pt x="709" y="746"/>
                  </a:lnTo>
                  <a:lnTo>
                    <a:pt x="707" y="746"/>
                  </a:lnTo>
                  <a:lnTo>
                    <a:pt x="707" y="746"/>
                  </a:lnTo>
                  <a:lnTo>
                    <a:pt x="707" y="748"/>
                  </a:lnTo>
                  <a:lnTo>
                    <a:pt x="707" y="750"/>
                  </a:lnTo>
                  <a:lnTo>
                    <a:pt x="707" y="750"/>
                  </a:lnTo>
                  <a:lnTo>
                    <a:pt x="707" y="752"/>
                  </a:lnTo>
                  <a:lnTo>
                    <a:pt x="709" y="754"/>
                  </a:lnTo>
                  <a:lnTo>
                    <a:pt x="711" y="756"/>
                  </a:lnTo>
                  <a:lnTo>
                    <a:pt x="713" y="754"/>
                  </a:lnTo>
                  <a:lnTo>
                    <a:pt x="716" y="754"/>
                  </a:lnTo>
                  <a:lnTo>
                    <a:pt x="718" y="754"/>
                  </a:lnTo>
                  <a:lnTo>
                    <a:pt x="716" y="756"/>
                  </a:lnTo>
                  <a:lnTo>
                    <a:pt x="711" y="756"/>
                  </a:lnTo>
                  <a:lnTo>
                    <a:pt x="711" y="756"/>
                  </a:lnTo>
                  <a:lnTo>
                    <a:pt x="711" y="758"/>
                  </a:lnTo>
                  <a:lnTo>
                    <a:pt x="709" y="760"/>
                  </a:lnTo>
                  <a:lnTo>
                    <a:pt x="707" y="764"/>
                  </a:lnTo>
                  <a:lnTo>
                    <a:pt x="709" y="764"/>
                  </a:lnTo>
                  <a:lnTo>
                    <a:pt x="711" y="766"/>
                  </a:lnTo>
                  <a:lnTo>
                    <a:pt x="713" y="766"/>
                  </a:lnTo>
                  <a:lnTo>
                    <a:pt x="716" y="770"/>
                  </a:lnTo>
                  <a:lnTo>
                    <a:pt x="718" y="770"/>
                  </a:lnTo>
                  <a:lnTo>
                    <a:pt x="720" y="772"/>
                  </a:lnTo>
                  <a:lnTo>
                    <a:pt x="720" y="770"/>
                  </a:lnTo>
                  <a:lnTo>
                    <a:pt x="724" y="770"/>
                  </a:lnTo>
                  <a:lnTo>
                    <a:pt x="724" y="770"/>
                  </a:lnTo>
                  <a:lnTo>
                    <a:pt x="724" y="768"/>
                  </a:lnTo>
                  <a:lnTo>
                    <a:pt x="724" y="766"/>
                  </a:lnTo>
                  <a:lnTo>
                    <a:pt x="724" y="766"/>
                  </a:lnTo>
                  <a:lnTo>
                    <a:pt x="726" y="762"/>
                  </a:lnTo>
                  <a:lnTo>
                    <a:pt x="728" y="762"/>
                  </a:lnTo>
                  <a:lnTo>
                    <a:pt x="728" y="762"/>
                  </a:lnTo>
                  <a:lnTo>
                    <a:pt x="728" y="762"/>
                  </a:lnTo>
                  <a:lnTo>
                    <a:pt x="728" y="762"/>
                  </a:lnTo>
                  <a:lnTo>
                    <a:pt x="728" y="762"/>
                  </a:lnTo>
                  <a:lnTo>
                    <a:pt x="732" y="760"/>
                  </a:lnTo>
                  <a:lnTo>
                    <a:pt x="732" y="760"/>
                  </a:lnTo>
                  <a:lnTo>
                    <a:pt x="734" y="762"/>
                  </a:lnTo>
                  <a:lnTo>
                    <a:pt x="734" y="762"/>
                  </a:lnTo>
                  <a:lnTo>
                    <a:pt x="732" y="762"/>
                  </a:lnTo>
                  <a:lnTo>
                    <a:pt x="732" y="762"/>
                  </a:lnTo>
                  <a:lnTo>
                    <a:pt x="730" y="762"/>
                  </a:lnTo>
                  <a:lnTo>
                    <a:pt x="730" y="764"/>
                  </a:lnTo>
                  <a:lnTo>
                    <a:pt x="730" y="764"/>
                  </a:lnTo>
                  <a:lnTo>
                    <a:pt x="730" y="764"/>
                  </a:lnTo>
                  <a:lnTo>
                    <a:pt x="732" y="766"/>
                  </a:lnTo>
                  <a:lnTo>
                    <a:pt x="732" y="768"/>
                  </a:lnTo>
                  <a:lnTo>
                    <a:pt x="734" y="768"/>
                  </a:lnTo>
                  <a:lnTo>
                    <a:pt x="734" y="768"/>
                  </a:lnTo>
                  <a:lnTo>
                    <a:pt x="736" y="768"/>
                  </a:lnTo>
                  <a:lnTo>
                    <a:pt x="738" y="768"/>
                  </a:lnTo>
                  <a:lnTo>
                    <a:pt x="740" y="768"/>
                  </a:lnTo>
                  <a:lnTo>
                    <a:pt x="742" y="770"/>
                  </a:lnTo>
                  <a:lnTo>
                    <a:pt x="742" y="772"/>
                  </a:lnTo>
                  <a:lnTo>
                    <a:pt x="740" y="770"/>
                  </a:lnTo>
                  <a:lnTo>
                    <a:pt x="740" y="770"/>
                  </a:lnTo>
                  <a:lnTo>
                    <a:pt x="738" y="768"/>
                  </a:lnTo>
                  <a:lnTo>
                    <a:pt x="736" y="768"/>
                  </a:lnTo>
                  <a:lnTo>
                    <a:pt x="734" y="770"/>
                  </a:lnTo>
                  <a:lnTo>
                    <a:pt x="734" y="770"/>
                  </a:lnTo>
                  <a:lnTo>
                    <a:pt x="730" y="766"/>
                  </a:lnTo>
                  <a:lnTo>
                    <a:pt x="728" y="766"/>
                  </a:lnTo>
                  <a:lnTo>
                    <a:pt x="730" y="764"/>
                  </a:lnTo>
                  <a:lnTo>
                    <a:pt x="730" y="764"/>
                  </a:lnTo>
                  <a:lnTo>
                    <a:pt x="728" y="764"/>
                  </a:lnTo>
                  <a:lnTo>
                    <a:pt x="726" y="764"/>
                  </a:lnTo>
                  <a:lnTo>
                    <a:pt x="726" y="766"/>
                  </a:lnTo>
                  <a:lnTo>
                    <a:pt x="724" y="768"/>
                  </a:lnTo>
                  <a:lnTo>
                    <a:pt x="726" y="768"/>
                  </a:lnTo>
                  <a:lnTo>
                    <a:pt x="726" y="770"/>
                  </a:lnTo>
                  <a:lnTo>
                    <a:pt x="730" y="772"/>
                  </a:lnTo>
                  <a:lnTo>
                    <a:pt x="732" y="772"/>
                  </a:lnTo>
                  <a:lnTo>
                    <a:pt x="734" y="774"/>
                  </a:lnTo>
                  <a:lnTo>
                    <a:pt x="734" y="781"/>
                  </a:lnTo>
                  <a:lnTo>
                    <a:pt x="736" y="781"/>
                  </a:lnTo>
                  <a:lnTo>
                    <a:pt x="740" y="779"/>
                  </a:lnTo>
                  <a:lnTo>
                    <a:pt x="740" y="779"/>
                  </a:lnTo>
                  <a:lnTo>
                    <a:pt x="740" y="781"/>
                  </a:lnTo>
                  <a:lnTo>
                    <a:pt x="740" y="781"/>
                  </a:lnTo>
                  <a:lnTo>
                    <a:pt x="738" y="785"/>
                  </a:lnTo>
                  <a:lnTo>
                    <a:pt x="738" y="789"/>
                  </a:lnTo>
                  <a:lnTo>
                    <a:pt x="738" y="789"/>
                  </a:lnTo>
                  <a:lnTo>
                    <a:pt x="738" y="789"/>
                  </a:lnTo>
                  <a:lnTo>
                    <a:pt x="738" y="789"/>
                  </a:lnTo>
                  <a:lnTo>
                    <a:pt x="740" y="787"/>
                  </a:lnTo>
                  <a:lnTo>
                    <a:pt x="742" y="787"/>
                  </a:lnTo>
                  <a:lnTo>
                    <a:pt x="742" y="787"/>
                  </a:lnTo>
                  <a:lnTo>
                    <a:pt x="740" y="787"/>
                  </a:lnTo>
                  <a:lnTo>
                    <a:pt x="740" y="789"/>
                  </a:lnTo>
                  <a:lnTo>
                    <a:pt x="740" y="789"/>
                  </a:lnTo>
                  <a:lnTo>
                    <a:pt x="740" y="791"/>
                  </a:lnTo>
                  <a:lnTo>
                    <a:pt x="740" y="791"/>
                  </a:lnTo>
                  <a:lnTo>
                    <a:pt x="736" y="793"/>
                  </a:lnTo>
                  <a:lnTo>
                    <a:pt x="738" y="797"/>
                  </a:lnTo>
                  <a:lnTo>
                    <a:pt x="740" y="801"/>
                  </a:lnTo>
                  <a:lnTo>
                    <a:pt x="742" y="797"/>
                  </a:lnTo>
                  <a:lnTo>
                    <a:pt x="742" y="793"/>
                  </a:lnTo>
                  <a:lnTo>
                    <a:pt x="744" y="791"/>
                  </a:lnTo>
                  <a:lnTo>
                    <a:pt x="744" y="791"/>
                  </a:lnTo>
                  <a:lnTo>
                    <a:pt x="746" y="791"/>
                  </a:lnTo>
                  <a:lnTo>
                    <a:pt x="749" y="791"/>
                  </a:lnTo>
                  <a:lnTo>
                    <a:pt x="749" y="789"/>
                  </a:lnTo>
                  <a:lnTo>
                    <a:pt x="755" y="785"/>
                  </a:lnTo>
                  <a:lnTo>
                    <a:pt x="755" y="785"/>
                  </a:lnTo>
                  <a:lnTo>
                    <a:pt x="755" y="783"/>
                  </a:lnTo>
                  <a:lnTo>
                    <a:pt x="755" y="783"/>
                  </a:lnTo>
                  <a:lnTo>
                    <a:pt x="755" y="783"/>
                  </a:lnTo>
                  <a:lnTo>
                    <a:pt x="755" y="781"/>
                  </a:lnTo>
                  <a:lnTo>
                    <a:pt x="755" y="781"/>
                  </a:lnTo>
                  <a:lnTo>
                    <a:pt x="757" y="783"/>
                  </a:lnTo>
                  <a:lnTo>
                    <a:pt x="757" y="783"/>
                  </a:lnTo>
                  <a:lnTo>
                    <a:pt x="757" y="783"/>
                  </a:lnTo>
                  <a:lnTo>
                    <a:pt x="755" y="785"/>
                  </a:lnTo>
                  <a:lnTo>
                    <a:pt x="753" y="787"/>
                  </a:lnTo>
                  <a:lnTo>
                    <a:pt x="753" y="787"/>
                  </a:lnTo>
                  <a:lnTo>
                    <a:pt x="753" y="789"/>
                  </a:lnTo>
                  <a:lnTo>
                    <a:pt x="753" y="789"/>
                  </a:lnTo>
                  <a:lnTo>
                    <a:pt x="755" y="789"/>
                  </a:lnTo>
                  <a:lnTo>
                    <a:pt x="757" y="791"/>
                  </a:lnTo>
                  <a:lnTo>
                    <a:pt x="757" y="791"/>
                  </a:lnTo>
                  <a:lnTo>
                    <a:pt x="757" y="793"/>
                  </a:lnTo>
                  <a:lnTo>
                    <a:pt x="759" y="795"/>
                  </a:lnTo>
                  <a:lnTo>
                    <a:pt x="759" y="795"/>
                  </a:lnTo>
                  <a:lnTo>
                    <a:pt x="759" y="795"/>
                  </a:lnTo>
                  <a:lnTo>
                    <a:pt x="759" y="795"/>
                  </a:lnTo>
                  <a:lnTo>
                    <a:pt x="757" y="793"/>
                  </a:lnTo>
                  <a:lnTo>
                    <a:pt x="757" y="791"/>
                  </a:lnTo>
                  <a:lnTo>
                    <a:pt x="755" y="791"/>
                  </a:lnTo>
                  <a:lnTo>
                    <a:pt x="753" y="791"/>
                  </a:lnTo>
                  <a:lnTo>
                    <a:pt x="753" y="789"/>
                  </a:lnTo>
                  <a:lnTo>
                    <a:pt x="749" y="789"/>
                  </a:lnTo>
                  <a:lnTo>
                    <a:pt x="749" y="791"/>
                  </a:lnTo>
                  <a:lnTo>
                    <a:pt x="746" y="791"/>
                  </a:lnTo>
                  <a:lnTo>
                    <a:pt x="744" y="793"/>
                  </a:lnTo>
                  <a:lnTo>
                    <a:pt x="744" y="795"/>
                  </a:lnTo>
                  <a:lnTo>
                    <a:pt x="744" y="797"/>
                  </a:lnTo>
                  <a:lnTo>
                    <a:pt x="744" y="797"/>
                  </a:lnTo>
                  <a:lnTo>
                    <a:pt x="744" y="799"/>
                  </a:lnTo>
                  <a:lnTo>
                    <a:pt x="742" y="799"/>
                  </a:lnTo>
                  <a:lnTo>
                    <a:pt x="742" y="801"/>
                  </a:lnTo>
                  <a:lnTo>
                    <a:pt x="744" y="803"/>
                  </a:lnTo>
                  <a:lnTo>
                    <a:pt x="744" y="803"/>
                  </a:lnTo>
                  <a:lnTo>
                    <a:pt x="744" y="805"/>
                  </a:lnTo>
                  <a:lnTo>
                    <a:pt x="744" y="805"/>
                  </a:lnTo>
                  <a:lnTo>
                    <a:pt x="746" y="805"/>
                  </a:lnTo>
                  <a:lnTo>
                    <a:pt x="746" y="808"/>
                  </a:lnTo>
                  <a:lnTo>
                    <a:pt x="746" y="808"/>
                  </a:lnTo>
                  <a:lnTo>
                    <a:pt x="746" y="805"/>
                  </a:lnTo>
                  <a:lnTo>
                    <a:pt x="746" y="805"/>
                  </a:lnTo>
                  <a:lnTo>
                    <a:pt x="749" y="803"/>
                  </a:lnTo>
                  <a:lnTo>
                    <a:pt x="751" y="801"/>
                  </a:lnTo>
                  <a:lnTo>
                    <a:pt x="755" y="801"/>
                  </a:lnTo>
                  <a:lnTo>
                    <a:pt x="761" y="801"/>
                  </a:lnTo>
                  <a:lnTo>
                    <a:pt x="759" y="803"/>
                  </a:lnTo>
                  <a:lnTo>
                    <a:pt x="757" y="803"/>
                  </a:lnTo>
                  <a:lnTo>
                    <a:pt x="753" y="803"/>
                  </a:lnTo>
                  <a:lnTo>
                    <a:pt x="751" y="803"/>
                  </a:lnTo>
                  <a:lnTo>
                    <a:pt x="751" y="803"/>
                  </a:lnTo>
                  <a:lnTo>
                    <a:pt x="746" y="808"/>
                  </a:lnTo>
                  <a:lnTo>
                    <a:pt x="746" y="810"/>
                  </a:lnTo>
                  <a:lnTo>
                    <a:pt x="746" y="810"/>
                  </a:lnTo>
                  <a:lnTo>
                    <a:pt x="746" y="812"/>
                  </a:lnTo>
                  <a:lnTo>
                    <a:pt x="746" y="814"/>
                  </a:lnTo>
                  <a:lnTo>
                    <a:pt x="749" y="816"/>
                  </a:lnTo>
                  <a:lnTo>
                    <a:pt x="751" y="816"/>
                  </a:lnTo>
                  <a:lnTo>
                    <a:pt x="753" y="818"/>
                  </a:lnTo>
                  <a:lnTo>
                    <a:pt x="755" y="818"/>
                  </a:lnTo>
                  <a:lnTo>
                    <a:pt x="755" y="818"/>
                  </a:lnTo>
                  <a:lnTo>
                    <a:pt x="757" y="818"/>
                  </a:lnTo>
                  <a:lnTo>
                    <a:pt x="761" y="818"/>
                  </a:lnTo>
                  <a:lnTo>
                    <a:pt x="761" y="816"/>
                  </a:lnTo>
                  <a:lnTo>
                    <a:pt x="763" y="814"/>
                  </a:lnTo>
                  <a:lnTo>
                    <a:pt x="763" y="816"/>
                  </a:lnTo>
                  <a:lnTo>
                    <a:pt x="763" y="818"/>
                  </a:lnTo>
                  <a:lnTo>
                    <a:pt x="763" y="818"/>
                  </a:lnTo>
                  <a:lnTo>
                    <a:pt x="763" y="818"/>
                  </a:lnTo>
                  <a:lnTo>
                    <a:pt x="765" y="818"/>
                  </a:lnTo>
                  <a:lnTo>
                    <a:pt x="765" y="820"/>
                  </a:lnTo>
                  <a:lnTo>
                    <a:pt x="763" y="820"/>
                  </a:lnTo>
                  <a:lnTo>
                    <a:pt x="763" y="820"/>
                  </a:lnTo>
                  <a:lnTo>
                    <a:pt x="763" y="822"/>
                  </a:lnTo>
                  <a:lnTo>
                    <a:pt x="763" y="822"/>
                  </a:lnTo>
                  <a:lnTo>
                    <a:pt x="765" y="822"/>
                  </a:lnTo>
                  <a:lnTo>
                    <a:pt x="769" y="820"/>
                  </a:lnTo>
                  <a:lnTo>
                    <a:pt x="771" y="822"/>
                  </a:lnTo>
                  <a:lnTo>
                    <a:pt x="771" y="822"/>
                  </a:lnTo>
                  <a:lnTo>
                    <a:pt x="769" y="822"/>
                  </a:lnTo>
                  <a:lnTo>
                    <a:pt x="767" y="822"/>
                  </a:lnTo>
                  <a:lnTo>
                    <a:pt x="763" y="822"/>
                  </a:lnTo>
                  <a:lnTo>
                    <a:pt x="763" y="824"/>
                  </a:lnTo>
                  <a:lnTo>
                    <a:pt x="763" y="824"/>
                  </a:lnTo>
                  <a:lnTo>
                    <a:pt x="765" y="824"/>
                  </a:lnTo>
                  <a:lnTo>
                    <a:pt x="767" y="824"/>
                  </a:lnTo>
                  <a:lnTo>
                    <a:pt x="769" y="824"/>
                  </a:lnTo>
                  <a:lnTo>
                    <a:pt x="769" y="824"/>
                  </a:lnTo>
                  <a:lnTo>
                    <a:pt x="771" y="824"/>
                  </a:lnTo>
                  <a:lnTo>
                    <a:pt x="771" y="824"/>
                  </a:lnTo>
                  <a:lnTo>
                    <a:pt x="773" y="824"/>
                  </a:lnTo>
                  <a:lnTo>
                    <a:pt x="773" y="826"/>
                  </a:lnTo>
                  <a:lnTo>
                    <a:pt x="773" y="826"/>
                  </a:lnTo>
                  <a:lnTo>
                    <a:pt x="775" y="826"/>
                  </a:lnTo>
                  <a:lnTo>
                    <a:pt x="775" y="826"/>
                  </a:lnTo>
                  <a:lnTo>
                    <a:pt x="775" y="824"/>
                  </a:lnTo>
                  <a:lnTo>
                    <a:pt x="775" y="822"/>
                  </a:lnTo>
                  <a:lnTo>
                    <a:pt x="777" y="822"/>
                  </a:lnTo>
                  <a:lnTo>
                    <a:pt x="777" y="824"/>
                  </a:lnTo>
                  <a:lnTo>
                    <a:pt x="777" y="824"/>
                  </a:lnTo>
                  <a:lnTo>
                    <a:pt x="777" y="824"/>
                  </a:lnTo>
                  <a:lnTo>
                    <a:pt x="782" y="826"/>
                  </a:lnTo>
                  <a:lnTo>
                    <a:pt x="784" y="824"/>
                  </a:lnTo>
                  <a:lnTo>
                    <a:pt x="784" y="824"/>
                  </a:lnTo>
                  <a:lnTo>
                    <a:pt x="786" y="822"/>
                  </a:lnTo>
                  <a:lnTo>
                    <a:pt x="786" y="820"/>
                  </a:lnTo>
                  <a:lnTo>
                    <a:pt x="786" y="820"/>
                  </a:lnTo>
                  <a:lnTo>
                    <a:pt x="786" y="820"/>
                  </a:lnTo>
                  <a:lnTo>
                    <a:pt x="786" y="818"/>
                  </a:lnTo>
                  <a:lnTo>
                    <a:pt x="786" y="818"/>
                  </a:lnTo>
                  <a:lnTo>
                    <a:pt x="786" y="820"/>
                  </a:lnTo>
                  <a:lnTo>
                    <a:pt x="786" y="822"/>
                  </a:lnTo>
                  <a:lnTo>
                    <a:pt x="786" y="822"/>
                  </a:lnTo>
                  <a:lnTo>
                    <a:pt x="786" y="824"/>
                  </a:lnTo>
                  <a:lnTo>
                    <a:pt x="784" y="826"/>
                  </a:lnTo>
                  <a:lnTo>
                    <a:pt x="784" y="828"/>
                  </a:lnTo>
                  <a:lnTo>
                    <a:pt x="784" y="828"/>
                  </a:lnTo>
                  <a:lnTo>
                    <a:pt x="786" y="828"/>
                  </a:lnTo>
                  <a:lnTo>
                    <a:pt x="786" y="830"/>
                  </a:lnTo>
                  <a:lnTo>
                    <a:pt x="788" y="832"/>
                  </a:lnTo>
                  <a:lnTo>
                    <a:pt x="788" y="834"/>
                  </a:lnTo>
                  <a:lnTo>
                    <a:pt x="788" y="834"/>
                  </a:lnTo>
                  <a:lnTo>
                    <a:pt x="792" y="838"/>
                  </a:lnTo>
                  <a:lnTo>
                    <a:pt x="792" y="838"/>
                  </a:lnTo>
                  <a:lnTo>
                    <a:pt x="794" y="838"/>
                  </a:lnTo>
                  <a:lnTo>
                    <a:pt x="796" y="838"/>
                  </a:lnTo>
                  <a:lnTo>
                    <a:pt x="798" y="836"/>
                  </a:lnTo>
                  <a:lnTo>
                    <a:pt x="798" y="836"/>
                  </a:lnTo>
                  <a:lnTo>
                    <a:pt x="798" y="836"/>
                  </a:lnTo>
                  <a:lnTo>
                    <a:pt x="798" y="834"/>
                  </a:lnTo>
                  <a:lnTo>
                    <a:pt x="798" y="834"/>
                  </a:lnTo>
                  <a:lnTo>
                    <a:pt x="800" y="832"/>
                  </a:lnTo>
                  <a:lnTo>
                    <a:pt x="800" y="832"/>
                  </a:lnTo>
                  <a:lnTo>
                    <a:pt x="800" y="830"/>
                  </a:lnTo>
                  <a:lnTo>
                    <a:pt x="800" y="830"/>
                  </a:lnTo>
                  <a:lnTo>
                    <a:pt x="800" y="830"/>
                  </a:lnTo>
                  <a:lnTo>
                    <a:pt x="800" y="832"/>
                  </a:lnTo>
                  <a:lnTo>
                    <a:pt x="802" y="832"/>
                  </a:lnTo>
                  <a:lnTo>
                    <a:pt x="802" y="832"/>
                  </a:lnTo>
                  <a:lnTo>
                    <a:pt x="800" y="832"/>
                  </a:lnTo>
                  <a:lnTo>
                    <a:pt x="800" y="834"/>
                  </a:lnTo>
                  <a:lnTo>
                    <a:pt x="800" y="834"/>
                  </a:lnTo>
                  <a:lnTo>
                    <a:pt x="800" y="838"/>
                  </a:lnTo>
                  <a:lnTo>
                    <a:pt x="800" y="838"/>
                  </a:lnTo>
                  <a:lnTo>
                    <a:pt x="800" y="841"/>
                  </a:lnTo>
                  <a:lnTo>
                    <a:pt x="802" y="841"/>
                  </a:lnTo>
                  <a:lnTo>
                    <a:pt x="802" y="841"/>
                  </a:lnTo>
                  <a:lnTo>
                    <a:pt x="804" y="841"/>
                  </a:lnTo>
                  <a:lnTo>
                    <a:pt x="804" y="841"/>
                  </a:lnTo>
                  <a:lnTo>
                    <a:pt x="802" y="841"/>
                  </a:lnTo>
                  <a:lnTo>
                    <a:pt x="800" y="843"/>
                  </a:lnTo>
                  <a:lnTo>
                    <a:pt x="800" y="841"/>
                  </a:lnTo>
                  <a:lnTo>
                    <a:pt x="800" y="838"/>
                  </a:lnTo>
                  <a:lnTo>
                    <a:pt x="798" y="838"/>
                  </a:lnTo>
                  <a:lnTo>
                    <a:pt x="798" y="838"/>
                  </a:lnTo>
                  <a:lnTo>
                    <a:pt x="798" y="838"/>
                  </a:lnTo>
                  <a:lnTo>
                    <a:pt x="798" y="841"/>
                  </a:lnTo>
                  <a:lnTo>
                    <a:pt x="798" y="841"/>
                  </a:lnTo>
                  <a:lnTo>
                    <a:pt x="800" y="843"/>
                  </a:lnTo>
                  <a:lnTo>
                    <a:pt x="800" y="843"/>
                  </a:lnTo>
                  <a:lnTo>
                    <a:pt x="800" y="843"/>
                  </a:lnTo>
                  <a:lnTo>
                    <a:pt x="804" y="845"/>
                  </a:lnTo>
                  <a:lnTo>
                    <a:pt x="806" y="845"/>
                  </a:lnTo>
                  <a:lnTo>
                    <a:pt x="806" y="845"/>
                  </a:lnTo>
                  <a:lnTo>
                    <a:pt x="806" y="845"/>
                  </a:lnTo>
                  <a:lnTo>
                    <a:pt x="808" y="845"/>
                  </a:lnTo>
                  <a:lnTo>
                    <a:pt x="808" y="843"/>
                  </a:lnTo>
                  <a:lnTo>
                    <a:pt x="808" y="843"/>
                  </a:lnTo>
                  <a:lnTo>
                    <a:pt x="808" y="843"/>
                  </a:lnTo>
                  <a:lnTo>
                    <a:pt x="810" y="841"/>
                  </a:lnTo>
                  <a:lnTo>
                    <a:pt x="810" y="841"/>
                  </a:lnTo>
                  <a:lnTo>
                    <a:pt x="810" y="841"/>
                  </a:lnTo>
                  <a:lnTo>
                    <a:pt x="810" y="843"/>
                  </a:lnTo>
                  <a:lnTo>
                    <a:pt x="808" y="845"/>
                  </a:lnTo>
                  <a:lnTo>
                    <a:pt x="808" y="845"/>
                  </a:lnTo>
                  <a:lnTo>
                    <a:pt x="808" y="845"/>
                  </a:lnTo>
                  <a:lnTo>
                    <a:pt x="808" y="847"/>
                  </a:lnTo>
                  <a:lnTo>
                    <a:pt x="808" y="847"/>
                  </a:lnTo>
                  <a:lnTo>
                    <a:pt x="810" y="847"/>
                  </a:lnTo>
                  <a:lnTo>
                    <a:pt x="812" y="847"/>
                  </a:lnTo>
                  <a:lnTo>
                    <a:pt x="812" y="847"/>
                  </a:lnTo>
                  <a:lnTo>
                    <a:pt x="814" y="845"/>
                  </a:lnTo>
                  <a:lnTo>
                    <a:pt x="814" y="847"/>
                  </a:lnTo>
                  <a:lnTo>
                    <a:pt x="812" y="847"/>
                  </a:lnTo>
                  <a:lnTo>
                    <a:pt x="812" y="847"/>
                  </a:lnTo>
                  <a:lnTo>
                    <a:pt x="810" y="847"/>
                  </a:lnTo>
                  <a:lnTo>
                    <a:pt x="810" y="847"/>
                  </a:lnTo>
                  <a:lnTo>
                    <a:pt x="810" y="849"/>
                  </a:lnTo>
                  <a:lnTo>
                    <a:pt x="810" y="849"/>
                  </a:lnTo>
                  <a:lnTo>
                    <a:pt x="810" y="851"/>
                  </a:lnTo>
                  <a:lnTo>
                    <a:pt x="810" y="851"/>
                  </a:lnTo>
                  <a:lnTo>
                    <a:pt x="812" y="851"/>
                  </a:lnTo>
                  <a:lnTo>
                    <a:pt x="812" y="851"/>
                  </a:lnTo>
                  <a:lnTo>
                    <a:pt x="810" y="851"/>
                  </a:lnTo>
                  <a:lnTo>
                    <a:pt x="810" y="851"/>
                  </a:lnTo>
                  <a:lnTo>
                    <a:pt x="812" y="853"/>
                  </a:lnTo>
                  <a:lnTo>
                    <a:pt x="812" y="853"/>
                  </a:lnTo>
                  <a:lnTo>
                    <a:pt x="812" y="853"/>
                  </a:lnTo>
                  <a:lnTo>
                    <a:pt x="812" y="853"/>
                  </a:lnTo>
                  <a:lnTo>
                    <a:pt x="812" y="851"/>
                  </a:lnTo>
                  <a:lnTo>
                    <a:pt x="812" y="851"/>
                  </a:lnTo>
                  <a:lnTo>
                    <a:pt x="812" y="851"/>
                  </a:lnTo>
                  <a:lnTo>
                    <a:pt x="814" y="851"/>
                  </a:lnTo>
                  <a:lnTo>
                    <a:pt x="814" y="851"/>
                  </a:lnTo>
                  <a:lnTo>
                    <a:pt x="817" y="853"/>
                  </a:lnTo>
                  <a:lnTo>
                    <a:pt x="817" y="855"/>
                  </a:lnTo>
                  <a:lnTo>
                    <a:pt x="817" y="857"/>
                  </a:lnTo>
                  <a:lnTo>
                    <a:pt x="819" y="857"/>
                  </a:lnTo>
                  <a:lnTo>
                    <a:pt x="819" y="857"/>
                  </a:lnTo>
                  <a:lnTo>
                    <a:pt x="819" y="857"/>
                  </a:lnTo>
                  <a:lnTo>
                    <a:pt x="819" y="857"/>
                  </a:lnTo>
                  <a:lnTo>
                    <a:pt x="819" y="857"/>
                  </a:lnTo>
                  <a:lnTo>
                    <a:pt x="819" y="859"/>
                  </a:lnTo>
                  <a:lnTo>
                    <a:pt x="819" y="861"/>
                  </a:lnTo>
                  <a:lnTo>
                    <a:pt x="821" y="861"/>
                  </a:lnTo>
                  <a:lnTo>
                    <a:pt x="821" y="861"/>
                  </a:lnTo>
                  <a:lnTo>
                    <a:pt x="819" y="861"/>
                  </a:lnTo>
                  <a:lnTo>
                    <a:pt x="819" y="861"/>
                  </a:lnTo>
                  <a:lnTo>
                    <a:pt x="817" y="861"/>
                  </a:lnTo>
                  <a:lnTo>
                    <a:pt x="817" y="861"/>
                  </a:lnTo>
                  <a:lnTo>
                    <a:pt x="817" y="863"/>
                  </a:lnTo>
                  <a:lnTo>
                    <a:pt x="819" y="863"/>
                  </a:lnTo>
                  <a:lnTo>
                    <a:pt x="819" y="863"/>
                  </a:lnTo>
                  <a:lnTo>
                    <a:pt x="819" y="863"/>
                  </a:lnTo>
                  <a:lnTo>
                    <a:pt x="821" y="863"/>
                  </a:lnTo>
                  <a:lnTo>
                    <a:pt x="821" y="865"/>
                  </a:lnTo>
                  <a:lnTo>
                    <a:pt x="821" y="865"/>
                  </a:lnTo>
                  <a:lnTo>
                    <a:pt x="821" y="865"/>
                  </a:lnTo>
                  <a:lnTo>
                    <a:pt x="819" y="867"/>
                  </a:lnTo>
                  <a:lnTo>
                    <a:pt x="819" y="867"/>
                  </a:lnTo>
                  <a:lnTo>
                    <a:pt x="819" y="867"/>
                  </a:lnTo>
                  <a:lnTo>
                    <a:pt x="821" y="867"/>
                  </a:lnTo>
                  <a:lnTo>
                    <a:pt x="821" y="869"/>
                  </a:lnTo>
                  <a:lnTo>
                    <a:pt x="821" y="869"/>
                  </a:lnTo>
                  <a:lnTo>
                    <a:pt x="821" y="867"/>
                  </a:lnTo>
                  <a:lnTo>
                    <a:pt x="821" y="867"/>
                  </a:lnTo>
                  <a:lnTo>
                    <a:pt x="821" y="867"/>
                  </a:lnTo>
                  <a:lnTo>
                    <a:pt x="823" y="869"/>
                  </a:lnTo>
                  <a:lnTo>
                    <a:pt x="823" y="869"/>
                  </a:lnTo>
                  <a:lnTo>
                    <a:pt x="823" y="869"/>
                  </a:lnTo>
                  <a:lnTo>
                    <a:pt x="823" y="869"/>
                  </a:lnTo>
                  <a:lnTo>
                    <a:pt x="823" y="872"/>
                  </a:lnTo>
                  <a:lnTo>
                    <a:pt x="823" y="872"/>
                  </a:lnTo>
                  <a:lnTo>
                    <a:pt x="821" y="874"/>
                  </a:lnTo>
                  <a:lnTo>
                    <a:pt x="821" y="874"/>
                  </a:lnTo>
                  <a:lnTo>
                    <a:pt x="821" y="876"/>
                  </a:lnTo>
                  <a:lnTo>
                    <a:pt x="821" y="876"/>
                  </a:lnTo>
                  <a:lnTo>
                    <a:pt x="821" y="876"/>
                  </a:lnTo>
                  <a:lnTo>
                    <a:pt x="821" y="878"/>
                  </a:lnTo>
                  <a:lnTo>
                    <a:pt x="821" y="878"/>
                  </a:lnTo>
                  <a:lnTo>
                    <a:pt x="821" y="878"/>
                  </a:lnTo>
                  <a:lnTo>
                    <a:pt x="821" y="880"/>
                  </a:lnTo>
                  <a:lnTo>
                    <a:pt x="823" y="882"/>
                  </a:lnTo>
                  <a:lnTo>
                    <a:pt x="823" y="882"/>
                  </a:lnTo>
                  <a:lnTo>
                    <a:pt x="821" y="884"/>
                  </a:lnTo>
                  <a:lnTo>
                    <a:pt x="821" y="884"/>
                  </a:lnTo>
                  <a:lnTo>
                    <a:pt x="819" y="884"/>
                  </a:lnTo>
                  <a:lnTo>
                    <a:pt x="819" y="884"/>
                  </a:lnTo>
                  <a:lnTo>
                    <a:pt x="819" y="886"/>
                  </a:lnTo>
                  <a:lnTo>
                    <a:pt x="819" y="886"/>
                  </a:lnTo>
                  <a:lnTo>
                    <a:pt x="817" y="886"/>
                  </a:lnTo>
                  <a:lnTo>
                    <a:pt x="817" y="886"/>
                  </a:lnTo>
                  <a:lnTo>
                    <a:pt x="814" y="886"/>
                  </a:lnTo>
                  <a:lnTo>
                    <a:pt x="814" y="886"/>
                  </a:lnTo>
                  <a:lnTo>
                    <a:pt x="812" y="886"/>
                  </a:lnTo>
                  <a:lnTo>
                    <a:pt x="812" y="886"/>
                  </a:lnTo>
                  <a:lnTo>
                    <a:pt x="812" y="884"/>
                  </a:lnTo>
                  <a:lnTo>
                    <a:pt x="814" y="884"/>
                  </a:lnTo>
                  <a:lnTo>
                    <a:pt x="814" y="882"/>
                  </a:lnTo>
                  <a:lnTo>
                    <a:pt x="814" y="882"/>
                  </a:lnTo>
                  <a:lnTo>
                    <a:pt x="817" y="884"/>
                  </a:lnTo>
                  <a:lnTo>
                    <a:pt x="817" y="884"/>
                  </a:lnTo>
                  <a:lnTo>
                    <a:pt x="817" y="884"/>
                  </a:lnTo>
                  <a:lnTo>
                    <a:pt x="817" y="882"/>
                  </a:lnTo>
                  <a:lnTo>
                    <a:pt x="819" y="884"/>
                  </a:lnTo>
                  <a:lnTo>
                    <a:pt x="819" y="884"/>
                  </a:lnTo>
                  <a:lnTo>
                    <a:pt x="819" y="884"/>
                  </a:lnTo>
                  <a:lnTo>
                    <a:pt x="819" y="882"/>
                  </a:lnTo>
                  <a:lnTo>
                    <a:pt x="819" y="880"/>
                  </a:lnTo>
                  <a:lnTo>
                    <a:pt x="819" y="880"/>
                  </a:lnTo>
                  <a:lnTo>
                    <a:pt x="817" y="878"/>
                  </a:lnTo>
                  <a:lnTo>
                    <a:pt x="817" y="878"/>
                  </a:lnTo>
                  <a:lnTo>
                    <a:pt x="819" y="878"/>
                  </a:lnTo>
                  <a:lnTo>
                    <a:pt x="819" y="878"/>
                  </a:lnTo>
                  <a:lnTo>
                    <a:pt x="819" y="876"/>
                  </a:lnTo>
                  <a:lnTo>
                    <a:pt x="819" y="876"/>
                  </a:lnTo>
                  <a:lnTo>
                    <a:pt x="819" y="876"/>
                  </a:lnTo>
                  <a:lnTo>
                    <a:pt x="819" y="874"/>
                  </a:lnTo>
                  <a:lnTo>
                    <a:pt x="819" y="872"/>
                  </a:lnTo>
                  <a:lnTo>
                    <a:pt x="819" y="872"/>
                  </a:lnTo>
                  <a:lnTo>
                    <a:pt x="819" y="872"/>
                  </a:lnTo>
                  <a:lnTo>
                    <a:pt x="819" y="874"/>
                  </a:lnTo>
                  <a:lnTo>
                    <a:pt x="819" y="874"/>
                  </a:lnTo>
                  <a:lnTo>
                    <a:pt x="817" y="876"/>
                  </a:lnTo>
                  <a:lnTo>
                    <a:pt x="817" y="876"/>
                  </a:lnTo>
                  <a:lnTo>
                    <a:pt x="814" y="878"/>
                  </a:lnTo>
                  <a:lnTo>
                    <a:pt x="814" y="878"/>
                  </a:lnTo>
                  <a:lnTo>
                    <a:pt x="812" y="878"/>
                  </a:lnTo>
                  <a:lnTo>
                    <a:pt x="812" y="880"/>
                  </a:lnTo>
                  <a:lnTo>
                    <a:pt x="812" y="880"/>
                  </a:lnTo>
                  <a:lnTo>
                    <a:pt x="812" y="882"/>
                  </a:lnTo>
                  <a:lnTo>
                    <a:pt x="812" y="882"/>
                  </a:lnTo>
                  <a:lnTo>
                    <a:pt x="814" y="882"/>
                  </a:lnTo>
                  <a:lnTo>
                    <a:pt x="814" y="882"/>
                  </a:lnTo>
                  <a:lnTo>
                    <a:pt x="812" y="882"/>
                  </a:lnTo>
                  <a:lnTo>
                    <a:pt x="810" y="882"/>
                  </a:lnTo>
                  <a:lnTo>
                    <a:pt x="810" y="882"/>
                  </a:lnTo>
                  <a:lnTo>
                    <a:pt x="810" y="882"/>
                  </a:lnTo>
                  <a:lnTo>
                    <a:pt x="810" y="880"/>
                  </a:lnTo>
                  <a:lnTo>
                    <a:pt x="812" y="878"/>
                  </a:lnTo>
                  <a:lnTo>
                    <a:pt x="814" y="874"/>
                  </a:lnTo>
                  <a:lnTo>
                    <a:pt x="814" y="874"/>
                  </a:lnTo>
                  <a:lnTo>
                    <a:pt x="814" y="876"/>
                  </a:lnTo>
                  <a:lnTo>
                    <a:pt x="817" y="876"/>
                  </a:lnTo>
                  <a:lnTo>
                    <a:pt x="817" y="874"/>
                  </a:lnTo>
                  <a:lnTo>
                    <a:pt x="817" y="872"/>
                  </a:lnTo>
                  <a:lnTo>
                    <a:pt x="817" y="869"/>
                  </a:lnTo>
                  <a:lnTo>
                    <a:pt x="817" y="869"/>
                  </a:lnTo>
                  <a:lnTo>
                    <a:pt x="817" y="867"/>
                  </a:lnTo>
                  <a:lnTo>
                    <a:pt x="817" y="867"/>
                  </a:lnTo>
                  <a:lnTo>
                    <a:pt x="814" y="869"/>
                  </a:lnTo>
                  <a:lnTo>
                    <a:pt x="814" y="869"/>
                  </a:lnTo>
                  <a:lnTo>
                    <a:pt x="812" y="869"/>
                  </a:lnTo>
                  <a:lnTo>
                    <a:pt x="812" y="869"/>
                  </a:lnTo>
                  <a:lnTo>
                    <a:pt x="810" y="867"/>
                  </a:lnTo>
                  <a:lnTo>
                    <a:pt x="810" y="867"/>
                  </a:lnTo>
                  <a:lnTo>
                    <a:pt x="808" y="867"/>
                  </a:lnTo>
                  <a:lnTo>
                    <a:pt x="808" y="867"/>
                  </a:lnTo>
                  <a:lnTo>
                    <a:pt x="798" y="867"/>
                  </a:lnTo>
                  <a:lnTo>
                    <a:pt x="798" y="867"/>
                  </a:lnTo>
                  <a:lnTo>
                    <a:pt x="796" y="865"/>
                  </a:lnTo>
                  <a:lnTo>
                    <a:pt x="792" y="865"/>
                  </a:lnTo>
                  <a:lnTo>
                    <a:pt x="790" y="863"/>
                  </a:lnTo>
                  <a:lnTo>
                    <a:pt x="788" y="863"/>
                  </a:lnTo>
                  <a:lnTo>
                    <a:pt x="788" y="865"/>
                  </a:lnTo>
                  <a:lnTo>
                    <a:pt x="788" y="867"/>
                  </a:lnTo>
                  <a:lnTo>
                    <a:pt x="790" y="872"/>
                  </a:lnTo>
                  <a:lnTo>
                    <a:pt x="790" y="872"/>
                  </a:lnTo>
                  <a:lnTo>
                    <a:pt x="792" y="874"/>
                  </a:lnTo>
                  <a:lnTo>
                    <a:pt x="794" y="878"/>
                  </a:lnTo>
                  <a:lnTo>
                    <a:pt x="794" y="882"/>
                  </a:lnTo>
                  <a:lnTo>
                    <a:pt x="796" y="884"/>
                  </a:lnTo>
                  <a:lnTo>
                    <a:pt x="796" y="886"/>
                  </a:lnTo>
                  <a:lnTo>
                    <a:pt x="796" y="888"/>
                  </a:lnTo>
                  <a:lnTo>
                    <a:pt x="796" y="890"/>
                  </a:lnTo>
                  <a:lnTo>
                    <a:pt x="796" y="888"/>
                  </a:lnTo>
                  <a:lnTo>
                    <a:pt x="796" y="888"/>
                  </a:lnTo>
                  <a:lnTo>
                    <a:pt x="798" y="888"/>
                  </a:lnTo>
                  <a:lnTo>
                    <a:pt x="798" y="888"/>
                  </a:lnTo>
                  <a:lnTo>
                    <a:pt x="800" y="890"/>
                  </a:lnTo>
                  <a:lnTo>
                    <a:pt x="796" y="890"/>
                  </a:lnTo>
                  <a:lnTo>
                    <a:pt x="798" y="892"/>
                  </a:lnTo>
                  <a:lnTo>
                    <a:pt x="798" y="894"/>
                  </a:lnTo>
                  <a:lnTo>
                    <a:pt x="800" y="894"/>
                  </a:lnTo>
                  <a:lnTo>
                    <a:pt x="800" y="896"/>
                  </a:lnTo>
                  <a:lnTo>
                    <a:pt x="800" y="898"/>
                  </a:lnTo>
                  <a:lnTo>
                    <a:pt x="798" y="896"/>
                  </a:lnTo>
                  <a:lnTo>
                    <a:pt x="798" y="896"/>
                  </a:lnTo>
                  <a:lnTo>
                    <a:pt x="798" y="898"/>
                  </a:lnTo>
                  <a:lnTo>
                    <a:pt x="798" y="900"/>
                  </a:lnTo>
                  <a:lnTo>
                    <a:pt x="798" y="900"/>
                  </a:lnTo>
                  <a:lnTo>
                    <a:pt x="798" y="900"/>
                  </a:lnTo>
                  <a:lnTo>
                    <a:pt x="800" y="902"/>
                  </a:lnTo>
                  <a:lnTo>
                    <a:pt x="802" y="900"/>
                  </a:lnTo>
                  <a:lnTo>
                    <a:pt x="804" y="902"/>
                  </a:lnTo>
                  <a:lnTo>
                    <a:pt x="806" y="900"/>
                  </a:lnTo>
                  <a:lnTo>
                    <a:pt x="806" y="902"/>
                  </a:lnTo>
                  <a:lnTo>
                    <a:pt x="808" y="902"/>
                  </a:lnTo>
                  <a:lnTo>
                    <a:pt x="808" y="902"/>
                  </a:lnTo>
                  <a:lnTo>
                    <a:pt x="810" y="905"/>
                  </a:lnTo>
                  <a:lnTo>
                    <a:pt x="808" y="905"/>
                  </a:lnTo>
                  <a:lnTo>
                    <a:pt x="806" y="902"/>
                  </a:lnTo>
                  <a:lnTo>
                    <a:pt x="806" y="902"/>
                  </a:lnTo>
                  <a:lnTo>
                    <a:pt x="804" y="902"/>
                  </a:lnTo>
                  <a:lnTo>
                    <a:pt x="802" y="902"/>
                  </a:lnTo>
                  <a:lnTo>
                    <a:pt x="800" y="902"/>
                  </a:lnTo>
                  <a:lnTo>
                    <a:pt x="798" y="902"/>
                  </a:lnTo>
                  <a:lnTo>
                    <a:pt x="798" y="902"/>
                  </a:lnTo>
                  <a:lnTo>
                    <a:pt x="798" y="902"/>
                  </a:lnTo>
                  <a:lnTo>
                    <a:pt x="800" y="905"/>
                  </a:lnTo>
                  <a:lnTo>
                    <a:pt x="798" y="909"/>
                  </a:lnTo>
                  <a:lnTo>
                    <a:pt x="800" y="913"/>
                  </a:lnTo>
                  <a:lnTo>
                    <a:pt x="798" y="915"/>
                  </a:lnTo>
                  <a:lnTo>
                    <a:pt x="800" y="917"/>
                  </a:lnTo>
                  <a:lnTo>
                    <a:pt x="798" y="927"/>
                  </a:lnTo>
                  <a:lnTo>
                    <a:pt x="798" y="929"/>
                  </a:lnTo>
                  <a:lnTo>
                    <a:pt x="798" y="931"/>
                  </a:lnTo>
                  <a:lnTo>
                    <a:pt x="798" y="933"/>
                  </a:lnTo>
                  <a:lnTo>
                    <a:pt x="798" y="936"/>
                  </a:lnTo>
                  <a:lnTo>
                    <a:pt x="796" y="940"/>
                  </a:lnTo>
                  <a:lnTo>
                    <a:pt x="796" y="946"/>
                  </a:lnTo>
                  <a:lnTo>
                    <a:pt x="796" y="948"/>
                  </a:lnTo>
                  <a:lnTo>
                    <a:pt x="796" y="950"/>
                  </a:lnTo>
                  <a:lnTo>
                    <a:pt x="794" y="952"/>
                  </a:lnTo>
                  <a:lnTo>
                    <a:pt x="796" y="950"/>
                  </a:lnTo>
                  <a:lnTo>
                    <a:pt x="796" y="952"/>
                  </a:lnTo>
                  <a:lnTo>
                    <a:pt x="794" y="952"/>
                  </a:lnTo>
                  <a:lnTo>
                    <a:pt x="794" y="952"/>
                  </a:lnTo>
                  <a:lnTo>
                    <a:pt x="794" y="952"/>
                  </a:lnTo>
                  <a:lnTo>
                    <a:pt x="792" y="958"/>
                  </a:lnTo>
                  <a:lnTo>
                    <a:pt x="792" y="960"/>
                  </a:lnTo>
                  <a:lnTo>
                    <a:pt x="790" y="962"/>
                  </a:lnTo>
                  <a:lnTo>
                    <a:pt x="792" y="964"/>
                  </a:lnTo>
                  <a:lnTo>
                    <a:pt x="792" y="966"/>
                  </a:lnTo>
                  <a:lnTo>
                    <a:pt x="792" y="969"/>
                  </a:lnTo>
                  <a:lnTo>
                    <a:pt x="792" y="971"/>
                  </a:lnTo>
                  <a:lnTo>
                    <a:pt x="794" y="973"/>
                  </a:lnTo>
                  <a:lnTo>
                    <a:pt x="796" y="975"/>
                  </a:lnTo>
                  <a:lnTo>
                    <a:pt x="796" y="977"/>
                  </a:lnTo>
                  <a:lnTo>
                    <a:pt x="796" y="979"/>
                  </a:lnTo>
                  <a:lnTo>
                    <a:pt x="796" y="981"/>
                  </a:lnTo>
                  <a:lnTo>
                    <a:pt x="796" y="981"/>
                  </a:lnTo>
                  <a:lnTo>
                    <a:pt x="798" y="985"/>
                  </a:lnTo>
                  <a:lnTo>
                    <a:pt x="798" y="985"/>
                  </a:lnTo>
                  <a:lnTo>
                    <a:pt x="796" y="989"/>
                  </a:lnTo>
                  <a:lnTo>
                    <a:pt x="796" y="993"/>
                  </a:lnTo>
                  <a:lnTo>
                    <a:pt x="796" y="995"/>
                  </a:lnTo>
                  <a:lnTo>
                    <a:pt x="796" y="995"/>
                  </a:lnTo>
                  <a:lnTo>
                    <a:pt x="796" y="995"/>
                  </a:lnTo>
                  <a:lnTo>
                    <a:pt x="796" y="995"/>
                  </a:lnTo>
                  <a:lnTo>
                    <a:pt x="796" y="997"/>
                  </a:lnTo>
                  <a:lnTo>
                    <a:pt x="796" y="997"/>
                  </a:lnTo>
                  <a:lnTo>
                    <a:pt x="794" y="997"/>
                  </a:lnTo>
                  <a:lnTo>
                    <a:pt x="796" y="997"/>
                  </a:lnTo>
                  <a:lnTo>
                    <a:pt x="794" y="997"/>
                  </a:lnTo>
                  <a:lnTo>
                    <a:pt x="794" y="997"/>
                  </a:lnTo>
                  <a:lnTo>
                    <a:pt x="794" y="1000"/>
                  </a:lnTo>
                  <a:lnTo>
                    <a:pt x="794" y="1002"/>
                  </a:lnTo>
                  <a:lnTo>
                    <a:pt x="794" y="1004"/>
                  </a:lnTo>
                  <a:lnTo>
                    <a:pt x="794" y="1006"/>
                  </a:lnTo>
                  <a:lnTo>
                    <a:pt x="796" y="1008"/>
                  </a:lnTo>
                  <a:lnTo>
                    <a:pt x="800" y="1012"/>
                  </a:lnTo>
                  <a:lnTo>
                    <a:pt x="800" y="1012"/>
                  </a:lnTo>
                  <a:lnTo>
                    <a:pt x="802" y="1016"/>
                  </a:lnTo>
                  <a:lnTo>
                    <a:pt x="802" y="1018"/>
                  </a:lnTo>
                  <a:lnTo>
                    <a:pt x="800" y="1020"/>
                  </a:lnTo>
                  <a:lnTo>
                    <a:pt x="802" y="1024"/>
                  </a:lnTo>
                  <a:lnTo>
                    <a:pt x="802" y="1026"/>
                  </a:lnTo>
                  <a:lnTo>
                    <a:pt x="806" y="1031"/>
                  </a:lnTo>
                  <a:lnTo>
                    <a:pt x="808" y="1033"/>
                  </a:lnTo>
                  <a:lnTo>
                    <a:pt x="810" y="1035"/>
                  </a:lnTo>
                  <a:lnTo>
                    <a:pt x="812" y="1037"/>
                  </a:lnTo>
                  <a:lnTo>
                    <a:pt x="812" y="1037"/>
                  </a:lnTo>
                  <a:lnTo>
                    <a:pt x="814" y="1039"/>
                  </a:lnTo>
                  <a:lnTo>
                    <a:pt x="814" y="1041"/>
                  </a:lnTo>
                  <a:lnTo>
                    <a:pt x="812" y="1039"/>
                  </a:lnTo>
                  <a:lnTo>
                    <a:pt x="812" y="1041"/>
                  </a:lnTo>
                  <a:lnTo>
                    <a:pt x="812" y="1041"/>
                  </a:lnTo>
                  <a:lnTo>
                    <a:pt x="812" y="1043"/>
                  </a:lnTo>
                  <a:lnTo>
                    <a:pt x="814" y="1041"/>
                  </a:lnTo>
                  <a:lnTo>
                    <a:pt x="814" y="1041"/>
                  </a:lnTo>
                  <a:lnTo>
                    <a:pt x="817" y="1043"/>
                  </a:lnTo>
                  <a:lnTo>
                    <a:pt x="817" y="1043"/>
                  </a:lnTo>
                  <a:lnTo>
                    <a:pt x="819" y="1045"/>
                  </a:lnTo>
                  <a:lnTo>
                    <a:pt x="819" y="1045"/>
                  </a:lnTo>
                  <a:lnTo>
                    <a:pt x="821" y="1045"/>
                  </a:lnTo>
                  <a:lnTo>
                    <a:pt x="821" y="1043"/>
                  </a:lnTo>
                  <a:lnTo>
                    <a:pt x="821" y="1041"/>
                  </a:lnTo>
                  <a:lnTo>
                    <a:pt x="821" y="1039"/>
                  </a:lnTo>
                  <a:lnTo>
                    <a:pt x="823" y="1041"/>
                  </a:lnTo>
                  <a:lnTo>
                    <a:pt x="825" y="1041"/>
                  </a:lnTo>
                  <a:lnTo>
                    <a:pt x="825" y="1041"/>
                  </a:lnTo>
                  <a:lnTo>
                    <a:pt x="827" y="1041"/>
                  </a:lnTo>
                  <a:lnTo>
                    <a:pt x="827" y="1041"/>
                  </a:lnTo>
                  <a:lnTo>
                    <a:pt x="827" y="1041"/>
                  </a:lnTo>
                  <a:lnTo>
                    <a:pt x="829" y="1041"/>
                  </a:lnTo>
                  <a:lnTo>
                    <a:pt x="831" y="1041"/>
                  </a:lnTo>
                  <a:lnTo>
                    <a:pt x="831" y="1041"/>
                  </a:lnTo>
                  <a:lnTo>
                    <a:pt x="833" y="1041"/>
                  </a:lnTo>
                  <a:lnTo>
                    <a:pt x="833" y="1041"/>
                  </a:lnTo>
                  <a:lnTo>
                    <a:pt x="833" y="1041"/>
                  </a:lnTo>
                  <a:lnTo>
                    <a:pt x="833" y="1041"/>
                  </a:lnTo>
                  <a:lnTo>
                    <a:pt x="831" y="1041"/>
                  </a:lnTo>
                  <a:lnTo>
                    <a:pt x="825" y="1041"/>
                  </a:lnTo>
                  <a:lnTo>
                    <a:pt x="825" y="1041"/>
                  </a:lnTo>
                  <a:lnTo>
                    <a:pt x="823" y="1043"/>
                  </a:lnTo>
                  <a:lnTo>
                    <a:pt x="821" y="1043"/>
                  </a:lnTo>
                  <a:lnTo>
                    <a:pt x="821" y="1043"/>
                  </a:lnTo>
                  <a:lnTo>
                    <a:pt x="823" y="1043"/>
                  </a:lnTo>
                  <a:lnTo>
                    <a:pt x="823" y="1045"/>
                  </a:lnTo>
                  <a:lnTo>
                    <a:pt x="823" y="1047"/>
                  </a:lnTo>
                  <a:lnTo>
                    <a:pt x="825" y="1049"/>
                  </a:lnTo>
                  <a:lnTo>
                    <a:pt x="825" y="1049"/>
                  </a:lnTo>
                  <a:lnTo>
                    <a:pt x="825" y="1049"/>
                  </a:lnTo>
                  <a:lnTo>
                    <a:pt x="827" y="1051"/>
                  </a:lnTo>
                  <a:lnTo>
                    <a:pt x="825" y="1051"/>
                  </a:lnTo>
                  <a:lnTo>
                    <a:pt x="825" y="1051"/>
                  </a:lnTo>
                  <a:lnTo>
                    <a:pt x="823" y="1049"/>
                  </a:lnTo>
                  <a:lnTo>
                    <a:pt x="823" y="1049"/>
                  </a:lnTo>
                  <a:lnTo>
                    <a:pt x="821" y="1047"/>
                  </a:lnTo>
                  <a:lnTo>
                    <a:pt x="821" y="1047"/>
                  </a:lnTo>
                  <a:lnTo>
                    <a:pt x="821" y="1045"/>
                  </a:lnTo>
                  <a:lnTo>
                    <a:pt x="821" y="1045"/>
                  </a:lnTo>
                  <a:lnTo>
                    <a:pt x="819" y="1045"/>
                  </a:lnTo>
                  <a:lnTo>
                    <a:pt x="821" y="1047"/>
                  </a:lnTo>
                  <a:lnTo>
                    <a:pt x="821" y="1049"/>
                  </a:lnTo>
                  <a:lnTo>
                    <a:pt x="821" y="1053"/>
                  </a:lnTo>
                  <a:lnTo>
                    <a:pt x="821" y="1055"/>
                  </a:lnTo>
                  <a:lnTo>
                    <a:pt x="825" y="1059"/>
                  </a:lnTo>
                  <a:lnTo>
                    <a:pt x="829" y="1059"/>
                  </a:lnTo>
                  <a:lnTo>
                    <a:pt x="829" y="1061"/>
                  </a:lnTo>
                  <a:lnTo>
                    <a:pt x="829" y="1061"/>
                  </a:lnTo>
                  <a:lnTo>
                    <a:pt x="829" y="1064"/>
                  </a:lnTo>
                  <a:lnTo>
                    <a:pt x="829" y="1064"/>
                  </a:lnTo>
                  <a:lnTo>
                    <a:pt x="829" y="1066"/>
                  </a:lnTo>
                  <a:lnTo>
                    <a:pt x="829" y="1068"/>
                  </a:lnTo>
                  <a:lnTo>
                    <a:pt x="829" y="1070"/>
                  </a:lnTo>
                  <a:lnTo>
                    <a:pt x="831" y="1072"/>
                  </a:lnTo>
                  <a:lnTo>
                    <a:pt x="835" y="1076"/>
                  </a:lnTo>
                  <a:lnTo>
                    <a:pt x="835" y="1076"/>
                  </a:lnTo>
                  <a:lnTo>
                    <a:pt x="837" y="1078"/>
                  </a:lnTo>
                  <a:lnTo>
                    <a:pt x="837" y="1080"/>
                  </a:lnTo>
                  <a:lnTo>
                    <a:pt x="839" y="1080"/>
                  </a:lnTo>
                  <a:lnTo>
                    <a:pt x="841" y="1082"/>
                  </a:lnTo>
                  <a:lnTo>
                    <a:pt x="843" y="1084"/>
                  </a:lnTo>
                  <a:lnTo>
                    <a:pt x="843" y="1084"/>
                  </a:lnTo>
                  <a:lnTo>
                    <a:pt x="843" y="1086"/>
                  </a:lnTo>
                  <a:lnTo>
                    <a:pt x="843" y="1088"/>
                  </a:lnTo>
                  <a:lnTo>
                    <a:pt x="845" y="1088"/>
                  </a:lnTo>
                  <a:lnTo>
                    <a:pt x="845" y="1088"/>
                  </a:lnTo>
                  <a:lnTo>
                    <a:pt x="845" y="1090"/>
                  </a:lnTo>
                  <a:lnTo>
                    <a:pt x="845" y="1092"/>
                  </a:lnTo>
                  <a:lnTo>
                    <a:pt x="847" y="1095"/>
                  </a:lnTo>
                  <a:lnTo>
                    <a:pt x="845" y="1095"/>
                  </a:lnTo>
                  <a:lnTo>
                    <a:pt x="847" y="1097"/>
                  </a:lnTo>
                  <a:lnTo>
                    <a:pt x="845" y="1097"/>
                  </a:lnTo>
                  <a:lnTo>
                    <a:pt x="847" y="1099"/>
                  </a:lnTo>
                  <a:lnTo>
                    <a:pt x="850" y="1099"/>
                  </a:lnTo>
                  <a:lnTo>
                    <a:pt x="850" y="1099"/>
                  </a:lnTo>
                  <a:lnTo>
                    <a:pt x="854" y="1099"/>
                  </a:lnTo>
                  <a:lnTo>
                    <a:pt x="854" y="1099"/>
                  </a:lnTo>
                  <a:lnTo>
                    <a:pt x="858" y="1101"/>
                  </a:lnTo>
                  <a:lnTo>
                    <a:pt x="860" y="1101"/>
                  </a:lnTo>
                  <a:lnTo>
                    <a:pt x="862" y="1101"/>
                  </a:lnTo>
                  <a:lnTo>
                    <a:pt x="864" y="1101"/>
                  </a:lnTo>
                  <a:lnTo>
                    <a:pt x="866" y="1103"/>
                  </a:lnTo>
                  <a:lnTo>
                    <a:pt x="866" y="1105"/>
                  </a:lnTo>
                  <a:lnTo>
                    <a:pt x="868" y="1105"/>
                  </a:lnTo>
                  <a:lnTo>
                    <a:pt x="872" y="1107"/>
                  </a:lnTo>
                  <a:lnTo>
                    <a:pt x="876" y="1107"/>
                  </a:lnTo>
                  <a:lnTo>
                    <a:pt x="876" y="1107"/>
                  </a:lnTo>
                  <a:lnTo>
                    <a:pt x="878" y="1109"/>
                  </a:lnTo>
                  <a:lnTo>
                    <a:pt x="878" y="1111"/>
                  </a:lnTo>
                  <a:lnTo>
                    <a:pt x="880" y="1111"/>
                  </a:lnTo>
                  <a:lnTo>
                    <a:pt x="880" y="1111"/>
                  </a:lnTo>
                  <a:lnTo>
                    <a:pt x="883" y="1111"/>
                  </a:lnTo>
                  <a:lnTo>
                    <a:pt x="883" y="1111"/>
                  </a:lnTo>
                  <a:lnTo>
                    <a:pt x="885" y="1113"/>
                  </a:lnTo>
                  <a:lnTo>
                    <a:pt x="887" y="1113"/>
                  </a:lnTo>
                  <a:lnTo>
                    <a:pt x="891" y="1117"/>
                  </a:lnTo>
                  <a:lnTo>
                    <a:pt x="893" y="1121"/>
                  </a:lnTo>
                  <a:lnTo>
                    <a:pt x="895" y="1123"/>
                  </a:lnTo>
                  <a:lnTo>
                    <a:pt x="895" y="1125"/>
                  </a:lnTo>
                  <a:lnTo>
                    <a:pt x="895" y="1125"/>
                  </a:lnTo>
                  <a:lnTo>
                    <a:pt x="895" y="1128"/>
                  </a:lnTo>
                  <a:lnTo>
                    <a:pt x="895" y="1128"/>
                  </a:lnTo>
                  <a:lnTo>
                    <a:pt x="897" y="1128"/>
                  </a:lnTo>
                  <a:lnTo>
                    <a:pt x="897" y="1130"/>
                  </a:lnTo>
                  <a:lnTo>
                    <a:pt x="897" y="1130"/>
                  </a:lnTo>
                  <a:lnTo>
                    <a:pt x="897" y="1134"/>
                  </a:lnTo>
                  <a:lnTo>
                    <a:pt x="897" y="1134"/>
                  </a:lnTo>
                  <a:lnTo>
                    <a:pt x="899" y="1136"/>
                  </a:lnTo>
                  <a:lnTo>
                    <a:pt x="901" y="1138"/>
                  </a:lnTo>
                  <a:lnTo>
                    <a:pt x="903" y="1140"/>
                  </a:lnTo>
                  <a:lnTo>
                    <a:pt x="903" y="1142"/>
                  </a:lnTo>
                  <a:lnTo>
                    <a:pt x="903" y="1142"/>
                  </a:lnTo>
                  <a:lnTo>
                    <a:pt x="903" y="1142"/>
                  </a:lnTo>
                  <a:lnTo>
                    <a:pt x="903" y="1142"/>
                  </a:lnTo>
                  <a:lnTo>
                    <a:pt x="903" y="1142"/>
                  </a:lnTo>
                  <a:lnTo>
                    <a:pt x="903" y="1144"/>
                  </a:lnTo>
                  <a:lnTo>
                    <a:pt x="903" y="1146"/>
                  </a:lnTo>
                  <a:lnTo>
                    <a:pt x="905" y="1148"/>
                  </a:lnTo>
                  <a:lnTo>
                    <a:pt x="907" y="1150"/>
                  </a:lnTo>
                  <a:lnTo>
                    <a:pt x="907" y="1152"/>
                  </a:lnTo>
                  <a:lnTo>
                    <a:pt x="907" y="1152"/>
                  </a:lnTo>
                  <a:lnTo>
                    <a:pt x="907" y="1154"/>
                  </a:lnTo>
                  <a:lnTo>
                    <a:pt x="911" y="1156"/>
                  </a:lnTo>
                  <a:lnTo>
                    <a:pt x="911" y="1159"/>
                  </a:lnTo>
                  <a:lnTo>
                    <a:pt x="911" y="1161"/>
                  </a:lnTo>
                  <a:lnTo>
                    <a:pt x="913" y="1163"/>
                  </a:lnTo>
                  <a:lnTo>
                    <a:pt x="913" y="1165"/>
                  </a:lnTo>
                  <a:lnTo>
                    <a:pt x="916" y="1165"/>
                  </a:lnTo>
                  <a:lnTo>
                    <a:pt x="916" y="1169"/>
                  </a:lnTo>
                  <a:lnTo>
                    <a:pt x="916" y="1171"/>
                  </a:lnTo>
                  <a:lnTo>
                    <a:pt x="916" y="1171"/>
                  </a:lnTo>
                  <a:lnTo>
                    <a:pt x="918" y="1173"/>
                  </a:lnTo>
                  <a:lnTo>
                    <a:pt x="920" y="1175"/>
                  </a:lnTo>
                  <a:lnTo>
                    <a:pt x="922" y="1177"/>
                  </a:lnTo>
                  <a:lnTo>
                    <a:pt x="924" y="1179"/>
                  </a:lnTo>
                  <a:lnTo>
                    <a:pt x="926" y="1179"/>
                  </a:lnTo>
                  <a:lnTo>
                    <a:pt x="928" y="1179"/>
                  </a:lnTo>
                  <a:lnTo>
                    <a:pt x="928" y="1181"/>
                  </a:lnTo>
                  <a:lnTo>
                    <a:pt x="932" y="1183"/>
                  </a:lnTo>
                  <a:lnTo>
                    <a:pt x="936" y="1189"/>
                  </a:lnTo>
                  <a:lnTo>
                    <a:pt x="938" y="1192"/>
                  </a:lnTo>
                  <a:lnTo>
                    <a:pt x="940" y="1194"/>
                  </a:lnTo>
                  <a:lnTo>
                    <a:pt x="940" y="1198"/>
                  </a:lnTo>
                  <a:lnTo>
                    <a:pt x="938" y="1200"/>
                  </a:lnTo>
                  <a:lnTo>
                    <a:pt x="936" y="1202"/>
                  </a:lnTo>
                  <a:lnTo>
                    <a:pt x="938" y="1202"/>
                  </a:lnTo>
                  <a:lnTo>
                    <a:pt x="938" y="1202"/>
                  </a:lnTo>
                  <a:lnTo>
                    <a:pt x="938" y="1202"/>
                  </a:lnTo>
                  <a:lnTo>
                    <a:pt x="938" y="1202"/>
                  </a:lnTo>
                  <a:lnTo>
                    <a:pt x="938" y="1204"/>
                  </a:lnTo>
                  <a:lnTo>
                    <a:pt x="940" y="1206"/>
                  </a:lnTo>
                  <a:lnTo>
                    <a:pt x="938" y="1206"/>
                  </a:lnTo>
                  <a:lnTo>
                    <a:pt x="938" y="1204"/>
                  </a:lnTo>
                  <a:lnTo>
                    <a:pt x="936" y="1204"/>
                  </a:lnTo>
                  <a:lnTo>
                    <a:pt x="936" y="1202"/>
                  </a:lnTo>
                  <a:lnTo>
                    <a:pt x="936" y="1202"/>
                  </a:lnTo>
                  <a:lnTo>
                    <a:pt x="936" y="1202"/>
                  </a:lnTo>
                  <a:lnTo>
                    <a:pt x="934" y="1204"/>
                  </a:lnTo>
                  <a:lnTo>
                    <a:pt x="932" y="1204"/>
                  </a:lnTo>
                  <a:lnTo>
                    <a:pt x="930" y="1202"/>
                  </a:lnTo>
                  <a:lnTo>
                    <a:pt x="926" y="1202"/>
                  </a:lnTo>
                  <a:lnTo>
                    <a:pt x="926" y="1204"/>
                  </a:lnTo>
                  <a:lnTo>
                    <a:pt x="926" y="1204"/>
                  </a:lnTo>
                  <a:lnTo>
                    <a:pt x="928" y="1206"/>
                  </a:lnTo>
                  <a:lnTo>
                    <a:pt x="930" y="1208"/>
                  </a:lnTo>
                  <a:lnTo>
                    <a:pt x="934" y="1208"/>
                  </a:lnTo>
                  <a:lnTo>
                    <a:pt x="934" y="1210"/>
                  </a:lnTo>
                  <a:lnTo>
                    <a:pt x="934" y="1210"/>
                  </a:lnTo>
                  <a:lnTo>
                    <a:pt x="934" y="1212"/>
                  </a:lnTo>
                  <a:lnTo>
                    <a:pt x="936" y="1212"/>
                  </a:lnTo>
                  <a:lnTo>
                    <a:pt x="938" y="1214"/>
                  </a:lnTo>
                  <a:lnTo>
                    <a:pt x="940" y="1214"/>
                  </a:lnTo>
                  <a:lnTo>
                    <a:pt x="940" y="1216"/>
                  </a:lnTo>
                  <a:lnTo>
                    <a:pt x="942" y="1216"/>
                  </a:lnTo>
                  <a:lnTo>
                    <a:pt x="942" y="1216"/>
                  </a:lnTo>
                  <a:lnTo>
                    <a:pt x="944" y="1218"/>
                  </a:lnTo>
                  <a:lnTo>
                    <a:pt x="944" y="1218"/>
                  </a:lnTo>
                  <a:lnTo>
                    <a:pt x="946" y="1220"/>
                  </a:lnTo>
                  <a:lnTo>
                    <a:pt x="949" y="1218"/>
                  </a:lnTo>
                  <a:lnTo>
                    <a:pt x="951" y="1218"/>
                  </a:lnTo>
                  <a:lnTo>
                    <a:pt x="953" y="1218"/>
                  </a:lnTo>
                  <a:lnTo>
                    <a:pt x="953" y="1216"/>
                  </a:lnTo>
                  <a:lnTo>
                    <a:pt x="953" y="1218"/>
                  </a:lnTo>
                  <a:lnTo>
                    <a:pt x="953" y="1220"/>
                  </a:lnTo>
                  <a:lnTo>
                    <a:pt x="955" y="1223"/>
                  </a:lnTo>
                  <a:lnTo>
                    <a:pt x="961" y="1227"/>
                  </a:lnTo>
                  <a:lnTo>
                    <a:pt x="963" y="1227"/>
                  </a:lnTo>
                  <a:lnTo>
                    <a:pt x="965" y="1227"/>
                  </a:lnTo>
                  <a:lnTo>
                    <a:pt x="967" y="1233"/>
                  </a:lnTo>
                  <a:lnTo>
                    <a:pt x="967" y="1235"/>
                  </a:lnTo>
                  <a:lnTo>
                    <a:pt x="967" y="1237"/>
                  </a:lnTo>
                  <a:lnTo>
                    <a:pt x="969" y="1237"/>
                  </a:lnTo>
                  <a:lnTo>
                    <a:pt x="969" y="1237"/>
                  </a:lnTo>
                  <a:lnTo>
                    <a:pt x="969" y="1239"/>
                  </a:lnTo>
                  <a:lnTo>
                    <a:pt x="969" y="1241"/>
                  </a:lnTo>
                  <a:lnTo>
                    <a:pt x="967" y="1245"/>
                  </a:lnTo>
                  <a:lnTo>
                    <a:pt x="967" y="1247"/>
                  </a:lnTo>
                  <a:lnTo>
                    <a:pt x="969" y="1247"/>
                  </a:lnTo>
                  <a:lnTo>
                    <a:pt x="971" y="1251"/>
                  </a:lnTo>
                  <a:lnTo>
                    <a:pt x="971" y="1251"/>
                  </a:lnTo>
                  <a:lnTo>
                    <a:pt x="971" y="1251"/>
                  </a:lnTo>
                  <a:lnTo>
                    <a:pt x="973" y="1254"/>
                  </a:lnTo>
                  <a:lnTo>
                    <a:pt x="973" y="1251"/>
                  </a:lnTo>
                  <a:lnTo>
                    <a:pt x="973" y="1251"/>
                  </a:lnTo>
                  <a:lnTo>
                    <a:pt x="975" y="1254"/>
                  </a:lnTo>
                  <a:lnTo>
                    <a:pt x="977" y="1256"/>
                  </a:lnTo>
                  <a:lnTo>
                    <a:pt x="984" y="1260"/>
                  </a:lnTo>
                  <a:lnTo>
                    <a:pt x="986" y="1262"/>
                  </a:lnTo>
                  <a:lnTo>
                    <a:pt x="988" y="1262"/>
                  </a:lnTo>
                  <a:lnTo>
                    <a:pt x="990" y="1264"/>
                  </a:lnTo>
                  <a:lnTo>
                    <a:pt x="992" y="1266"/>
                  </a:lnTo>
                  <a:lnTo>
                    <a:pt x="994" y="1268"/>
                  </a:lnTo>
                  <a:lnTo>
                    <a:pt x="994" y="1270"/>
                  </a:lnTo>
                  <a:lnTo>
                    <a:pt x="996" y="1270"/>
                  </a:lnTo>
                  <a:lnTo>
                    <a:pt x="996" y="1276"/>
                  </a:lnTo>
                  <a:lnTo>
                    <a:pt x="998" y="1276"/>
                  </a:lnTo>
                  <a:lnTo>
                    <a:pt x="1000" y="1278"/>
                  </a:lnTo>
                  <a:lnTo>
                    <a:pt x="1000" y="1276"/>
                  </a:lnTo>
                  <a:lnTo>
                    <a:pt x="1002" y="1276"/>
                  </a:lnTo>
                  <a:lnTo>
                    <a:pt x="1004" y="1274"/>
                  </a:lnTo>
                  <a:lnTo>
                    <a:pt x="1004" y="1274"/>
                  </a:lnTo>
                  <a:lnTo>
                    <a:pt x="1006" y="1272"/>
                  </a:lnTo>
                  <a:lnTo>
                    <a:pt x="1006" y="1270"/>
                  </a:lnTo>
                  <a:lnTo>
                    <a:pt x="1006" y="1268"/>
                  </a:lnTo>
                  <a:lnTo>
                    <a:pt x="1004" y="1266"/>
                  </a:lnTo>
                  <a:lnTo>
                    <a:pt x="1002" y="1266"/>
                  </a:lnTo>
                  <a:lnTo>
                    <a:pt x="1002" y="1264"/>
                  </a:lnTo>
                  <a:lnTo>
                    <a:pt x="1002" y="1262"/>
                  </a:lnTo>
                  <a:lnTo>
                    <a:pt x="1000" y="1262"/>
                  </a:lnTo>
                  <a:lnTo>
                    <a:pt x="1000" y="1260"/>
                  </a:lnTo>
                  <a:lnTo>
                    <a:pt x="998" y="1260"/>
                  </a:lnTo>
                  <a:lnTo>
                    <a:pt x="998" y="1258"/>
                  </a:lnTo>
                  <a:lnTo>
                    <a:pt x="994" y="1256"/>
                  </a:lnTo>
                  <a:lnTo>
                    <a:pt x="994" y="1256"/>
                  </a:lnTo>
                  <a:lnTo>
                    <a:pt x="994" y="1256"/>
                  </a:lnTo>
                  <a:lnTo>
                    <a:pt x="994" y="1258"/>
                  </a:lnTo>
                  <a:lnTo>
                    <a:pt x="994" y="1258"/>
                  </a:lnTo>
                  <a:lnTo>
                    <a:pt x="994" y="1258"/>
                  </a:lnTo>
                  <a:lnTo>
                    <a:pt x="992" y="1260"/>
                  </a:lnTo>
                  <a:lnTo>
                    <a:pt x="992" y="1260"/>
                  </a:lnTo>
                  <a:lnTo>
                    <a:pt x="992" y="1258"/>
                  </a:lnTo>
                  <a:lnTo>
                    <a:pt x="992" y="1258"/>
                  </a:lnTo>
                  <a:lnTo>
                    <a:pt x="990" y="1258"/>
                  </a:lnTo>
                  <a:lnTo>
                    <a:pt x="988" y="1256"/>
                  </a:lnTo>
                  <a:lnTo>
                    <a:pt x="988" y="1251"/>
                  </a:lnTo>
                  <a:lnTo>
                    <a:pt x="988" y="1251"/>
                  </a:lnTo>
                  <a:lnTo>
                    <a:pt x="988" y="1249"/>
                  </a:lnTo>
                  <a:lnTo>
                    <a:pt x="988" y="1247"/>
                  </a:lnTo>
                  <a:lnTo>
                    <a:pt x="988" y="1245"/>
                  </a:lnTo>
                  <a:lnTo>
                    <a:pt x="986" y="1243"/>
                  </a:lnTo>
                  <a:lnTo>
                    <a:pt x="984" y="1239"/>
                  </a:lnTo>
                  <a:lnTo>
                    <a:pt x="984" y="1237"/>
                  </a:lnTo>
                  <a:lnTo>
                    <a:pt x="982" y="1237"/>
                  </a:lnTo>
                  <a:lnTo>
                    <a:pt x="979" y="1233"/>
                  </a:lnTo>
                  <a:lnTo>
                    <a:pt x="979" y="1231"/>
                  </a:lnTo>
                  <a:lnTo>
                    <a:pt x="979" y="1229"/>
                  </a:lnTo>
                  <a:lnTo>
                    <a:pt x="977" y="1227"/>
                  </a:lnTo>
                  <a:lnTo>
                    <a:pt x="977" y="1225"/>
                  </a:lnTo>
                  <a:lnTo>
                    <a:pt x="977" y="1225"/>
                  </a:lnTo>
                  <a:lnTo>
                    <a:pt x="977" y="1223"/>
                  </a:lnTo>
                  <a:lnTo>
                    <a:pt x="975" y="1223"/>
                  </a:lnTo>
                  <a:lnTo>
                    <a:pt x="975" y="1220"/>
                  </a:lnTo>
                  <a:lnTo>
                    <a:pt x="973" y="1216"/>
                  </a:lnTo>
                  <a:lnTo>
                    <a:pt x="971" y="1218"/>
                  </a:lnTo>
                  <a:lnTo>
                    <a:pt x="971" y="1218"/>
                  </a:lnTo>
                  <a:lnTo>
                    <a:pt x="973" y="1220"/>
                  </a:lnTo>
                  <a:lnTo>
                    <a:pt x="973" y="1223"/>
                  </a:lnTo>
                  <a:lnTo>
                    <a:pt x="973" y="1223"/>
                  </a:lnTo>
                  <a:lnTo>
                    <a:pt x="973" y="1223"/>
                  </a:lnTo>
                  <a:lnTo>
                    <a:pt x="971" y="1220"/>
                  </a:lnTo>
                  <a:lnTo>
                    <a:pt x="971" y="1218"/>
                  </a:lnTo>
                  <a:lnTo>
                    <a:pt x="969" y="1216"/>
                  </a:lnTo>
                  <a:lnTo>
                    <a:pt x="969" y="1214"/>
                  </a:lnTo>
                  <a:lnTo>
                    <a:pt x="969" y="1214"/>
                  </a:lnTo>
                  <a:lnTo>
                    <a:pt x="967" y="1212"/>
                  </a:lnTo>
                  <a:lnTo>
                    <a:pt x="967" y="1212"/>
                  </a:lnTo>
                  <a:lnTo>
                    <a:pt x="965" y="1210"/>
                  </a:lnTo>
                  <a:lnTo>
                    <a:pt x="965" y="1208"/>
                  </a:lnTo>
                  <a:lnTo>
                    <a:pt x="961" y="1206"/>
                  </a:lnTo>
                  <a:lnTo>
                    <a:pt x="959" y="1202"/>
                  </a:lnTo>
                  <a:lnTo>
                    <a:pt x="959" y="1202"/>
                  </a:lnTo>
                  <a:lnTo>
                    <a:pt x="959" y="1200"/>
                  </a:lnTo>
                  <a:lnTo>
                    <a:pt x="959" y="1198"/>
                  </a:lnTo>
                  <a:lnTo>
                    <a:pt x="959" y="1198"/>
                  </a:lnTo>
                  <a:lnTo>
                    <a:pt x="957" y="1196"/>
                  </a:lnTo>
                  <a:lnTo>
                    <a:pt x="957" y="1196"/>
                  </a:lnTo>
                  <a:lnTo>
                    <a:pt x="957" y="1194"/>
                  </a:lnTo>
                  <a:lnTo>
                    <a:pt x="957" y="1194"/>
                  </a:lnTo>
                  <a:lnTo>
                    <a:pt x="955" y="1194"/>
                  </a:lnTo>
                  <a:lnTo>
                    <a:pt x="955" y="1192"/>
                  </a:lnTo>
                  <a:lnTo>
                    <a:pt x="953" y="1187"/>
                  </a:lnTo>
                  <a:lnTo>
                    <a:pt x="951" y="1187"/>
                  </a:lnTo>
                  <a:lnTo>
                    <a:pt x="951" y="1187"/>
                  </a:lnTo>
                  <a:lnTo>
                    <a:pt x="951" y="1187"/>
                  </a:lnTo>
                  <a:lnTo>
                    <a:pt x="951" y="1187"/>
                  </a:lnTo>
                  <a:lnTo>
                    <a:pt x="951" y="1185"/>
                  </a:lnTo>
                  <a:lnTo>
                    <a:pt x="949" y="1185"/>
                  </a:lnTo>
                  <a:lnTo>
                    <a:pt x="949" y="1185"/>
                  </a:lnTo>
                  <a:lnTo>
                    <a:pt x="946" y="1183"/>
                  </a:lnTo>
                  <a:lnTo>
                    <a:pt x="944" y="1179"/>
                  </a:lnTo>
                  <a:lnTo>
                    <a:pt x="944" y="1177"/>
                  </a:lnTo>
                  <a:lnTo>
                    <a:pt x="940" y="1175"/>
                  </a:lnTo>
                  <a:lnTo>
                    <a:pt x="938" y="1173"/>
                  </a:lnTo>
                  <a:lnTo>
                    <a:pt x="936" y="1173"/>
                  </a:lnTo>
                  <a:lnTo>
                    <a:pt x="936" y="1171"/>
                  </a:lnTo>
                  <a:lnTo>
                    <a:pt x="934" y="1169"/>
                  </a:lnTo>
                  <a:lnTo>
                    <a:pt x="932" y="1167"/>
                  </a:lnTo>
                  <a:lnTo>
                    <a:pt x="932" y="1165"/>
                  </a:lnTo>
                  <a:lnTo>
                    <a:pt x="932" y="1161"/>
                  </a:lnTo>
                  <a:lnTo>
                    <a:pt x="932" y="1161"/>
                  </a:lnTo>
                  <a:lnTo>
                    <a:pt x="930" y="1159"/>
                  </a:lnTo>
                  <a:lnTo>
                    <a:pt x="930" y="1154"/>
                  </a:lnTo>
                  <a:lnTo>
                    <a:pt x="928" y="1152"/>
                  </a:lnTo>
                  <a:lnTo>
                    <a:pt x="928" y="1152"/>
                  </a:lnTo>
                  <a:lnTo>
                    <a:pt x="928" y="1146"/>
                  </a:lnTo>
                  <a:lnTo>
                    <a:pt x="930" y="1144"/>
                  </a:lnTo>
                  <a:lnTo>
                    <a:pt x="930" y="1142"/>
                  </a:lnTo>
                  <a:lnTo>
                    <a:pt x="928" y="1140"/>
                  </a:lnTo>
                  <a:lnTo>
                    <a:pt x="928" y="1140"/>
                  </a:lnTo>
                  <a:lnTo>
                    <a:pt x="930" y="1142"/>
                  </a:lnTo>
                  <a:lnTo>
                    <a:pt x="932" y="1142"/>
                  </a:lnTo>
                  <a:lnTo>
                    <a:pt x="932" y="1142"/>
                  </a:lnTo>
                  <a:lnTo>
                    <a:pt x="934" y="1142"/>
                  </a:lnTo>
                  <a:lnTo>
                    <a:pt x="938" y="1146"/>
                  </a:lnTo>
                  <a:lnTo>
                    <a:pt x="938" y="1146"/>
                  </a:lnTo>
                  <a:lnTo>
                    <a:pt x="940" y="1146"/>
                  </a:lnTo>
                  <a:lnTo>
                    <a:pt x="940" y="1146"/>
                  </a:lnTo>
                  <a:lnTo>
                    <a:pt x="940" y="1144"/>
                  </a:lnTo>
                  <a:lnTo>
                    <a:pt x="942" y="1144"/>
                  </a:lnTo>
                  <a:lnTo>
                    <a:pt x="944" y="1146"/>
                  </a:lnTo>
                  <a:lnTo>
                    <a:pt x="944" y="1146"/>
                  </a:lnTo>
                  <a:lnTo>
                    <a:pt x="946" y="1146"/>
                  </a:lnTo>
                  <a:lnTo>
                    <a:pt x="946" y="1148"/>
                  </a:lnTo>
                  <a:lnTo>
                    <a:pt x="949" y="1150"/>
                  </a:lnTo>
                  <a:lnTo>
                    <a:pt x="953" y="1150"/>
                  </a:lnTo>
                  <a:lnTo>
                    <a:pt x="953" y="1150"/>
                  </a:lnTo>
                  <a:lnTo>
                    <a:pt x="955" y="1150"/>
                  </a:lnTo>
                  <a:lnTo>
                    <a:pt x="955" y="1150"/>
                  </a:lnTo>
                  <a:lnTo>
                    <a:pt x="955" y="1152"/>
                  </a:lnTo>
                  <a:lnTo>
                    <a:pt x="955" y="1152"/>
                  </a:lnTo>
                  <a:lnTo>
                    <a:pt x="955" y="1152"/>
                  </a:lnTo>
                  <a:lnTo>
                    <a:pt x="953" y="1152"/>
                  </a:lnTo>
                  <a:lnTo>
                    <a:pt x="955" y="1154"/>
                  </a:lnTo>
                  <a:lnTo>
                    <a:pt x="955" y="1154"/>
                  </a:lnTo>
                  <a:lnTo>
                    <a:pt x="953" y="1156"/>
                  </a:lnTo>
                  <a:lnTo>
                    <a:pt x="955" y="1159"/>
                  </a:lnTo>
                  <a:lnTo>
                    <a:pt x="957" y="1161"/>
                  </a:lnTo>
                  <a:lnTo>
                    <a:pt x="957" y="1165"/>
                  </a:lnTo>
                  <a:lnTo>
                    <a:pt x="959" y="1167"/>
                  </a:lnTo>
                  <a:lnTo>
                    <a:pt x="959" y="1169"/>
                  </a:lnTo>
                  <a:lnTo>
                    <a:pt x="959" y="1171"/>
                  </a:lnTo>
                  <a:lnTo>
                    <a:pt x="961" y="1171"/>
                  </a:lnTo>
                  <a:lnTo>
                    <a:pt x="961" y="1173"/>
                  </a:lnTo>
                  <a:lnTo>
                    <a:pt x="963" y="1177"/>
                  </a:lnTo>
                  <a:lnTo>
                    <a:pt x="963" y="1177"/>
                  </a:lnTo>
                  <a:lnTo>
                    <a:pt x="963" y="1179"/>
                  </a:lnTo>
                  <a:lnTo>
                    <a:pt x="965" y="1179"/>
                  </a:lnTo>
                  <a:lnTo>
                    <a:pt x="965" y="1179"/>
                  </a:lnTo>
                  <a:lnTo>
                    <a:pt x="967" y="1181"/>
                  </a:lnTo>
                  <a:lnTo>
                    <a:pt x="967" y="1183"/>
                  </a:lnTo>
                  <a:lnTo>
                    <a:pt x="967" y="1185"/>
                  </a:lnTo>
                  <a:lnTo>
                    <a:pt x="969" y="1187"/>
                  </a:lnTo>
                  <a:lnTo>
                    <a:pt x="971" y="1187"/>
                  </a:lnTo>
                  <a:lnTo>
                    <a:pt x="971" y="1187"/>
                  </a:lnTo>
                  <a:lnTo>
                    <a:pt x="971" y="1189"/>
                  </a:lnTo>
                  <a:lnTo>
                    <a:pt x="971" y="1189"/>
                  </a:lnTo>
                  <a:lnTo>
                    <a:pt x="973" y="1192"/>
                  </a:lnTo>
                  <a:lnTo>
                    <a:pt x="973" y="1194"/>
                  </a:lnTo>
                  <a:lnTo>
                    <a:pt x="977" y="1194"/>
                  </a:lnTo>
                  <a:lnTo>
                    <a:pt x="979" y="1198"/>
                  </a:lnTo>
                  <a:lnTo>
                    <a:pt x="982" y="1200"/>
                  </a:lnTo>
                  <a:lnTo>
                    <a:pt x="984" y="1202"/>
                  </a:lnTo>
                  <a:lnTo>
                    <a:pt x="986" y="1202"/>
                  </a:lnTo>
                  <a:lnTo>
                    <a:pt x="986" y="1202"/>
                  </a:lnTo>
                  <a:lnTo>
                    <a:pt x="988" y="1202"/>
                  </a:lnTo>
                  <a:lnTo>
                    <a:pt x="990" y="1202"/>
                  </a:lnTo>
                  <a:lnTo>
                    <a:pt x="990" y="1204"/>
                  </a:lnTo>
                  <a:lnTo>
                    <a:pt x="990" y="1206"/>
                  </a:lnTo>
                  <a:lnTo>
                    <a:pt x="990" y="1208"/>
                  </a:lnTo>
                  <a:lnTo>
                    <a:pt x="990" y="1208"/>
                  </a:lnTo>
                  <a:lnTo>
                    <a:pt x="990" y="1210"/>
                  </a:lnTo>
                  <a:lnTo>
                    <a:pt x="992" y="1210"/>
                  </a:lnTo>
                  <a:lnTo>
                    <a:pt x="992" y="1212"/>
                  </a:lnTo>
                  <a:lnTo>
                    <a:pt x="994" y="1212"/>
                  </a:lnTo>
                  <a:lnTo>
                    <a:pt x="998" y="1214"/>
                  </a:lnTo>
                  <a:lnTo>
                    <a:pt x="1000" y="1214"/>
                  </a:lnTo>
                  <a:lnTo>
                    <a:pt x="1000" y="1216"/>
                  </a:lnTo>
                  <a:lnTo>
                    <a:pt x="1000" y="1216"/>
                  </a:lnTo>
                  <a:lnTo>
                    <a:pt x="1000" y="1218"/>
                  </a:lnTo>
                  <a:lnTo>
                    <a:pt x="1002" y="1220"/>
                  </a:lnTo>
                  <a:lnTo>
                    <a:pt x="1002" y="1220"/>
                  </a:lnTo>
                  <a:lnTo>
                    <a:pt x="1006" y="1220"/>
                  </a:lnTo>
                  <a:lnTo>
                    <a:pt x="1008" y="1223"/>
                  </a:lnTo>
                  <a:lnTo>
                    <a:pt x="1008" y="1225"/>
                  </a:lnTo>
                  <a:lnTo>
                    <a:pt x="1008" y="1225"/>
                  </a:lnTo>
                  <a:lnTo>
                    <a:pt x="1008" y="1225"/>
                  </a:lnTo>
                  <a:lnTo>
                    <a:pt x="1010" y="1227"/>
                  </a:lnTo>
                  <a:lnTo>
                    <a:pt x="1010" y="1227"/>
                  </a:lnTo>
                  <a:lnTo>
                    <a:pt x="1010" y="1227"/>
                  </a:lnTo>
                  <a:lnTo>
                    <a:pt x="1010" y="1227"/>
                  </a:lnTo>
                  <a:lnTo>
                    <a:pt x="1008" y="1227"/>
                  </a:lnTo>
                  <a:lnTo>
                    <a:pt x="1006" y="1229"/>
                  </a:lnTo>
                  <a:lnTo>
                    <a:pt x="1006" y="1231"/>
                  </a:lnTo>
                  <a:lnTo>
                    <a:pt x="1006" y="1235"/>
                  </a:lnTo>
                  <a:lnTo>
                    <a:pt x="1008" y="1237"/>
                  </a:lnTo>
                  <a:lnTo>
                    <a:pt x="1008" y="1237"/>
                  </a:lnTo>
                  <a:lnTo>
                    <a:pt x="1010" y="1237"/>
                  </a:lnTo>
                  <a:lnTo>
                    <a:pt x="1010" y="1237"/>
                  </a:lnTo>
                  <a:lnTo>
                    <a:pt x="1012" y="1237"/>
                  </a:lnTo>
                  <a:lnTo>
                    <a:pt x="1012" y="1235"/>
                  </a:lnTo>
                  <a:lnTo>
                    <a:pt x="1015" y="1235"/>
                  </a:lnTo>
                  <a:lnTo>
                    <a:pt x="1015" y="1235"/>
                  </a:lnTo>
                  <a:lnTo>
                    <a:pt x="1012" y="1237"/>
                  </a:lnTo>
                  <a:lnTo>
                    <a:pt x="1010" y="1237"/>
                  </a:lnTo>
                  <a:lnTo>
                    <a:pt x="1010" y="1237"/>
                  </a:lnTo>
                  <a:lnTo>
                    <a:pt x="1012" y="1239"/>
                  </a:lnTo>
                  <a:lnTo>
                    <a:pt x="1015" y="1237"/>
                  </a:lnTo>
                  <a:lnTo>
                    <a:pt x="1015" y="1237"/>
                  </a:lnTo>
                  <a:lnTo>
                    <a:pt x="1015" y="1237"/>
                  </a:lnTo>
                  <a:lnTo>
                    <a:pt x="1017" y="1239"/>
                  </a:lnTo>
                  <a:lnTo>
                    <a:pt x="1017" y="1239"/>
                  </a:lnTo>
                  <a:lnTo>
                    <a:pt x="1021" y="1241"/>
                  </a:lnTo>
                  <a:lnTo>
                    <a:pt x="1021" y="1243"/>
                  </a:lnTo>
                  <a:lnTo>
                    <a:pt x="1025" y="1245"/>
                  </a:lnTo>
                  <a:lnTo>
                    <a:pt x="1025" y="1245"/>
                  </a:lnTo>
                  <a:lnTo>
                    <a:pt x="1027" y="1245"/>
                  </a:lnTo>
                  <a:lnTo>
                    <a:pt x="1025" y="1245"/>
                  </a:lnTo>
                  <a:lnTo>
                    <a:pt x="1025" y="1245"/>
                  </a:lnTo>
                  <a:lnTo>
                    <a:pt x="1023" y="1245"/>
                  </a:lnTo>
                  <a:lnTo>
                    <a:pt x="1023" y="1245"/>
                  </a:lnTo>
                  <a:lnTo>
                    <a:pt x="1023" y="1245"/>
                  </a:lnTo>
                  <a:lnTo>
                    <a:pt x="1023" y="1245"/>
                  </a:lnTo>
                  <a:lnTo>
                    <a:pt x="1027" y="1249"/>
                  </a:lnTo>
                  <a:lnTo>
                    <a:pt x="1027" y="1249"/>
                  </a:lnTo>
                  <a:lnTo>
                    <a:pt x="1027" y="1251"/>
                  </a:lnTo>
                  <a:lnTo>
                    <a:pt x="1029" y="1254"/>
                  </a:lnTo>
                  <a:lnTo>
                    <a:pt x="1031" y="1254"/>
                  </a:lnTo>
                  <a:lnTo>
                    <a:pt x="1031" y="1254"/>
                  </a:lnTo>
                  <a:lnTo>
                    <a:pt x="1033" y="1254"/>
                  </a:lnTo>
                  <a:lnTo>
                    <a:pt x="1033" y="1254"/>
                  </a:lnTo>
                  <a:lnTo>
                    <a:pt x="1033" y="1254"/>
                  </a:lnTo>
                  <a:lnTo>
                    <a:pt x="1033" y="1254"/>
                  </a:lnTo>
                  <a:lnTo>
                    <a:pt x="1033" y="1256"/>
                  </a:lnTo>
                  <a:lnTo>
                    <a:pt x="1033" y="1256"/>
                  </a:lnTo>
                  <a:lnTo>
                    <a:pt x="1031" y="1254"/>
                  </a:lnTo>
                  <a:lnTo>
                    <a:pt x="1029" y="1254"/>
                  </a:lnTo>
                  <a:lnTo>
                    <a:pt x="1039" y="1260"/>
                  </a:lnTo>
                  <a:lnTo>
                    <a:pt x="1041" y="1262"/>
                  </a:lnTo>
                  <a:lnTo>
                    <a:pt x="1045" y="1266"/>
                  </a:lnTo>
                  <a:lnTo>
                    <a:pt x="1048" y="1268"/>
                  </a:lnTo>
                  <a:lnTo>
                    <a:pt x="1050" y="1272"/>
                  </a:lnTo>
                  <a:lnTo>
                    <a:pt x="1052" y="1274"/>
                  </a:lnTo>
                  <a:lnTo>
                    <a:pt x="1054" y="1278"/>
                  </a:lnTo>
                  <a:lnTo>
                    <a:pt x="1056" y="1278"/>
                  </a:lnTo>
                  <a:lnTo>
                    <a:pt x="1058" y="1280"/>
                  </a:lnTo>
                  <a:lnTo>
                    <a:pt x="1060" y="1287"/>
                  </a:lnTo>
                  <a:lnTo>
                    <a:pt x="1060" y="1291"/>
                  </a:lnTo>
                  <a:lnTo>
                    <a:pt x="1062" y="1293"/>
                  </a:lnTo>
                  <a:lnTo>
                    <a:pt x="1062" y="1295"/>
                  </a:lnTo>
                  <a:lnTo>
                    <a:pt x="1064" y="1297"/>
                  </a:lnTo>
                  <a:lnTo>
                    <a:pt x="1066" y="1299"/>
                  </a:lnTo>
                  <a:lnTo>
                    <a:pt x="1066" y="1299"/>
                  </a:lnTo>
                  <a:lnTo>
                    <a:pt x="1066" y="1301"/>
                  </a:lnTo>
                  <a:lnTo>
                    <a:pt x="1066" y="1303"/>
                  </a:lnTo>
                  <a:lnTo>
                    <a:pt x="1064" y="1305"/>
                  </a:lnTo>
                  <a:lnTo>
                    <a:pt x="1064" y="1307"/>
                  </a:lnTo>
                  <a:lnTo>
                    <a:pt x="1062" y="1307"/>
                  </a:lnTo>
                  <a:lnTo>
                    <a:pt x="1062" y="1307"/>
                  </a:lnTo>
                  <a:lnTo>
                    <a:pt x="1062" y="1309"/>
                  </a:lnTo>
                  <a:lnTo>
                    <a:pt x="1064" y="1309"/>
                  </a:lnTo>
                  <a:lnTo>
                    <a:pt x="1064" y="1309"/>
                  </a:lnTo>
                  <a:lnTo>
                    <a:pt x="1066" y="1309"/>
                  </a:lnTo>
                  <a:lnTo>
                    <a:pt x="1066" y="1311"/>
                  </a:lnTo>
                  <a:lnTo>
                    <a:pt x="1066" y="1311"/>
                  </a:lnTo>
                  <a:lnTo>
                    <a:pt x="1064" y="1313"/>
                  </a:lnTo>
                  <a:lnTo>
                    <a:pt x="1062" y="1313"/>
                  </a:lnTo>
                  <a:lnTo>
                    <a:pt x="1060" y="1313"/>
                  </a:lnTo>
                  <a:lnTo>
                    <a:pt x="1060" y="1313"/>
                  </a:lnTo>
                  <a:lnTo>
                    <a:pt x="1060" y="1315"/>
                  </a:lnTo>
                  <a:lnTo>
                    <a:pt x="1062" y="1318"/>
                  </a:lnTo>
                  <a:lnTo>
                    <a:pt x="1062" y="1320"/>
                  </a:lnTo>
                  <a:lnTo>
                    <a:pt x="1062" y="1320"/>
                  </a:lnTo>
                  <a:lnTo>
                    <a:pt x="1066" y="1324"/>
                  </a:lnTo>
                  <a:lnTo>
                    <a:pt x="1068" y="1326"/>
                  </a:lnTo>
                  <a:lnTo>
                    <a:pt x="1068" y="1328"/>
                  </a:lnTo>
                  <a:lnTo>
                    <a:pt x="1070" y="1330"/>
                  </a:lnTo>
                  <a:lnTo>
                    <a:pt x="1074" y="1332"/>
                  </a:lnTo>
                  <a:lnTo>
                    <a:pt x="1078" y="1334"/>
                  </a:lnTo>
                  <a:lnTo>
                    <a:pt x="1081" y="1334"/>
                  </a:lnTo>
                  <a:lnTo>
                    <a:pt x="1083" y="1336"/>
                  </a:lnTo>
                  <a:lnTo>
                    <a:pt x="1085" y="1338"/>
                  </a:lnTo>
                  <a:lnTo>
                    <a:pt x="1089" y="1340"/>
                  </a:lnTo>
                  <a:lnTo>
                    <a:pt x="1089" y="1342"/>
                  </a:lnTo>
                  <a:lnTo>
                    <a:pt x="1091" y="1344"/>
                  </a:lnTo>
                  <a:lnTo>
                    <a:pt x="1097" y="1346"/>
                  </a:lnTo>
                  <a:lnTo>
                    <a:pt x="1101" y="1348"/>
                  </a:lnTo>
                  <a:lnTo>
                    <a:pt x="1105" y="1348"/>
                  </a:lnTo>
                  <a:lnTo>
                    <a:pt x="1109" y="1351"/>
                  </a:lnTo>
                  <a:lnTo>
                    <a:pt x="1111" y="1351"/>
                  </a:lnTo>
                  <a:lnTo>
                    <a:pt x="1114" y="1351"/>
                  </a:lnTo>
                  <a:lnTo>
                    <a:pt x="1114" y="1351"/>
                  </a:lnTo>
                  <a:lnTo>
                    <a:pt x="1116" y="1353"/>
                  </a:lnTo>
                  <a:lnTo>
                    <a:pt x="1118" y="1355"/>
                  </a:lnTo>
                  <a:lnTo>
                    <a:pt x="1120" y="1355"/>
                  </a:lnTo>
                  <a:lnTo>
                    <a:pt x="1122" y="1357"/>
                  </a:lnTo>
                  <a:lnTo>
                    <a:pt x="1124" y="1359"/>
                  </a:lnTo>
                  <a:lnTo>
                    <a:pt x="1126" y="1361"/>
                  </a:lnTo>
                  <a:lnTo>
                    <a:pt x="1128" y="1361"/>
                  </a:lnTo>
                  <a:lnTo>
                    <a:pt x="1134" y="1363"/>
                  </a:lnTo>
                  <a:lnTo>
                    <a:pt x="1136" y="1365"/>
                  </a:lnTo>
                  <a:lnTo>
                    <a:pt x="1140" y="1365"/>
                  </a:lnTo>
                  <a:lnTo>
                    <a:pt x="1144" y="1367"/>
                  </a:lnTo>
                  <a:lnTo>
                    <a:pt x="1151" y="1369"/>
                  </a:lnTo>
                  <a:lnTo>
                    <a:pt x="1155" y="1369"/>
                  </a:lnTo>
                  <a:lnTo>
                    <a:pt x="1157" y="1371"/>
                  </a:lnTo>
                  <a:lnTo>
                    <a:pt x="1159" y="1371"/>
                  </a:lnTo>
                  <a:lnTo>
                    <a:pt x="1161" y="1373"/>
                  </a:lnTo>
                  <a:lnTo>
                    <a:pt x="1167" y="1375"/>
                  </a:lnTo>
                  <a:lnTo>
                    <a:pt x="1173" y="1379"/>
                  </a:lnTo>
                  <a:lnTo>
                    <a:pt x="1182" y="1379"/>
                  </a:lnTo>
                  <a:lnTo>
                    <a:pt x="1186" y="1382"/>
                  </a:lnTo>
                  <a:lnTo>
                    <a:pt x="1190" y="1384"/>
                  </a:lnTo>
                  <a:lnTo>
                    <a:pt x="1192" y="1384"/>
                  </a:lnTo>
                  <a:lnTo>
                    <a:pt x="1194" y="1384"/>
                  </a:lnTo>
                  <a:lnTo>
                    <a:pt x="1200" y="1379"/>
                  </a:lnTo>
                  <a:lnTo>
                    <a:pt x="1204" y="1379"/>
                  </a:lnTo>
                  <a:lnTo>
                    <a:pt x="1210" y="1375"/>
                  </a:lnTo>
                  <a:lnTo>
                    <a:pt x="1212" y="1375"/>
                  </a:lnTo>
                  <a:lnTo>
                    <a:pt x="1215" y="1375"/>
                  </a:lnTo>
                  <a:lnTo>
                    <a:pt x="1215" y="1375"/>
                  </a:lnTo>
                  <a:lnTo>
                    <a:pt x="1215" y="1375"/>
                  </a:lnTo>
                  <a:lnTo>
                    <a:pt x="1212" y="1375"/>
                  </a:lnTo>
                  <a:lnTo>
                    <a:pt x="1212" y="1373"/>
                  </a:lnTo>
                  <a:lnTo>
                    <a:pt x="1212" y="1373"/>
                  </a:lnTo>
                  <a:lnTo>
                    <a:pt x="1212" y="1373"/>
                  </a:lnTo>
                  <a:lnTo>
                    <a:pt x="1215" y="1373"/>
                  </a:lnTo>
                  <a:lnTo>
                    <a:pt x="1215" y="1373"/>
                  </a:lnTo>
                  <a:lnTo>
                    <a:pt x="1215" y="1373"/>
                  </a:lnTo>
                  <a:lnTo>
                    <a:pt x="1215" y="1373"/>
                  </a:lnTo>
                  <a:lnTo>
                    <a:pt x="1215" y="1373"/>
                  </a:lnTo>
                  <a:lnTo>
                    <a:pt x="1217" y="1373"/>
                  </a:lnTo>
                  <a:lnTo>
                    <a:pt x="1217" y="1373"/>
                  </a:lnTo>
                  <a:lnTo>
                    <a:pt x="1219" y="1373"/>
                  </a:lnTo>
                  <a:lnTo>
                    <a:pt x="1217" y="1375"/>
                  </a:lnTo>
                  <a:lnTo>
                    <a:pt x="1217" y="1375"/>
                  </a:lnTo>
                  <a:lnTo>
                    <a:pt x="1219" y="1375"/>
                  </a:lnTo>
                  <a:lnTo>
                    <a:pt x="1227" y="1377"/>
                  </a:lnTo>
                  <a:lnTo>
                    <a:pt x="1225" y="1377"/>
                  </a:lnTo>
                  <a:lnTo>
                    <a:pt x="1223" y="1375"/>
                  </a:lnTo>
                  <a:lnTo>
                    <a:pt x="1223" y="1375"/>
                  </a:lnTo>
                  <a:lnTo>
                    <a:pt x="1223" y="1375"/>
                  </a:lnTo>
                  <a:lnTo>
                    <a:pt x="1221" y="1375"/>
                  </a:lnTo>
                  <a:lnTo>
                    <a:pt x="1221" y="1375"/>
                  </a:lnTo>
                  <a:lnTo>
                    <a:pt x="1221" y="1373"/>
                  </a:lnTo>
                  <a:lnTo>
                    <a:pt x="1221" y="1373"/>
                  </a:lnTo>
                  <a:lnTo>
                    <a:pt x="1221" y="1375"/>
                  </a:lnTo>
                  <a:lnTo>
                    <a:pt x="1223" y="1375"/>
                  </a:lnTo>
                  <a:lnTo>
                    <a:pt x="1225" y="1375"/>
                  </a:lnTo>
                  <a:lnTo>
                    <a:pt x="1227" y="1377"/>
                  </a:lnTo>
                  <a:lnTo>
                    <a:pt x="1229" y="1379"/>
                  </a:lnTo>
                  <a:lnTo>
                    <a:pt x="1233" y="1382"/>
                  </a:lnTo>
                  <a:lnTo>
                    <a:pt x="1237" y="1386"/>
                  </a:lnTo>
                  <a:lnTo>
                    <a:pt x="1239" y="1388"/>
                  </a:lnTo>
                  <a:lnTo>
                    <a:pt x="1241" y="1390"/>
                  </a:lnTo>
                  <a:lnTo>
                    <a:pt x="1243" y="1392"/>
                  </a:lnTo>
                  <a:lnTo>
                    <a:pt x="1248" y="1396"/>
                  </a:lnTo>
                  <a:lnTo>
                    <a:pt x="1252" y="1400"/>
                  </a:lnTo>
                  <a:lnTo>
                    <a:pt x="1252" y="1400"/>
                  </a:lnTo>
                  <a:lnTo>
                    <a:pt x="1258" y="1404"/>
                  </a:lnTo>
                  <a:lnTo>
                    <a:pt x="1260" y="1406"/>
                  </a:lnTo>
                  <a:lnTo>
                    <a:pt x="1264" y="1408"/>
                  </a:lnTo>
                  <a:lnTo>
                    <a:pt x="1266" y="1408"/>
                  </a:lnTo>
                  <a:lnTo>
                    <a:pt x="1274" y="1408"/>
                  </a:lnTo>
                  <a:lnTo>
                    <a:pt x="1276" y="1408"/>
                  </a:lnTo>
                  <a:lnTo>
                    <a:pt x="1283" y="1410"/>
                  </a:lnTo>
                  <a:lnTo>
                    <a:pt x="1283" y="1412"/>
                  </a:lnTo>
                  <a:lnTo>
                    <a:pt x="1287" y="1415"/>
                  </a:lnTo>
                  <a:lnTo>
                    <a:pt x="1291" y="1415"/>
                  </a:lnTo>
                  <a:lnTo>
                    <a:pt x="1293" y="1415"/>
                  </a:lnTo>
                  <a:lnTo>
                    <a:pt x="1299" y="1417"/>
                  </a:lnTo>
                  <a:lnTo>
                    <a:pt x="1305" y="1419"/>
                  </a:lnTo>
                  <a:lnTo>
                    <a:pt x="1305" y="1419"/>
                  </a:lnTo>
                  <a:lnTo>
                    <a:pt x="1303" y="1419"/>
                  </a:lnTo>
                  <a:lnTo>
                    <a:pt x="1303" y="1419"/>
                  </a:lnTo>
                  <a:lnTo>
                    <a:pt x="1301" y="1419"/>
                  </a:lnTo>
                  <a:lnTo>
                    <a:pt x="1303" y="1419"/>
                  </a:lnTo>
                  <a:lnTo>
                    <a:pt x="1305" y="1419"/>
                  </a:lnTo>
                  <a:lnTo>
                    <a:pt x="1309" y="1419"/>
                  </a:lnTo>
                  <a:lnTo>
                    <a:pt x="1311" y="1419"/>
                  </a:lnTo>
                  <a:lnTo>
                    <a:pt x="1314" y="1419"/>
                  </a:lnTo>
                  <a:lnTo>
                    <a:pt x="1314" y="1419"/>
                  </a:lnTo>
                  <a:lnTo>
                    <a:pt x="1314" y="1417"/>
                  </a:lnTo>
                  <a:lnTo>
                    <a:pt x="1314" y="1417"/>
                  </a:lnTo>
                  <a:lnTo>
                    <a:pt x="1314" y="1417"/>
                  </a:lnTo>
                  <a:lnTo>
                    <a:pt x="1316" y="1417"/>
                  </a:lnTo>
                  <a:lnTo>
                    <a:pt x="1316" y="1417"/>
                  </a:lnTo>
                  <a:lnTo>
                    <a:pt x="1318" y="1417"/>
                  </a:lnTo>
                  <a:lnTo>
                    <a:pt x="1320" y="1417"/>
                  </a:lnTo>
                  <a:lnTo>
                    <a:pt x="1320" y="1417"/>
                  </a:lnTo>
                  <a:lnTo>
                    <a:pt x="1320" y="1419"/>
                  </a:lnTo>
                  <a:lnTo>
                    <a:pt x="1320" y="1419"/>
                  </a:lnTo>
                  <a:lnTo>
                    <a:pt x="1320" y="1421"/>
                  </a:lnTo>
                  <a:lnTo>
                    <a:pt x="1322" y="1421"/>
                  </a:lnTo>
                  <a:lnTo>
                    <a:pt x="1322" y="1423"/>
                  </a:lnTo>
                  <a:lnTo>
                    <a:pt x="1322" y="1423"/>
                  </a:lnTo>
                  <a:lnTo>
                    <a:pt x="1320" y="1423"/>
                  </a:lnTo>
                  <a:lnTo>
                    <a:pt x="1320" y="1423"/>
                  </a:lnTo>
                  <a:lnTo>
                    <a:pt x="1320" y="1423"/>
                  </a:lnTo>
                  <a:lnTo>
                    <a:pt x="1318" y="1421"/>
                  </a:lnTo>
                  <a:lnTo>
                    <a:pt x="1318" y="1421"/>
                  </a:lnTo>
                  <a:lnTo>
                    <a:pt x="1316" y="1423"/>
                  </a:lnTo>
                  <a:lnTo>
                    <a:pt x="1316" y="1423"/>
                  </a:lnTo>
                  <a:lnTo>
                    <a:pt x="1320" y="1425"/>
                  </a:lnTo>
                  <a:lnTo>
                    <a:pt x="1324" y="1429"/>
                  </a:lnTo>
                  <a:lnTo>
                    <a:pt x="1324" y="1429"/>
                  </a:lnTo>
                  <a:lnTo>
                    <a:pt x="1328" y="1433"/>
                  </a:lnTo>
                  <a:lnTo>
                    <a:pt x="1330" y="1433"/>
                  </a:lnTo>
                  <a:lnTo>
                    <a:pt x="1330" y="1437"/>
                  </a:lnTo>
                  <a:lnTo>
                    <a:pt x="1334" y="1439"/>
                  </a:lnTo>
                  <a:lnTo>
                    <a:pt x="1340" y="1446"/>
                  </a:lnTo>
                  <a:lnTo>
                    <a:pt x="1342" y="1448"/>
                  </a:lnTo>
                  <a:lnTo>
                    <a:pt x="1344" y="1450"/>
                  </a:lnTo>
                  <a:lnTo>
                    <a:pt x="1344" y="1450"/>
                  </a:lnTo>
                  <a:lnTo>
                    <a:pt x="1344" y="1450"/>
                  </a:lnTo>
                  <a:lnTo>
                    <a:pt x="1344" y="1450"/>
                  </a:lnTo>
                  <a:lnTo>
                    <a:pt x="1342" y="1452"/>
                  </a:lnTo>
                  <a:lnTo>
                    <a:pt x="1342" y="1452"/>
                  </a:lnTo>
                  <a:lnTo>
                    <a:pt x="1342" y="1452"/>
                  </a:lnTo>
                  <a:lnTo>
                    <a:pt x="1344" y="1454"/>
                  </a:lnTo>
                  <a:lnTo>
                    <a:pt x="1344" y="1454"/>
                  </a:lnTo>
                  <a:lnTo>
                    <a:pt x="1344" y="1456"/>
                  </a:lnTo>
                  <a:lnTo>
                    <a:pt x="1344" y="1456"/>
                  </a:lnTo>
                  <a:lnTo>
                    <a:pt x="1344" y="1456"/>
                  </a:lnTo>
                  <a:lnTo>
                    <a:pt x="1342" y="1460"/>
                  </a:lnTo>
                  <a:lnTo>
                    <a:pt x="1342" y="1460"/>
                  </a:lnTo>
                  <a:lnTo>
                    <a:pt x="1342" y="1462"/>
                  </a:lnTo>
                  <a:lnTo>
                    <a:pt x="1344" y="1466"/>
                  </a:lnTo>
                  <a:lnTo>
                    <a:pt x="1347" y="1466"/>
                  </a:lnTo>
                  <a:lnTo>
                    <a:pt x="1351" y="1468"/>
                  </a:lnTo>
                  <a:lnTo>
                    <a:pt x="1353" y="1470"/>
                  </a:lnTo>
                  <a:lnTo>
                    <a:pt x="1353" y="1470"/>
                  </a:lnTo>
                  <a:lnTo>
                    <a:pt x="1353" y="1470"/>
                  </a:lnTo>
                  <a:lnTo>
                    <a:pt x="1353" y="1470"/>
                  </a:lnTo>
                  <a:lnTo>
                    <a:pt x="1355" y="1468"/>
                  </a:lnTo>
                  <a:lnTo>
                    <a:pt x="1357" y="1468"/>
                  </a:lnTo>
                  <a:lnTo>
                    <a:pt x="1355" y="1466"/>
                  </a:lnTo>
                  <a:lnTo>
                    <a:pt x="1355" y="1466"/>
                  </a:lnTo>
                  <a:lnTo>
                    <a:pt x="1353" y="1464"/>
                  </a:lnTo>
                  <a:lnTo>
                    <a:pt x="1351" y="1464"/>
                  </a:lnTo>
                  <a:lnTo>
                    <a:pt x="1351" y="1460"/>
                  </a:lnTo>
                  <a:lnTo>
                    <a:pt x="1351" y="1462"/>
                  </a:lnTo>
                  <a:lnTo>
                    <a:pt x="1351" y="1462"/>
                  </a:lnTo>
                  <a:lnTo>
                    <a:pt x="1355" y="1462"/>
                  </a:lnTo>
                  <a:lnTo>
                    <a:pt x="1359" y="1466"/>
                  </a:lnTo>
                  <a:lnTo>
                    <a:pt x="1359" y="1468"/>
                  </a:lnTo>
                  <a:lnTo>
                    <a:pt x="1359" y="1468"/>
                  </a:lnTo>
                  <a:lnTo>
                    <a:pt x="1359" y="1470"/>
                  </a:lnTo>
                  <a:lnTo>
                    <a:pt x="1361" y="1470"/>
                  </a:lnTo>
                  <a:lnTo>
                    <a:pt x="1361" y="1472"/>
                  </a:lnTo>
                  <a:lnTo>
                    <a:pt x="1365" y="1472"/>
                  </a:lnTo>
                  <a:lnTo>
                    <a:pt x="1367" y="1474"/>
                  </a:lnTo>
                  <a:lnTo>
                    <a:pt x="1369" y="1474"/>
                  </a:lnTo>
                  <a:lnTo>
                    <a:pt x="1373" y="1477"/>
                  </a:lnTo>
                  <a:lnTo>
                    <a:pt x="1373" y="1479"/>
                  </a:lnTo>
                  <a:lnTo>
                    <a:pt x="1373" y="1479"/>
                  </a:lnTo>
                  <a:lnTo>
                    <a:pt x="1373" y="1483"/>
                  </a:lnTo>
                  <a:lnTo>
                    <a:pt x="1373" y="1483"/>
                  </a:lnTo>
                  <a:lnTo>
                    <a:pt x="1373" y="1485"/>
                  </a:lnTo>
                  <a:lnTo>
                    <a:pt x="1373" y="1487"/>
                  </a:lnTo>
                  <a:lnTo>
                    <a:pt x="1375" y="1487"/>
                  </a:lnTo>
                  <a:lnTo>
                    <a:pt x="1377" y="1487"/>
                  </a:lnTo>
                  <a:lnTo>
                    <a:pt x="1377" y="1487"/>
                  </a:lnTo>
                  <a:lnTo>
                    <a:pt x="1380" y="1487"/>
                  </a:lnTo>
                  <a:lnTo>
                    <a:pt x="1380" y="1487"/>
                  </a:lnTo>
                  <a:lnTo>
                    <a:pt x="1380" y="1487"/>
                  </a:lnTo>
                  <a:lnTo>
                    <a:pt x="1377" y="1485"/>
                  </a:lnTo>
                  <a:lnTo>
                    <a:pt x="1375" y="1483"/>
                  </a:lnTo>
                  <a:lnTo>
                    <a:pt x="1377" y="1483"/>
                  </a:lnTo>
                  <a:lnTo>
                    <a:pt x="1380" y="1483"/>
                  </a:lnTo>
                  <a:lnTo>
                    <a:pt x="1382" y="1485"/>
                  </a:lnTo>
                  <a:lnTo>
                    <a:pt x="1382" y="1487"/>
                  </a:lnTo>
                  <a:lnTo>
                    <a:pt x="1382" y="1489"/>
                  </a:lnTo>
                  <a:lnTo>
                    <a:pt x="1382" y="1489"/>
                  </a:lnTo>
                  <a:lnTo>
                    <a:pt x="1384" y="1491"/>
                  </a:lnTo>
                  <a:lnTo>
                    <a:pt x="1386" y="1493"/>
                  </a:lnTo>
                  <a:lnTo>
                    <a:pt x="1386" y="1491"/>
                  </a:lnTo>
                  <a:lnTo>
                    <a:pt x="1386" y="1489"/>
                  </a:lnTo>
                  <a:lnTo>
                    <a:pt x="1386" y="1489"/>
                  </a:lnTo>
                  <a:lnTo>
                    <a:pt x="1388" y="1489"/>
                  </a:lnTo>
                  <a:lnTo>
                    <a:pt x="1390" y="1489"/>
                  </a:lnTo>
                  <a:lnTo>
                    <a:pt x="1392" y="1489"/>
                  </a:lnTo>
                  <a:lnTo>
                    <a:pt x="1394" y="1489"/>
                  </a:lnTo>
                  <a:lnTo>
                    <a:pt x="1394" y="1489"/>
                  </a:lnTo>
                  <a:lnTo>
                    <a:pt x="1394" y="1491"/>
                  </a:lnTo>
                  <a:lnTo>
                    <a:pt x="1396" y="1491"/>
                  </a:lnTo>
                  <a:lnTo>
                    <a:pt x="1398" y="1491"/>
                  </a:lnTo>
                  <a:lnTo>
                    <a:pt x="1400" y="1491"/>
                  </a:lnTo>
                  <a:lnTo>
                    <a:pt x="1400" y="1491"/>
                  </a:lnTo>
                  <a:lnTo>
                    <a:pt x="1402" y="1493"/>
                  </a:lnTo>
                  <a:lnTo>
                    <a:pt x="1402" y="1493"/>
                  </a:lnTo>
                  <a:lnTo>
                    <a:pt x="1404" y="1497"/>
                  </a:lnTo>
                  <a:lnTo>
                    <a:pt x="1406" y="1497"/>
                  </a:lnTo>
                  <a:lnTo>
                    <a:pt x="1408" y="1499"/>
                  </a:lnTo>
                  <a:lnTo>
                    <a:pt x="1408" y="1499"/>
                  </a:lnTo>
                  <a:lnTo>
                    <a:pt x="1408" y="1497"/>
                  </a:lnTo>
                  <a:lnTo>
                    <a:pt x="1408" y="1495"/>
                  </a:lnTo>
                  <a:lnTo>
                    <a:pt x="1408" y="1495"/>
                  </a:lnTo>
                  <a:lnTo>
                    <a:pt x="1410" y="1495"/>
                  </a:lnTo>
                  <a:lnTo>
                    <a:pt x="1410" y="1495"/>
                  </a:lnTo>
                  <a:lnTo>
                    <a:pt x="1410" y="1497"/>
                  </a:lnTo>
                  <a:lnTo>
                    <a:pt x="1413" y="1501"/>
                  </a:lnTo>
                  <a:lnTo>
                    <a:pt x="1413" y="1503"/>
                  </a:lnTo>
                  <a:lnTo>
                    <a:pt x="1415" y="1503"/>
                  </a:lnTo>
                  <a:lnTo>
                    <a:pt x="1417" y="1503"/>
                  </a:lnTo>
                  <a:lnTo>
                    <a:pt x="1419" y="1503"/>
                  </a:lnTo>
                  <a:lnTo>
                    <a:pt x="1421" y="1503"/>
                  </a:lnTo>
                  <a:lnTo>
                    <a:pt x="1421" y="1501"/>
                  </a:lnTo>
                  <a:lnTo>
                    <a:pt x="1421" y="1501"/>
                  </a:lnTo>
                  <a:lnTo>
                    <a:pt x="1425" y="1501"/>
                  </a:lnTo>
                  <a:lnTo>
                    <a:pt x="1425" y="1501"/>
                  </a:lnTo>
                  <a:lnTo>
                    <a:pt x="1425" y="1501"/>
                  </a:lnTo>
                  <a:lnTo>
                    <a:pt x="1425" y="1499"/>
                  </a:lnTo>
                  <a:lnTo>
                    <a:pt x="1425" y="1497"/>
                  </a:lnTo>
                  <a:lnTo>
                    <a:pt x="1423" y="1495"/>
                  </a:lnTo>
                  <a:lnTo>
                    <a:pt x="1421" y="1493"/>
                  </a:lnTo>
                  <a:lnTo>
                    <a:pt x="1421" y="1493"/>
                  </a:lnTo>
                  <a:lnTo>
                    <a:pt x="1419" y="1493"/>
                  </a:lnTo>
                  <a:lnTo>
                    <a:pt x="1419" y="1491"/>
                  </a:lnTo>
                  <a:lnTo>
                    <a:pt x="1419" y="1491"/>
                  </a:lnTo>
                  <a:lnTo>
                    <a:pt x="1421" y="1489"/>
                  </a:lnTo>
                  <a:lnTo>
                    <a:pt x="1421" y="1489"/>
                  </a:lnTo>
                  <a:lnTo>
                    <a:pt x="1423" y="1489"/>
                  </a:lnTo>
                  <a:lnTo>
                    <a:pt x="1425" y="1489"/>
                  </a:lnTo>
                  <a:lnTo>
                    <a:pt x="1429" y="1485"/>
                  </a:lnTo>
                  <a:lnTo>
                    <a:pt x="1429" y="1485"/>
                  </a:lnTo>
                  <a:lnTo>
                    <a:pt x="1429" y="1483"/>
                  </a:lnTo>
                  <a:lnTo>
                    <a:pt x="1429" y="1483"/>
                  </a:lnTo>
                  <a:lnTo>
                    <a:pt x="1431" y="1481"/>
                  </a:lnTo>
                  <a:lnTo>
                    <a:pt x="1431" y="1481"/>
                  </a:lnTo>
                  <a:lnTo>
                    <a:pt x="1433" y="1481"/>
                  </a:lnTo>
                  <a:lnTo>
                    <a:pt x="1433" y="1479"/>
                  </a:lnTo>
                  <a:lnTo>
                    <a:pt x="1433" y="1479"/>
                  </a:lnTo>
                  <a:lnTo>
                    <a:pt x="1437" y="1479"/>
                  </a:lnTo>
                  <a:lnTo>
                    <a:pt x="1439" y="1479"/>
                  </a:lnTo>
                  <a:lnTo>
                    <a:pt x="1441" y="1481"/>
                  </a:lnTo>
                  <a:lnTo>
                    <a:pt x="1441" y="1481"/>
                  </a:lnTo>
                  <a:lnTo>
                    <a:pt x="1443" y="1481"/>
                  </a:lnTo>
                  <a:lnTo>
                    <a:pt x="1443" y="1483"/>
                  </a:lnTo>
                  <a:lnTo>
                    <a:pt x="1445" y="1483"/>
                  </a:lnTo>
                  <a:lnTo>
                    <a:pt x="1445" y="1483"/>
                  </a:lnTo>
                  <a:lnTo>
                    <a:pt x="1448" y="1485"/>
                  </a:lnTo>
                  <a:lnTo>
                    <a:pt x="1448" y="1487"/>
                  </a:lnTo>
                  <a:lnTo>
                    <a:pt x="1448" y="1487"/>
                  </a:lnTo>
                  <a:lnTo>
                    <a:pt x="1448" y="1489"/>
                  </a:lnTo>
                  <a:lnTo>
                    <a:pt x="1450" y="1489"/>
                  </a:lnTo>
                  <a:lnTo>
                    <a:pt x="1450" y="1487"/>
                  </a:lnTo>
                  <a:lnTo>
                    <a:pt x="1450" y="1487"/>
                  </a:lnTo>
                  <a:lnTo>
                    <a:pt x="1448" y="1487"/>
                  </a:lnTo>
                  <a:lnTo>
                    <a:pt x="1450" y="1487"/>
                  </a:lnTo>
                  <a:lnTo>
                    <a:pt x="1450" y="1487"/>
                  </a:lnTo>
                  <a:lnTo>
                    <a:pt x="1450" y="1487"/>
                  </a:lnTo>
                  <a:lnTo>
                    <a:pt x="1452" y="1487"/>
                  </a:lnTo>
                  <a:lnTo>
                    <a:pt x="1452" y="1487"/>
                  </a:lnTo>
                  <a:lnTo>
                    <a:pt x="1452" y="1487"/>
                  </a:lnTo>
                  <a:lnTo>
                    <a:pt x="1452" y="1487"/>
                  </a:lnTo>
                  <a:lnTo>
                    <a:pt x="1454" y="1487"/>
                  </a:lnTo>
                  <a:lnTo>
                    <a:pt x="1454" y="1487"/>
                  </a:lnTo>
                  <a:lnTo>
                    <a:pt x="1454" y="1489"/>
                  </a:lnTo>
                  <a:lnTo>
                    <a:pt x="1456" y="1491"/>
                  </a:lnTo>
                  <a:lnTo>
                    <a:pt x="1458" y="1491"/>
                  </a:lnTo>
                  <a:lnTo>
                    <a:pt x="1456" y="1491"/>
                  </a:lnTo>
                  <a:lnTo>
                    <a:pt x="1456" y="1489"/>
                  </a:lnTo>
                  <a:lnTo>
                    <a:pt x="1454" y="1489"/>
                  </a:lnTo>
                  <a:lnTo>
                    <a:pt x="1452" y="1487"/>
                  </a:lnTo>
                  <a:lnTo>
                    <a:pt x="1452" y="1487"/>
                  </a:lnTo>
                  <a:lnTo>
                    <a:pt x="1452" y="1489"/>
                  </a:lnTo>
                  <a:lnTo>
                    <a:pt x="1450" y="1489"/>
                  </a:lnTo>
                  <a:lnTo>
                    <a:pt x="1450" y="1491"/>
                  </a:lnTo>
                  <a:lnTo>
                    <a:pt x="1450" y="1491"/>
                  </a:lnTo>
                  <a:lnTo>
                    <a:pt x="1450" y="1493"/>
                  </a:lnTo>
                  <a:lnTo>
                    <a:pt x="1450" y="1493"/>
                  </a:lnTo>
                  <a:lnTo>
                    <a:pt x="1448" y="1493"/>
                  </a:lnTo>
                  <a:lnTo>
                    <a:pt x="1450" y="1495"/>
                  </a:lnTo>
                  <a:lnTo>
                    <a:pt x="1452" y="1499"/>
                  </a:lnTo>
                  <a:lnTo>
                    <a:pt x="1456" y="1503"/>
                  </a:lnTo>
                  <a:lnTo>
                    <a:pt x="1456" y="1503"/>
                  </a:lnTo>
                  <a:lnTo>
                    <a:pt x="1458" y="1505"/>
                  </a:lnTo>
                  <a:lnTo>
                    <a:pt x="1458" y="1507"/>
                  </a:lnTo>
                  <a:lnTo>
                    <a:pt x="1460" y="1510"/>
                  </a:lnTo>
                  <a:lnTo>
                    <a:pt x="1460" y="1510"/>
                  </a:lnTo>
                  <a:lnTo>
                    <a:pt x="1462" y="1512"/>
                  </a:lnTo>
                  <a:lnTo>
                    <a:pt x="1462" y="1512"/>
                  </a:lnTo>
                  <a:lnTo>
                    <a:pt x="1464" y="1514"/>
                  </a:lnTo>
                  <a:lnTo>
                    <a:pt x="1464" y="1514"/>
                  </a:lnTo>
                  <a:lnTo>
                    <a:pt x="1462" y="1518"/>
                  </a:lnTo>
                  <a:lnTo>
                    <a:pt x="1462" y="1518"/>
                  </a:lnTo>
                  <a:lnTo>
                    <a:pt x="1462" y="1518"/>
                  </a:lnTo>
                  <a:lnTo>
                    <a:pt x="1462" y="1520"/>
                  </a:lnTo>
                  <a:lnTo>
                    <a:pt x="1464" y="1522"/>
                  </a:lnTo>
                  <a:lnTo>
                    <a:pt x="1464" y="1524"/>
                  </a:lnTo>
                  <a:lnTo>
                    <a:pt x="1464" y="1526"/>
                  </a:lnTo>
                  <a:lnTo>
                    <a:pt x="1460" y="1528"/>
                  </a:lnTo>
                  <a:lnTo>
                    <a:pt x="1462" y="1530"/>
                  </a:lnTo>
                  <a:lnTo>
                    <a:pt x="1464" y="1530"/>
                  </a:lnTo>
                  <a:lnTo>
                    <a:pt x="1464" y="1532"/>
                  </a:lnTo>
                  <a:lnTo>
                    <a:pt x="1464" y="1534"/>
                  </a:lnTo>
                  <a:lnTo>
                    <a:pt x="1464" y="1538"/>
                  </a:lnTo>
                  <a:lnTo>
                    <a:pt x="1464" y="1538"/>
                  </a:lnTo>
                  <a:lnTo>
                    <a:pt x="1464" y="1541"/>
                  </a:lnTo>
                  <a:lnTo>
                    <a:pt x="1464" y="1541"/>
                  </a:lnTo>
                  <a:lnTo>
                    <a:pt x="1464" y="1543"/>
                  </a:lnTo>
                  <a:lnTo>
                    <a:pt x="1464" y="1545"/>
                  </a:lnTo>
                  <a:lnTo>
                    <a:pt x="1462" y="1545"/>
                  </a:lnTo>
                  <a:lnTo>
                    <a:pt x="1462" y="1545"/>
                  </a:lnTo>
                  <a:lnTo>
                    <a:pt x="1462" y="1547"/>
                  </a:lnTo>
                  <a:lnTo>
                    <a:pt x="1462" y="1547"/>
                  </a:lnTo>
                  <a:lnTo>
                    <a:pt x="1462" y="1547"/>
                  </a:lnTo>
                  <a:lnTo>
                    <a:pt x="1462" y="1547"/>
                  </a:lnTo>
                  <a:lnTo>
                    <a:pt x="1462" y="1549"/>
                  </a:lnTo>
                  <a:lnTo>
                    <a:pt x="1462" y="1549"/>
                  </a:lnTo>
                  <a:lnTo>
                    <a:pt x="1464" y="1551"/>
                  </a:lnTo>
                  <a:lnTo>
                    <a:pt x="1464" y="1549"/>
                  </a:lnTo>
                  <a:lnTo>
                    <a:pt x="1464" y="1549"/>
                  </a:lnTo>
                  <a:lnTo>
                    <a:pt x="1464" y="1551"/>
                  </a:lnTo>
                  <a:lnTo>
                    <a:pt x="1466" y="1551"/>
                  </a:lnTo>
                  <a:lnTo>
                    <a:pt x="1466" y="1553"/>
                  </a:lnTo>
                  <a:lnTo>
                    <a:pt x="1466" y="1551"/>
                  </a:lnTo>
                  <a:lnTo>
                    <a:pt x="1468" y="1551"/>
                  </a:lnTo>
                  <a:lnTo>
                    <a:pt x="1464" y="1555"/>
                  </a:lnTo>
                  <a:lnTo>
                    <a:pt x="1464" y="1557"/>
                  </a:lnTo>
                  <a:lnTo>
                    <a:pt x="1464" y="1559"/>
                  </a:lnTo>
                  <a:lnTo>
                    <a:pt x="1462" y="1559"/>
                  </a:lnTo>
                  <a:lnTo>
                    <a:pt x="1462" y="1561"/>
                  </a:lnTo>
                  <a:lnTo>
                    <a:pt x="1462" y="1561"/>
                  </a:lnTo>
                  <a:lnTo>
                    <a:pt x="1460" y="1563"/>
                  </a:lnTo>
                  <a:lnTo>
                    <a:pt x="1460" y="1563"/>
                  </a:lnTo>
                  <a:lnTo>
                    <a:pt x="1458" y="1563"/>
                  </a:lnTo>
                  <a:lnTo>
                    <a:pt x="1458" y="1563"/>
                  </a:lnTo>
                  <a:lnTo>
                    <a:pt x="1460" y="1565"/>
                  </a:lnTo>
                  <a:lnTo>
                    <a:pt x="1460" y="1565"/>
                  </a:lnTo>
                  <a:lnTo>
                    <a:pt x="1458" y="1567"/>
                  </a:lnTo>
                  <a:lnTo>
                    <a:pt x="1458" y="1567"/>
                  </a:lnTo>
                  <a:lnTo>
                    <a:pt x="1458" y="1567"/>
                  </a:lnTo>
                  <a:lnTo>
                    <a:pt x="1456" y="1567"/>
                  </a:lnTo>
                  <a:lnTo>
                    <a:pt x="1456" y="1567"/>
                  </a:lnTo>
                  <a:lnTo>
                    <a:pt x="1456" y="1569"/>
                  </a:lnTo>
                  <a:lnTo>
                    <a:pt x="1454" y="1569"/>
                  </a:lnTo>
                  <a:lnTo>
                    <a:pt x="1454" y="1571"/>
                  </a:lnTo>
                  <a:lnTo>
                    <a:pt x="1454" y="1571"/>
                  </a:lnTo>
                  <a:lnTo>
                    <a:pt x="1452" y="1571"/>
                  </a:lnTo>
                  <a:lnTo>
                    <a:pt x="1450" y="1571"/>
                  </a:lnTo>
                  <a:lnTo>
                    <a:pt x="1450" y="1571"/>
                  </a:lnTo>
                  <a:lnTo>
                    <a:pt x="1448" y="1571"/>
                  </a:lnTo>
                  <a:lnTo>
                    <a:pt x="1448" y="1571"/>
                  </a:lnTo>
                  <a:lnTo>
                    <a:pt x="1448" y="1571"/>
                  </a:lnTo>
                  <a:lnTo>
                    <a:pt x="1445" y="1574"/>
                  </a:lnTo>
                  <a:lnTo>
                    <a:pt x="1445" y="1574"/>
                  </a:lnTo>
                  <a:lnTo>
                    <a:pt x="1445" y="1578"/>
                  </a:lnTo>
                  <a:lnTo>
                    <a:pt x="1445" y="1580"/>
                  </a:lnTo>
                  <a:lnTo>
                    <a:pt x="1445" y="1582"/>
                  </a:lnTo>
                  <a:lnTo>
                    <a:pt x="1443" y="1580"/>
                  </a:lnTo>
                  <a:lnTo>
                    <a:pt x="1441" y="1582"/>
                  </a:lnTo>
                  <a:lnTo>
                    <a:pt x="1439" y="1584"/>
                  </a:lnTo>
                  <a:lnTo>
                    <a:pt x="1441" y="1586"/>
                  </a:lnTo>
                  <a:lnTo>
                    <a:pt x="1441" y="1586"/>
                  </a:lnTo>
                  <a:lnTo>
                    <a:pt x="1443" y="1588"/>
                  </a:lnTo>
                  <a:lnTo>
                    <a:pt x="1441" y="1590"/>
                  </a:lnTo>
                  <a:lnTo>
                    <a:pt x="1437" y="1590"/>
                  </a:lnTo>
                  <a:lnTo>
                    <a:pt x="1433" y="1592"/>
                  </a:lnTo>
                  <a:lnTo>
                    <a:pt x="1431" y="1592"/>
                  </a:lnTo>
                  <a:lnTo>
                    <a:pt x="1429" y="1592"/>
                  </a:lnTo>
                  <a:lnTo>
                    <a:pt x="1429" y="1594"/>
                  </a:lnTo>
                  <a:lnTo>
                    <a:pt x="1427" y="1594"/>
                  </a:lnTo>
                  <a:lnTo>
                    <a:pt x="1425" y="1594"/>
                  </a:lnTo>
                  <a:lnTo>
                    <a:pt x="1425" y="1596"/>
                  </a:lnTo>
                  <a:lnTo>
                    <a:pt x="1425" y="1598"/>
                  </a:lnTo>
                  <a:lnTo>
                    <a:pt x="1425" y="1600"/>
                  </a:lnTo>
                  <a:lnTo>
                    <a:pt x="1425" y="1605"/>
                  </a:lnTo>
                  <a:lnTo>
                    <a:pt x="1423" y="1607"/>
                  </a:lnTo>
                  <a:lnTo>
                    <a:pt x="1423" y="1609"/>
                  </a:lnTo>
                  <a:lnTo>
                    <a:pt x="1421" y="1609"/>
                  </a:lnTo>
                  <a:lnTo>
                    <a:pt x="1419" y="1611"/>
                  </a:lnTo>
                  <a:lnTo>
                    <a:pt x="1419" y="1613"/>
                  </a:lnTo>
                  <a:lnTo>
                    <a:pt x="1421" y="1615"/>
                  </a:lnTo>
                  <a:lnTo>
                    <a:pt x="1421" y="1615"/>
                  </a:lnTo>
                  <a:lnTo>
                    <a:pt x="1421" y="1615"/>
                  </a:lnTo>
                  <a:lnTo>
                    <a:pt x="1419" y="1615"/>
                  </a:lnTo>
                  <a:lnTo>
                    <a:pt x="1419" y="1617"/>
                  </a:lnTo>
                  <a:lnTo>
                    <a:pt x="1419" y="1619"/>
                  </a:lnTo>
                  <a:lnTo>
                    <a:pt x="1417" y="1619"/>
                  </a:lnTo>
                  <a:lnTo>
                    <a:pt x="1415" y="1621"/>
                  </a:lnTo>
                  <a:lnTo>
                    <a:pt x="1413" y="1621"/>
                  </a:lnTo>
                  <a:lnTo>
                    <a:pt x="1415" y="1625"/>
                  </a:lnTo>
                  <a:lnTo>
                    <a:pt x="1415" y="1625"/>
                  </a:lnTo>
                  <a:lnTo>
                    <a:pt x="1415" y="1629"/>
                  </a:lnTo>
                  <a:lnTo>
                    <a:pt x="1415" y="1631"/>
                  </a:lnTo>
                  <a:lnTo>
                    <a:pt x="1415" y="1633"/>
                  </a:lnTo>
                  <a:lnTo>
                    <a:pt x="1415" y="1636"/>
                  </a:lnTo>
                  <a:lnTo>
                    <a:pt x="1413" y="1638"/>
                  </a:lnTo>
                  <a:lnTo>
                    <a:pt x="1413" y="1638"/>
                  </a:lnTo>
                  <a:lnTo>
                    <a:pt x="1413" y="1638"/>
                  </a:lnTo>
                  <a:lnTo>
                    <a:pt x="1413" y="1640"/>
                  </a:lnTo>
                  <a:lnTo>
                    <a:pt x="1415" y="1640"/>
                  </a:lnTo>
                  <a:lnTo>
                    <a:pt x="1417" y="1640"/>
                  </a:lnTo>
                  <a:lnTo>
                    <a:pt x="1419" y="1644"/>
                  </a:lnTo>
                  <a:lnTo>
                    <a:pt x="1421" y="1644"/>
                  </a:lnTo>
                  <a:lnTo>
                    <a:pt x="1421" y="1644"/>
                  </a:lnTo>
                  <a:lnTo>
                    <a:pt x="1423" y="1644"/>
                  </a:lnTo>
                  <a:lnTo>
                    <a:pt x="1423" y="1644"/>
                  </a:lnTo>
                  <a:lnTo>
                    <a:pt x="1425" y="1642"/>
                  </a:lnTo>
                  <a:lnTo>
                    <a:pt x="1425" y="1640"/>
                  </a:lnTo>
                  <a:lnTo>
                    <a:pt x="1425" y="1640"/>
                  </a:lnTo>
                  <a:lnTo>
                    <a:pt x="1425" y="1642"/>
                  </a:lnTo>
                  <a:lnTo>
                    <a:pt x="1425" y="1644"/>
                  </a:lnTo>
                  <a:lnTo>
                    <a:pt x="1427" y="1642"/>
                  </a:lnTo>
                  <a:lnTo>
                    <a:pt x="1427" y="1642"/>
                  </a:lnTo>
                  <a:lnTo>
                    <a:pt x="1427" y="1638"/>
                  </a:lnTo>
                  <a:lnTo>
                    <a:pt x="1429" y="1636"/>
                  </a:lnTo>
                  <a:lnTo>
                    <a:pt x="1429" y="1636"/>
                  </a:lnTo>
                  <a:lnTo>
                    <a:pt x="1429" y="1638"/>
                  </a:lnTo>
                  <a:lnTo>
                    <a:pt x="1429" y="1640"/>
                  </a:lnTo>
                  <a:lnTo>
                    <a:pt x="1429" y="1642"/>
                  </a:lnTo>
                  <a:lnTo>
                    <a:pt x="1429" y="1644"/>
                  </a:lnTo>
                  <a:lnTo>
                    <a:pt x="1429" y="1646"/>
                  </a:lnTo>
                  <a:lnTo>
                    <a:pt x="1427" y="1650"/>
                  </a:lnTo>
                  <a:lnTo>
                    <a:pt x="1427" y="1652"/>
                  </a:lnTo>
                  <a:lnTo>
                    <a:pt x="1425" y="1652"/>
                  </a:lnTo>
                  <a:lnTo>
                    <a:pt x="1425" y="1652"/>
                  </a:lnTo>
                  <a:lnTo>
                    <a:pt x="1423" y="1654"/>
                  </a:lnTo>
                  <a:lnTo>
                    <a:pt x="1421" y="1654"/>
                  </a:lnTo>
                  <a:lnTo>
                    <a:pt x="1421" y="1654"/>
                  </a:lnTo>
                  <a:lnTo>
                    <a:pt x="1419" y="1656"/>
                  </a:lnTo>
                  <a:lnTo>
                    <a:pt x="1417" y="1658"/>
                  </a:lnTo>
                  <a:lnTo>
                    <a:pt x="1415" y="1660"/>
                  </a:lnTo>
                  <a:lnTo>
                    <a:pt x="1413" y="1662"/>
                  </a:lnTo>
                  <a:lnTo>
                    <a:pt x="1408" y="1666"/>
                  </a:lnTo>
                  <a:lnTo>
                    <a:pt x="1408" y="1669"/>
                  </a:lnTo>
                  <a:lnTo>
                    <a:pt x="1406" y="1673"/>
                  </a:lnTo>
                  <a:lnTo>
                    <a:pt x="1408" y="1675"/>
                  </a:lnTo>
                  <a:lnTo>
                    <a:pt x="1408" y="1675"/>
                  </a:lnTo>
                  <a:lnTo>
                    <a:pt x="1410" y="1677"/>
                  </a:lnTo>
                  <a:lnTo>
                    <a:pt x="1408" y="1679"/>
                  </a:lnTo>
                  <a:lnTo>
                    <a:pt x="1408" y="1679"/>
                  </a:lnTo>
                  <a:lnTo>
                    <a:pt x="1413" y="1683"/>
                  </a:lnTo>
                  <a:lnTo>
                    <a:pt x="1413" y="1687"/>
                  </a:lnTo>
                  <a:lnTo>
                    <a:pt x="1413" y="1687"/>
                  </a:lnTo>
                  <a:lnTo>
                    <a:pt x="1413" y="1689"/>
                  </a:lnTo>
                  <a:lnTo>
                    <a:pt x="1413" y="1689"/>
                  </a:lnTo>
                  <a:lnTo>
                    <a:pt x="1410" y="1689"/>
                  </a:lnTo>
                  <a:lnTo>
                    <a:pt x="1408" y="1689"/>
                  </a:lnTo>
                  <a:lnTo>
                    <a:pt x="1408" y="1691"/>
                  </a:lnTo>
                  <a:lnTo>
                    <a:pt x="1410" y="1691"/>
                  </a:lnTo>
                  <a:lnTo>
                    <a:pt x="1410" y="1693"/>
                  </a:lnTo>
                  <a:lnTo>
                    <a:pt x="1415" y="1695"/>
                  </a:lnTo>
                  <a:lnTo>
                    <a:pt x="1425" y="1702"/>
                  </a:lnTo>
                  <a:lnTo>
                    <a:pt x="1425" y="1702"/>
                  </a:lnTo>
                  <a:lnTo>
                    <a:pt x="1427" y="1704"/>
                  </a:lnTo>
                  <a:lnTo>
                    <a:pt x="1429" y="1706"/>
                  </a:lnTo>
                  <a:lnTo>
                    <a:pt x="1431" y="1710"/>
                  </a:lnTo>
                  <a:lnTo>
                    <a:pt x="1431" y="1712"/>
                  </a:lnTo>
                  <a:lnTo>
                    <a:pt x="1435" y="1718"/>
                  </a:lnTo>
                  <a:lnTo>
                    <a:pt x="1435" y="1718"/>
                  </a:lnTo>
                  <a:lnTo>
                    <a:pt x="1437" y="1720"/>
                  </a:lnTo>
                  <a:lnTo>
                    <a:pt x="1439" y="1722"/>
                  </a:lnTo>
                  <a:lnTo>
                    <a:pt x="1441" y="1726"/>
                  </a:lnTo>
                  <a:lnTo>
                    <a:pt x="1443" y="1728"/>
                  </a:lnTo>
                  <a:lnTo>
                    <a:pt x="1443" y="1730"/>
                  </a:lnTo>
                  <a:lnTo>
                    <a:pt x="1445" y="1735"/>
                  </a:lnTo>
                  <a:lnTo>
                    <a:pt x="1445" y="1737"/>
                  </a:lnTo>
                  <a:lnTo>
                    <a:pt x="1448" y="1739"/>
                  </a:lnTo>
                  <a:lnTo>
                    <a:pt x="1450" y="1743"/>
                  </a:lnTo>
                  <a:lnTo>
                    <a:pt x="1450" y="1745"/>
                  </a:lnTo>
                  <a:lnTo>
                    <a:pt x="1452" y="1749"/>
                  </a:lnTo>
                  <a:lnTo>
                    <a:pt x="1454" y="1751"/>
                  </a:lnTo>
                  <a:lnTo>
                    <a:pt x="1458" y="1759"/>
                  </a:lnTo>
                  <a:lnTo>
                    <a:pt x="1460" y="1764"/>
                  </a:lnTo>
                  <a:lnTo>
                    <a:pt x="1460" y="1766"/>
                  </a:lnTo>
                  <a:lnTo>
                    <a:pt x="1460" y="1768"/>
                  </a:lnTo>
                  <a:lnTo>
                    <a:pt x="1464" y="1770"/>
                  </a:lnTo>
                  <a:lnTo>
                    <a:pt x="1466" y="1772"/>
                  </a:lnTo>
                  <a:lnTo>
                    <a:pt x="1466" y="1776"/>
                  </a:lnTo>
                  <a:lnTo>
                    <a:pt x="1466" y="1778"/>
                  </a:lnTo>
                  <a:lnTo>
                    <a:pt x="1468" y="1778"/>
                  </a:lnTo>
                  <a:lnTo>
                    <a:pt x="1468" y="1780"/>
                  </a:lnTo>
                  <a:lnTo>
                    <a:pt x="1468" y="1780"/>
                  </a:lnTo>
                  <a:lnTo>
                    <a:pt x="1470" y="1782"/>
                  </a:lnTo>
                  <a:lnTo>
                    <a:pt x="1472" y="1784"/>
                  </a:lnTo>
                  <a:lnTo>
                    <a:pt x="1474" y="1788"/>
                  </a:lnTo>
                  <a:lnTo>
                    <a:pt x="1474" y="1788"/>
                  </a:lnTo>
                  <a:lnTo>
                    <a:pt x="1476" y="1790"/>
                  </a:lnTo>
                  <a:lnTo>
                    <a:pt x="1476" y="1792"/>
                  </a:lnTo>
                  <a:lnTo>
                    <a:pt x="1481" y="1797"/>
                  </a:lnTo>
                  <a:lnTo>
                    <a:pt x="1481" y="1799"/>
                  </a:lnTo>
                  <a:lnTo>
                    <a:pt x="1478" y="1803"/>
                  </a:lnTo>
                  <a:lnTo>
                    <a:pt x="1478" y="1803"/>
                  </a:lnTo>
                  <a:lnTo>
                    <a:pt x="1476" y="1803"/>
                  </a:lnTo>
                  <a:lnTo>
                    <a:pt x="1478" y="1805"/>
                  </a:lnTo>
                  <a:lnTo>
                    <a:pt x="1478" y="1807"/>
                  </a:lnTo>
                  <a:lnTo>
                    <a:pt x="1481" y="1809"/>
                  </a:lnTo>
                  <a:lnTo>
                    <a:pt x="1481" y="1811"/>
                  </a:lnTo>
                  <a:lnTo>
                    <a:pt x="1483" y="1813"/>
                  </a:lnTo>
                  <a:lnTo>
                    <a:pt x="1485" y="1815"/>
                  </a:lnTo>
                  <a:lnTo>
                    <a:pt x="1487" y="1817"/>
                  </a:lnTo>
                  <a:lnTo>
                    <a:pt x="1489" y="1819"/>
                  </a:lnTo>
                  <a:lnTo>
                    <a:pt x="1491" y="1821"/>
                  </a:lnTo>
                  <a:lnTo>
                    <a:pt x="1493" y="1823"/>
                  </a:lnTo>
                  <a:lnTo>
                    <a:pt x="1495" y="1825"/>
                  </a:lnTo>
                  <a:lnTo>
                    <a:pt x="1495" y="1825"/>
                  </a:lnTo>
                  <a:lnTo>
                    <a:pt x="1503" y="1830"/>
                  </a:lnTo>
                  <a:lnTo>
                    <a:pt x="1505" y="1832"/>
                  </a:lnTo>
                  <a:lnTo>
                    <a:pt x="1509" y="1834"/>
                  </a:lnTo>
                  <a:lnTo>
                    <a:pt x="1514" y="1838"/>
                  </a:lnTo>
                  <a:lnTo>
                    <a:pt x="1516" y="1838"/>
                  </a:lnTo>
                  <a:lnTo>
                    <a:pt x="1520" y="1840"/>
                  </a:lnTo>
                  <a:lnTo>
                    <a:pt x="1522" y="1840"/>
                  </a:lnTo>
                  <a:lnTo>
                    <a:pt x="1526" y="1842"/>
                  </a:lnTo>
                  <a:lnTo>
                    <a:pt x="1528" y="1844"/>
                  </a:lnTo>
                  <a:lnTo>
                    <a:pt x="1532" y="1844"/>
                  </a:lnTo>
                  <a:lnTo>
                    <a:pt x="1534" y="1846"/>
                  </a:lnTo>
                  <a:lnTo>
                    <a:pt x="1536" y="1848"/>
                  </a:lnTo>
                  <a:lnTo>
                    <a:pt x="1538" y="1848"/>
                  </a:lnTo>
                  <a:lnTo>
                    <a:pt x="1540" y="1850"/>
                  </a:lnTo>
                  <a:lnTo>
                    <a:pt x="1542" y="1852"/>
                  </a:lnTo>
                  <a:lnTo>
                    <a:pt x="1542" y="1852"/>
                  </a:lnTo>
                  <a:lnTo>
                    <a:pt x="1547" y="1854"/>
                  </a:lnTo>
                  <a:lnTo>
                    <a:pt x="1549" y="1854"/>
                  </a:lnTo>
                  <a:lnTo>
                    <a:pt x="1549" y="1854"/>
                  </a:lnTo>
                  <a:lnTo>
                    <a:pt x="1549" y="1859"/>
                  </a:lnTo>
                  <a:lnTo>
                    <a:pt x="1549" y="1859"/>
                  </a:lnTo>
                  <a:lnTo>
                    <a:pt x="1553" y="1863"/>
                  </a:lnTo>
                  <a:lnTo>
                    <a:pt x="1555" y="1863"/>
                  </a:lnTo>
                  <a:lnTo>
                    <a:pt x="1557" y="1865"/>
                  </a:lnTo>
                  <a:lnTo>
                    <a:pt x="1561" y="1867"/>
                  </a:lnTo>
                  <a:lnTo>
                    <a:pt x="1563" y="1869"/>
                  </a:lnTo>
                  <a:lnTo>
                    <a:pt x="1563" y="1869"/>
                  </a:lnTo>
                  <a:lnTo>
                    <a:pt x="1563" y="1873"/>
                  </a:lnTo>
                  <a:lnTo>
                    <a:pt x="1563" y="1875"/>
                  </a:lnTo>
                  <a:lnTo>
                    <a:pt x="1565" y="1883"/>
                  </a:lnTo>
                  <a:lnTo>
                    <a:pt x="1565" y="1885"/>
                  </a:lnTo>
                  <a:lnTo>
                    <a:pt x="1565" y="1887"/>
                  </a:lnTo>
                  <a:lnTo>
                    <a:pt x="1565" y="1889"/>
                  </a:lnTo>
                  <a:lnTo>
                    <a:pt x="1567" y="1889"/>
                  </a:lnTo>
                  <a:lnTo>
                    <a:pt x="1567" y="1896"/>
                  </a:lnTo>
                  <a:lnTo>
                    <a:pt x="1565" y="1902"/>
                  </a:lnTo>
                  <a:lnTo>
                    <a:pt x="1565" y="1904"/>
                  </a:lnTo>
                  <a:lnTo>
                    <a:pt x="1567" y="1912"/>
                  </a:lnTo>
                  <a:lnTo>
                    <a:pt x="1567" y="1912"/>
                  </a:lnTo>
                  <a:lnTo>
                    <a:pt x="1567" y="1914"/>
                  </a:lnTo>
                  <a:lnTo>
                    <a:pt x="1567" y="1916"/>
                  </a:lnTo>
                  <a:lnTo>
                    <a:pt x="1565" y="1920"/>
                  </a:lnTo>
                  <a:lnTo>
                    <a:pt x="1565" y="1923"/>
                  </a:lnTo>
                  <a:lnTo>
                    <a:pt x="1565" y="1925"/>
                  </a:lnTo>
                  <a:lnTo>
                    <a:pt x="1565" y="1931"/>
                  </a:lnTo>
                  <a:lnTo>
                    <a:pt x="1563" y="1935"/>
                  </a:lnTo>
                  <a:lnTo>
                    <a:pt x="1563" y="1937"/>
                  </a:lnTo>
                  <a:lnTo>
                    <a:pt x="1561" y="1937"/>
                  </a:lnTo>
                  <a:lnTo>
                    <a:pt x="1561" y="1939"/>
                  </a:lnTo>
                  <a:lnTo>
                    <a:pt x="1561" y="1939"/>
                  </a:lnTo>
                  <a:lnTo>
                    <a:pt x="1559" y="1941"/>
                  </a:lnTo>
                  <a:lnTo>
                    <a:pt x="1559" y="1943"/>
                  </a:lnTo>
                  <a:lnTo>
                    <a:pt x="1561" y="1945"/>
                  </a:lnTo>
                  <a:lnTo>
                    <a:pt x="1563" y="1945"/>
                  </a:lnTo>
                  <a:lnTo>
                    <a:pt x="1563" y="1945"/>
                  </a:lnTo>
                  <a:lnTo>
                    <a:pt x="1563" y="1947"/>
                  </a:lnTo>
                  <a:lnTo>
                    <a:pt x="1561" y="1949"/>
                  </a:lnTo>
                  <a:lnTo>
                    <a:pt x="1561" y="1951"/>
                  </a:lnTo>
                  <a:lnTo>
                    <a:pt x="1561" y="1951"/>
                  </a:lnTo>
                  <a:lnTo>
                    <a:pt x="1561" y="1953"/>
                  </a:lnTo>
                  <a:lnTo>
                    <a:pt x="1561" y="1958"/>
                  </a:lnTo>
                  <a:lnTo>
                    <a:pt x="1561" y="1962"/>
                  </a:lnTo>
                  <a:lnTo>
                    <a:pt x="1561" y="1964"/>
                  </a:lnTo>
                  <a:lnTo>
                    <a:pt x="1561" y="1970"/>
                  </a:lnTo>
                  <a:lnTo>
                    <a:pt x="1561" y="1972"/>
                  </a:lnTo>
                  <a:lnTo>
                    <a:pt x="1561" y="1972"/>
                  </a:lnTo>
                  <a:lnTo>
                    <a:pt x="1561" y="1974"/>
                  </a:lnTo>
                  <a:lnTo>
                    <a:pt x="1559" y="1976"/>
                  </a:lnTo>
                  <a:lnTo>
                    <a:pt x="1559" y="1978"/>
                  </a:lnTo>
                  <a:lnTo>
                    <a:pt x="1559" y="1980"/>
                  </a:lnTo>
                  <a:lnTo>
                    <a:pt x="1559" y="1982"/>
                  </a:lnTo>
                  <a:lnTo>
                    <a:pt x="1559" y="1987"/>
                  </a:lnTo>
                  <a:lnTo>
                    <a:pt x="1559" y="1987"/>
                  </a:lnTo>
                  <a:lnTo>
                    <a:pt x="1559" y="1989"/>
                  </a:lnTo>
                  <a:lnTo>
                    <a:pt x="1559" y="1991"/>
                  </a:lnTo>
                  <a:lnTo>
                    <a:pt x="1557" y="1995"/>
                  </a:lnTo>
                  <a:lnTo>
                    <a:pt x="1557" y="1997"/>
                  </a:lnTo>
                  <a:lnTo>
                    <a:pt x="1555" y="2001"/>
                  </a:lnTo>
                  <a:lnTo>
                    <a:pt x="1555" y="2003"/>
                  </a:lnTo>
                  <a:lnTo>
                    <a:pt x="1555" y="2005"/>
                  </a:lnTo>
                  <a:lnTo>
                    <a:pt x="1555" y="2007"/>
                  </a:lnTo>
                  <a:lnTo>
                    <a:pt x="1555" y="2007"/>
                  </a:lnTo>
                  <a:lnTo>
                    <a:pt x="1553" y="2009"/>
                  </a:lnTo>
                  <a:lnTo>
                    <a:pt x="1553" y="2009"/>
                  </a:lnTo>
                  <a:lnTo>
                    <a:pt x="1553" y="2013"/>
                  </a:lnTo>
                  <a:lnTo>
                    <a:pt x="1551" y="2020"/>
                  </a:lnTo>
                  <a:lnTo>
                    <a:pt x="1551" y="2022"/>
                  </a:lnTo>
                  <a:lnTo>
                    <a:pt x="1551" y="2024"/>
                  </a:lnTo>
                  <a:lnTo>
                    <a:pt x="1549" y="2026"/>
                  </a:lnTo>
                  <a:lnTo>
                    <a:pt x="1547" y="2026"/>
                  </a:lnTo>
                  <a:lnTo>
                    <a:pt x="1547" y="2028"/>
                  </a:lnTo>
                  <a:lnTo>
                    <a:pt x="1547" y="2032"/>
                  </a:lnTo>
                  <a:lnTo>
                    <a:pt x="1549" y="2034"/>
                  </a:lnTo>
                  <a:lnTo>
                    <a:pt x="1549" y="2034"/>
                  </a:lnTo>
                  <a:lnTo>
                    <a:pt x="1549" y="2038"/>
                  </a:lnTo>
                  <a:lnTo>
                    <a:pt x="1549" y="2042"/>
                  </a:lnTo>
                  <a:lnTo>
                    <a:pt x="1549" y="2046"/>
                  </a:lnTo>
                  <a:lnTo>
                    <a:pt x="1544" y="2048"/>
                  </a:lnTo>
                  <a:lnTo>
                    <a:pt x="1544" y="2053"/>
                  </a:lnTo>
                  <a:lnTo>
                    <a:pt x="1544" y="2055"/>
                  </a:lnTo>
                  <a:lnTo>
                    <a:pt x="1544" y="2059"/>
                  </a:lnTo>
                  <a:lnTo>
                    <a:pt x="1544" y="2061"/>
                  </a:lnTo>
                  <a:lnTo>
                    <a:pt x="1547" y="2067"/>
                  </a:lnTo>
                  <a:lnTo>
                    <a:pt x="1547" y="2071"/>
                  </a:lnTo>
                  <a:lnTo>
                    <a:pt x="1547" y="2077"/>
                  </a:lnTo>
                  <a:lnTo>
                    <a:pt x="1549" y="2082"/>
                  </a:lnTo>
                  <a:lnTo>
                    <a:pt x="1547" y="2084"/>
                  </a:lnTo>
                  <a:lnTo>
                    <a:pt x="1549" y="2086"/>
                  </a:lnTo>
                  <a:lnTo>
                    <a:pt x="1547" y="2090"/>
                  </a:lnTo>
                  <a:lnTo>
                    <a:pt x="1544" y="2092"/>
                  </a:lnTo>
                  <a:lnTo>
                    <a:pt x="1544" y="2092"/>
                  </a:lnTo>
                  <a:lnTo>
                    <a:pt x="1544" y="2096"/>
                  </a:lnTo>
                  <a:lnTo>
                    <a:pt x="1544" y="2098"/>
                  </a:lnTo>
                  <a:lnTo>
                    <a:pt x="1544" y="2098"/>
                  </a:lnTo>
                  <a:lnTo>
                    <a:pt x="1544" y="2100"/>
                  </a:lnTo>
                  <a:lnTo>
                    <a:pt x="1542" y="2104"/>
                  </a:lnTo>
                  <a:lnTo>
                    <a:pt x="1542" y="2104"/>
                  </a:lnTo>
                  <a:lnTo>
                    <a:pt x="1540" y="2106"/>
                  </a:lnTo>
                  <a:lnTo>
                    <a:pt x="1540" y="2108"/>
                  </a:lnTo>
                  <a:lnTo>
                    <a:pt x="1540" y="2110"/>
                  </a:lnTo>
                  <a:lnTo>
                    <a:pt x="1540" y="2112"/>
                  </a:lnTo>
                  <a:lnTo>
                    <a:pt x="1538" y="2117"/>
                  </a:lnTo>
                  <a:lnTo>
                    <a:pt x="1536" y="2121"/>
                  </a:lnTo>
                  <a:lnTo>
                    <a:pt x="1536" y="2123"/>
                  </a:lnTo>
                  <a:lnTo>
                    <a:pt x="1534" y="2127"/>
                  </a:lnTo>
                  <a:lnTo>
                    <a:pt x="1534" y="2127"/>
                  </a:lnTo>
                  <a:lnTo>
                    <a:pt x="1532" y="2129"/>
                  </a:lnTo>
                  <a:lnTo>
                    <a:pt x="1532" y="2131"/>
                  </a:lnTo>
                  <a:lnTo>
                    <a:pt x="1530" y="2131"/>
                  </a:lnTo>
                  <a:lnTo>
                    <a:pt x="1532" y="2135"/>
                  </a:lnTo>
                  <a:lnTo>
                    <a:pt x="1530" y="2137"/>
                  </a:lnTo>
                  <a:lnTo>
                    <a:pt x="1528" y="2137"/>
                  </a:lnTo>
                  <a:lnTo>
                    <a:pt x="1528" y="2146"/>
                  </a:lnTo>
                  <a:lnTo>
                    <a:pt x="1526" y="2148"/>
                  </a:lnTo>
                  <a:lnTo>
                    <a:pt x="1526" y="2150"/>
                  </a:lnTo>
                  <a:lnTo>
                    <a:pt x="1524" y="2150"/>
                  </a:lnTo>
                  <a:lnTo>
                    <a:pt x="1524" y="2152"/>
                  </a:lnTo>
                  <a:lnTo>
                    <a:pt x="1524" y="2152"/>
                  </a:lnTo>
                  <a:lnTo>
                    <a:pt x="1524" y="2156"/>
                  </a:lnTo>
                  <a:lnTo>
                    <a:pt x="1522" y="2158"/>
                  </a:lnTo>
                  <a:lnTo>
                    <a:pt x="1522" y="2158"/>
                  </a:lnTo>
                  <a:lnTo>
                    <a:pt x="1520" y="2158"/>
                  </a:lnTo>
                  <a:lnTo>
                    <a:pt x="1518" y="2158"/>
                  </a:lnTo>
                  <a:lnTo>
                    <a:pt x="1516" y="2158"/>
                  </a:lnTo>
                  <a:lnTo>
                    <a:pt x="1516" y="2160"/>
                  </a:lnTo>
                  <a:lnTo>
                    <a:pt x="1518" y="2162"/>
                  </a:lnTo>
                  <a:lnTo>
                    <a:pt x="1516" y="2164"/>
                  </a:lnTo>
                  <a:lnTo>
                    <a:pt x="1516" y="2166"/>
                  </a:lnTo>
                  <a:lnTo>
                    <a:pt x="1518" y="2170"/>
                  </a:lnTo>
                  <a:lnTo>
                    <a:pt x="1520" y="2172"/>
                  </a:lnTo>
                  <a:lnTo>
                    <a:pt x="1520" y="2172"/>
                  </a:lnTo>
                  <a:lnTo>
                    <a:pt x="1518" y="2176"/>
                  </a:lnTo>
                  <a:lnTo>
                    <a:pt x="1518" y="2179"/>
                  </a:lnTo>
                  <a:lnTo>
                    <a:pt x="1518" y="2181"/>
                  </a:lnTo>
                  <a:lnTo>
                    <a:pt x="1522" y="2191"/>
                  </a:lnTo>
                  <a:lnTo>
                    <a:pt x="1522" y="2195"/>
                  </a:lnTo>
                  <a:lnTo>
                    <a:pt x="1520" y="2201"/>
                  </a:lnTo>
                  <a:lnTo>
                    <a:pt x="1518" y="2201"/>
                  </a:lnTo>
                  <a:lnTo>
                    <a:pt x="1516" y="2203"/>
                  </a:lnTo>
                  <a:lnTo>
                    <a:pt x="1516" y="2205"/>
                  </a:lnTo>
                  <a:lnTo>
                    <a:pt x="1516" y="2207"/>
                  </a:lnTo>
                  <a:lnTo>
                    <a:pt x="1514" y="2212"/>
                  </a:lnTo>
                  <a:lnTo>
                    <a:pt x="1511" y="2218"/>
                  </a:lnTo>
                  <a:lnTo>
                    <a:pt x="1511" y="2220"/>
                  </a:lnTo>
                  <a:lnTo>
                    <a:pt x="1511" y="2222"/>
                  </a:lnTo>
                  <a:lnTo>
                    <a:pt x="1514" y="2226"/>
                  </a:lnTo>
                  <a:lnTo>
                    <a:pt x="1514" y="2228"/>
                  </a:lnTo>
                  <a:lnTo>
                    <a:pt x="1514" y="2230"/>
                  </a:lnTo>
                  <a:lnTo>
                    <a:pt x="1516" y="2230"/>
                  </a:lnTo>
                  <a:lnTo>
                    <a:pt x="1518" y="2230"/>
                  </a:lnTo>
                  <a:lnTo>
                    <a:pt x="1516" y="2230"/>
                  </a:lnTo>
                  <a:lnTo>
                    <a:pt x="1516" y="2232"/>
                  </a:lnTo>
                  <a:lnTo>
                    <a:pt x="1516" y="2232"/>
                  </a:lnTo>
                  <a:lnTo>
                    <a:pt x="1516" y="2232"/>
                  </a:lnTo>
                  <a:lnTo>
                    <a:pt x="1518" y="2234"/>
                  </a:lnTo>
                  <a:lnTo>
                    <a:pt x="1518" y="2234"/>
                  </a:lnTo>
                  <a:lnTo>
                    <a:pt x="1522" y="2234"/>
                  </a:lnTo>
                  <a:lnTo>
                    <a:pt x="1524" y="2234"/>
                  </a:lnTo>
                  <a:lnTo>
                    <a:pt x="1526" y="2230"/>
                  </a:lnTo>
                  <a:lnTo>
                    <a:pt x="1526" y="2230"/>
                  </a:lnTo>
                  <a:lnTo>
                    <a:pt x="1528" y="2230"/>
                  </a:lnTo>
                  <a:lnTo>
                    <a:pt x="1528" y="2230"/>
                  </a:lnTo>
                  <a:lnTo>
                    <a:pt x="1530" y="2232"/>
                  </a:lnTo>
                  <a:lnTo>
                    <a:pt x="1532" y="2232"/>
                  </a:lnTo>
                  <a:lnTo>
                    <a:pt x="1532" y="2232"/>
                  </a:lnTo>
                  <a:lnTo>
                    <a:pt x="1534" y="2232"/>
                  </a:lnTo>
                  <a:lnTo>
                    <a:pt x="1534" y="2230"/>
                  </a:lnTo>
                  <a:lnTo>
                    <a:pt x="1536" y="2228"/>
                  </a:lnTo>
                  <a:lnTo>
                    <a:pt x="1534" y="2232"/>
                  </a:lnTo>
                  <a:lnTo>
                    <a:pt x="1532" y="2232"/>
                  </a:lnTo>
                  <a:lnTo>
                    <a:pt x="1530" y="2232"/>
                  </a:lnTo>
                  <a:lnTo>
                    <a:pt x="1530" y="2234"/>
                  </a:lnTo>
                  <a:lnTo>
                    <a:pt x="1528" y="2234"/>
                  </a:lnTo>
                  <a:lnTo>
                    <a:pt x="1528" y="2236"/>
                  </a:lnTo>
                  <a:lnTo>
                    <a:pt x="1528" y="2236"/>
                  </a:lnTo>
                  <a:lnTo>
                    <a:pt x="1530" y="2238"/>
                  </a:lnTo>
                  <a:lnTo>
                    <a:pt x="1530" y="2238"/>
                  </a:lnTo>
                  <a:lnTo>
                    <a:pt x="1532" y="2236"/>
                  </a:lnTo>
                  <a:lnTo>
                    <a:pt x="1534" y="2241"/>
                  </a:lnTo>
                  <a:lnTo>
                    <a:pt x="1534" y="2245"/>
                  </a:lnTo>
                  <a:lnTo>
                    <a:pt x="1534" y="2245"/>
                  </a:lnTo>
                  <a:lnTo>
                    <a:pt x="1532" y="2243"/>
                  </a:lnTo>
                  <a:lnTo>
                    <a:pt x="1530" y="2241"/>
                  </a:lnTo>
                  <a:lnTo>
                    <a:pt x="1530" y="2241"/>
                  </a:lnTo>
                  <a:lnTo>
                    <a:pt x="1528" y="2243"/>
                  </a:lnTo>
                  <a:lnTo>
                    <a:pt x="1528" y="2243"/>
                  </a:lnTo>
                  <a:lnTo>
                    <a:pt x="1530" y="2245"/>
                  </a:lnTo>
                  <a:lnTo>
                    <a:pt x="1530" y="2247"/>
                  </a:lnTo>
                  <a:lnTo>
                    <a:pt x="1530" y="2247"/>
                  </a:lnTo>
                  <a:lnTo>
                    <a:pt x="1528" y="2247"/>
                  </a:lnTo>
                  <a:lnTo>
                    <a:pt x="1528" y="2249"/>
                  </a:lnTo>
                  <a:lnTo>
                    <a:pt x="1528" y="2251"/>
                  </a:lnTo>
                  <a:lnTo>
                    <a:pt x="1528" y="2253"/>
                  </a:lnTo>
                  <a:lnTo>
                    <a:pt x="1530" y="2255"/>
                  </a:lnTo>
                  <a:lnTo>
                    <a:pt x="1528" y="2255"/>
                  </a:lnTo>
                  <a:lnTo>
                    <a:pt x="1528" y="2255"/>
                  </a:lnTo>
                  <a:lnTo>
                    <a:pt x="1526" y="2257"/>
                  </a:lnTo>
                  <a:lnTo>
                    <a:pt x="1526" y="2259"/>
                  </a:lnTo>
                  <a:lnTo>
                    <a:pt x="1524" y="2261"/>
                  </a:lnTo>
                  <a:lnTo>
                    <a:pt x="1524" y="2263"/>
                  </a:lnTo>
                  <a:lnTo>
                    <a:pt x="1526" y="2265"/>
                  </a:lnTo>
                  <a:lnTo>
                    <a:pt x="1524" y="2269"/>
                  </a:lnTo>
                  <a:lnTo>
                    <a:pt x="1522" y="2269"/>
                  </a:lnTo>
                  <a:lnTo>
                    <a:pt x="1522" y="2274"/>
                  </a:lnTo>
                  <a:lnTo>
                    <a:pt x="1522" y="2276"/>
                  </a:lnTo>
                  <a:lnTo>
                    <a:pt x="1524" y="2276"/>
                  </a:lnTo>
                  <a:lnTo>
                    <a:pt x="1526" y="2278"/>
                  </a:lnTo>
                  <a:lnTo>
                    <a:pt x="1528" y="2280"/>
                  </a:lnTo>
                  <a:lnTo>
                    <a:pt x="1530" y="2280"/>
                  </a:lnTo>
                  <a:lnTo>
                    <a:pt x="1530" y="2282"/>
                  </a:lnTo>
                  <a:lnTo>
                    <a:pt x="1530" y="2284"/>
                  </a:lnTo>
                  <a:lnTo>
                    <a:pt x="1524" y="2288"/>
                  </a:lnTo>
                  <a:lnTo>
                    <a:pt x="1522" y="2288"/>
                  </a:lnTo>
                  <a:lnTo>
                    <a:pt x="1520" y="2288"/>
                  </a:lnTo>
                  <a:lnTo>
                    <a:pt x="1520" y="2290"/>
                  </a:lnTo>
                  <a:lnTo>
                    <a:pt x="1520" y="2294"/>
                  </a:lnTo>
                  <a:lnTo>
                    <a:pt x="1522" y="2294"/>
                  </a:lnTo>
                  <a:lnTo>
                    <a:pt x="1524" y="2296"/>
                  </a:lnTo>
                  <a:lnTo>
                    <a:pt x="1526" y="2296"/>
                  </a:lnTo>
                  <a:lnTo>
                    <a:pt x="1526" y="2296"/>
                  </a:lnTo>
                  <a:lnTo>
                    <a:pt x="1526" y="2296"/>
                  </a:lnTo>
                  <a:lnTo>
                    <a:pt x="1526" y="2296"/>
                  </a:lnTo>
                  <a:lnTo>
                    <a:pt x="1522" y="2296"/>
                  </a:lnTo>
                  <a:lnTo>
                    <a:pt x="1522" y="2296"/>
                  </a:lnTo>
                  <a:lnTo>
                    <a:pt x="1520" y="2296"/>
                  </a:lnTo>
                  <a:lnTo>
                    <a:pt x="1518" y="2298"/>
                  </a:lnTo>
                  <a:lnTo>
                    <a:pt x="1516" y="2298"/>
                  </a:lnTo>
                  <a:lnTo>
                    <a:pt x="1514" y="2300"/>
                  </a:lnTo>
                  <a:lnTo>
                    <a:pt x="1516" y="2302"/>
                  </a:lnTo>
                  <a:lnTo>
                    <a:pt x="1516" y="2302"/>
                  </a:lnTo>
                  <a:lnTo>
                    <a:pt x="1518" y="2302"/>
                  </a:lnTo>
                  <a:lnTo>
                    <a:pt x="1518" y="2305"/>
                  </a:lnTo>
                  <a:lnTo>
                    <a:pt x="1516" y="2307"/>
                  </a:lnTo>
                  <a:lnTo>
                    <a:pt x="1516" y="2309"/>
                  </a:lnTo>
                  <a:lnTo>
                    <a:pt x="1516" y="2311"/>
                  </a:lnTo>
                  <a:lnTo>
                    <a:pt x="1516" y="2313"/>
                  </a:lnTo>
                  <a:lnTo>
                    <a:pt x="1516" y="2315"/>
                  </a:lnTo>
                  <a:lnTo>
                    <a:pt x="1514" y="2315"/>
                  </a:lnTo>
                  <a:lnTo>
                    <a:pt x="1514" y="2317"/>
                  </a:lnTo>
                  <a:lnTo>
                    <a:pt x="1511" y="2317"/>
                  </a:lnTo>
                  <a:lnTo>
                    <a:pt x="1511" y="2317"/>
                  </a:lnTo>
                  <a:lnTo>
                    <a:pt x="1511" y="2315"/>
                  </a:lnTo>
                  <a:lnTo>
                    <a:pt x="1514" y="2313"/>
                  </a:lnTo>
                  <a:lnTo>
                    <a:pt x="1516" y="2309"/>
                  </a:lnTo>
                  <a:lnTo>
                    <a:pt x="1516" y="2307"/>
                  </a:lnTo>
                  <a:lnTo>
                    <a:pt x="1516" y="2305"/>
                  </a:lnTo>
                  <a:lnTo>
                    <a:pt x="1516" y="2305"/>
                  </a:lnTo>
                  <a:lnTo>
                    <a:pt x="1514" y="2305"/>
                  </a:lnTo>
                  <a:lnTo>
                    <a:pt x="1514" y="2305"/>
                  </a:lnTo>
                  <a:lnTo>
                    <a:pt x="1511" y="2309"/>
                  </a:lnTo>
                  <a:lnTo>
                    <a:pt x="1511" y="2309"/>
                  </a:lnTo>
                  <a:lnTo>
                    <a:pt x="1509" y="2311"/>
                  </a:lnTo>
                  <a:lnTo>
                    <a:pt x="1507" y="2311"/>
                  </a:lnTo>
                  <a:lnTo>
                    <a:pt x="1505" y="2311"/>
                  </a:lnTo>
                  <a:lnTo>
                    <a:pt x="1505" y="2311"/>
                  </a:lnTo>
                  <a:lnTo>
                    <a:pt x="1505" y="2311"/>
                  </a:lnTo>
                  <a:lnTo>
                    <a:pt x="1509" y="2309"/>
                  </a:lnTo>
                  <a:lnTo>
                    <a:pt x="1511" y="2309"/>
                  </a:lnTo>
                  <a:lnTo>
                    <a:pt x="1509" y="2307"/>
                  </a:lnTo>
                  <a:lnTo>
                    <a:pt x="1511" y="2305"/>
                  </a:lnTo>
                  <a:lnTo>
                    <a:pt x="1511" y="2305"/>
                  </a:lnTo>
                  <a:lnTo>
                    <a:pt x="1514" y="2298"/>
                  </a:lnTo>
                  <a:lnTo>
                    <a:pt x="1514" y="2298"/>
                  </a:lnTo>
                  <a:lnTo>
                    <a:pt x="1514" y="2296"/>
                  </a:lnTo>
                  <a:lnTo>
                    <a:pt x="1511" y="2296"/>
                  </a:lnTo>
                  <a:lnTo>
                    <a:pt x="1511" y="2296"/>
                  </a:lnTo>
                  <a:lnTo>
                    <a:pt x="1511" y="2296"/>
                  </a:lnTo>
                  <a:lnTo>
                    <a:pt x="1509" y="2298"/>
                  </a:lnTo>
                  <a:lnTo>
                    <a:pt x="1509" y="2298"/>
                  </a:lnTo>
                  <a:lnTo>
                    <a:pt x="1509" y="2300"/>
                  </a:lnTo>
                  <a:lnTo>
                    <a:pt x="1509" y="2300"/>
                  </a:lnTo>
                  <a:lnTo>
                    <a:pt x="1509" y="2300"/>
                  </a:lnTo>
                  <a:lnTo>
                    <a:pt x="1509" y="2302"/>
                  </a:lnTo>
                  <a:lnTo>
                    <a:pt x="1509" y="2302"/>
                  </a:lnTo>
                  <a:lnTo>
                    <a:pt x="1507" y="2302"/>
                  </a:lnTo>
                  <a:lnTo>
                    <a:pt x="1505" y="2302"/>
                  </a:lnTo>
                  <a:lnTo>
                    <a:pt x="1505" y="2305"/>
                  </a:lnTo>
                  <a:lnTo>
                    <a:pt x="1503" y="2305"/>
                  </a:lnTo>
                  <a:lnTo>
                    <a:pt x="1501" y="2305"/>
                  </a:lnTo>
                  <a:lnTo>
                    <a:pt x="1497" y="2305"/>
                  </a:lnTo>
                  <a:lnTo>
                    <a:pt x="1495" y="2307"/>
                  </a:lnTo>
                  <a:lnTo>
                    <a:pt x="1497" y="2309"/>
                  </a:lnTo>
                  <a:lnTo>
                    <a:pt x="1499" y="2309"/>
                  </a:lnTo>
                  <a:lnTo>
                    <a:pt x="1495" y="2311"/>
                  </a:lnTo>
                  <a:lnTo>
                    <a:pt x="1493" y="2313"/>
                  </a:lnTo>
                  <a:lnTo>
                    <a:pt x="1491" y="2315"/>
                  </a:lnTo>
                  <a:lnTo>
                    <a:pt x="1491" y="2315"/>
                  </a:lnTo>
                  <a:lnTo>
                    <a:pt x="1487" y="2317"/>
                  </a:lnTo>
                  <a:lnTo>
                    <a:pt x="1487" y="2319"/>
                  </a:lnTo>
                  <a:lnTo>
                    <a:pt x="1487" y="2321"/>
                  </a:lnTo>
                  <a:lnTo>
                    <a:pt x="1489" y="2323"/>
                  </a:lnTo>
                  <a:lnTo>
                    <a:pt x="1491" y="2323"/>
                  </a:lnTo>
                  <a:lnTo>
                    <a:pt x="1491" y="2323"/>
                  </a:lnTo>
                  <a:lnTo>
                    <a:pt x="1491" y="2323"/>
                  </a:lnTo>
                  <a:lnTo>
                    <a:pt x="1491" y="2323"/>
                  </a:lnTo>
                  <a:lnTo>
                    <a:pt x="1491" y="2321"/>
                  </a:lnTo>
                  <a:lnTo>
                    <a:pt x="1489" y="2321"/>
                  </a:lnTo>
                  <a:lnTo>
                    <a:pt x="1489" y="2319"/>
                  </a:lnTo>
                  <a:lnTo>
                    <a:pt x="1489" y="2319"/>
                  </a:lnTo>
                  <a:lnTo>
                    <a:pt x="1491" y="2319"/>
                  </a:lnTo>
                  <a:lnTo>
                    <a:pt x="1493" y="2319"/>
                  </a:lnTo>
                  <a:lnTo>
                    <a:pt x="1495" y="2317"/>
                  </a:lnTo>
                  <a:lnTo>
                    <a:pt x="1497" y="2315"/>
                  </a:lnTo>
                  <a:lnTo>
                    <a:pt x="1497" y="2317"/>
                  </a:lnTo>
                  <a:lnTo>
                    <a:pt x="1497" y="2317"/>
                  </a:lnTo>
                  <a:lnTo>
                    <a:pt x="1497" y="2319"/>
                  </a:lnTo>
                  <a:lnTo>
                    <a:pt x="1497" y="2319"/>
                  </a:lnTo>
                  <a:lnTo>
                    <a:pt x="1499" y="2321"/>
                  </a:lnTo>
                  <a:lnTo>
                    <a:pt x="1501" y="2323"/>
                  </a:lnTo>
                  <a:lnTo>
                    <a:pt x="1503" y="2323"/>
                  </a:lnTo>
                  <a:lnTo>
                    <a:pt x="1505" y="2323"/>
                  </a:lnTo>
                  <a:lnTo>
                    <a:pt x="1505" y="2323"/>
                  </a:lnTo>
                  <a:lnTo>
                    <a:pt x="1505" y="2321"/>
                  </a:lnTo>
                  <a:lnTo>
                    <a:pt x="1505" y="2321"/>
                  </a:lnTo>
                  <a:lnTo>
                    <a:pt x="1505" y="2321"/>
                  </a:lnTo>
                  <a:lnTo>
                    <a:pt x="1507" y="2321"/>
                  </a:lnTo>
                  <a:lnTo>
                    <a:pt x="1507" y="2323"/>
                  </a:lnTo>
                  <a:lnTo>
                    <a:pt x="1509" y="2323"/>
                  </a:lnTo>
                  <a:lnTo>
                    <a:pt x="1507" y="2325"/>
                  </a:lnTo>
                  <a:lnTo>
                    <a:pt x="1509" y="2327"/>
                  </a:lnTo>
                  <a:lnTo>
                    <a:pt x="1507" y="2329"/>
                  </a:lnTo>
                  <a:lnTo>
                    <a:pt x="1505" y="2331"/>
                  </a:lnTo>
                  <a:lnTo>
                    <a:pt x="1505" y="2331"/>
                  </a:lnTo>
                  <a:lnTo>
                    <a:pt x="1507" y="2333"/>
                  </a:lnTo>
                  <a:lnTo>
                    <a:pt x="1507" y="2335"/>
                  </a:lnTo>
                  <a:lnTo>
                    <a:pt x="1509" y="2335"/>
                  </a:lnTo>
                  <a:lnTo>
                    <a:pt x="1509" y="2335"/>
                  </a:lnTo>
                  <a:lnTo>
                    <a:pt x="1509" y="2335"/>
                  </a:lnTo>
                  <a:lnTo>
                    <a:pt x="1507" y="2338"/>
                  </a:lnTo>
                  <a:lnTo>
                    <a:pt x="1507" y="2335"/>
                  </a:lnTo>
                  <a:lnTo>
                    <a:pt x="1505" y="2335"/>
                  </a:lnTo>
                  <a:lnTo>
                    <a:pt x="1505" y="2335"/>
                  </a:lnTo>
                  <a:lnTo>
                    <a:pt x="1503" y="2335"/>
                  </a:lnTo>
                  <a:lnTo>
                    <a:pt x="1503" y="2335"/>
                  </a:lnTo>
                  <a:lnTo>
                    <a:pt x="1501" y="2338"/>
                  </a:lnTo>
                  <a:lnTo>
                    <a:pt x="1503" y="2338"/>
                  </a:lnTo>
                  <a:lnTo>
                    <a:pt x="1503" y="2338"/>
                  </a:lnTo>
                  <a:lnTo>
                    <a:pt x="1505" y="2340"/>
                  </a:lnTo>
                  <a:lnTo>
                    <a:pt x="1505" y="2340"/>
                  </a:lnTo>
                  <a:lnTo>
                    <a:pt x="1505" y="2340"/>
                  </a:lnTo>
                  <a:lnTo>
                    <a:pt x="1505" y="2342"/>
                  </a:lnTo>
                  <a:lnTo>
                    <a:pt x="1507" y="2342"/>
                  </a:lnTo>
                  <a:lnTo>
                    <a:pt x="1509" y="2342"/>
                  </a:lnTo>
                  <a:lnTo>
                    <a:pt x="1511" y="2342"/>
                  </a:lnTo>
                  <a:lnTo>
                    <a:pt x="1514" y="2340"/>
                  </a:lnTo>
                  <a:lnTo>
                    <a:pt x="1514" y="2338"/>
                  </a:lnTo>
                  <a:lnTo>
                    <a:pt x="1516" y="2335"/>
                  </a:lnTo>
                  <a:lnTo>
                    <a:pt x="1516" y="2335"/>
                  </a:lnTo>
                  <a:lnTo>
                    <a:pt x="1516" y="2340"/>
                  </a:lnTo>
                  <a:lnTo>
                    <a:pt x="1516" y="2342"/>
                  </a:lnTo>
                  <a:lnTo>
                    <a:pt x="1518" y="2342"/>
                  </a:lnTo>
                  <a:lnTo>
                    <a:pt x="1518" y="2344"/>
                  </a:lnTo>
                  <a:lnTo>
                    <a:pt x="1518" y="2344"/>
                  </a:lnTo>
                  <a:lnTo>
                    <a:pt x="1520" y="2346"/>
                  </a:lnTo>
                  <a:lnTo>
                    <a:pt x="1520" y="2346"/>
                  </a:lnTo>
                  <a:lnTo>
                    <a:pt x="1518" y="2346"/>
                  </a:lnTo>
                  <a:lnTo>
                    <a:pt x="1514" y="2344"/>
                  </a:lnTo>
                  <a:lnTo>
                    <a:pt x="1507" y="2344"/>
                  </a:lnTo>
                  <a:lnTo>
                    <a:pt x="1505" y="2344"/>
                  </a:lnTo>
                  <a:lnTo>
                    <a:pt x="1503" y="2342"/>
                  </a:lnTo>
                  <a:lnTo>
                    <a:pt x="1503" y="2346"/>
                  </a:lnTo>
                  <a:lnTo>
                    <a:pt x="1503" y="2348"/>
                  </a:lnTo>
                  <a:lnTo>
                    <a:pt x="1503" y="2350"/>
                  </a:lnTo>
                  <a:lnTo>
                    <a:pt x="1505" y="2350"/>
                  </a:lnTo>
                  <a:lnTo>
                    <a:pt x="1507" y="2352"/>
                  </a:lnTo>
                  <a:lnTo>
                    <a:pt x="1507" y="2350"/>
                  </a:lnTo>
                  <a:lnTo>
                    <a:pt x="1509" y="2350"/>
                  </a:lnTo>
                  <a:lnTo>
                    <a:pt x="1511" y="2352"/>
                  </a:lnTo>
                  <a:lnTo>
                    <a:pt x="1511" y="2352"/>
                  </a:lnTo>
                  <a:lnTo>
                    <a:pt x="1509" y="2352"/>
                  </a:lnTo>
                  <a:lnTo>
                    <a:pt x="1509" y="2352"/>
                  </a:lnTo>
                  <a:lnTo>
                    <a:pt x="1507" y="2352"/>
                  </a:lnTo>
                  <a:lnTo>
                    <a:pt x="1507" y="2354"/>
                  </a:lnTo>
                  <a:lnTo>
                    <a:pt x="1505" y="2356"/>
                  </a:lnTo>
                  <a:lnTo>
                    <a:pt x="1505" y="2362"/>
                  </a:lnTo>
                  <a:lnTo>
                    <a:pt x="1505" y="2366"/>
                  </a:lnTo>
                  <a:lnTo>
                    <a:pt x="1505" y="2369"/>
                  </a:lnTo>
                  <a:lnTo>
                    <a:pt x="1505" y="2369"/>
                  </a:lnTo>
                  <a:lnTo>
                    <a:pt x="1507" y="2369"/>
                  </a:lnTo>
                  <a:lnTo>
                    <a:pt x="1507" y="2371"/>
                  </a:lnTo>
                  <a:lnTo>
                    <a:pt x="1509" y="2369"/>
                  </a:lnTo>
                  <a:lnTo>
                    <a:pt x="1509" y="2366"/>
                  </a:lnTo>
                  <a:lnTo>
                    <a:pt x="1509" y="2364"/>
                  </a:lnTo>
                  <a:lnTo>
                    <a:pt x="1509" y="2364"/>
                  </a:lnTo>
                  <a:lnTo>
                    <a:pt x="1509" y="2362"/>
                  </a:lnTo>
                  <a:lnTo>
                    <a:pt x="1511" y="2360"/>
                  </a:lnTo>
                  <a:lnTo>
                    <a:pt x="1511" y="2360"/>
                  </a:lnTo>
                  <a:lnTo>
                    <a:pt x="1511" y="2362"/>
                  </a:lnTo>
                  <a:lnTo>
                    <a:pt x="1511" y="2362"/>
                  </a:lnTo>
                  <a:lnTo>
                    <a:pt x="1511" y="2362"/>
                  </a:lnTo>
                  <a:lnTo>
                    <a:pt x="1511" y="2364"/>
                  </a:lnTo>
                  <a:lnTo>
                    <a:pt x="1511" y="2364"/>
                  </a:lnTo>
                  <a:lnTo>
                    <a:pt x="1511" y="2366"/>
                  </a:lnTo>
                  <a:lnTo>
                    <a:pt x="1509" y="2366"/>
                  </a:lnTo>
                  <a:lnTo>
                    <a:pt x="1509" y="2369"/>
                  </a:lnTo>
                  <a:lnTo>
                    <a:pt x="1511" y="2371"/>
                  </a:lnTo>
                  <a:lnTo>
                    <a:pt x="1514" y="2371"/>
                  </a:lnTo>
                  <a:lnTo>
                    <a:pt x="1514" y="2373"/>
                  </a:lnTo>
                  <a:lnTo>
                    <a:pt x="1514" y="2373"/>
                  </a:lnTo>
                  <a:lnTo>
                    <a:pt x="1511" y="2371"/>
                  </a:lnTo>
                  <a:lnTo>
                    <a:pt x="1509" y="2371"/>
                  </a:lnTo>
                  <a:lnTo>
                    <a:pt x="1507" y="2371"/>
                  </a:lnTo>
                  <a:lnTo>
                    <a:pt x="1507" y="2373"/>
                  </a:lnTo>
                  <a:lnTo>
                    <a:pt x="1507" y="2375"/>
                  </a:lnTo>
                  <a:lnTo>
                    <a:pt x="1507" y="2375"/>
                  </a:lnTo>
                  <a:lnTo>
                    <a:pt x="1509" y="2377"/>
                  </a:lnTo>
                  <a:lnTo>
                    <a:pt x="1509" y="2379"/>
                  </a:lnTo>
                  <a:lnTo>
                    <a:pt x="1511" y="2377"/>
                  </a:lnTo>
                  <a:lnTo>
                    <a:pt x="1511" y="2379"/>
                  </a:lnTo>
                  <a:lnTo>
                    <a:pt x="1511" y="2379"/>
                  </a:lnTo>
                  <a:lnTo>
                    <a:pt x="1507" y="2379"/>
                  </a:lnTo>
                  <a:lnTo>
                    <a:pt x="1505" y="2381"/>
                  </a:lnTo>
                  <a:lnTo>
                    <a:pt x="1503" y="2383"/>
                  </a:lnTo>
                  <a:lnTo>
                    <a:pt x="1503" y="2383"/>
                  </a:lnTo>
                  <a:lnTo>
                    <a:pt x="1505" y="2385"/>
                  </a:lnTo>
                  <a:lnTo>
                    <a:pt x="1505" y="2385"/>
                  </a:lnTo>
                  <a:lnTo>
                    <a:pt x="1507" y="2387"/>
                  </a:lnTo>
                  <a:lnTo>
                    <a:pt x="1511" y="2387"/>
                  </a:lnTo>
                  <a:lnTo>
                    <a:pt x="1511" y="2389"/>
                  </a:lnTo>
                  <a:lnTo>
                    <a:pt x="1509" y="2387"/>
                  </a:lnTo>
                  <a:lnTo>
                    <a:pt x="1509" y="2391"/>
                  </a:lnTo>
                  <a:lnTo>
                    <a:pt x="1509" y="2391"/>
                  </a:lnTo>
                  <a:lnTo>
                    <a:pt x="1509" y="2393"/>
                  </a:lnTo>
                  <a:lnTo>
                    <a:pt x="1511" y="2393"/>
                  </a:lnTo>
                  <a:lnTo>
                    <a:pt x="1514" y="2393"/>
                  </a:lnTo>
                  <a:lnTo>
                    <a:pt x="1516" y="2389"/>
                  </a:lnTo>
                  <a:lnTo>
                    <a:pt x="1516" y="2387"/>
                  </a:lnTo>
                  <a:lnTo>
                    <a:pt x="1516" y="2387"/>
                  </a:lnTo>
                  <a:lnTo>
                    <a:pt x="1516" y="2389"/>
                  </a:lnTo>
                  <a:lnTo>
                    <a:pt x="1518" y="2391"/>
                  </a:lnTo>
                  <a:lnTo>
                    <a:pt x="1518" y="2391"/>
                  </a:lnTo>
                  <a:lnTo>
                    <a:pt x="1516" y="2391"/>
                  </a:lnTo>
                  <a:lnTo>
                    <a:pt x="1516" y="2391"/>
                  </a:lnTo>
                  <a:lnTo>
                    <a:pt x="1514" y="2395"/>
                  </a:lnTo>
                  <a:lnTo>
                    <a:pt x="1514" y="2397"/>
                  </a:lnTo>
                  <a:lnTo>
                    <a:pt x="1514" y="2397"/>
                  </a:lnTo>
                  <a:lnTo>
                    <a:pt x="1509" y="2393"/>
                  </a:lnTo>
                  <a:lnTo>
                    <a:pt x="1509" y="2393"/>
                  </a:lnTo>
                  <a:lnTo>
                    <a:pt x="1509" y="2393"/>
                  </a:lnTo>
                  <a:lnTo>
                    <a:pt x="1507" y="2389"/>
                  </a:lnTo>
                  <a:lnTo>
                    <a:pt x="1505" y="2387"/>
                  </a:lnTo>
                  <a:lnTo>
                    <a:pt x="1503" y="2385"/>
                  </a:lnTo>
                  <a:lnTo>
                    <a:pt x="1501" y="2385"/>
                  </a:lnTo>
                  <a:lnTo>
                    <a:pt x="1501" y="2387"/>
                  </a:lnTo>
                  <a:lnTo>
                    <a:pt x="1501" y="2387"/>
                  </a:lnTo>
                  <a:lnTo>
                    <a:pt x="1501" y="2389"/>
                  </a:lnTo>
                  <a:lnTo>
                    <a:pt x="1501" y="2391"/>
                  </a:lnTo>
                  <a:lnTo>
                    <a:pt x="1501" y="2391"/>
                  </a:lnTo>
                  <a:lnTo>
                    <a:pt x="1499" y="2391"/>
                  </a:lnTo>
                  <a:lnTo>
                    <a:pt x="1495" y="2391"/>
                  </a:lnTo>
                  <a:lnTo>
                    <a:pt x="1497" y="2393"/>
                  </a:lnTo>
                  <a:lnTo>
                    <a:pt x="1497" y="2395"/>
                  </a:lnTo>
                  <a:lnTo>
                    <a:pt x="1499" y="2399"/>
                  </a:lnTo>
                  <a:lnTo>
                    <a:pt x="1501" y="2399"/>
                  </a:lnTo>
                  <a:lnTo>
                    <a:pt x="1503" y="2399"/>
                  </a:lnTo>
                  <a:lnTo>
                    <a:pt x="1503" y="2399"/>
                  </a:lnTo>
                  <a:lnTo>
                    <a:pt x="1505" y="2402"/>
                  </a:lnTo>
                  <a:lnTo>
                    <a:pt x="1507" y="2402"/>
                  </a:lnTo>
                  <a:lnTo>
                    <a:pt x="1507" y="2402"/>
                  </a:lnTo>
                  <a:lnTo>
                    <a:pt x="1509" y="2402"/>
                  </a:lnTo>
                  <a:lnTo>
                    <a:pt x="1511" y="2402"/>
                  </a:lnTo>
                  <a:lnTo>
                    <a:pt x="1514" y="2404"/>
                  </a:lnTo>
                  <a:lnTo>
                    <a:pt x="1511" y="2410"/>
                  </a:lnTo>
                  <a:lnTo>
                    <a:pt x="1509" y="2408"/>
                  </a:lnTo>
                  <a:lnTo>
                    <a:pt x="1509" y="2410"/>
                  </a:lnTo>
                  <a:lnTo>
                    <a:pt x="1509" y="2412"/>
                  </a:lnTo>
                  <a:lnTo>
                    <a:pt x="1511" y="2412"/>
                  </a:lnTo>
                  <a:lnTo>
                    <a:pt x="1514" y="2412"/>
                  </a:lnTo>
                  <a:lnTo>
                    <a:pt x="1514" y="2412"/>
                  </a:lnTo>
                  <a:lnTo>
                    <a:pt x="1514" y="2412"/>
                  </a:lnTo>
                  <a:lnTo>
                    <a:pt x="1516" y="2412"/>
                  </a:lnTo>
                  <a:lnTo>
                    <a:pt x="1516" y="2414"/>
                  </a:lnTo>
                  <a:lnTo>
                    <a:pt x="1518" y="2416"/>
                  </a:lnTo>
                  <a:lnTo>
                    <a:pt x="1518" y="2418"/>
                  </a:lnTo>
                  <a:lnTo>
                    <a:pt x="1520" y="2418"/>
                  </a:lnTo>
                  <a:lnTo>
                    <a:pt x="1524" y="2416"/>
                  </a:lnTo>
                  <a:lnTo>
                    <a:pt x="1526" y="2414"/>
                  </a:lnTo>
                  <a:lnTo>
                    <a:pt x="1532" y="2412"/>
                  </a:lnTo>
                  <a:lnTo>
                    <a:pt x="1532" y="2412"/>
                  </a:lnTo>
                  <a:lnTo>
                    <a:pt x="1530" y="2410"/>
                  </a:lnTo>
                  <a:lnTo>
                    <a:pt x="1530" y="2410"/>
                  </a:lnTo>
                  <a:lnTo>
                    <a:pt x="1528" y="2410"/>
                  </a:lnTo>
                  <a:lnTo>
                    <a:pt x="1524" y="2408"/>
                  </a:lnTo>
                  <a:lnTo>
                    <a:pt x="1524" y="2408"/>
                  </a:lnTo>
                  <a:lnTo>
                    <a:pt x="1522" y="2406"/>
                  </a:lnTo>
                  <a:lnTo>
                    <a:pt x="1524" y="2406"/>
                  </a:lnTo>
                  <a:lnTo>
                    <a:pt x="1524" y="2406"/>
                  </a:lnTo>
                  <a:lnTo>
                    <a:pt x="1528" y="2408"/>
                  </a:lnTo>
                  <a:lnTo>
                    <a:pt x="1532" y="2410"/>
                  </a:lnTo>
                  <a:lnTo>
                    <a:pt x="1532" y="2412"/>
                  </a:lnTo>
                  <a:lnTo>
                    <a:pt x="1532" y="2414"/>
                  </a:lnTo>
                  <a:lnTo>
                    <a:pt x="1532" y="2414"/>
                  </a:lnTo>
                  <a:lnTo>
                    <a:pt x="1530" y="2416"/>
                  </a:lnTo>
                  <a:lnTo>
                    <a:pt x="1530" y="2416"/>
                  </a:lnTo>
                  <a:lnTo>
                    <a:pt x="1530" y="2416"/>
                  </a:lnTo>
                  <a:lnTo>
                    <a:pt x="1532" y="2420"/>
                  </a:lnTo>
                  <a:lnTo>
                    <a:pt x="1532" y="2420"/>
                  </a:lnTo>
                  <a:lnTo>
                    <a:pt x="1532" y="2420"/>
                  </a:lnTo>
                  <a:lnTo>
                    <a:pt x="1532" y="2422"/>
                  </a:lnTo>
                  <a:lnTo>
                    <a:pt x="1532" y="2422"/>
                  </a:lnTo>
                  <a:lnTo>
                    <a:pt x="1530" y="2424"/>
                  </a:lnTo>
                  <a:lnTo>
                    <a:pt x="1530" y="2424"/>
                  </a:lnTo>
                  <a:lnTo>
                    <a:pt x="1530" y="2422"/>
                  </a:lnTo>
                  <a:lnTo>
                    <a:pt x="1530" y="2422"/>
                  </a:lnTo>
                  <a:lnTo>
                    <a:pt x="1532" y="2420"/>
                  </a:lnTo>
                  <a:lnTo>
                    <a:pt x="1532" y="2420"/>
                  </a:lnTo>
                  <a:lnTo>
                    <a:pt x="1532" y="2418"/>
                  </a:lnTo>
                  <a:lnTo>
                    <a:pt x="1530" y="2418"/>
                  </a:lnTo>
                  <a:lnTo>
                    <a:pt x="1530" y="2418"/>
                  </a:lnTo>
                  <a:lnTo>
                    <a:pt x="1530" y="2416"/>
                  </a:lnTo>
                  <a:lnTo>
                    <a:pt x="1530" y="2416"/>
                  </a:lnTo>
                  <a:lnTo>
                    <a:pt x="1528" y="2416"/>
                  </a:lnTo>
                  <a:lnTo>
                    <a:pt x="1528" y="2416"/>
                  </a:lnTo>
                  <a:lnTo>
                    <a:pt x="1526" y="2418"/>
                  </a:lnTo>
                  <a:lnTo>
                    <a:pt x="1524" y="2418"/>
                  </a:lnTo>
                  <a:lnTo>
                    <a:pt x="1522" y="2420"/>
                  </a:lnTo>
                  <a:lnTo>
                    <a:pt x="1522" y="2420"/>
                  </a:lnTo>
                  <a:lnTo>
                    <a:pt x="1520" y="2418"/>
                  </a:lnTo>
                  <a:lnTo>
                    <a:pt x="1518" y="2420"/>
                  </a:lnTo>
                  <a:lnTo>
                    <a:pt x="1516" y="2418"/>
                  </a:lnTo>
                  <a:lnTo>
                    <a:pt x="1516" y="2418"/>
                  </a:lnTo>
                  <a:lnTo>
                    <a:pt x="1516" y="2418"/>
                  </a:lnTo>
                  <a:lnTo>
                    <a:pt x="1516" y="2420"/>
                  </a:lnTo>
                  <a:lnTo>
                    <a:pt x="1516" y="2420"/>
                  </a:lnTo>
                  <a:lnTo>
                    <a:pt x="1514" y="2420"/>
                  </a:lnTo>
                  <a:lnTo>
                    <a:pt x="1511" y="2420"/>
                  </a:lnTo>
                  <a:lnTo>
                    <a:pt x="1509" y="2420"/>
                  </a:lnTo>
                  <a:lnTo>
                    <a:pt x="1509" y="2418"/>
                  </a:lnTo>
                  <a:lnTo>
                    <a:pt x="1507" y="2418"/>
                  </a:lnTo>
                  <a:lnTo>
                    <a:pt x="1507" y="2418"/>
                  </a:lnTo>
                  <a:lnTo>
                    <a:pt x="1507" y="2420"/>
                  </a:lnTo>
                  <a:lnTo>
                    <a:pt x="1507" y="2420"/>
                  </a:lnTo>
                  <a:lnTo>
                    <a:pt x="1509" y="2422"/>
                  </a:lnTo>
                  <a:lnTo>
                    <a:pt x="1509" y="2424"/>
                  </a:lnTo>
                  <a:lnTo>
                    <a:pt x="1509" y="2424"/>
                  </a:lnTo>
                  <a:lnTo>
                    <a:pt x="1511" y="2424"/>
                  </a:lnTo>
                  <a:lnTo>
                    <a:pt x="1511" y="2426"/>
                  </a:lnTo>
                  <a:lnTo>
                    <a:pt x="1511" y="2426"/>
                  </a:lnTo>
                  <a:lnTo>
                    <a:pt x="1511" y="2428"/>
                  </a:lnTo>
                  <a:lnTo>
                    <a:pt x="1511" y="2428"/>
                  </a:lnTo>
                  <a:lnTo>
                    <a:pt x="1516" y="2428"/>
                  </a:lnTo>
                  <a:lnTo>
                    <a:pt x="1518" y="2428"/>
                  </a:lnTo>
                  <a:lnTo>
                    <a:pt x="1520" y="2428"/>
                  </a:lnTo>
                  <a:lnTo>
                    <a:pt x="1522" y="2428"/>
                  </a:lnTo>
                  <a:lnTo>
                    <a:pt x="1524" y="2426"/>
                  </a:lnTo>
                  <a:lnTo>
                    <a:pt x="1524" y="2426"/>
                  </a:lnTo>
                  <a:lnTo>
                    <a:pt x="1524" y="2426"/>
                  </a:lnTo>
                  <a:lnTo>
                    <a:pt x="1524" y="2426"/>
                  </a:lnTo>
                  <a:lnTo>
                    <a:pt x="1524" y="2428"/>
                  </a:lnTo>
                  <a:lnTo>
                    <a:pt x="1522" y="2430"/>
                  </a:lnTo>
                  <a:lnTo>
                    <a:pt x="1520" y="2430"/>
                  </a:lnTo>
                  <a:lnTo>
                    <a:pt x="1516" y="2433"/>
                  </a:lnTo>
                  <a:lnTo>
                    <a:pt x="1518" y="2433"/>
                  </a:lnTo>
                  <a:lnTo>
                    <a:pt x="1520" y="2435"/>
                  </a:lnTo>
                  <a:lnTo>
                    <a:pt x="1520" y="2437"/>
                  </a:lnTo>
                  <a:lnTo>
                    <a:pt x="1524" y="2437"/>
                  </a:lnTo>
                  <a:lnTo>
                    <a:pt x="1524" y="2437"/>
                  </a:lnTo>
                  <a:lnTo>
                    <a:pt x="1526" y="2437"/>
                  </a:lnTo>
                  <a:lnTo>
                    <a:pt x="1526" y="2435"/>
                  </a:lnTo>
                  <a:lnTo>
                    <a:pt x="1526" y="2433"/>
                  </a:lnTo>
                  <a:lnTo>
                    <a:pt x="1526" y="2430"/>
                  </a:lnTo>
                  <a:lnTo>
                    <a:pt x="1528" y="2430"/>
                  </a:lnTo>
                  <a:lnTo>
                    <a:pt x="1528" y="2428"/>
                  </a:lnTo>
                  <a:lnTo>
                    <a:pt x="1528" y="2426"/>
                  </a:lnTo>
                  <a:lnTo>
                    <a:pt x="1530" y="2426"/>
                  </a:lnTo>
                  <a:lnTo>
                    <a:pt x="1530" y="2426"/>
                  </a:lnTo>
                  <a:lnTo>
                    <a:pt x="1532" y="2426"/>
                  </a:lnTo>
                  <a:lnTo>
                    <a:pt x="1532" y="2428"/>
                  </a:lnTo>
                  <a:lnTo>
                    <a:pt x="1534" y="2428"/>
                  </a:lnTo>
                  <a:lnTo>
                    <a:pt x="1536" y="2426"/>
                  </a:lnTo>
                  <a:lnTo>
                    <a:pt x="1536" y="2426"/>
                  </a:lnTo>
                  <a:lnTo>
                    <a:pt x="1542" y="2426"/>
                  </a:lnTo>
                  <a:lnTo>
                    <a:pt x="1544" y="2426"/>
                  </a:lnTo>
                  <a:lnTo>
                    <a:pt x="1547" y="2428"/>
                  </a:lnTo>
                  <a:lnTo>
                    <a:pt x="1547" y="2428"/>
                  </a:lnTo>
                  <a:lnTo>
                    <a:pt x="1547" y="2428"/>
                  </a:lnTo>
                  <a:lnTo>
                    <a:pt x="1542" y="2428"/>
                  </a:lnTo>
                  <a:lnTo>
                    <a:pt x="1540" y="2428"/>
                  </a:lnTo>
                  <a:lnTo>
                    <a:pt x="1538" y="2428"/>
                  </a:lnTo>
                  <a:lnTo>
                    <a:pt x="1534" y="2433"/>
                  </a:lnTo>
                  <a:lnTo>
                    <a:pt x="1530" y="2433"/>
                  </a:lnTo>
                  <a:lnTo>
                    <a:pt x="1530" y="2430"/>
                  </a:lnTo>
                  <a:lnTo>
                    <a:pt x="1530" y="2430"/>
                  </a:lnTo>
                  <a:lnTo>
                    <a:pt x="1530" y="2430"/>
                  </a:lnTo>
                  <a:lnTo>
                    <a:pt x="1528" y="2433"/>
                  </a:lnTo>
                  <a:lnTo>
                    <a:pt x="1528" y="2433"/>
                  </a:lnTo>
                  <a:lnTo>
                    <a:pt x="1526" y="2435"/>
                  </a:lnTo>
                  <a:lnTo>
                    <a:pt x="1526" y="2439"/>
                  </a:lnTo>
                  <a:lnTo>
                    <a:pt x="1526" y="2439"/>
                  </a:lnTo>
                  <a:lnTo>
                    <a:pt x="1524" y="2441"/>
                  </a:lnTo>
                  <a:lnTo>
                    <a:pt x="1526" y="2441"/>
                  </a:lnTo>
                  <a:lnTo>
                    <a:pt x="1530" y="2443"/>
                  </a:lnTo>
                  <a:lnTo>
                    <a:pt x="1532" y="2445"/>
                  </a:lnTo>
                  <a:lnTo>
                    <a:pt x="1532" y="2443"/>
                  </a:lnTo>
                  <a:lnTo>
                    <a:pt x="1532" y="2441"/>
                  </a:lnTo>
                  <a:lnTo>
                    <a:pt x="1534" y="2441"/>
                  </a:lnTo>
                  <a:lnTo>
                    <a:pt x="1536" y="2439"/>
                  </a:lnTo>
                  <a:lnTo>
                    <a:pt x="1538" y="2437"/>
                  </a:lnTo>
                  <a:lnTo>
                    <a:pt x="1540" y="2435"/>
                  </a:lnTo>
                  <a:lnTo>
                    <a:pt x="1549" y="2430"/>
                  </a:lnTo>
                  <a:lnTo>
                    <a:pt x="1551" y="2433"/>
                  </a:lnTo>
                  <a:lnTo>
                    <a:pt x="1553" y="2433"/>
                  </a:lnTo>
                  <a:lnTo>
                    <a:pt x="1553" y="2433"/>
                  </a:lnTo>
                  <a:lnTo>
                    <a:pt x="1551" y="2435"/>
                  </a:lnTo>
                  <a:lnTo>
                    <a:pt x="1551" y="2437"/>
                  </a:lnTo>
                  <a:lnTo>
                    <a:pt x="1549" y="2437"/>
                  </a:lnTo>
                  <a:lnTo>
                    <a:pt x="1544" y="2441"/>
                  </a:lnTo>
                  <a:lnTo>
                    <a:pt x="1542" y="2445"/>
                  </a:lnTo>
                  <a:lnTo>
                    <a:pt x="1540" y="2445"/>
                  </a:lnTo>
                  <a:lnTo>
                    <a:pt x="1540" y="2445"/>
                  </a:lnTo>
                  <a:lnTo>
                    <a:pt x="1542" y="2445"/>
                  </a:lnTo>
                  <a:lnTo>
                    <a:pt x="1542" y="2443"/>
                  </a:lnTo>
                  <a:lnTo>
                    <a:pt x="1542" y="2441"/>
                  </a:lnTo>
                  <a:lnTo>
                    <a:pt x="1540" y="2441"/>
                  </a:lnTo>
                  <a:lnTo>
                    <a:pt x="1538" y="2441"/>
                  </a:lnTo>
                  <a:lnTo>
                    <a:pt x="1536" y="2441"/>
                  </a:lnTo>
                  <a:lnTo>
                    <a:pt x="1536" y="2441"/>
                  </a:lnTo>
                  <a:lnTo>
                    <a:pt x="1534" y="2443"/>
                  </a:lnTo>
                  <a:lnTo>
                    <a:pt x="1534" y="2443"/>
                  </a:lnTo>
                  <a:lnTo>
                    <a:pt x="1534" y="2445"/>
                  </a:lnTo>
                  <a:lnTo>
                    <a:pt x="1538" y="2447"/>
                  </a:lnTo>
                  <a:lnTo>
                    <a:pt x="1538" y="2449"/>
                  </a:lnTo>
                  <a:lnTo>
                    <a:pt x="1542" y="2449"/>
                  </a:lnTo>
                  <a:lnTo>
                    <a:pt x="1544" y="2451"/>
                  </a:lnTo>
                  <a:lnTo>
                    <a:pt x="1549" y="2451"/>
                  </a:lnTo>
                  <a:lnTo>
                    <a:pt x="1551" y="2453"/>
                  </a:lnTo>
                  <a:lnTo>
                    <a:pt x="1553" y="2451"/>
                  </a:lnTo>
                  <a:lnTo>
                    <a:pt x="1555" y="2451"/>
                  </a:lnTo>
                  <a:lnTo>
                    <a:pt x="1555" y="2447"/>
                  </a:lnTo>
                  <a:lnTo>
                    <a:pt x="1555" y="2445"/>
                  </a:lnTo>
                  <a:lnTo>
                    <a:pt x="1555" y="2443"/>
                  </a:lnTo>
                  <a:lnTo>
                    <a:pt x="1555" y="2439"/>
                  </a:lnTo>
                  <a:lnTo>
                    <a:pt x="1557" y="2435"/>
                  </a:lnTo>
                  <a:lnTo>
                    <a:pt x="1557" y="2433"/>
                  </a:lnTo>
                  <a:lnTo>
                    <a:pt x="1557" y="2430"/>
                  </a:lnTo>
                  <a:lnTo>
                    <a:pt x="1559" y="2430"/>
                  </a:lnTo>
                  <a:lnTo>
                    <a:pt x="1561" y="2428"/>
                  </a:lnTo>
                  <a:lnTo>
                    <a:pt x="1563" y="2428"/>
                  </a:lnTo>
                  <a:lnTo>
                    <a:pt x="1569" y="2426"/>
                  </a:lnTo>
                  <a:lnTo>
                    <a:pt x="1571" y="2426"/>
                  </a:lnTo>
                  <a:lnTo>
                    <a:pt x="1573" y="2424"/>
                  </a:lnTo>
                  <a:lnTo>
                    <a:pt x="1575" y="2424"/>
                  </a:lnTo>
                  <a:lnTo>
                    <a:pt x="1575" y="2422"/>
                  </a:lnTo>
                  <a:lnTo>
                    <a:pt x="1580" y="2420"/>
                  </a:lnTo>
                  <a:lnTo>
                    <a:pt x="1582" y="2420"/>
                  </a:lnTo>
                  <a:lnTo>
                    <a:pt x="1582" y="2422"/>
                  </a:lnTo>
                  <a:lnTo>
                    <a:pt x="1590" y="2422"/>
                  </a:lnTo>
                  <a:lnTo>
                    <a:pt x="1592" y="2422"/>
                  </a:lnTo>
                  <a:lnTo>
                    <a:pt x="1590" y="2420"/>
                  </a:lnTo>
                  <a:lnTo>
                    <a:pt x="1588" y="2416"/>
                  </a:lnTo>
                  <a:lnTo>
                    <a:pt x="1584" y="2412"/>
                  </a:lnTo>
                  <a:lnTo>
                    <a:pt x="1584" y="2410"/>
                  </a:lnTo>
                  <a:lnTo>
                    <a:pt x="1582" y="2410"/>
                  </a:lnTo>
                  <a:lnTo>
                    <a:pt x="1580" y="2410"/>
                  </a:lnTo>
                  <a:lnTo>
                    <a:pt x="1577" y="2410"/>
                  </a:lnTo>
                  <a:lnTo>
                    <a:pt x="1577" y="2410"/>
                  </a:lnTo>
                  <a:lnTo>
                    <a:pt x="1575" y="2408"/>
                  </a:lnTo>
                  <a:lnTo>
                    <a:pt x="1577" y="2408"/>
                  </a:lnTo>
                  <a:lnTo>
                    <a:pt x="1580" y="2408"/>
                  </a:lnTo>
                  <a:lnTo>
                    <a:pt x="1582" y="2408"/>
                  </a:lnTo>
                  <a:lnTo>
                    <a:pt x="1582" y="2406"/>
                  </a:lnTo>
                  <a:lnTo>
                    <a:pt x="1582" y="2406"/>
                  </a:lnTo>
                  <a:lnTo>
                    <a:pt x="1582" y="2404"/>
                  </a:lnTo>
                  <a:lnTo>
                    <a:pt x="1580" y="2399"/>
                  </a:lnTo>
                  <a:lnTo>
                    <a:pt x="1580" y="2397"/>
                  </a:lnTo>
                  <a:lnTo>
                    <a:pt x="1580" y="2397"/>
                  </a:lnTo>
                  <a:lnTo>
                    <a:pt x="1577" y="2397"/>
                  </a:lnTo>
                  <a:lnTo>
                    <a:pt x="1577" y="2397"/>
                  </a:lnTo>
                  <a:lnTo>
                    <a:pt x="1580" y="2397"/>
                  </a:lnTo>
                  <a:lnTo>
                    <a:pt x="1580" y="2395"/>
                  </a:lnTo>
                  <a:lnTo>
                    <a:pt x="1580" y="2393"/>
                  </a:lnTo>
                  <a:lnTo>
                    <a:pt x="1582" y="2389"/>
                  </a:lnTo>
                  <a:lnTo>
                    <a:pt x="1582" y="2389"/>
                  </a:lnTo>
                  <a:lnTo>
                    <a:pt x="1584" y="2385"/>
                  </a:lnTo>
                  <a:lnTo>
                    <a:pt x="1586" y="2385"/>
                  </a:lnTo>
                  <a:lnTo>
                    <a:pt x="1588" y="2383"/>
                  </a:lnTo>
                  <a:lnTo>
                    <a:pt x="1590" y="2383"/>
                  </a:lnTo>
                  <a:lnTo>
                    <a:pt x="1590" y="2381"/>
                  </a:lnTo>
                  <a:lnTo>
                    <a:pt x="1590" y="2381"/>
                  </a:lnTo>
                  <a:lnTo>
                    <a:pt x="1590" y="2379"/>
                  </a:lnTo>
                  <a:lnTo>
                    <a:pt x="1588" y="2379"/>
                  </a:lnTo>
                  <a:lnTo>
                    <a:pt x="1586" y="2379"/>
                  </a:lnTo>
                  <a:lnTo>
                    <a:pt x="1584" y="2379"/>
                  </a:lnTo>
                  <a:lnTo>
                    <a:pt x="1584" y="2379"/>
                  </a:lnTo>
                  <a:lnTo>
                    <a:pt x="1588" y="2377"/>
                  </a:lnTo>
                  <a:lnTo>
                    <a:pt x="1588" y="2377"/>
                  </a:lnTo>
                  <a:lnTo>
                    <a:pt x="1588" y="2375"/>
                  </a:lnTo>
                  <a:lnTo>
                    <a:pt x="1588" y="2375"/>
                  </a:lnTo>
                  <a:lnTo>
                    <a:pt x="1588" y="2377"/>
                  </a:lnTo>
                  <a:lnTo>
                    <a:pt x="1590" y="2379"/>
                  </a:lnTo>
                  <a:lnTo>
                    <a:pt x="1592" y="2379"/>
                  </a:lnTo>
                  <a:lnTo>
                    <a:pt x="1594" y="2381"/>
                  </a:lnTo>
                  <a:lnTo>
                    <a:pt x="1594" y="2381"/>
                  </a:lnTo>
                  <a:lnTo>
                    <a:pt x="1598" y="2379"/>
                  </a:lnTo>
                  <a:lnTo>
                    <a:pt x="1600" y="2377"/>
                  </a:lnTo>
                  <a:lnTo>
                    <a:pt x="1600" y="2377"/>
                  </a:lnTo>
                  <a:lnTo>
                    <a:pt x="1602" y="2366"/>
                  </a:lnTo>
                  <a:lnTo>
                    <a:pt x="1602" y="2366"/>
                  </a:lnTo>
                  <a:lnTo>
                    <a:pt x="1602" y="2364"/>
                  </a:lnTo>
                  <a:lnTo>
                    <a:pt x="1604" y="2360"/>
                  </a:lnTo>
                  <a:lnTo>
                    <a:pt x="1606" y="2358"/>
                  </a:lnTo>
                  <a:lnTo>
                    <a:pt x="1608" y="2354"/>
                  </a:lnTo>
                  <a:lnTo>
                    <a:pt x="1610" y="2354"/>
                  </a:lnTo>
                  <a:lnTo>
                    <a:pt x="1615" y="2352"/>
                  </a:lnTo>
                  <a:lnTo>
                    <a:pt x="1617" y="2350"/>
                  </a:lnTo>
                  <a:lnTo>
                    <a:pt x="1619" y="2348"/>
                  </a:lnTo>
                  <a:lnTo>
                    <a:pt x="1625" y="2344"/>
                  </a:lnTo>
                  <a:lnTo>
                    <a:pt x="1627" y="2344"/>
                  </a:lnTo>
                  <a:lnTo>
                    <a:pt x="1627" y="2342"/>
                  </a:lnTo>
                  <a:lnTo>
                    <a:pt x="1629" y="2342"/>
                  </a:lnTo>
                  <a:lnTo>
                    <a:pt x="1627" y="2340"/>
                  </a:lnTo>
                  <a:lnTo>
                    <a:pt x="1627" y="2340"/>
                  </a:lnTo>
                  <a:lnTo>
                    <a:pt x="1625" y="2340"/>
                  </a:lnTo>
                  <a:lnTo>
                    <a:pt x="1623" y="2340"/>
                  </a:lnTo>
                  <a:lnTo>
                    <a:pt x="1623" y="2340"/>
                  </a:lnTo>
                  <a:lnTo>
                    <a:pt x="1625" y="2340"/>
                  </a:lnTo>
                  <a:lnTo>
                    <a:pt x="1627" y="2338"/>
                  </a:lnTo>
                  <a:lnTo>
                    <a:pt x="1627" y="2335"/>
                  </a:lnTo>
                  <a:lnTo>
                    <a:pt x="1629" y="2335"/>
                  </a:lnTo>
                  <a:lnTo>
                    <a:pt x="1629" y="2331"/>
                  </a:lnTo>
                  <a:lnTo>
                    <a:pt x="1629" y="2329"/>
                  </a:lnTo>
                  <a:lnTo>
                    <a:pt x="1627" y="2327"/>
                  </a:lnTo>
                  <a:lnTo>
                    <a:pt x="1625" y="2327"/>
                  </a:lnTo>
                  <a:lnTo>
                    <a:pt x="1617" y="2325"/>
                  </a:lnTo>
                  <a:lnTo>
                    <a:pt x="1615" y="2325"/>
                  </a:lnTo>
                  <a:lnTo>
                    <a:pt x="1606" y="2317"/>
                  </a:lnTo>
                  <a:lnTo>
                    <a:pt x="1604" y="2315"/>
                  </a:lnTo>
                  <a:lnTo>
                    <a:pt x="1602" y="2313"/>
                  </a:lnTo>
                  <a:lnTo>
                    <a:pt x="1602" y="2311"/>
                  </a:lnTo>
                  <a:lnTo>
                    <a:pt x="1602" y="2311"/>
                  </a:lnTo>
                  <a:lnTo>
                    <a:pt x="1602" y="2309"/>
                  </a:lnTo>
                  <a:lnTo>
                    <a:pt x="1602" y="2307"/>
                  </a:lnTo>
                  <a:lnTo>
                    <a:pt x="1606" y="2302"/>
                  </a:lnTo>
                  <a:lnTo>
                    <a:pt x="1608" y="2300"/>
                  </a:lnTo>
                  <a:lnTo>
                    <a:pt x="1613" y="2294"/>
                  </a:lnTo>
                  <a:lnTo>
                    <a:pt x="1613" y="2294"/>
                  </a:lnTo>
                  <a:lnTo>
                    <a:pt x="1617" y="2292"/>
                  </a:lnTo>
                  <a:lnTo>
                    <a:pt x="1619" y="2292"/>
                  </a:lnTo>
                  <a:lnTo>
                    <a:pt x="1619" y="2292"/>
                  </a:lnTo>
                  <a:lnTo>
                    <a:pt x="1621" y="2290"/>
                  </a:lnTo>
                  <a:lnTo>
                    <a:pt x="1623" y="2288"/>
                  </a:lnTo>
                  <a:lnTo>
                    <a:pt x="1629" y="2290"/>
                  </a:lnTo>
                  <a:lnTo>
                    <a:pt x="1631" y="2290"/>
                  </a:lnTo>
                  <a:lnTo>
                    <a:pt x="1631" y="2288"/>
                  </a:lnTo>
                  <a:lnTo>
                    <a:pt x="1631" y="2288"/>
                  </a:lnTo>
                  <a:lnTo>
                    <a:pt x="1629" y="2286"/>
                  </a:lnTo>
                  <a:lnTo>
                    <a:pt x="1631" y="2284"/>
                  </a:lnTo>
                  <a:lnTo>
                    <a:pt x="1635" y="2280"/>
                  </a:lnTo>
                  <a:lnTo>
                    <a:pt x="1635" y="2278"/>
                  </a:lnTo>
                  <a:lnTo>
                    <a:pt x="1635" y="2278"/>
                  </a:lnTo>
                  <a:lnTo>
                    <a:pt x="1635" y="2276"/>
                  </a:lnTo>
                  <a:lnTo>
                    <a:pt x="1635" y="2274"/>
                  </a:lnTo>
                  <a:lnTo>
                    <a:pt x="1635" y="2267"/>
                  </a:lnTo>
                  <a:lnTo>
                    <a:pt x="1635" y="2265"/>
                  </a:lnTo>
                  <a:lnTo>
                    <a:pt x="1635" y="2265"/>
                  </a:lnTo>
                  <a:lnTo>
                    <a:pt x="1637" y="2263"/>
                  </a:lnTo>
                  <a:lnTo>
                    <a:pt x="1639" y="2259"/>
                  </a:lnTo>
                  <a:lnTo>
                    <a:pt x="1641" y="2257"/>
                  </a:lnTo>
                  <a:lnTo>
                    <a:pt x="1643" y="2257"/>
                  </a:lnTo>
                  <a:lnTo>
                    <a:pt x="1648" y="2255"/>
                  </a:lnTo>
                  <a:lnTo>
                    <a:pt x="1648" y="2255"/>
                  </a:lnTo>
                  <a:lnTo>
                    <a:pt x="1650" y="2255"/>
                  </a:lnTo>
                  <a:lnTo>
                    <a:pt x="1648" y="2253"/>
                  </a:lnTo>
                  <a:lnTo>
                    <a:pt x="1648" y="2253"/>
                  </a:lnTo>
                  <a:lnTo>
                    <a:pt x="1646" y="2253"/>
                  </a:lnTo>
                  <a:lnTo>
                    <a:pt x="1639" y="2251"/>
                  </a:lnTo>
                  <a:lnTo>
                    <a:pt x="1639" y="2249"/>
                  </a:lnTo>
                  <a:lnTo>
                    <a:pt x="1641" y="2249"/>
                  </a:lnTo>
                  <a:lnTo>
                    <a:pt x="1646" y="2247"/>
                  </a:lnTo>
                  <a:lnTo>
                    <a:pt x="1648" y="2247"/>
                  </a:lnTo>
                  <a:lnTo>
                    <a:pt x="1650" y="2247"/>
                  </a:lnTo>
                  <a:lnTo>
                    <a:pt x="1650" y="2249"/>
                  </a:lnTo>
                  <a:lnTo>
                    <a:pt x="1652" y="2251"/>
                  </a:lnTo>
                  <a:lnTo>
                    <a:pt x="1652" y="2253"/>
                  </a:lnTo>
                  <a:lnTo>
                    <a:pt x="1654" y="2253"/>
                  </a:lnTo>
                  <a:lnTo>
                    <a:pt x="1658" y="2251"/>
                  </a:lnTo>
                  <a:lnTo>
                    <a:pt x="1658" y="2251"/>
                  </a:lnTo>
                  <a:lnTo>
                    <a:pt x="1660" y="2249"/>
                  </a:lnTo>
                  <a:lnTo>
                    <a:pt x="1660" y="2247"/>
                  </a:lnTo>
                  <a:lnTo>
                    <a:pt x="1660" y="2245"/>
                  </a:lnTo>
                  <a:lnTo>
                    <a:pt x="1660" y="2243"/>
                  </a:lnTo>
                  <a:lnTo>
                    <a:pt x="1658" y="2241"/>
                  </a:lnTo>
                  <a:lnTo>
                    <a:pt x="1658" y="2241"/>
                  </a:lnTo>
                  <a:lnTo>
                    <a:pt x="1656" y="2241"/>
                  </a:lnTo>
                  <a:lnTo>
                    <a:pt x="1656" y="2241"/>
                  </a:lnTo>
                  <a:lnTo>
                    <a:pt x="1652" y="2241"/>
                  </a:lnTo>
                  <a:lnTo>
                    <a:pt x="1650" y="2241"/>
                  </a:lnTo>
                  <a:lnTo>
                    <a:pt x="1650" y="2243"/>
                  </a:lnTo>
                  <a:lnTo>
                    <a:pt x="1654" y="2243"/>
                  </a:lnTo>
                  <a:lnTo>
                    <a:pt x="1654" y="2243"/>
                  </a:lnTo>
                  <a:lnTo>
                    <a:pt x="1652" y="2245"/>
                  </a:lnTo>
                  <a:lnTo>
                    <a:pt x="1650" y="2245"/>
                  </a:lnTo>
                  <a:lnTo>
                    <a:pt x="1648" y="2245"/>
                  </a:lnTo>
                  <a:lnTo>
                    <a:pt x="1646" y="2245"/>
                  </a:lnTo>
                  <a:lnTo>
                    <a:pt x="1646" y="2245"/>
                  </a:lnTo>
                  <a:lnTo>
                    <a:pt x="1646" y="2243"/>
                  </a:lnTo>
                  <a:lnTo>
                    <a:pt x="1648" y="2243"/>
                  </a:lnTo>
                  <a:lnTo>
                    <a:pt x="1646" y="2243"/>
                  </a:lnTo>
                  <a:lnTo>
                    <a:pt x="1646" y="2243"/>
                  </a:lnTo>
                  <a:lnTo>
                    <a:pt x="1643" y="2241"/>
                  </a:lnTo>
                  <a:lnTo>
                    <a:pt x="1641" y="2241"/>
                  </a:lnTo>
                  <a:lnTo>
                    <a:pt x="1639" y="2238"/>
                  </a:lnTo>
                  <a:lnTo>
                    <a:pt x="1639" y="2236"/>
                  </a:lnTo>
                  <a:lnTo>
                    <a:pt x="1639" y="2232"/>
                  </a:lnTo>
                  <a:lnTo>
                    <a:pt x="1639" y="2230"/>
                  </a:lnTo>
                  <a:lnTo>
                    <a:pt x="1637" y="2224"/>
                  </a:lnTo>
                  <a:lnTo>
                    <a:pt x="1637" y="2222"/>
                  </a:lnTo>
                  <a:lnTo>
                    <a:pt x="1637" y="2220"/>
                  </a:lnTo>
                  <a:lnTo>
                    <a:pt x="1637" y="2218"/>
                  </a:lnTo>
                  <a:lnTo>
                    <a:pt x="1639" y="2218"/>
                  </a:lnTo>
                  <a:lnTo>
                    <a:pt x="1641" y="2216"/>
                  </a:lnTo>
                  <a:lnTo>
                    <a:pt x="1641" y="2216"/>
                  </a:lnTo>
                  <a:lnTo>
                    <a:pt x="1641" y="2216"/>
                  </a:lnTo>
                  <a:lnTo>
                    <a:pt x="1641" y="2218"/>
                  </a:lnTo>
                  <a:lnTo>
                    <a:pt x="1641" y="2218"/>
                  </a:lnTo>
                  <a:lnTo>
                    <a:pt x="1646" y="2218"/>
                  </a:lnTo>
                  <a:lnTo>
                    <a:pt x="1648" y="2220"/>
                  </a:lnTo>
                  <a:lnTo>
                    <a:pt x="1652" y="2220"/>
                  </a:lnTo>
                  <a:lnTo>
                    <a:pt x="1658" y="2224"/>
                  </a:lnTo>
                  <a:lnTo>
                    <a:pt x="1660" y="2224"/>
                  </a:lnTo>
                  <a:lnTo>
                    <a:pt x="1664" y="2224"/>
                  </a:lnTo>
                  <a:lnTo>
                    <a:pt x="1668" y="2222"/>
                  </a:lnTo>
                  <a:lnTo>
                    <a:pt x="1670" y="2222"/>
                  </a:lnTo>
                  <a:lnTo>
                    <a:pt x="1676" y="2220"/>
                  </a:lnTo>
                  <a:lnTo>
                    <a:pt x="1679" y="2218"/>
                  </a:lnTo>
                  <a:lnTo>
                    <a:pt x="1679" y="2216"/>
                  </a:lnTo>
                  <a:lnTo>
                    <a:pt x="1676" y="2212"/>
                  </a:lnTo>
                  <a:lnTo>
                    <a:pt x="1676" y="2210"/>
                  </a:lnTo>
                  <a:lnTo>
                    <a:pt x="1676" y="2207"/>
                  </a:lnTo>
                  <a:lnTo>
                    <a:pt x="1679" y="2203"/>
                  </a:lnTo>
                  <a:lnTo>
                    <a:pt x="1679" y="2201"/>
                  </a:lnTo>
                  <a:lnTo>
                    <a:pt x="1679" y="2201"/>
                  </a:lnTo>
                  <a:lnTo>
                    <a:pt x="1681" y="2201"/>
                  </a:lnTo>
                  <a:lnTo>
                    <a:pt x="1681" y="2197"/>
                  </a:lnTo>
                  <a:lnTo>
                    <a:pt x="1681" y="2195"/>
                  </a:lnTo>
                  <a:lnTo>
                    <a:pt x="1681" y="2195"/>
                  </a:lnTo>
                  <a:lnTo>
                    <a:pt x="1681" y="2193"/>
                  </a:lnTo>
                  <a:lnTo>
                    <a:pt x="1681" y="2193"/>
                  </a:lnTo>
                  <a:lnTo>
                    <a:pt x="1681" y="2193"/>
                  </a:lnTo>
                  <a:lnTo>
                    <a:pt x="1679" y="2191"/>
                  </a:lnTo>
                  <a:lnTo>
                    <a:pt x="1679" y="2191"/>
                  </a:lnTo>
                  <a:lnTo>
                    <a:pt x="1679" y="2189"/>
                  </a:lnTo>
                  <a:lnTo>
                    <a:pt x="1679" y="2187"/>
                  </a:lnTo>
                  <a:lnTo>
                    <a:pt x="1676" y="2185"/>
                  </a:lnTo>
                  <a:lnTo>
                    <a:pt x="1679" y="2185"/>
                  </a:lnTo>
                  <a:lnTo>
                    <a:pt x="1681" y="2185"/>
                  </a:lnTo>
                  <a:lnTo>
                    <a:pt x="1681" y="2187"/>
                  </a:lnTo>
                  <a:lnTo>
                    <a:pt x="1685" y="2187"/>
                  </a:lnTo>
                  <a:lnTo>
                    <a:pt x="1689" y="2187"/>
                  </a:lnTo>
                  <a:lnTo>
                    <a:pt x="1691" y="2187"/>
                  </a:lnTo>
                  <a:lnTo>
                    <a:pt x="1695" y="2187"/>
                  </a:lnTo>
                  <a:lnTo>
                    <a:pt x="1697" y="2187"/>
                  </a:lnTo>
                  <a:lnTo>
                    <a:pt x="1714" y="2185"/>
                  </a:lnTo>
                  <a:lnTo>
                    <a:pt x="1716" y="2185"/>
                  </a:lnTo>
                  <a:lnTo>
                    <a:pt x="1726" y="2183"/>
                  </a:lnTo>
                  <a:lnTo>
                    <a:pt x="1736" y="2179"/>
                  </a:lnTo>
                  <a:lnTo>
                    <a:pt x="1744" y="2174"/>
                  </a:lnTo>
                  <a:lnTo>
                    <a:pt x="1747" y="2172"/>
                  </a:lnTo>
                  <a:lnTo>
                    <a:pt x="1747" y="2170"/>
                  </a:lnTo>
                  <a:lnTo>
                    <a:pt x="1749" y="2166"/>
                  </a:lnTo>
                  <a:lnTo>
                    <a:pt x="1753" y="2162"/>
                  </a:lnTo>
                  <a:lnTo>
                    <a:pt x="1757" y="2154"/>
                  </a:lnTo>
                  <a:lnTo>
                    <a:pt x="1759" y="2152"/>
                  </a:lnTo>
                  <a:lnTo>
                    <a:pt x="1759" y="2150"/>
                  </a:lnTo>
                  <a:lnTo>
                    <a:pt x="1759" y="2146"/>
                  </a:lnTo>
                  <a:lnTo>
                    <a:pt x="1757" y="2146"/>
                  </a:lnTo>
                  <a:lnTo>
                    <a:pt x="1757" y="2143"/>
                  </a:lnTo>
                  <a:lnTo>
                    <a:pt x="1755" y="2143"/>
                  </a:lnTo>
                  <a:lnTo>
                    <a:pt x="1753" y="2143"/>
                  </a:lnTo>
                  <a:lnTo>
                    <a:pt x="1751" y="2141"/>
                  </a:lnTo>
                  <a:lnTo>
                    <a:pt x="1749" y="2139"/>
                  </a:lnTo>
                  <a:lnTo>
                    <a:pt x="1749" y="2137"/>
                  </a:lnTo>
                  <a:lnTo>
                    <a:pt x="1749" y="2133"/>
                  </a:lnTo>
                  <a:lnTo>
                    <a:pt x="1751" y="2131"/>
                  </a:lnTo>
                  <a:lnTo>
                    <a:pt x="1751" y="2129"/>
                  </a:lnTo>
                  <a:lnTo>
                    <a:pt x="1749" y="2125"/>
                  </a:lnTo>
                  <a:lnTo>
                    <a:pt x="1747" y="2123"/>
                  </a:lnTo>
                  <a:lnTo>
                    <a:pt x="1742" y="2121"/>
                  </a:lnTo>
                  <a:lnTo>
                    <a:pt x="1736" y="2117"/>
                  </a:lnTo>
                  <a:lnTo>
                    <a:pt x="1734" y="2115"/>
                  </a:lnTo>
                  <a:lnTo>
                    <a:pt x="1732" y="2115"/>
                  </a:lnTo>
                  <a:lnTo>
                    <a:pt x="1732" y="2110"/>
                  </a:lnTo>
                  <a:lnTo>
                    <a:pt x="1732" y="2110"/>
                  </a:lnTo>
                  <a:lnTo>
                    <a:pt x="1734" y="2110"/>
                  </a:lnTo>
                  <a:lnTo>
                    <a:pt x="1734" y="2110"/>
                  </a:lnTo>
                  <a:lnTo>
                    <a:pt x="1734" y="2106"/>
                  </a:lnTo>
                  <a:lnTo>
                    <a:pt x="1734" y="2106"/>
                  </a:lnTo>
                  <a:lnTo>
                    <a:pt x="1732" y="2104"/>
                  </a:lnTo>
                  <a:lnTo>
                    <a:pt x="1732" y="2102"/>
                  </a:lnTo>
                  <a:lnTo>
                    <a:pt x="1732" y="2100"/>
                  </a:lnTo>
                  <a:lnTo>
                    <a:pt x="1732" y="2096"/>
                  </a:lnTo>
                  <a:lnTo>
                    <a:pt x="1734" y="2092"/>
                  </a:lnTo>
                  <a:lnTo>
                    <a:pt x="1734" y="2092"/>
                  </a:lnTo>
                  <a:lnTo>
                    <a:pt x="1734" y="2092"/>
                  </a:lnTo>
                  <a:lnTo>
                    <a:pt x="1736" y="2092"/>
                  </a:lnTo>
                  <a:lnTo>
                    <a:pt x="1736" y="2090"/>
                  </a:lnTo>
                  <a:lnTo>
                    <a:pt x="1736" y="2090"/>
                  </a:lnTo>
                  <a:lnTo>
                    <a:pt x="1736" y="2084"/>
                  </a:lnTo>
                  <a:lnTo>
                    <a:pt x="1736" y="2082"/>
                  </a:lnTo>
                  <a:lnTo>
                    <a:pt x="1736" y="2084"/>
                  </a:lnTo>
                  <a:lnTo>
                    <a:pt x="1738" y="2088"/>
                  </a:lnTo>
                  <a:lnTo>
                    <a:pt x="1738" y="2090"/>
                  </a:lnTo>
                  <a:lnTo>
                    <a:pt x="1738" y="2090"/>
                  </a:lnTo>
                  <a:lnTo>
                    <a:pt x="1736" y="2092"/>
                  </a:lnTo>
                  <a:lnTo>
                    <a:pt x="1736" y="2092"/>
                  </a:lnTo>
                  <a:lnTo>
                    <a:pt x="1736" y="2092"/>
                  </a:lnTo>
                  <a:lnTo>
                    <a:pt x="1734" y="2094"/>
                  </a:lnTo>
                  <a:lnTo>
                    <a:pt x="1734" y="2094"/>
                  </a:lnTo>
                  <a:lnTo>
                    <a:pt x="1734" y="2098"/>
                  </a:lnTo>
                  <a:lnTo>
                    <a:pt x="1732" y="2102"/>
                  </a:lnTo>
                  <a:lnTo>
                    <a:pt x="1734" y="2104"/>
                  </a:lnTo>
                  <a:lnTo>
                    <a:pt x="1736" y="2108"/>
                  </a:lnTo>
                  <a:lnTo>
                    <a:pt x="1740" y="2110"/>
                  </a:lnTo>
                  <a:lnTo>
                    <a:pt x="1740" y="2112"/>
                  </a:lnTo>
                  <a:lnTo>
                    <a:pt x="1740" y="2112"/>
                  </a:lnTo>
                  <a:lnTo>
                    <a:pt x="1742" y="2115"/>
                  </a:lnTo>
                  <a:lnTo>
                    <a:pt x="1747" y="2112"/>
                  </a:lnTo>
                  <a:lnTo>
                    <a:pt x="1751" y="2115"/>
                  </a:lnTo>
                  <a:lnTo>
                    <a:pt x="1755" y="2117"/>
                  </a:lnTo>
                  <a:lnTo>
                    <a:pt x="1761" y="2119"/>
                  </a:lnTo>
                  <a:lnTo>
                    <a:pt x="1763" y="2121"/>
                  </a:lnTo>
                  <a:lnTo>
                    <a:pt x="1765" y="2121"/>
                  </a:lnTo>
                  <a:lnTo>
                    <a:pt x="1765" y="2121"/>
                  </a:lnTo>
                  <a:lnTo>
                    <a:pt x="1767" y="2121"/>
                  </a:lnTo>
                  <a:lnTo>
                    <a:pt x="1769" y="2119"/>
                  </a:lnTo>
                  <a:lnTo>
                    <a:pt x="1773" y="2119"/>
                  </a:lnTo>
                  <a:lnTo>
                    <a:pt x="1777" y="2119"/>
                  </a:lnTo>
                  <a:lnTo>
                    <a:pt x="1780" y="2121"/>
                  </a:lnTo>
                  <a:lnTo>
                    <a:pt x="1782" y="2121"/>
                  </a:lnTo>
                  <a:lnTo>
                    <a:pt x="1784" y="2121"/>
                  </a:lnTo>
                  <a:lnTo>
                    <a:pt x="1792" y="2119"/>
                  </a:lnTo>
                  <a:lnTo>
                    <a:pt x="1792" y="2117"/>
                  </a:lnTo>
                  <a:lnTo>
                    <a:pt x="1794" y="2117"/>
                  </a:lnTo>
                  <a:lnTo>
                    <a:pt x="1796" y="2115"/>
                  </a:lnTo>
                  <a:lnTo>
                    <a:pt x="1800" y="2112"/>
                  </a:lnTo>
                  <a:lnTo>
                    <a:pt x="1800" y="2110"/>
                  </a:lnTo>
                  <a:lnTo>
                    <a:pt x="1802" y="2106"/>
                  </a:lnTo>
                  <a:lnTo>
                    <a:pt x="1804" y="2104"/>
                  </a:lnTo>
                  <a:lnTo>
                    <a:pt x="1804" y="2102"/>
                  </a:lnTo>
                  <a:lnTo>
                    <a:pt x="1806" y="2102"/>
                  </a:lnTo>
                  <a:lnTo>
                    <a:pt x="1813" y="2096"/>
                  </a:lnTo>
                  <a:lnTo>
                    <a:pt x="1815" y="2094"/>
                  </a:lnTo>
                  <a:lnTo>
                    <a:pt x="1817" y="2092"/>
                  </a:lnTo>
                  <a:lnTo>
                    <a:pt x="1817" y="2088"/>
                  </a:lnTo>
                  <a:lnTo>
                    <a:pt x="1821" y="2082"/>
                  </a:lnTo>
                  <a:lnTo>
                    <a:pt x="1821" y="2079"/>
                  </a:lnTo>
                  <a:lnTo>
                    <a:pt x="1823" y="2077"/>
                  </a:lnTo>
                  <a:lnTo>
                    <a:pt x="1823" y="2077"/>
                  </a:lnTo>
                  <a:lnTo>
                    <a:pt x="1823" y="2075"/>
                  </a:lnTo>
                  <a:lnTo>
                    <a:pt x="1823" y="2073"/>
                  </a:lnTo>
                  <a:lnTo>
                    <a:pt x="1823" y="2073"/>
                  </a:lnTo>
                  <a:lnTo>
                    <a:pt x="1823" y="2069"/>
                  </a:lnTo>
                  <a:lnTo>
                    <a:pt x="1825" y="2069"/>
                  </a:lnTo>
                  <a:lnTo>
                    <a:pt x="1825" y="2067"/>
                  </a:lnTo>
                  <a:lnTo>
                    <a:pt x="1825" y="2065"/>
                  </a:lnTo>
                  <a:lnTo>
                    <a:pt x="1827" y="2065"/>
                  </a:lnTo>
                  <a:lnTo>
                    <a:pt x="1829" y="2063"/>
                  </a:lnTo>
                  <a:lnTo>
                    <a:pt x="1831" y="2061"/>
                  </a:lnTo>
                  <a:lnTo>
                    <a:pt x="1833" y="2061"/>
                  </a:lnTo>
                  <a:lnTo>
                    <a:pt x="1833" y="2059"/>
                  </a:lnTo>
                  <a:lnTo>
                    <a:pt x="1833" y="2059"/>
                  </a:lnTo>
                  <a:lnTo>
                    <a:pt x="1833" y="2057"/>
                  </a:lnTo>
                  <a:lnTo>
                    <a:pt x="1833" y="2055"/>
                  </a:lnTo>
                  <a:lnTo>
                    <a:pt x="1835" y="2055"/>
                  </a:lnTo>
                  <a:lnTo>
                    <a:pt x="1835" y="2055"/>
                  </a:lnTo>
                  <a:lnTo>
                    <a:pt x="1835" y="2053"/>
                  </a:lnTo>
                  <a:lnTo>
                    <a:pt x="1835" y="2051"/>
                  </a:lnTo>
                  <a:lnTo>
                    <a:pt x="1837" y="2051"/>
                  </a:lnTo>
                  <a:lnTo>
                    <a:pt x="1837" y="2048"/>
                  </a:lnTo>
                  <a:lnTo>
                    <a:pt x="1835" y="2046"/>
                  </a:lnTo>
                  <a:lnTo>
                    <a:pt x="1835" y="2046"/>
                  </a:lnTo>
                  <a:lnTo>
                    <a:pt x="1835" y="2044"/>
                  </a:lnTo>
                  <a:lnTo>
                    <a:pt x="1835" y="2044"/>
                  </a:lnTo>
                  <a:lnTo>
                    <a:pt x="1835" y="2046"/>
                  </a:lnTo>
                  <a:lnTo>
                    <a:pt x="1837" y="2046"/>
                  </a:lnTo>
                  <a:lnTo>
                    <a:pt x="1839" y="2048"/>
                  </a:lnTo>
                  <a:lnTo>
                    <a:pt x="1839" y="2048"/>
                  </a:lnTo>
                  <a:lnTo>
                    <a:pt x="1839" y="2048"/>
                  </a:lnTo>
                  <a:lnTo>
                    <a:pt x="1843" y="2046"/>
                  </a:lnTo>
                  <a:lnTo>
                    <a:pt x="1846" y="2048"/>
                  </a:lnTo>
                  <a:lnTo>
                    <a:pt x="1846" y="2048"/>
                  </a:lnTo>
                  <a:lnTo>
                    <a:pt x="1846" y="2051"/>
                  </a:lnTo>
                  <a:lnTo>
                    <a:pt x="1846" y="2051"/>
                  </a:lnTo>
                  <a:lnTo>
                    <a:pt x="1843" y="2051"/>
                  </a:lnTo>
                  <a:lnTo>
                    <a:pt x="1843" y="2051"/>
                  </a:lnTo>
                  <a:lnTo>
                    <a:pt x="1843" y="2055"/>
                  </a:lnTo>
                  <a:lnTo>
                    <a:pt x="1843" y="2057"/>
                  </a:lnTo>
                  <a:lnTo>
                    <a:pt x="1839" y="2057"/>
                  </a:lnTo>
                  <a:lnTo>
                    <a:pt x="1839" y="2059"/>
                  </a:lnTo>
                  <a:lnTo>
                    <a:pt x="1839" y="2061"/>
                  </a:lnTo>
                  <a:lnTo>
                    <a:pt x="1839" y="2061"/>
                  </a:lnTo>
                  <a:lnTo>
                    <a:pt x="1837" y="2061"/>
                  </a:lnTo>
                  <a:lnTo>
                    <a:pt x="1837" y="2061"/>
                  </a:lnTo>
                  <a:lnTo>
                    <a:pt x="1837" y="2063"/>
                  </a:lnTo>
                  <a:lnTo>
                    <a:pt x="1837" y="2065"/>
                  </a:lnTo>
                  <a:lnTo>
                    <a:pt x="1835" y="2067"/>
                  </a:lnTo>
                  <a:lnTo>
                    <a:pt x="1833" y="2067"/>
                  </a:lnTo>
                  <a:lnTo>
                    <a:pt x="1829" y="2071"/>
                  </a:lnTo>
                  <a:lnTo>
                    <a:pt x="1827" y="2071"/>
                  </a:lnTo>
                  <a:lnTo>
                    <a:pt x="1827" y="2071"/>
                  </a:lnTo>
                  <a:lnTo>
                    <a:pt x="1827" y="2073"/>
                  </a:lnTo>
                  <a:lnTo>
                    <a:pt x="1825" y="2071"/>
                  </a:lnTo>
                  <a:lnTo>
                    <a:pt x="1825" y="2071"/>
                  </a:lnTo>
                  <a:lnTo>
                    <a:pt x="1825" y="2073"/>
                  </a:lnTo>
                  <a:lnTo>
                    <a:pt x="1825" y="2075"/>
                  </a:lnTo>
                  <a:lnTo>
                    <a:pt x="1825" y="2075"/>
                  </a:lnTo>
                  <a:lnTo>
                    <a:pt x="1825" y="2077"/>
                  </a:lnTo>
                  <a:lnTo>
                    <a:pt x="1827" y="2075"/>
                  </a:lnTo>
                  <a:lnTo>
                    <a:pt x="1827" y="2073"/>
                  </a:lnTo>
                  <a:lnTo>
                    <a:pt x="1833" y="2069"/>
                  </a:lnTo>
                  <a:lnTo>
                    <a:pt x="1837" y="2067"/>
                  </a:lnTo>
                  <a:lnTo>
                    <a:pt x="1839" y="2063"/>
                  </a:lnTo>
                  <a:lnTo>
                    <a:pt x="1843" y="2061"/>
                  </a:lnTo>
                  <a:lnTo>
                    <a:pt x="1846" y="2057"/>
                  </a:lnTo>
                  <a:lnTo>
                    <a:pt x="1850" y="2051"/>
                  </a:lnTo>
                  <a:lnTo>
                    <a:pt x="1854" y="2040"/>
                  </a:lnTo>
                  <a:lnTo>
                    <a:pt x="1858" y="2034"/>
                  </a:lnTo>
                  <a:lnTo>
                    <a:pt x="1860" y="2030"/>
                  </a:lnTo>
                  <a:lnTo>
                    <a:pt x="1864" y="2026"/>
                  </a:lnTo>
                  <a:lnTo>
                    <a:pt x="1868" y="2024"/>
                  </a:lnTo>
                  <a:lnTo>
                    <a:pt x="1870" y="2022"/>
                  </a:lnTo>
                  <a:lnTo>
                    <a:pt x="1870" y="2020"/>
                  </a:lnTo>
                  <a:lnTo>
                    <a:pt x="1872" y="2017"/>
                  </a:lnTo>
                  <a:lnTo>
                    <a:pt x="1872" y="2015"/>
                  </a:lnTo>
                  <a:lnTo>
                    <a:pt x="1872" y="2013"/>
                  </a:lnTo>
                  <a:lnTo>
                    <a:pt x="1872" y="2009"/>
                  </a:lnTo>
                  <a:lnTo>
                    <a:pt x="1872" y="2005"/>
                  </a:lnTo>
                  <a:lnTo>
                    <a:pt x="1874" y="2003"/>
                  </a:lnTo>
                  <a:lnTo>
                    <a:pt x="1874" y="2001"/>
                  </a:lnTo>
                  <a:lnTo>
                    <a:pt x="1874" y="2001"/>
                  </a:lnTo>
                  <a:lnTo>
                    <a:pt x="1874" y="1999"/>
                  </a:lnTo>
                  <a:lnTo>
                    <a:pt x="1874" y="1999"/>
                  </a:lnTo>
                  <a:lnTo>
                    <a:pt x="1872" y="1995"/>
                  </a:lnTo>
                  <a:lnTo>
                    <a:pt x="1872" y="1993"/>
                  </a:lnTo>
                  <a:lnTo>
                    <a:pt x="1872" y="1993"/>
                  </a:lnTo>
                  <a:lnTo>
                    <a:pt x="1872" y="1991"/>
                  </a:lnTo>
                  <a:lnTo>
                    <a:pt x="1872" y="1989"/>
                  </a:lnTo>
                  <a:lnTo>
                    <a:pt x="1872" y="1989"/>
                  </a:lnTo>
                  <a:lnTo>
                    <a:pt x="1870" y="1987"/>
                  </a:lnTo>
                  <a:lnTo>
                    <a:pt x="1872" y="1987"/>
                  </a:lnTo>
                  <a:lnTo>
                    <a:pt x="1872" y="1987"/>
                  </a:lnTo>
                  <a:lnTo>
                    <a:pt x="1872" y="1984"/>
                  </a:lnTo>
                  <a:lnTo>
                    <a:pt x="1874" y="1982"/>
                  </a:lnTo>
                  <a:lnTo>
                    <a:pt x="1872" y="1980"/>
                  </a:lnTo>
                  <a:lnTo>
                    <a:pt x="1872" y="1980"/>
                  </a:lnTo>
                  <a:lnTo>
                    <a:pt x="1872" y="1980"/>
                  </a:lnTo>
                  <a:lnTo>
                    <a:pt x="1874" y="1980"/>
                  </a:lnTo>
                  <a:lnTo>
                    <a:pt x="1876" y="1976"/>
                  </a:lnTo>
                  <a:lnTo>
                    <a:pt x="1876" y="1976"/>
                  </a:lnTo>
                  <a:lnTo>
                    <a:pt x="1874" y="1976"/>
                  </a:lnTo>
                  <a:lnTo>
                    <a:pt x="1872" y="1974"/>
                  </a:lnTo>
                  <a:lnTo>
                    <a:pt x="1872" y="1972"/>
                  </a:lnTo>
                  <a:lnTo>
                    <a:pt x="1872" y="1974"/>
                  </a:lnTo>
                  <a:lnTo>
                    <a:pt x="1874" y="1974"/>
                  </a:lnTo>
                  <a:lnTo>
                    <a:pt x="1874" y="1974"/>
                  </a:lnTo>
                  <a:lnTo>
                    <a:pt x="1876" y="1974"/>
                  </a:lnTo>
                  <a:lnTo>
                    <a:pt x="1874" y="1972"/>
                  </a:lnTo>
                  <a:lnTo>
                    <a:pt x="1876" y="1972"/>
                  </a:lnTo>
                  <a:lnTo>
                    <a:pt x="1879" y="1972"/>
                  </a:lnTo>
                  <a:lnTo>
                    <a:pt x="1879" y="1972"/>
                  </a:lnTo>
                  <a:lnTo>
                    <a:pt x="1879" y="1974"/>
                  </a:lnTo>
                  <a:lnTo>
                    <a:pt x="1879" y="1974"/>
                  </a:lnTo>
                  <a:lnTo>
                    <a:pt x="1881" y="1970"/>
                  </a:lnTo>
                  <a:lnTo>
                    <a:pt x="1883" y="1970"/>
                  </a:lnTo>
                  <a:lnTo>
                    <a:pt x="1883" y="1968"/>
                  </a:lnTo>
                  <a:lnTo>
                    <a:pt x="1883" y="1968"/>
                  </a:lnTo>
                  <a:lnTo>
                    <a:pt x="1883" y="1968"/>
                  </a:lnTo>
                  <a:lnTo>
                    <a:pt x="1883" y="1968"/>
                  </a:lnTo>
                  <a:lnTo>
                    <a:pt x="1885" y="1968"/>
                  </a:lnTo>
                  <a:lnTo>
                    <a:pt x="1885" y="1966"/>
                  </a:lnTo>
                  <a:lnTo>
                    <a:pt x="1887" y="1964"/>
                  </a:lnTo>
                  <a:lnTo>
                    <a:pt x="1895" y="1960"/>
                  </a:lnTo>
                  <a:lnTo>
                    <a:pt x="1899" y="1956"/>
                  </a:lnTo>
                  <a:lnTo>
                    <a:pt x="1901" y="1953"/>
                  </a:lnTo>
                  <a:lnTo>
                    <a:pt x="1912" y="1949"/>
                  </a:lnTo>
                  <a:lnTo>
                    <a:pt x="1914" y="1949"/>
                  </a:lnTo>
                  <a:lnTo>
                    <a:pt x="1916" y="1949"/>
                  </a:lnTo>
                  <a:lnTo>
                    <a:pt x="1918" y="1949"/>
                  </a:lnTo>
                  <a:lnTo>
                    <a:pt x="1918" y="1949"/>
                  </a:lnTo>
                  <a:lnTo>
                    <a:pt x="1918" y="1949"/>
                  </a:lnTo>
                  <a:lnTo>
                    <a:pt x="1918" y="1947"/>
                  </a:lnTo>
                  <a:lnTo>
                    <a:pt x="1920" y="1947"/>
                  </a:lnTo>
                  <a:lnTo>
                    <a:pt x="1922" y="1945"/>
                  </a:lnTo>
                  <a:lnTo>
                    <a:pt x="1926" y="1943"/>
                  </a:lnTo>
                  <a:lnTo>
                    <a:pt x="1930" y="1943"/>
                  </a:lnTo>
                  <a:lnTo>
                    <a:pt x="1930" y="1941"/>
                  </a:lnTo>
                  <a:lnTo>
                    <a:pt x="1930" y="1941"/>
                  </a:lnTo>
                  <a:lnTo>
                    <a:pt x="1930" y="1941"/>
                  </a:lnTo>
                  <a:lnTo>
                    <a:pt x="1930" y="1941"/>
                  </a:lnTo>
                  <a:lnTo>
                    <a:pt x="1930" y="1939"/>
                  </a:lnTo>
                  <a:lnTo>
                    <a:pt x="1930" y="1939"/>
                  </a:lnTo>
                  <a:lnTo>
                    <a:pt x="1934" y="1937"/>
                  </a:lnTo>
                  <a:lnTo>
                    <a:pt x="1936" y="1937"/>
                  </a:lnTo>
                  <a:lnTo>
                    <a:pt x="1938" y="1937"/>
                  </a:lnTo>
                  <a:lnTo>
                    <a:pt x="1940" y="1937"/>
                  </a:lnTo>
                  <a:lnTo>
                    <a:pt x="1942" y="1937"/>
                  </a:lnTo>
                  <a:lnTo>
                    <a:pt x="1945" y="1937"/>
                  </a:lnTo>
                  <a:lnTo>
                    <a:pt x="1942" y="1939"/>
                  </a:lnTo>
                  <a:lnTo>
                    <a:pt x="1940" y="1937"/>
                  </a:lnTo>
                  <a:lnTo>
                    <a:pt x="1940" y="1939"/>
                  </a:lnTo>
                  <a:lnTo>
                    <a:pt x="1940" y="1939"/>
                  </a:lnTo>
                  <a:lnTo>
                    <a:pt x="1942" y="1939"/>
                  </a:lnTo>
                  <a:lnTo>
                    <a:pt x="1947" y="1939"/>
                  </a:lnTo>
                  <a:lnTo>
                    <a:pt x="1949" y="1937"/>
                  </a:lnTo>
                  <a:lnTo>
                    <a:pt x="1951" y="1937"/>
                  </a:lnTo>
                  <a:lnTo>
                    <a:pt x="1951" y="1937"/>
                  </a:lnTo>
                  <a:lnTo>
                    <a:pt x="1951" y="1935"/>
                  </a:lnTo>
                  <a:lnTo>
                    <a:pt x="1951" y="1935"/>
                  </a:lnTo>
                  <a:lnTo>
                    <a:pt x="1951" y="1935"/>
                  </a:lnTo>
                  <a:lnTo>
                    <a:pt x="1951" y="1933"/>
                  </a:lnTo>
                  <a:lnTo>
                    <a:pt x="1951" y="1933"/>
                  </a:lnTo>
                  <a:lnTo>
                    <a:pt x="1953" y="1933"/>
                  </a:lnTo>
                  <a:lnTo>
                    <a:pt x="1953" y="1935"/>
                  </a:lnTo>
                  <a:lnTo>
                    <a:pt x="1953" y="1935"/>
                  </a:lnTo>
                  <a:lnTo>
                    <a:pt x="1953" y="1937"/>
                  </a:lnTo>
                  <a:lnTo>
                    <a:pt x="1953" y="1937"/>
                  </a:lnTo>
                  <a:lnTo>
                    <a:pt x="1955" y="1937"/>
                  </a:lnTo>
                  <a:lnTo>
                    <a:pt x="1955" y="1937"/>
                  </a:lnTo>
                  <a:lnTo>
                    <a:pt x="1959" y="1937"/>
                  </a:lnTo>
                  <a:lnTo>
                    <a:pt x="1965" y="1937"/>
                  </a:lnTo>
                  <a:lnTo>
                    <a:pt x="1967" y="1937"/>
                  </a:lnTo>
                  <a:lnTo>
                    <a:pt x="1967" y="1935"/>
                  </a:lnTo>
                  <a:lnTo>
                    <a:pt x="1969" y="1935"/>
                  </a:lnTo>
                  <a:lnTo>
                    <a:pt x="1967" y="1933"/>
                  </a:lnTo>
                  <a:lnTo>
                    <a:pt x="1967" y="1933"/>
                  </a:lnTo>
                  <a:lnTo>
                    <a:pt x="1967" y="1931"/>
                  </a:lnTo>
                  <a:lnTo>
                    <a:pt x="1971" y="1927"/>
                  </a:lnTo>
                  <a:lnTo>
                    <a:pt x="1973" y="1927"/>
                  </a:lnTo>
                  <a:lnTo>
                    <a:pt x="1980" y="1925"/>
                  </a:lnTo>
                  <a:lnTo>
                    <a:pt x="1982" y="1923"/>
                  </a:lnTo>
                  <a:lnTo>
                    <a:pt x="1982" y="1920"/>
                  </a:lnTo>
                  <a:lnTo>
                    <a:pt x="1982" y="1916"/>
                  </a:lnTo>
                  <a:lnTo>
                    <a:pt x="1982" y="1914"/>
                  </a:lnTo>
                  <a:lnTo>
                    <a:pt x="1982" y="1912"/>
                  </a:lnTo>
                  <a:lnTo>
                    <a:pt x="1984" y="1908"/>
                  </a:lnTo>
                  <a:lnTo>
                    <a:pt x="1986" y="1906"/>
                  </a:lnTo>
                  <a:lnTo>
                    <a:pt x="1986" y="1906"/>
                  </a:lnTo>
                  <a:lnTo>
                    <a:pt x="1988" y="1904"/>
                  </a:lnTo>
                  <a:lnTo>
                    <a:pt x="1990" y="1902"/>
                  </a:lnTo>
                  <a:lnTo>
                    <a:pt x="1992" y="1900"/>
                  </a:lnTo>
                  <a:lnTo>
                    <a:pt x="1992" y="1898"/>
                  </a:lnTo>
                  <a:lnTo>
                    <a:pt x="1994" y="1896"/>
                  </a:lnTo>
                  <a:lnTo>
                    <a:pt x="1994" y="1892"/>
                  </a:lnTo>
                  <a:lnTo>
                    <a:pt x="1996" y="1889"/>
                  </a:lnTo>
                  <a:lnTo>
                    <a:pt x="1998" y="1887"/>
                  </a:lnTo>
                  <a:lnTo>
                    <a:pt x="1998" y="1887"/>
                  </a:lnTo>
                  <a:lnTo>
                    <a:pt x="2000" y="1885"/>
                  </a:lnTo>
                  <a:lnTo>
                    <a:pt x="2000" y="1883"/>
                  </a:lnTo>
                  <a:lnTo>
                    <a:pt x="2000" y="1877"/>
                  </a:lnTo>
                  <a:lnTo>
                    <a:pt x="2000" y="1873"/>
                  </a:lnTo>
                  <a:lnTo>
                    <a:pt x="2000" y="1867"/>
                  </a:lnTo>
                  <a:lnTo>
                    <a:pt x="2004" y="1863"/>
                  </a:lnTo>
                  <a:lnTo>
                    <a:pt x="2004" y="1863"/>
                  </a:lnTo>
                  <a:lnTo>
                    <a:pt x="2006" y="1861"/>
                  </a:lnTo>
                  <a:lnTo>
                    <a:pt x="2008" y="1859"/>
                  </a:lnTo>
                  <a:lnTo>
                    <a:pt x="2008" y="1859"/>
                  </a:lnTo>
                  <a:lnTo>
                    <a:pt x="2006" y="1854"/>
                  </a:lnTo>
                  <a:lnTo>
                    <a:pt x="2006" y="1852"/>
                  </a:lnTo>
                  <a:lnTo>
                    <a:pt x="2008" y="1850"/>
                  </a:lnTo>
                  <a:lnTo>
                    <a:pt x="2008" y="1846"/>
                  </a:lnTo>
                  <a:lnTo>
                    <a:pt x="2008" y="1842"/>
                  </a:lnTo>
                  <a:lnTo>
                    <a:pt x="2011" y="1838"/>
                  </a:lnTo>
                  <a:lnTo>
                    <a:pt x="2013" y="1832"/>
                  </a:lnTo>
                  <a:lnTo>
                    <a:pt x="2013" y="1832"/>
                  </a:lnTo>
                  <a:lnTo>
                    <a:pt x="2011" y="1828"/>
                  </a:lnTo>
                  <a:lnTo>
                    <a:pt x="2011" y="1823"/>
                  </a:lnTo>
                  <a:lnTo>
                    <a:pt x="2011" y="1819"/>
                  </a:lnTo>
                  <a:lnTo>
                    <a:pt x="2008" y="1815"/>
                  </a:lnTo>
                  <a:lnTo>
                    <a:pt x="2011" y="1807"/>
                  </a:lnTo>
                  <a:lnTo>
                    <a:pt x="2011" y="1805"/>
                  </a:lnTo>
                  <a:lnTo>
                    <a:pt x="2011" y="1807"/>
                  </a:lnTo>
                  <a:lnTo>
                    <a:pt x="2011" y="1807"/>
                  </a:lnTo>
                  <a:lnTo>
                    <a:pt x="2011" y="1805"/>
                  </a:lnTo>
                  <a:lnTo>
                    <a:pt x="2011" y="1803"/>
                  </a:lnTo>
                  <a:lnTo>
                    <a:pt x="2011" y="1801"/>
                  </a:lnTo>
                  <a:lnTo>
                    <a:pt x="2011" y="1801"/>
                  </a:lnTo>
                  <a:lnTo>
                    <a:pt x="2011" y="1801"/>
                  </a:lnTo>
                  <a:lnTo>
                    <a:pt x="2011" y="1799"/>
                  </a:lnTo>
                  <a:lnTo>
                    <a:pt x="2008" y="1801"/>
                  </a:lnTo>
                  <a:lnTo>
                    <a:pt x="2008" y="1799"/>
                  </a:lnTo>
                  <a:lnTo>
                    <a:pt x="2011" y="1797"/>
                  </a:lnTo>
                  <a:lnTo>
                    <a:pt x="2011" y="1794"/>
                  </a:lnTo>
                  <a:lnTo>
                    <a:pt x="2013" y="1792"/>
                  </a:lnTo>
                  <a:lnTo>
                    <a:pt x="2013" y="1792"/>
                  </a:lnTo>
                  <a:lnTo>
                    <a:pt x="2015" y="1790"/>
                  </a:lnTo>
                  <a:lnTo>
                    <a:pt x="2013" y="1788"/>
                  </a:lnTo>
                  <a:lnTo>
                    <a:pt x="2013" y="1788"/>
                  </a:lnTo>
                  <a:lnTo>
                    <a:pt x="2013" y="1788"/>
                  </a:lnTo>
                  <a:lnTo>
                    <a:pt x="2015" y="1788"/>
                  </a:lnTo>
                  <a:lnTo>
                    <a:pt x="2015" y="1786"/>
                  </a:lnTo>
                  <a:lnTo>
                    <a:pt x="2015" y="1786"/>
                  </a:lnTo>
                  <a:lnTo>
                    <a:pt x="2017" y="1788"/>
                  </a:lnTo>
                  <a:lnTo>
                    <a:pt x="2017" y="1790"/>
                  </a:lnTo>
                  <a:lnTo>
                    <a:pt x="2019" y="1790"/>
                  </a:lnTo>
                  <a:lnTo>
                    <a:pt x="2019" y="1790"/>
                  </a:lnTo>
                  <a:lnTo>
                    <a:pt x="2021" y="1788"/>
                  </a:lnTo>
                  <a:lnTo>
                    <a:pt x="2025" y="1786"/>
                  </a:lnTo>
                  <a:lnTo>
                    <a:pt x="2025" y="1784"/>
                  </a:lnTo>
                  <a:lnTo>
                    <a:pt x="2029" y="1778"/>
                  </a:lnTo>
                  <a:lnTo>
                    <a:pt x="2031" y="1772"/>
                  </a:lnTo>
                  <a:lnTo>
                    <a:pt x="2033" y="1770"/>
                  </a:lnTo>
                  <a:lnTo>
                    <a:pt x="2033" y="1768"/>
                  </a:lnTo>
                  <a:lnTo>
                    <a:pt x="2033" y="1766"/>
                  </a:lnTo>
                  <a:lnTo>
                    <a:pt x="2033" y="1766"/>
                  </a:lnTo>
                  <a:lnTo>
                    <a:pt x="2035" y="1766"/>
                  </a:lnTo>
                  <a:lnTo>
                    <a:pt x="2033" y="1768"/>
                  </a:lnTo>
                  <a:lnTo>
                    <a:pt x="2033" y="1768"/>
                  </a:lnTo>
                  <a:lnTo>
                    <a:pt x="2033" y="1768"/>
                  </a:lnTo>
                  <a:lnTo>
                    <a:pt x="2035" y="1768"/>
                  </a:lnTo>
                  <a:lnTo>
                    <a:pt x="2035" y="1766"/>
                  </a:lnTo>
                  <a:lnTo>
                    <a:pt x="2035" y="1764"/>
                  </a:lnTo>
                  <a:lnTo>
                    <a:pt x="2037" y="1764"/>
                  </a:lnTo>
                  <a:lnTo>
                    <a:pt x="2037" y="1764"/>
                  </a:lnTo>
                  <a:lnTo>
                    <a:pt x="2039" y="1759"/>
                  </a:lnTo>
                  <a:lnTo>
                    <a:pt x="2041" y="1757"/>
                  </a:lnTo>
                  <a:lnTo>
                    <a:pt x="2043" y="1757"/>
                  </a:lnTo>
                  <a:lnTo>
                    <a:pt x="2048" y="1755"/>
                  </a:lnTo>
                  <a:lnTo>
                    <a:pt x="2048" y="1755"/>
                  </a:lnTo>
                  <a:lnTo>
                    <a:pt x="2050" y="1751"/>
                  </a:lnTo>
                  <a:lnTo>
                    <a:pt x="2052" y="1749"/>
                  </a:lnTo>
                  <a:lnTo>
                    <a:pt x="2054" y="1747"/>
                  </a:lnTo>
                  <a:lnTo>
                    <a:pt x="2056" y="1745"/>
                  </a:lnTo>
                  <a:lnTo>
                    <a:pt x="2054" y="1743"/>
                  </a:lnTo>
                  <a:lnTo>
                    <a:pt x="2056" y="1745"/>
                  </a:lnTo>
                  <a:lnTo>
                    <a:pt x="2056" y="1745"/>
                  </a:lnTo>
                  <a:lnTo>
                    <a:pt x="2058" y="1741"/>
                  </a:lnTo>
                  <a:lnTo>
                    <a:pt x="2062" y="1737"/>
                  </a:lnTo>
                  <a:lnTo>
                    <a:pt x="2064" y="1733"/>
                  </a:lnTo>
                  <a:lnTo>
                    <a:pt x="2068" y="1726"/>
                  </a:lnTo>
                  <a:lnTo>
                    <a:pt x="2068" y="1720"/>
                  </a:lnTo>
                  <a:lnTo>
                    <a:pt x="2070" y="1720"/>
                  </a:lnTo>
                  <a:lnTo>
                    <a:pt x="2070" y="1718"/>
                  </a:lnTo>
                  <a:lnTo>
                    <a:pt x="2068" y="1716"/>
                  </a:lnTo>
                  <a:lnTo>
                    <a:pt x="2068" y="1716"/>
                  </a:lnTo>
                  <a:lnTo>
                    <a:pt x="2070" y="1714"/>
                  </a:lnTo>
                  <a:lnTo>
                    <a:pt x="2070" y="1714"/>
                  </a:lnTo>
                  <a:lnTo>
                    <a:pt x="2070" y="1714"/>
                  </a:lnTo>
                  <a:lnTo>
                    <a:pt x="2070" y="1712"/>
                  </a:lnTo>
                  <a:lnTo>
                    <a:pt x="2070" y="1710"/>
                  </a:lnTo>
                  <a:lnTo>
                    <a:pt x="2070" y="1706"/>
                  </a:lnTo>
                  <a:lnTo>
                    <a:pt x="2068" y="1706"/>
                  </a:lnTo>
                  <a:close/>
                  <a:moveTo>
                    <a:pt x="1452" y="962"/>
                  </a:moveTo>
                  <a:lnTo>
                    <a:pt x="1452" y="962"/>
                  </a:lnTo>
                  <a:lnTo>
                    <a:pt x="1452" y="962"/>
                  </a:lnTo>
                  <a:lnTo>
                    <a:pt x="1450" y="964"/>
                  </a:lnTo>
                  <a:lnTo>
                    <a:pt x="1450" y="964"/>
                  </a:lnTo>
                  <a:lnTo>
                    <a:pt x="1448" y="966"/>
                  </a:lnTo>
                  <a:lnTo>
                    <a:pt x="1445" y="966"/>
                  </a:lnTo>
                  <a:lnTo>
                    <a:pt x="1445" y="969"/>
                  </a:lnTo>
                  <a:lnTo>
                    <a:pt x="1443" y="969"/>
                  </a:lnTo>
                  <a:lnTo>
                    <a:pt x="1441" y="971"/>
                  </a:lnTo>
                  <a:lnTo>
                    <a:pt x="1435" y="973"/>
                  </a:lnTo>
                  <a:lnTo>
                    <a:pt x="1435" y="973"/>
                  </a:lnTo>
                  <a:lnTo>
                    <a:pt x="1435" y="973"/>
                  </a:lnTo>
                  <a:lnTo>
                    <a:pt x="1433" y="975"/>
                  </a:lnTo>
                  <a:lnTo>
                    <a:pt x="1433" y="975"/>
                  </a:lnTo>
                  <a:lnTo>
                    <a:pt x="1425" y="977"/>
                  </a:lnTo>
                  <a:lnTo>
                    <a:pt x="1419" y="979"/>
                  </a:lnTo>
                  <a:lnTo>
                    <a:pt x="1417" y="981"/>
                  </a:lnTo>
                  <a:lnTo>
                    <a:pt x="1415" y="983"/>
                  </a:lnTo>
                  <a:lnTo>
                    <a:pt x="1413" y="983"/>
                  </a:lnTo>
                  <a:lnTo>
                    <a:pt x="1410" y="983"/>
                  </a:lnTo>
                  <a:lnTo>
                    <a:pt x="1408" y="983"/>
                  </a:lnTo>
                  <a:lnTo>
                    <a:pt x="1406" y="983"/>
                  </a:lnTo>
                  <a:lnTo>
                    <a:pt x="1404" y="985"/>
                  </a:lnTo>
                  <a:lnTo>
                    <a:pt x="1402" y="985"/>
                  </a:lnTo>
                  <a:lnTo>
                    <a:pt x="1402" y="985"/>
                  </a:lnTo>
                  <a:lnTo>
                    <a:pt x="1402" y="985"/>
                  </a:lnTo>
                  <a:lnTo>
                    <a:pt x="1402" y="985"/>
                  </a:lnTo>
                  <a:lnTo>
                    <a:pt x="1400" y="985"/>
                  </a:lnTo>
                  <a:lnTo>
                    <a:pt x="1400" y="985"/>
                  </a:lnTo>
                  <a:lnTo>
                    <a:pt x="1398" y="985"/>
                  </a:lnTo>
                  <a:lnTo>
                    <a:pt x="1398" y="985"/>
                  </a:lnTo>
                  <a:lnTo>
                    <a:pt x="1396" y="985"/>
                  </a:lnTo>
                  <a:lnTo>
                    <a:pt x="1396" y="985"/>
                  </a:lnTo>
                  <a:lnTo>
                    <a:pt x="1396" y="985"/>
                  </a:lnTo>
                  <a:lnTo>
                    <a:pt x="1394" y="985"/>
                  </a:lnTo>
                  <a:lnTo>
                    <a:pt x="1394" y="985"/>
                  </a:lnTo>
                  <a:lnTo>
                    <a:pt x="1398" y="983"/>
                  </a:lnTo>
                  <a:lnTo>
                    <a:pt x="1398" y="983"/>
                  </a:lnTo>
                  <a:lnTo>
                    <a:pt x="1398" y="983"/>
                  </a:lnTo>
                  <a:lnTo>
                    <a:pt x="1396" y="983"/>
                  </a:lnTo>
                  <a:lnTo>
                    <a:pt x="1396" y="983"/>
                  </a:lnTo>
                  <a:lnTo>
                    <a:pt x="1396" y="983"/>
                  </a:lnTo>
                  <a:lnTo>
                    <a:pt x="1396" y="983"/>
                  </a:lnTo>
                  <a:lnTo>
                    <a:pt x="1396" y="983"/>
                  </a:lnTo>
                  <a:lnTo>
                    <a:pt x="1394" y="983"/>
                  </a:lnTo>
                  <a:lnTo>
                    <a:pt x="1394" y="983"/>
                  </a:lnTo>
                  <a:lnTo>
                    <a:pt x="1392" y="981"/>
                  </a:lnTo>
                  <a:lnTo>
                    <a:pt x="1390" y="981"/>
                  </a:lnTo>
                  <a:lnTo>
                    <a:pt x="1390" y="981"/>
                  </a:lnTo>
                  <a:lnTo>
                    <a:pt x="1388" y="981"/>
                  </a:lnTo>
                  <a:lnTo>
                    <a:pt x="1388" y="979"/>
                  </a:lnTo>
                  <a:lnTo>
                    <a:pt x="1388" y="979"/>
                  </a:lnTo>
                  <a:lnTo>
                    <a:pt x="1390" y="977"/>
                  </a:lnTo>
                  <a:lnTo>
                    <a:pt x="1390" y="977"/>
                  </a:lnTo>
                  <a:lnTo>
                    <a:pt x="1390" y="977"/>
                  </a:lnTo>
                  <a:lnTo>
                    <a:pt x="1390" y="977"/>
                  </a:lnTo>
                  <a:lnTo>
                    <a:pt x="1390" y="977"/>
                  </a:lnTo>
                  <a:lnTo>
                    <a:pt x="1390" y="977"/>
                  </a:lnTo>
                  <a:lnTo>
                    <a:pt x="1392" y="975"/>
                  </a:lnTo>
                  <a:lnTo>
                    <a:pt x="1392" y="975"/>
                  </a:lnTo>
                  <a:lnTo>
                    <a:pt x="1392" y="975"/>
                  </a:lnTo>
                  <a:lnTo>
                    <a:pt x="1392" y="975"/>
                  </a:lnTo>
                  <a:lnTo>
                    <a:pt x="1392" y="973"/>
                  </a:lnTo>
                  <a:lnTo>
                    <a:pt x="1392" y="971"/>
                  </a:lnTo>
                  <a:lnTo>
                    <a:pt x="1394" y="971"/>
                  </a:lnTo>
                  <a:lnTo>
                    <a:pt x="1394" y="971"/>
                  </a:lnTo>
                  <a:lnTo>
                    <a:pt x="1394" y="969"/>
                  </a:lnTo>
                  <a:lnTo>
                    <a:pt x="1396" y="969"/>
                  </a:lnTo>
                  <a:lnTo>
                    <a:pt x="1396" y="969"/>
                  </a:lnTo>
                  <a:lnTo>
                    <a:pt x="1396" y="969"/>
                  </a:lnTo>
                  <a:lnTo>
                    <a:pt x="1396" y="966"/>
                  </a:lnTo>
                  <a:lnTo>
                    <a:pt x="1396" y="966"/>
                  </a:lnTo>
                  <a:lnTo>
                    <a:pt x="1398" y="964"/>
                  </a:lnTo>
                  <a:lnTo>
                    <a:pt x="1398" y="964"/>
                  </a:lnTo>
                  <a:lnTo>
                    <a:pt x="1398" y="964"/>
                  </a:lnTo>
                  <a:lnTo>
                    <a:pt x="1398" y="964"/>
                  </a:lnTo>
                  <a:lnTo>
                    <a:pt x="1398" y="964"/>
                  </a:lnTo>
                  <a:lnTo>
                    <a:pt x="1398" y="964"/>
                  </a:lnTo>
                  <a:lnTo>
                    <a:pt x="1400" y="964"/>
                  </a:lnTo>
                  <a:lnTo>
                    <a:pt x="1400" y="964"/>
                  </a:lnTo>
                  <a:lnTo>
                    <a:pt x="1400" y="964"/>
                  </a:lnTo>
                  <a:lnTo>
                    <a:pt x="1400" y="966"/>
                  </a:lnTo>
                  <a:lnTo>
                    <a:pt x="1400" y="966"/>
                  </a:lnTo>
                  <a:lnTo>
                    <a:pt x="1400" y="966"/>
                  </a:lnTo>
                  <a:lnTo>
                    <a:pt x="1400" y="966"/>
                  </a:lnTo>
                  <a:lnTo>
                    <a:pt x="1402" y="966"/>
                  </a:lnTo>
                  <a:lnTo>
                    <a:pt x="1402" y="966"/>
                  </a:lnTo>
                  <a:lnTo>
                    <a:pt x="1402" y="966"/>
                  </a:lnTo>
                  <a:lnTo>
                    <a:pt x="1402" y="966"/>
                  </a:lnTo>
                  <a:lnTo>
                    <a:pt x="1402" y="969"/>
                  </a:lnTo>
                  <a:lnTo>
                    <a:pt x="1402" y="969"/>
                  </a:lnTo>
                  <a:lnTo>
                    <a:pt x="1402" y="971"/>
                  </a:lnTo>
                  <a:lnTo>
                    <a:pt x="1402" y="971"/>
                  </a:lnTo>
                  <a:lnTo>
                    <a:pt x="1400" y="971"/>
                  </a:lnTo>
                  <a:lnTo>
                    <a:pt x="1396" y="971"/>
                  </a:lnTo>
                  <a:lnTo>
                    <a:pt x="1394" y="971"/>
                  </a:lnTo>
                  <a:lnTo>
                    <a:pt x="1394" y="971"/>
                  </a:lnTo>
                  <a:lnTo>
                    <a:pt x="1394" y="971"/>
                  </a:lnTo>
                  <a:lnTo>
                    <a:pt x="1394" y="971"/>
                  </a:lnTo>
                  <a:lnTo>
                    <a:pt x="1394" y="973"/>
                  </a:lnTo>
                  <a:lnTo>
                    <a:pt x="1392" y="973"/>
                  </a:lnTo>
                  <a:lnTo>
                    <a:pt x="1394" y="975"/>
                  </a:lnTo>
                  <a:lnTo>
                    <a:pt x="1394" y="975"/>
                  </a:lnTo>
                  <a:lnTo>
                    <a:pt x="1396" y="975"/>
                  </a:lnTo>
                  <a:lnTo>
                    <a:pt x="1396" y="975"/>
                  </a:lnTo>
                  <a:lnTo>
                    <a:pt x="1398" y="975"/>
                  </a:lnTo>
                  <a:lnTo>
                    <a:pt x="1400" y="975"/>
                  </a:lnTo>
                  <a:lnTo>
                    <a:pt x="1400" y="975"/>
                  </a:lnTo>
                  <a:lnTo>
                    <a:pt x="1400" y="975"/>
                  </a:lnTo>
                  <a:lnTo>
                    <a:pt x="1402" y="977"/>
                  </a:lnTo>
                  <a:lnTo>
                    <a:pt x="1402" y="977"/>
                  </a:lnTo>
                  <a:lnTo>
                    <a:pt x="1402" y="975"/>
                  </a:lnTo>
                  <a:lnTo>
                    <a:pt x="1402" y="975"/>
                  </a:lnTo>
                  <a:lnTo>
                    <a:pt x="1402" y="973"/>
                  </a:lnTo>
                  <a:lnTo>
                    <a:pt x="1404" y="973"/>
                  </a:lnTo>
                  <a:lnTo>
                    <a:pt x="1406" y="973"/>
                  </a:lnTo>
                  <a:lnTo>
                    <a:pt x="1408" y="971"/>
                  </a:lnTo>
                  <a:lnTo>
                    <a:pt x="1410" y="971"/>
                  </a:lnTo>
                  <a:lnTo>
                    <a:pt x="1410" y="971"/>
                  </a:lnTo>
                  <a:lnTo>
                    <a:pt x="1410" y="971"/>
                  </a:lnTo>
                  <a:lnTo>
                    <a:pt x="1410" y="971"/>
                  </a:lnTo>
                  <a:lnTo>
                    <a:pt x="1410" y="971"/>
                  </a:lnTo>
                  <a:lnTo>
                    <a:pt x="1410" y="971"/>
                  </a:lnTo>
                  <a:lnTo>
                    <a:pt x="1410" y="971"/>
                  </a:lnTo>
                  <a:lnTo>
                    <a:pt x="1410" y="971"/>
                  </a:lnTo>
                  <a:lnTo>
                    <a:pt x="1410" y="969"/>
                  </a:lnTo>
                  <a:lnTo>
                    <a:pt x="1413" y="969"/>
                  </a:lnTo>
                  <a:lnTo>
                    <a:pt x="1417" y="964"/>
                  </a:lnTo>
                  <a:lnTo>
                    <a:pt x="1417" y="964"/>
                  </a:lnTo>
                  <a:lnTo>
                    <a:pt x="1419" y="964"/>
                  </a:lnTo>
                  <a:lnTo>
                    <a:pt x="1423" y="964"/>
                  </a:lnTo>
                  <a:lnTo>
                    <a:pt x="1425" y="964"/>
                  </a:lnTo>
                  <a:lnTo>
                    <a:pt x="1429" y="964"/>
                  </a:lnTo>
                  <a:lnTo>
                    <a:pt x="1431" y="966"/>
                  </a:lnTo>
                  <a:lnTo>
                    <a:pt x="1431" y="966"/>
                  </a:lnTo>
                  <a:lnTo>
                    <a:pt x="1435" y="966"/>
                  </a:lnTo>
                  <a:lnTo>
                    <a:pt x="1435" y="966"/>
                  </a:lnTo>
                  <a:lnTo>
                    <a:pt x="1435" y="966"/>
                  </a:lnTo>
                  <a:lnTo>
                    <a:pt x="1433" y="964"/>
                  </a:lnTo>
                  <a:lnTo>
                    <a:pt x="1431" y="964"/>
                  </a:lnTo>
                  <a:lnTo>
                    <a:pt x="1431" y="964"/>
                  </a:lnTo>
                  <a:lnTo>
                    <a:pt x="1431" y="964"/>
                  </a:lnTo>
                  <a:lnTo>
                    <a:pt x="1431" y="964"/>
                  </a:lnTo>
                  <a:lnTo>
                    <a:pt x="1431" y="964"/>
                  </a:lnTo>
                  <a:lnTo>
                    <a:pt x="1433" y="964"/>
                  </a:lnTo>
                  <a:lnTo>
                    <a:pt x="1433" y="962"/>
                  </a:lnTo>
                  <a:lnTo>
                    <a:pt x="1433" y="962"/>
                  </a:lnTo>
                  <a:lnTo>
                    <a:pt x="1435" y="962"/>
                  </a:lnTo>
                  <a:lnTo>
                    <a:pt x="1437" y="962"/>
                  </a:lnTo>
                  <a:lnTo>
                    <a:pt x="1441" y="960"/>
                  </a:lnTo>
                  <a:lnTo>
                    <a:pt x="1441" y="960"/>
                  </a:lnTo>
                  <a:lnTo>
                    <a:pt x="1441" y="960"/>
                  </a:lnTo>
                  <a:lnTo>
                    <a:pt x="1443" y="960"/>
                  </a:lnTo>
                  <a:lnTo>
                    <a:pt x="1445" y="960"/>
                  </a:lnTo>
                  <a:lnTo>
                    <a:pt x="1448" y="960"/>
                  </a:lnTo>
                  <a:lnTo>
                    <a:pt x="1448" y="960"/>
                  </a:lnTo>
                  <a:lnTo>
                    <a:pt x="1450" y="960"/>
                  </a:lnTo>
                  <a:lnTo>
                    <a:pt x="1450" y="960"/>
                  </a:lnTo>
                  <a:lnTo>
                    <a:pt x="1452" y="960"/>
                  </a:lnTo>
                  <a:lnTo>
                    <a:pt x="1452" y="960"/>
                  </a:lnTo>
                  <a:lnTo>
                    <a:pt x="1452" y="958"/>
                  </a:lnTo>
                  <a:lnTo>
                    <a:pt x="1452" y="958"/>
                  </a:lnTo>
                  <a:lnTo>
                    <a:pt x="1450" y="958"/>
                  </a:lnTo>
                  <a:lnTo>
                    <a:pt x="1450" y="958"/>
                  </a:lnTo>
                  <a:lnTo>
                    <a:pt x="1450" y="958"/>
                  </a:lnTo>
                  <a:lnTo>
                    <a:pt x="1450" y="956"/>
                  </a:lnTo>
                  <a:lnTo>
                    <a:pt x="1450" y="956"/>
                  </a:lnTo>
                  <a:lnTo>
                    <a:pt x="1452" y="956"/>
                  </a:lnTo>
                  <a:lnTo>
                    <a:pt x="1452" y="958"/>
                  </a:lnTo>
                  <a:lnTo>
                    <a:pt x="1452" y="958"/>
                  </a:lnTo>
                  <a:lnTo>
                    <a:pt x="1452" y="958"/>
                  </a:lnTo>
                  <a:lnTo>
                    <a:pt x="1452" y="960"/>
                  </a:lnTo>
                  <a:lnTo>
                    <a:pt x="1452" y="960"/>
                  </a:lnTo>
                  <a:lnTo>
                    <a:pt x="1454" y="960"/>
                  </a:lnTo>
                  <a:lnTo>
                    <a:pt x="1452" y="962"/>
                  </a:lnTo>
                  <a:close/>
                  <a:moveTo>
                    <a:pt x="1441" y="950"/>
                  </a:moveTo>
                  <a:lnTo>
                    <a:pt x="1441" y="950"/>
                  </a:lnTo>
                  <a:lnTo>
                    <a:pt x="1443" y="948"/>
                  </a:lnTo>
                  <a:lnTo>
                    <a:pt x="1443" y="948"/>
                  </a:lnTo>
                  <a:lnTo>
                    <a:pt x="1443" y="948"/>
                  </a:lnTo>
                  <a:lnTo>
                    <a:pt x="1443" y="948"/>
                  </a:lnTo>
                  <a:lnTo>
                    <a:pt x="1445" y="948"/>
                  </a:lnTo>
                  <a:lnTo>
                    <a:pt x="1445" y="948"/>
                  </a:lnTo>
                  <a:lnTo>
                    <a:pt x="1448" y="946"/>
                  </a:lnTo>
                  <a:lnTo>
                    <a:pt x="1450" y="946"/>
                  </a:lnTo>
                  <a:lnTo>
                    <a:pt x="1450" y="944"/>
                  </a:lnTo>
                  <a:lnTo>
                    <a:pt x="1452" y="944"/>
                  </a:lnTo>
                  <a:lnTo>
                    <a:pt x="1454" y="944"/>
                  </a:lnTo>
                  <a:lnTo>
                    <a:pt x="1456" y="944"/>
                  </a:lnTo>
                  <a:lnTo>
                    <a:pt x="1458" y="942"/>
                  </a:lnTo>
                  <a:lnTo>
                    <a:pt x="1458" y="944"/>
                  </a:lnTo>
                  <a:lnTo>
                    <a:pt x="1458" y="942"/>
                  </a:lnTo>
                  <a:lnTo>
                    <a:pt x="1460" y="942"/>
                  </a:lnTo>
                  <a:lnTo>
                    <a:pt x="1462" y="942"/>
                  </a:lnTo>
                  <a:lnTo>
                    <a:pt x="1464" y="942"/>
                  </a:lnTo>
                  <a:lnTo>
                    <a:pt x="1466" y="942"/>
                  </a:lnTo>
                  <a:lnTo>
                    <a:pt x="1468" y="942"/>
                  </a:lnTo>
                  <a:lnTo>
                    <a:pt x="1468" y="942"/>
                  </a:lnTo>
                  <a:lnTo>
                    <a:pt x="1468" y="940"/>
                  </a:lnTo>
                  <a:lnTo>
                    <a:pt x="1470" y="940"/>
                  </a:lnTo>
                  <a:lnTo>
                    <a:pt x="1470" y="940"/>
                  </a:lnTo>
                  <a:lnTo>
                    <a:pt x="1472" y="942"/>
                  </a:lnTo>
                  <a:lnTo>
                    <a:pt x="1472" y="942"/>
                  </a:lnTo>
                  <a:lnTo>
                    <a:pt x="1470" y="942"/>
                  </a:lnTo>
                  <a:lnTo>
                    <a:pt x="1472" y="942"/>
                  </a:lnTo>
                  <a:lnTo>
                    <a:pt x="1472" y="942"/>
                  </a:lnTo>
                  <a:lnTo>
                    <a:pt x="1472" y="942"/>
                  </a:lnTo>
                  <a:lnTo>
                    <a:pt x="1474" y="942"/>
                  </a:lnTo>
                  <a:lnTo>
                    <a:pt x="1476" y="942"/>
                  </a:lnTo>
                  <a:lnTo>
                    <a:pt x="1474" y="942"/>
                  </a:lnTo>
                  <a:lnTo>
                    <a:pt x="1474" y="942"/>
                  </a:lnTo>
                  <a:lnTo>
                    <a:pt x="1474" y="942"/>
                  </a:lnTo>
                  <a:lnTo>
                    <a:pt x="1474" y="942"/>
                  </a:lnTo>
                  <a:lnTo>
                    <a:pt x="1476" y="942"/>
                  </a:lnTo>
                  <a:lnTo>
                    <a:pt x="1476" y="942"/>
                  </a:lnTo>
                  <a:lnTo>
                    <a:pt x="1476" y="942"/>
                  </a:lnTo>
                  <a:lnTo>
                    <a:pt x="1476" y="944"/>
                  </a:lnTo>
                  <a:lnTo>
                    <a:pt x="1476" y="944"/>
                  </a:lnTo>
                  <a:lnTo>
                    <a:pt x="1476" y="944"/>
                  </a:lnTo>
                  <a:lnTo>
                    <a:pt x="1478" y="944"/>
                  </a:lnTo>
                  <a:lnTo>
                    <a:pt x="1481" y="942"/>
                  </a:lnTo>
                  <a:lnTo>
                    <a:pt x="1481" y="942"/>
                  </a:lnTo>
                  <a:lnTo>
                    <a:pt x="1481" y="942"/>
                  </a:lnTo>
                  <a:lnTo>
                    <a:pt x="1481" y="942"/>
                  </a:lnTo>
                  <a:lnTo>
                    <a:pt x="1478" y="942"/>
                  </a:lnTo>
                  <a:lnTo>
                    <a:pt x="1478" y="942"/>
                  </a:lnTo>
                  <a:lnTo>
                    <a:pt x="1478" y="942"/>
                  </a:lnTo>
                  <a:lnTo>
                    <a:pt x="1478" y="942"/>
                  </a:lnTo>
                  <a:lnTo>
                    <a:pt x="1481" y="940"/>
                  </a:lnTo>
                  <a:lnTo>
                    <a:pt x="1481" y="940"/>
                  </a:lnTo>
                  <a:lnTo>
                    <a:pt x="1481" y="940"/>
                  </a:lnTo>
                  <a:lnTo>
                    <a:pt x="1481" y="940"/>
                  </a:lnTo>
                  <a:lnTo>
                    <a:pt x="1481" y="940"/>
                  </a:lnTo>
                  <a:lnTo>
                    <a:pt x="1478" y="940"/>
                  </a:lnTo>
                  <a:lnTo>
                    <a:pt x="1478" y="940"/>
                  </a:lnTo>
                  <a:lnTo>
                    <a:pt x="1478" y="940"/>
                  </a:lnTo>
                  <a:lnTo>
                    <a:pt x="1478" y="940"/>
                  </a:lnTo>
                  <a:lnTo>
                    <a:pt x="1478" y="938"/>
                  </a:lnTo>
                  <a:lnTo>
                    <a:pt x="1474" y="940"/>
                  </a:lnTo>
                  <a:lnTo>
                    <a:pt x="1474" y="940"/>
                  </a:lnTo>
                  <a:lnTo>
                    <a:pt x="1474" y="940"/>
                  </a:lnTo>
                  <a:lnTo>
                    <a:pt x="1474" y="940"/>
                  </a:lnTo>
                  <a:lnTo>
                    <a:pt x="1474" y="940"/>
                  </a:lnTo>
                  <a:lnTo>
                    <a:pt x="1474" y="940"/>
                  </a:lnTo>
                  <a:lnTo>
                    <a:pt x="1474" y="940"/>
                  </a:lnTo>
                  <a:lnTo>
                    <a:pt x="1474" y="940"/>
                  </a:lnTo>
                  <a:lnTo>
                    <a:pt x="1474" y="940"/>
                  </a:lnTo>
                  <a:lnTo>
                    <a:pt x="1474" y="938"/>
                  </a:lnTo>
                  <a:lnTo>
                    <a:pt x="1474" y="940"/>
                  </a:lnTo>
                  <a:lnTo>
                    <a:pt x="1472" y="940"/>
                  </a:lnTo>
                  <a:lnTo>
                    <a:pt x="1470" y="940"/>
                  </a:lnTo>
                  <a:lnTo>
                    <a:pt x="1470" y="940"/>
                  </a:lnTo>
                  <a:lnTo>
                    <a:pt x="1472" y="940"/>
                  </a:lnTo>
                  <a:lnTo>
                    <a:pt x="1474" y="938"/>
                  </a:lnTo>
                  <a:lnTo>
                    <a:pt x="1474" y="938"/>
                  </a:lnTo>
                  <a:lnTo>
                    <a:pt x="1474" y="938"/>
                  </a:lnTo>
                  <a:lnTo>
                    <a:pt x="1476" y="938"/>
                  </a:lnTo>
                  <a:lnTo>
                    <a:pt x="1476" y="938"/>
                  </a:lnTo>
                  <a:lnTo>
                    <a:pt x="1476" y="938"/>
                  </a:lnTo>
                  <a:lnTo>
                    <a:pt x="1476" y="938"/>
                  </a:lnTo>
                  <a:lnTo>
                    <a:pt x="1478" y="938"/>
                  </a:lnTo>
                  <a:lnTo>
                    <a:pt x="1478" y="938"/>
                  </a:lnTo>
                  <a:lnTo>
                    <a:pt x="1478" y="938"/>
                  </a:lnTo>
                  <a:lnTo>
                    <a:pt x="1478" y="938"/>
                  </a:lnTo>
                  <a:lnTo>
                    <a:pt x="1481" y="938"/>
                  </a:lnTo>
                  <a:lnTo>
                    <a:pt x="1481" y="938"/>
                  </a:lnTo>
                  <a:lnTo>
                    <a:pt x="1481" y="938"/>
                  </a:lnTo>
                  <a:lnTo>
                    <a:pt x="1478" y="940"/>
                  </a:lnTo>
                  <a:lnTo>
                    <a:pt x="1478" y="940"/>
                  </a:lnTo>
                  <a:lnTo>
                    <a:pt x="1478" y="940"/>
                  </a:lnTo>
                  <a:lnTo>
                    <a:pt x="1478" y="940"/>
                  </a:lnTo>
                  <a:lnTo>
                    <a:pt x="1478" y="940"/>
                  </a:lnTo>
                  <a:lnTo>
                    <a:pt x="1483" y="938"/>
                  </a:lnTo>
                  <a:lnTo>
                    <a:pt x="1483" y="938"/>
                  </a:lnTo>
                  <a:lnTo>
                    <a:pt x="1485" y="938"/>
                  </a:lnTo>
                  <a:lnTo>
                    <a:pt x="1487" y="938"/>
                  </a:lnTo>
                  <a:lnTo>
                    <a:pt x="1487" y="938"/>
                  </a:lnTo>
                  <a:lnTo>
                    <a:pt x="1489" y="936"/>
                  </a:lnTo>
                  <a:lnTo>
                    <a:pt x="1493" y="936"/>
                  </a:lnTo>
                  <a:lnTo>
                    <a:pt x="1495" y="933"/>
                  </a:lnTo>
                  <a:lnTo>
                    <a:pt x="1495" y="933"/>
                  </a:lnTo>
                  <a:lnTo>
                    <a:pt x="1497" y="933"/>
                  </a:lnTo>
                  <a:lnTo>
                    <a:pt x="1497" y="933"/>
                  </a:lnTo>
                  <a:lnTo>
                    <a:pt x="1497" y="933"/>
                  </a:lnTo>
                  <a:lnTo>
                    <a:pt x="1497" y="933"/>
                  </a:lnTo>
                  <a:lnTo>
                    <a:pt x="1495" y="933"/>
                  </a:lnTo>
                  <a:lnTo>
                    <a:pt x="1491" y="938"/>
                  </a:lnTo>
                  <a:lnTo>
                    <a:pt x="1489" y="940"/>
                  </a:lnTo>
                  <a:lnTo>
                    <a:pt x="1489" y="940"/>
                  </a:lnTo>
                  <a:lnTo>
                    <a:pt x="1489" y="940"/>
                  </a:lnTo>
                  <a:lnTo>
                    <a:pt x="1489" y="940"/>
                  </a:lnTo>
                  <a:lnTo>
                    <a:pt x="1491" y="940"/>
                  </a:lnTo>
                  <a:lnTo>
                    <a:pt x="1491" y="940"/>
                  </a:lnTo>
                  <a:lnTo>
                    <a:pt x="1491" y="940"/>
                  </a:lnTo>
                  <a:lnTo>
                    <a:pt x="1491" y="940"/>
                  </a:lnTo>
                  <a:lnTo>
                    <a:pt x="1491" y="942"/>
                  </a:lnTo>
                  <a:lnTo>
                    <a:pt x="1491" y="942"/>
                  </a:lnTo>
                  <a:lnTo>
                    <a:pt x="1491" y="942"/>
                  </a:lnTo>
                  <a:lnTo>
                    <a:pt x="1493" y="942"/>
                  </a:lnTo>
                  <a:lnTo>
                    <a:pt x="1493" y="942"/>
                  </a:lnTo>
                  <a:lnTo>
                    <a:pt x="1491" y="942"/>
                  </a:lnTo>
                  <a:lnTo>
                    <a:pt x="1491" y="942"/>
                  </a:lnTo>
                  <a:lnTo>
                    <a:pt x="1491" y="944"/>
                  </a:lnTo>
                  <a:lnTo>
                    <a:pt x="1491" y="944"/>
                  </a:lnTo>
                  <a:lnTo>
                    <a:pt x="1491" y="944"/>
                  </a:lnTo>
                  <a:lnTo>
                    <a:pt x="1491" y="944"/>
                  </a:lnTo>
                  <a:lnTo>
                    <a:pt x="1489" y="944"/>
                  </a:lnTo>
                  <a:lnTo>
                    <a:pt x="1489" y="944"/>
                  </a:lnTo>
                  <a:lnTo>
                    <a:pt x="1489" y="944"/>
                  </a:lnTo>
                  <a:lnTo>
                    <a:pt x="1491" y="944"/>
                  </a:lnTo>
                  <a:lnTo>
                    <a:pt x="1491" y="946"/>
                  </a:lnTo>
                  <a:lnTo>
                    <a:pt x="1491" y="946"/>
                  </a:lnTo>
                  <a:lnTo>
                    <a:pt x="1491" y="948"/>
                  </a:lnTo>
                  <a:lnTo>
                    <a:pt x="1491" y="948"/>
                  </a:lnTo>
                  <a:lnTo>
                    <a:pt x="1491" y="948"/>
                  </a:lnTo>
                  <a:lnTo>
                    <a:pt x="1491" y="948"/>
                  </a:lnTo>
                  <a:lnTo>
                    <a:pt x="1491" y="948"/>
                  </a:lnTo>
                  <a:lnTo>
                    <a:pt x="1491" y="948"/>
                  </a:lnTo>
                  <a:lnTo>
                    <a:pt x="1491" y="950"/>
                  </a:lnTo>
                  <a:lnTo>
                    <a:pt x="1489" y="950"/>
                  </a:lnTo>
                  <a:lnTo>
                    <a:pt x="1489" y="950"/>
                  </a:lnTo>
                  <a:lnTo>
                    <a:pt x="1487" y="950"/>
                  </a:lnTo>
                  <a:lnTo>
                    <a:pt x="1485" y="950"/>
                  </a:lnTo>
                  <a:lnTo>
                    <a:pt x="1485" y="952"/>
                  </a:lnTo>
                  <a:lnTo>
                    <a:pt x="1483" y="952"/>
                  </a:lnTo>
                  <a:lnTo>
                    <a:pt x="1483" y="952"/>
                  </a:lnTo>
                  <a:lnTo>
                    <a:pt x="1483" y="952"/>
                  </a:lnTo>
                  <a:lnTo>
                    <a:pt x="1481" y="952"/>
                  </a:lnTo>
                  <a:lnTo>
                    <a:pt x="1481" y="954"/>
                  </a:lnTo>
                  <a:lnTo>
                    <a:pt x="1481" y="954"/>
                  </a:lnTo>
                  <a:lnTo>
                    <a:pt x="1481" y="954"/>
                  </a:lnTo>
                  <a:lnTo>
                    <a:pt x="1481" y="954"/>
                  </a:lnTo>
                  <a:lnTo>
                    <a:pt x="1478" y="954"/>
                  </a:lnTo>
                  <a:lnTo>
                    <a:pt x="1474" y="954"/>
                  </a:lnTo>
                  <a:lnTo>
                    <a:pt x="1472" y="954"/>
                  </a:lnTo>
                  <a:lnTo>
                    <a:pt x="1472" y="954"/>
                  </a:lnTo>
                  <a:lnTo>
                    <a:pt x="1470" y="954"/>
                  </a:lnTo>
                  <a:lnTo>
                    <a:pt x="1470" y="952"/>
                  </a:lnTo>
                  <a:lnTo>
                    <a:pt x="1468" y="952"/>
                  </a:lnTo>
                  <a:lnTo>
                    <a:pt x="1462" y="952"/>
                  </a:lnTo>
                  <a:lnTo>
                    <a:pt x="1458" y="952"/>
                  </a:lnTo>
                  <a:lnTo>
                    <a:pt x="1456" y="952"/>
                  </a:lnTo>
                  <a:lnTo>
                    <a:pt x="1450" y="954"/>
                  </a:lnTo>
                  <a:lnTo>
                    <a:pt x="1448" y="954"/>
                  </a:lnTo>
                  <a:lnTo>
                    <a:pt x="1448" y="954"/>
                  </a:lnTo>
                  <a:lnTo>
                    <a:pt x="1445" y="954"/>
                  </a:lnTo>
                  <a:lnTo>
                    <a:pt x="1445" y="954"/>
                  </a:lnTo>
                  <a:lnTo>
                    <a:pt x="1443" y="954"/>
                  </a:lnTo>
                  <a:lnTo>
                    <a:pt x="1441" y="954"/>
                  </a:lnTo>
                  <a:lnTo>
                    <a:pt x="1441" y="954"/>
                  </a:lnTo>
                  <a:lnTo>
                    <a:pt x="1439" y="954"/>
                  </a:lnTo>
                  <a:lnTo>
                    <a:pt x="1439" y="952"/>
                  </a:lnTo>
                  <a:lnTo>
                    <a:pt x="1441" y="950"/>
                  </a:lnTo>
                  <a:close/>
                  <a:moveTo>
                    <a:pt x="1266" y="892"/>
                  </a:moveTo>
                  <a:lnTo>
                    <a:pt x="1266" y="892"/>
                  </a:lnTo>
                  <a:lnTo>
                    <a:pt x="1272" y="888"/>
                  </a:lnTo>
                  <a:lnTo>
                    <a:pt x="1276" y="884"/>
                  </a:lnTo>
                  <a:lnTo>
                    <a:pt x="1283" y="880"/>
                  </a:lnTo>
                  <a:lnTo>
                    <a:pt x="1285" y="878"/>
                  </a:lnTo>
                  <a:lnTo>
                    <a:pt x="1287" y="876"/>
                  </a:lnTo>
                  <a:lnTo>
                    <a:pt x="1293" y="874"/>
                  </a:lnTo>
                  <a:lnTo>
                    <a:pt x="1295" y="874"/>
                  </a:lnTo>
                  <a:lnTo>
                    <a:pt x="1299" y="872"/>
                  </a:lnTo>
                  <a:lnTo>
                    <a:pt x="1299" y="872"/>
                  </a:lnTo>
                  <a:lnTo>
                    <a:pt x="1301" y="872"/>
                  </a:lnTo>
                  <a:lnTo>
                    <a:pt x="1301" y="872"/>
                  </a:lnTo>
                  <a:lnTo>
                    <a:pt x="1301" y="872"/>
                  </a:lnTo>
                  <a:lnTo>
                    <a:pt x="1301" y="869"/>
                  </a:lnTo>
                  <a:lnTo>
                    <a:pt x="1303" y="869"/>
                  </a:lnTo>
                  <a:lnTo>
                    <a:pt x="1303" y="869"/>
                  </a:lnTo>
                  <a:lnTo>
                    <a:pt x="1305" y="867"/>
                  </a:lnTo>
                  <a:lnTo>
                    <a:pt x="1305" y="867"/>
                  </a:lnTo>
                  <a:lnTo>
                    <a:pt x="1305" y="867"/>
                  </a:lnTo>
                  <a:lnTo>
                    <a:pt x="1305" y="865"/>
                  </a:lnTo>
                  <a:lnTo>
                    <a:pt x="1307" y="865"/>
                  </a:lnTo>
                  <a:lnTo>
                    <a:pt x="1307" y="865"/>
                  </a:lnTo>
                  <a:lnTo>
                    <a:pt x="1307" y="863"/>
                  </a:lnTo>
                  <a:lnTo>
                    <a:pt x="1307" y="863"/>
                  </a:lnTo>
                  <a:lnTo>
                    <a:pt x="1307" y="863"/>
                  </a:lnTo>
                  <a:lnTo>
                    <a:pt x="1309" y="861"/>
                  </a:lnTo>
                  <a:lnTo>
                    <a:pt x="1314" y="859"/>
                  </a:lnTo>
                  <a:lnTo>
                    <a:pt x="1314" y="861"/>
                  </a:lnTo>
                  <a:lnTo>
                    <a:pt x="1311" y="861"/>
                  </a:lnTo>
                  <a:lnTo>
                    <a:pt x="1311" y="863"/>
                  </a:lnTo>
                  <a:lnTo>
                    <a:pt x="1311" y="863"/>
                  </a:lnTo>
                  <a:lnTo>
                    <a:pt x="1311" y="863"/>
                  </a:lnTo>
                  <a:lnTo>
                    <a:pt x="1311" y="865"/>
                  </a:lnTo>
                  <a:lnTo>
                    <a:pt x="1311" y="865"/>
                  </a:lnTo>
                  <a:lnTo>
                    <a:pt x="1314" y="863"/>
                  </a:lnTo>
                  <a:lnTo>
                    <a:pt x="1314" y="863"/>
                  </a:lnTo>
                  <a:lnTo>
                    <a:pt x="1314" y="863"/>
                  </a:lnTo>
                  <a:lnTo>
                    <a:pt x="1314" y="861"/>
                  </a:lnTo>
                  <a:lnTo>
                    <a:pt x="1314" y="861"/>
                  </a:lnTo>
                  <a:lnTo>
                    <a:pt x="1316" y="861"/>
                  </a:lnTo>
                  <a:lnTo>
                    <a:pt x="1316" y="861"/>
                  </a:lnTo>
                  <a:lnTo>
                    <a:pt x="1316" y="859"/>
                  </a:lnTo>
                  <a:lnTo>
                    <a:pt x="1316" y="859"/>
                  </a:lnTo>
                  <a:lnTo>
                    <a:pt x="1316" y="859"/>
                  </a:lnTo>
                  <a:lnTo>
                    <a:pt x="1316" y="859"/>
                  </a:lnTo>
                  <a:lnTo>
                    <a:pt x="1316" y="859"/>
                  </a:lnTo>
                  <a:lnTo>
                    <a:pt x="1316" y="857"/>
                  </a:lnTo>
                  <a:lnTo>
                    <a:pt x="1316" y="857"/>
                  </a:lnTo>
                  <a:lnTo>
                    <a:pt x="1318" y="855"/>
                  </a:lnTo>
                  <a:lnTo>
                    <a:pt x="1318" y="855"/>
                  </a:lnTo>
                  <a:lnTo>
                    <a:pt x="1318" y="855"/>
                  </a:lnTo>
                  <a:lnTo>
                    <a:pt x="1320" y="855"/>
                  </a:lnTo>
                  <a:lnTo>
                    <a:pt x="1320" y="857"/>
                  </a:lnTo>
                  <a:lnTo>
                    <a:pt x="1320" y="857"/>
                  </a:lnTo>
                  <a:lnTo>
                    <a:pt x="1320" y="857"/>
                  </a:lnTo>
                  <a:lnTo>
                    <a:pt x="1318" y="859"/>
                  </a:lnTo>
                  <a:lnTo>
                    <a:pt x="1316" y="861"/>
                  </a:lnTo>
                  <a:lnTo>
                    <a:pt x="1316" y="861"/>
                  </a:lnTo>
                  <a:lnTo>
                    <a:pt x="1316" y="861"/>
                  </a:lnTo>
                  <a:lnTo>
                    <a:pt x="1316" y="863"/>
                  </a:lnTo>
                  <a:lnTo>
                    <a:pt x="1316" y="863"/>
                  </a:lnTo>
                  <a:lnTo>
                    <a:pt x="1318" y="861"/>
                  </a:lnTo>
                  <a:lnTo>
                    <a:pt x="1318" y="861"/>
                  </a:lnTo>
                  <a:lnTo>
                    <a:pt x="1318" y="861"/>
                  </a:lnTo>
                  <a:lnTo>
                    <a:pt x="1318" y="861"/>
                  </a:lnTo>
                  <a:lnTo>
                    <a:pt x="1318" y="861"/>
                  </a:lnTo>
                  <a:lnTo>
                    <a:pt x="1318" y="861"/>
                  </a:lnTo>
                  <a:lnTo>
                    <a:pt x="1318" y="861"/>
                  </a:lnTo>
                  <a:lnTo>
                    <a:pt x="1320" y="861"/>
                  </a:lnTo>
                  <a:lnTo>
                    <a:pt x="1320" y="859"/>
                  </a:lnTo>
                  <a:lnTo>
                    <a:pt x="1320" y="859"/>
                  </a:lnTo>
                  <a:lnTo>
                    <a:pt x="1320" y="859"/>
                  </a:lnTo>
                  <a:lnTo>
                    <a:pt x="1322" y="859"/>
                  </a:lnTo>
                  <a:lnTo>
                    <a:pt x="1322" y="857"/>
                  </a:lnTo>
                  <a:lnTo>
                    <a:pt x="1322" y="857"/>
                  </a:lnTo>
                  <a:lnTo>
                    <a:pt x="1322" y="855"/>
                  </a:lnTo>
                  <a:lnTo>
                    <a:pt x="1320" y="855"/>
                  </a:lnTo>
                  <a:lnTo>
                    <a:pt x="1320" y="853"/>
                  </a:lnTo>
                  <a:lnTo>
                    <a:pt x="1320" y="853"/>
                  </a:lnTo>
                  <a:lnTo>
                    <a:pt x="1320" y="853"/>
                  </a:lnTo>
                  <a:lnTo>
                    <a:pt x="1320" y="853"/>
                  </a:lnTo>
                  <a:lnTo>
                    <a:pt x="1322" y="853"/>
                  </a:lnTo>
                  <a:lnTo>
                    <a:pt x="1322" y="853"/>
                  </a:lnTo>
                  <a:lnTo>
                    <a:pt x="1322" y="853"/>
                  </a:lnTo>
                  <a:lnTo>
                    <a:pt x="1324" y="853"/>
                  </a:lnTo>
                  <a:lnTo>
                    <a:pt x="1324" y="853"/>
                  </a:lnTo>
                  <a:lnTo>
                    <a:pt x="1324" y="853"/>
                  </a:lnTo>
                  <a:lnTo>
                    <a:pt x="1328" y="853"/>
                  </a:lnTo>
                  <a:lnTo>
                    <a:pt x="1328" y="855"/>
                  </a:lnTo>
                  <a:lnTo>
                    <a:pt x="1330" y="855"/>
                  </a:lnTo>
                  <a:lnTo>
                    <a:pt x="1330" y="855"/>
                  </a:lnTo>
                  <a:lnTo>
                    <a:pt x="1330" y="855"/>
                  </a:lnTo>
                  <a:lnTo>
                    <a:pt x="1330" y="855"/>
                  </a:lnTo>
                  <a:lnTo>
                    <a:pt x="1332" y="855"/>
                  </a:lnTo>
                  <a:lnTo>
                    <a:pt x="1332" y="855"/>
                  </a:lnTo>
                  <a:lnTo>
                    <a:pt x="1334" y="857"/>
                  </a:lnTo>
                  <a:lnTo>
                    <a:pt x="1334" y="857"/>
                  </a:lnTo>
                  <a:lnTo>
                    <a:pt x="1336" y="857"/>
                  </a:lnTo>
                  <a:lnTo>
                    <a:pt x="1338" y="857"/>
                  </a:lnTo>
                  <a:lnTo>
                    <a:pt x="1340" y="857"/>
                  </a:lnTo>
                  <a:lnTo>
                    <a:pt x="1340" y="857"/>
                  </a:lnTo>
                  <a:lnTo>
                    <a:pt x="1342" y="857"/>
                  </a:lnTo>
                  <a:lnTo>
                    <a:pt x="1342" y="855"/>
                  </a:lnTo>
                  <a:lnTo>
                    <a:pt x="1342" y="857"/>
                  </a:lnTo>
                  <a:lnTo>
                    <a:pt x="1342" y="857"/>
                  </a:lnTo>
                  <a:lnTo>
                    <a:pt x="1344" y="857"/>
                  </a:lnTo>
                  <a:lnTo>
                    <a:pt x="1347" y="857"/>
                  </a:lnTo>
                  <a:lnTo>
                    <a:pt x="1347" y="857"/>
                  </a:lnTo>
                  <a:lnTo>
                    <a:pt x="1347" y="857"/>
                  </a:lnTo>
                  <a:lnTo>
                    <a:pt x="1347" y="857"/>
                  </a:lnTo>
                  <a:lnTo>
                    <a:pt x="1347" y="857"/>
                  </a:lnTo>
                  <a:lnTo>
                    <a:pt x="1347" y="859"/>
                  </a:lnTo>
                  <a:lnTo>
                    <a:pt x="1349" y="859"/>
                  </a:lnTo>
                  <a:lnTo>
                    <a:pt x="1349" y="859"/>
                  </a:lnTo>
                  <a:lnTo>
                    <a:pt x="1349" y="861"/>
                  </a:lnTo>
                  <a:lnTo>
                    <a:pt x="1349" y="861"/>
                  </a:lnTo>
                  <a:lnTo>
                    <a:pt x="1349" y="863"/>
                  </a:lnTo>
                  <a:lnTo>
                    <a:pt x="1349" y="863"/>
                  </a:lnTo>
                  <a:lnTo>
                    <a:pt x="1349" y="863"/>
                  </a:lnTo>
                  <a:lnTo>
                    <a:pt x="1351" y="865"/>
                  </a:lnTo>
                  <a:lnTo>
                    <a:pt x="1351" y="867"/>
                  </a:lnTo>
                  <a:lnTo>
                    <a:pt x="1353" y="867"/>
                  </a:lnTo>
                  <a:lnTo>
                    <a:pt x="1353" y="869"/>
                  </a:lnTo>
                  <a:lnTo>
                    <a:pt x="1355" y="872"/>
                  </a:lnTo>
                  <a:lnTo>
                    <a:pt x="1357" y="872"/>
                  </a:lnTo>
                  <a:lnTo>
                    <a:pt x="1359" y="872"/>
                  </a:lnTo>
                  <a:lnTo>
                    <a:pt x="1361" y="872"/>
                  </a:lnTo>
                  <a:lnTo>
                    <a:pt x="1363" y="872"/>
                  </a:lnTo>
                  <a:lnTo>
                    <a:pt x="1367" y="872"/>
                  </a:lnTo>
                  <a:lnTo>
                    <a:pt x="1369" y="872"/>
                  </a:lnTo>
                  <a:lnTo>
                    <a:pt x="1369" y="872"/>
                  </a:lnTo>
                  <a:lnTo>
                    <a:pt x="1367" y="872"/>
                  </a:lnTo>
                  <a:lnTo>
                    <a:pt x="1367" y="874"/>
                  </a:lnTo>
                  <a:lnTo>
                    <a:pt x="1367" y="874"/>
                  </a:lnTo>
                  <a:lnTo>
                    <a:pt x="1367" y="874"/>
                  </a:lnTo>
                  <a:lnTo>
                    <a:pt x="1367" y="876"/>
                  </a:lnTo>
                  <a:lnTo>
                    <a:pt x="1367" y="876"/>
                  </a:lnTo>
                  <a:lnTo>
                    <a:pt x="1367" y="876"/>
                  </a:lnTo>
                  <a:lnTo>
                    <a:pt x="1367" y="876"/>
                  </a:lnTo>
                  <a:lnTo>
                    <a:pt x="1365" y="878"/>
                  </a:lnTo>
                  <a:lnTo>
                    <a:pt x="1367" y="878"/>
                  </a:lnTo>
                  <a:lnTo>
                    <a:pt x="1367" y="880"/>
                  </a:lnTo>
                  <a:lnTo>
                    <a:pt x="1369" y="880"/>
                  </a:lnTo>
                  <a:lnTo>
                    <a:pt x="1369" y="880"/>
                  </a:lnTo>
                  <a:lnTo>
                    <a:pt x="1371" y="882"/>
                  </a:lnTo>
                  <a:lnTo>
                    <a:pt x="1371" y="882"/>
                  </a:lnTo>
                  <a:lnTo>
                    <a:pt x="1371" y="882"/>
                  </a:lnTo>
                  <a:lnTo>
                    <a:pt x="1371" y="882"/>
                  </a:lnTo>
                  <a:lnTo>
                    <a:pt x="1371" y="882"/>
                  </a:lnTo>
                  <a:lnTo>
                    <a:pt x="1371" y="882"/>
                  </a:lnTo>
                  <a:lnTo>
                    <a:pt x="1371" y="884"/>
                  </a:lnTo>
                  <a:lnTo>
                    <a:pt x="1371" y="886"/>
                  </a:lnTo>
                  <a:lnTo>
                    <a:pt x="1369" y="886"/>
                  </a:lnTo>
                  <a:lnTo>
                    <a:pt x="1371" y="886"/>
                  </a:lnTo>
                  <a:lnTo>
                    <a:pt x="1369" y="888"/>
                  </a:lnTo>
                  <a:lnTo>
                    <a:pt x="1369" y="888"/>
                  </a:lnTo>
                  <a:lnTo>
                    <a:pt x="1369" y="888"/>
                  </a:lnTo>
                  <a:lnTo>
                    <a:pt x="1371" y="890"/>
                  </a:lnTo>
                  <a:lnTo>
                    <a:pt x="1371" y="890"/>
                  </a:lnTo>
                  <a:lnTo>
                    <a:pt x="1371" y="890"/>
                  </a:lnTo>
                  <a:lnTo>
                    <a:pt x="1371" y="890"/>
                  </a:lnTo>
                  <a:lnTo>
                    <a:pt x="1373" y="890"/>
                  </a:lnTo>
                  <a:lnTo>
                    <a:pt x="1373" y="890"/>
                  </a:lnTo>
                  <a:lnTo>
                    <a:pt x="1373" y="890"/>
                  </a:lnTo>
                  <a:lnTo>
                    <a:pt x="1375" y="890"/>
                  </a:lnTo>
                  <a:lnTo>
                    <a:pt x="1375" y="890"/>
                  </a:lnTo>
                  <a:lnTo>
                    <a:pt x="1375" y="890"/>
                  </a:lnTo>
                  <a:lnTo>
                    <a:pt x="1375" y="892"/>
                  </a:lnTo>
                  <a:lnTo>
                    <a:pt x="1373" y="892"/>
                  </a:lnTo>
                  <a:lnTo>
                    <a:pt x="1373" y="892"/>
                  </a:lnTo>
                  <a:lnTo>
                    <a:pt x="1373" y="892"/>
                  </a:lnTo>
                  <a:lnTo>
                    <a:pt x="1373" y="894"/>
                  </a:lnTo>
                  <a:lnTo>
                    <a:pt x="1373" y="894"/>
                  </a:lnTo>
                  <a:lnTo>
                    <a:pt x="1373" y="894"/>
                  </a:lnTo>
                  <a:lnTo>
                    <a:pt x="1373" y="894"/>
                  </a:lnTo>
                  <a:lnTo>
                    <a:pt x="1373" y="892"/>
                  </a:lnTo>
                  <a:lnTo>
                    <a:pt x="1373" y="892"/>
                  </a:lnTo>
                  <a:lnTo>
                    <a:pt x="1373" y="894"/>
                  </a:lnTo>
                  <a:lnTo>
                    <a:pt x="1373" y="894"/>
                  </a:lnTo>
                  <a:lnTo>
                    <a:pt x="1373" y="896"/>
                  </a:lnTo>
                  <a:lnTo>
                    <a:pt x="1373" y="896"/>
                  </a:lnTo>
                  <a:lnTo>
                    <a:pt x="1373" y="896"/>
                  </a:lnTo>
                  <a:lnTo>
                    <a:pt x="1373" y="898"/>
                  </a:lnTo>
                  <a:lnTo>
                    <a:pt x="1373" y="898"/>
                  </a:lnTo>
                  <a:lnTo>
                    <a:pt x="1373" y="896"/>
                  </a:lnTo>
                  <a:lnTo>
                    <a:pt x="1373" y="896"/>
                  </a:lnTo>
                  <a:lnTo>
                    <a:pt x="1375" y="896"/>
                  </a:lnTo>
                  <a:lnTo>
                    <a:pt x="1377" y="896"/>
                  </a:lnTo>
                  <a:lnTo>
                    <a:pt x="1377" y="896"/>
                  </a:lnTo>
                  <a:lnTo>
                    <a:pt x="1380" y="896"/>
                  </a:lnTo>
                  <a:lnTo>
                    <a:pt x="1380" y="896"/>
                  </a:lnTo>
                  <a:lnTo>
                    <a:pt x="1380" y="898"/>
                  </a:lnTo>
                  <a:lnTo>
                    <a:pt x="1380" y="898"/>
                  </a:lnTo>
                  <a:lnTo>
                    <a:pt x="1380" y="898"/>
                  </a:lnTo>
                  <a:lnTo>
                    <a:pt x="1380" y="900"/>
                  </a:lnTo>
                  <a:lnTo>
                    <a:pt x="1380" y="900"/>
                  </a:lnTo>
                  <a:lnTo>
                    <a:pt x="1382" y="900"/>
                  </a:lnTo>
                  <a:lnTo>
                    <a:pt x="1382" y="900"/>
                  </a:lnTo>
                  <a:lnTo>
                    <a:pt x="1382" y="900"/>
                  </a:lnTo>
                  <a:lnTo>
                    <a:pt x="1382" y="900"/>
                  </a:lnTo>
                  <a:lnTo>
                    <a:pt x="1386" y="900"/>
                  </a:lnTo>
                  <a:lnTo>
                    <a:pt x="1386" y="900"/>
                  </a:lnTo>
                  <a:lnTo>
                    <a:pt x="1386" y="902"/>
                  </a:lnTo>
                  <a:lnTo>
                    <a:pt x="1388" y="902"/>
                  </a:lnTo>
                  <a:lnTo>
                    <a:pt x="1394" y="902"/>
                  </a:lnTo>
                  <a:lnTo>
                    <a:pt x="1396" y="902"/>
                  </a:lnTo>
                  <a:lnTo>
                    <a:pt x="1398" y="902"/>
                  </a:lnTo>
                  <a:lnTo>
                    <a:pt x="1400" y="902"/>
                  </a:lnTo>
                  <a:lnTo>
                    <a:pt x="1400" y="902"/>
                  </a:lnTo>
                  <a:lnTo>
                    <a:pt x="1400" y="902"/>
                  </a:lnTo>
                  <a:lnTo>
                    <a:pt x="1404" y="902"/>
                  </a:lnTo>
                  <a:lnTo>
                    <a:pt x="1404" y="902"/>
                  </a:lnTo>
                  <a:lnTo>
                    <a:pt x="1406" y="905"/>
                  </a:lnTo>
                  <a:lnTo>
                    <a:pt x="1406" y="905"/>
                  </a:lnTo>
                  <a:lnTo>
                    <a:pt x="1408" y="905"/>
                  </a:lnTo>
                  <a:lnTo>
                    <a:pt x="1410" y="905"/>
                  </a:lnTo>
                  <a:lnTo>
                    <a:pt x="1413" y="905"/>
                  </a:lnTo>
                  <a:lnTo>
                    <a:pt x="1413" y="905"/>
                  </a:lnTo>
                  <a:lnTo>
                    <a:pt x="1413" y="905"/>
                  </a:lnTo>
                  <a:lnTo>
                    <a:pt x="1413" y="905"/>
                  </a:lnTo>
                  <a:lnTo>
                    <a:pt x="1413" y="905"/>
                  </a:lnTo>
                  <a:lnTo>
                    <a:pt x="1413" y="905"/>
                  </a:lnTo>
                  <a:lnTo>
                    <a:pt x="1413" y="905"/>
                  </a:lnTo>
                  <a:lnTo>
                    <a:pt x="1415" y="905"/>
                  </a:lnTo>
                  <a:lnTo>
                    <a:pt x="1415" y="905"/>
                  </a:lnTo>
                  <a:lnTo>
                    <a:pt x="1415" y="905"/>
                  </a:lnTo>
                  <a:lnTo>
                    <a:pt x="1415" y="905"/>
                  </a:lnTo>
                  <a:lnTo>
                    <a:pt x="1415" y="905"/>
                  </a:lnTo>
                  <a:lnTo>
                    <a:pt x="1415" y="907"/>
                  </a:lnTo>
                  <a:lnTo>
                    <a:pt x="1415" y="907"/>
                  </a:lnTo>
                  <a:lnTo>
                    <a:pt x="1415" y="907"/>
                  </a:lnTo>
                  <a:lnTo>
                    <a:pt x="1415" y="907"/>
                  </a:lnTo>
                  <a:lnTo>
                    <a:pt x="1415" y="907"/>
                  </a:lnTo>
                  <a:lnTo>
                    <a:pt x="1415" y="907"/>
                  </a:lnTo>
                  <a:lnTo>
                    <a:pt x="1417" y="907"/>
                  </a:lnTo>
                  <a:lnTo>
                    <a:pt x="1417" y="907"/>
                  </a:lnTo>
                  <a:lnTo>
                    <a:pt x="1419" y="907"/>
                  </a:lnTo>
                  <a:lnTo>
                    <a:pt x="1419" y="907"/>
                  </a:lnTo>
                  <a:lnTo>
                    <a:pt x="1421" y="907"/>
                  </a:lnTo>
                  <a:lnTo>
                    <a:pt x="1421" y="907"/>
                  </a:lnTo>
                  <a:lnTo>
                    <a:pt x="1421" y="907"/>
                  </a:lnTo>
                  <a:lnTo>
                    <a:pt x="1421" y="907"/>
                  </a:lnTo>
                  <a:lnTo>
                    <a:pt x="1421" y="907"/>
                  </a:lnTo>
                  <a:lnTo>
                    <a:pt x="1421" y="907"/>
                  </a:lnTo>
                  <a:lnTo>
                    <a:pt x="1421" y="907"/>
                  </a:lnTo>
                  <a:lnTo>
                    <a:pt x="1423" y="907"/>
                  </a:lnTo>
                  <a:lnTo>
                    <a:pt x="1425" y="907"/>
                  </a:lnTo>
                  <a:lnTo>
                    <a:pt x="1425" y="907"/>
                  </a:lnTo>
                  <a:lnTo>
                    <a:pt x="1425" y="907"/>
                  </a:lnTo>
                  <a:lnTo>
                    <a:pt x="1425" y="909"/>
                  </a:lnTo>
                  <a:lnTo>
                    <a:pt x="1427" y="909"/>
                  </a:lnTo>
                  <a:lnTo>
                    <a:pt x="1427" y="909"/>
                  </a:lnTo>
                  <a:lnTo>
                    <a:pt x="1427" y="909"/>
                  </a:lnTo>
                  <a:lnTo>
                    <a:pt x="1427" y="911"/>
                  </a:lnTo>
                  <a:lnTo>
                    <a:pt x="1427" y="911"/>
                  </a:lnTo>
                  <a:lnTo>
                    <a:pt x="1427" y="911"/>
                  </a:lnTo>
                  <a:lnTo>
                    <a:pt x="1427" y="911"/>
                  </a:lnTo>
                  <a:lnTo>
                    <a:pt x="1429" y="913"/>
                  </a:lnTo>
                  <a:lnTo>
                    <a:pt x="1429" y="913"/>
                  </a:lnTo>
                  <a:lnTo>
                    <a:pt x="1429" y="913"/>
                  </a:lnTo>
                  <a:lnTo>
                    <a:pt x="1429" y="913"/>
                  </a:lnTo>
                  <a:lnTo>
                    <a:pt x="1429" y="913"/>
                  </a:lnTo>
                  <a:lnTo>
                    <a:pt x="1431" y="913"/>
                  </a:lnTo>
                  <a:lnTo>
                    <a:pt x="1431" y="913"/>
                  </a:lnTo>
                  <a:lnTo>
                    <a:pt x="1431" y="913"/>
                  </a:lnTo>
                  <a:lnTo>
                    <a:pt x="1431" y="913"/>
                  </a:lnTo>
                  <a:lnTo>
                    <a:pt x="1431" y="913"/>
                  </a:lnTo>
                  <a:lnTo>
                    <a:pt x="1431" y="915"/>
                  </a:lnTo>
                  <a:lnTo>
                    <a:pt x="1431" y="915"/>
                  </a:lnTo>
                  <a:lnTo>
                    <a:pt x="1431" y="917"/>
                  </a:lnTo>
                  <a:lnTo>
                    <a:pt x="1433" y="917"/>
                  </a:lnTo>
                  <a:lnTo>
                    <a:pt x="1433" y="917"/>
                  </a:lnTo>
                  <a:lnTo>
                    <a:pt x="1435" y="917"/>
                  </a:lnTo>
                  <a:lnTo>
                    <a:pt x="1435" y="917"/>
                  </a:lnTo>
                  <a:lnTo>
                    <a:pt x="1435" y="917"/>
                  </a:lnTo>
                  <a:lnTo>
                    <a:pt x="1435" y="917"/>
                  </a:lnTo>
                  <a:lnTo>
                    <a:pt x="1435" y="917"/>
                  </a:lnTo>
                  <a:lnTo>
                    <a:pt x="1435" y="917"/>
                  </a:lnTo>
                  <a:lnTo>
                    <a:pt x="1435" y="917"/>
                  </a:lnTo>
                  <a:lnTo>
                    <a:pt x="1437" y="917"/>
                  </a:lnTo>
                  <a:lnTo>
                    <a:pt x="1435" y="919"/>
                  </a:lnTo>
                  <a:lnTo>
                    <a:pt x="1435" y="919"/>
                  </a:lnTo>
                  <a:lnTo>
                    <a:pt x="1435" y="919"/>
                  </a:lnTo>
                  <a:lnTo>
                    <a:pt x="1435" y="921"/>
                  </a:lnTo>
                  <a:lnTo>
                    <a:pt x="1435" y="921"/>
                  </a:lnTo>
                  <a:lnTo>
                    <a:pt x="1435" y="921"/>
                  </a:lnTo>
                  <a:lnTo>
                    <a:pt x="1435" y="921"/>
                  </a:lnTo>
                  <a:lnTo>
                    <a:pt x="1437" y="921"/>
                  </a:lnTo>
                  <a:lnTo>
                    <a:pt x="1437" y="921"/>
                  </a:lnTo>
                  <a:lnTo>
                    <a:pt x="1437" y="921"/>
                  </a:lnTo>
                  <a:lnTo>
                    <a:pt x="1435" y="921"/>
                  </a:lnTo>
                  <a:lnTo>
                    <a:pt x="1435" y="921"/>
                  </a:lnTo>
                  <a:lnTo>
                    <a:pt x="1437" y="923"/>
                  </a:lnTo>
                  <a:lnTo>
                    <a:pt x="1437" y="923"/>
                  </a:lnTo>
                  <a:lnTo>
                    <a:pt x="1437" y="923"/>
                  </a:lnTo>
                  <a:lnTo>
                    <a:pt x="1437" y="923"/>
                  </a:lnTo>
                  <a:lnTo>
                    <a:pt x="1437" y="925"/>
                  </a:lnTo>
                  <a:lnTo>
                    <a:pt x="1437" y="925"/>
                  </a:lnTo>
                  <a:lnTo>
                    <a:pt x="1439" y="925"/>
                  </a:lnTo>
                  <a:lnTo>
                    <a:pt x="1439" y="925"/>
                  </a:lnTo>
                  <a:lnTo>
                    <a:pt x="1439" y="927"/>
                  </a:lnTo>
                  <a:lnTo>
                    <a:pt x="1439" y="927"/>
                  </a:lnTo>
                  <a:lnTo>
                    <a:pt x="1441" y="927"/>
                  </a:lnTo>
                  <a:lnTo>
                    <a:pt x="1441" y="927"/>
                  </a:lnTo>
                  <a:lnTo>
                    <a:pt x="1441" y="925"/>
                  </a:lnTo>
                  <a:lnTo>
                    <a:pt x="1441" y="925"/>
                  </a:lnTo>
                  <a:lnTo>
                    <a:pt x="1441" y="927"/>
                  </a:lnTo>
                  <a:lnTo>
                    <a:pt x="1441" y="927"/>
                  </a:lnTo>
                  <a:lnTo>
                    <a:pt x="1441" y="927"/>
                  </a:lnTo>
                  <a:lnTo>
                    <a:pt x="1441" y="927"/>
                  </a:lnTo>
                  <a:lnTo>
                    <a:pt x="1441" y="927"/>
                  </a:lnTo>
                  <a:lnTo>
                    <a:pt x="1439" y="927"/>
                  </a:lnTo>
                  <a:lnTo>
                    <a:pt x="1439" y="927"/>
                  </a:lnTo>
                  <a:lnTo>
                    <a:pt x="1439" y="927"/>
                  </a:lnTo>
                  <a:lnTo>
                    <a:pt x="1437" y="927"/>
                  </a:lnTo>
                  <a:lnTo>
                    <a:pt x="1437" y="927"/>
                  </a:lnTo>
                  <a:lnTo>
                    <a:pt x="1437" y="927"/>
                  </a:lnTo>
                  <a:lnTo>
                    <a:pt x="1437" y="925"/>
                  </a:lnTo>
                  <a:lnTo>
                    <a:pt x="1437" y="927"/>
                  </a:lnTo>
                  <a:lnTo>
                    <a:pt x="1435" y="927"/>
                  </a:lnTo>
                  <a:lnTo>
                    <a:pt x="1435" y="927"/>
                  </a:lnTo>
                  <a:lnTo>
                    <a:pt x="1435" y="927"/>
                  </a:lnTo>
                  <a:lnTo>
                    <a:pt x="1435" y="927"/>
                  </a:lnTo>
                  <a:lnTo>
                    <a:pt x="1437" y="929"/>
                  </a:lnTo>
                  <a:lnTo>
                    <a:pt x="1437" y="929"/>
                  </a:lnTo>
                  <a:lnTo>
                    <a:pt x="1437" y="931"/>
                  </a:lnTo>
                  <a:lnTo>
                    <a:pt x="1437" y="931"/>
                  </a:lnTo>
                  <a:lnTo>
                    <a:pt x="1435" y="933"/>
                  </a:lnTo>
                  <a:lnTo>
                    <a:pt x="1433" y="931"/>
                  </a:lnTo>
                  <a:lnTo>
                    <a:pt x="1431" y="931"/>
                  </a:lnTo>
                  <a:lnTo>
                    <a:pt x="1429" y="929"/>
                  </a:lnTo>
                  <a:lnTo>
                    <a:pt x="1427" y="929"/>
                  </a:lnTo>
                  <a:lnTo>
                    <a:pt x="1427" y="929"/>
                  </a:lnTo>
                  <a:lnTo>
                    <a:pt x="1425" y="929"/>
                  </a:lnTo>
                  <a:lnTo>
                    <a:pt x="1425" y="929"/>
                  </a:lnTo>
                  <a:lnTo>
                    <a:pt x="1425" y="931"/>
                  </a:lnTo>
                  <a:lnTo>
                    <a:pt x="1423" y="929"/>
                  </a:lnTo>
                  <a:lnTo>
                    <a:pt x="1425" y="929"/>
                  </a:lnTo>
                  <a:lnTo>
                    <a:pt x="1425" y="927"/>
                  </a:lnTo>
                  <a:lnTo>
                    <a:pt x="1425" y="927"/>
                  </a:lnTo>
                  <a:lnTo>
                    <a:pt x="1425" y="927"/>
                  </a:lnTo>
                  <a:lnTo>
                    <a:pt x="1423" y="927"/>
                  </a:lnTo>
                  <a:lnTo>
                    <a:pt x="1423" y="927"/>
                  </a:lnTo>
                  <a:lnTo>
                    <a:pt x="1421" y="927"/>
                  </a:lnTo>
                  <a:lnTo>
                    <a:pt x="1421" y="927"/>
                  </a:lnTo>
                  <a:lnTo>
                    <a:pt x="1421" y="927"/>
                  </a:lnTo>
                  <a:lnTo>
                    <a:pt x="1423" y="927"/>
                  </a:lnTo>
                  <a:lnTo>
                    <a:pt x="1423" y="925"/>
                  </a:lnTo>
                  <a:lnTo>
                    <a:pt x="1423" y="925"/>
                  </a:lnTo>
                  <a:lnTo>
                    <a:pt x="1423" y="925"/>
                  </a:lnTo>
                  <a:lnTo>
                    <a:pt x="1423" y="925"/>
                  </a:lnTo>
                  <a:lnTo>
                    <a:pt x="1423" y="925"/>
                  </a:lnTo>
                  <a:lnTo>
                    <a:pt x="1423" y="925"/>
                  </a:lnTo>
                  <a:lnTo>
                    <a:pt x="1423" y="925"/>
                  </a:lnTo>
                  <a:lnTo>
                    <a:pt x="1421" y="925"/>
                  </a:lnTo>
                  <a:lnTo>
                    <a:pt x="1421" y="925"/>
                  </a:lnTo>
                  <a:lnTo>
                    <a:pt x="1421" y="925"/>
                  </a:lnTo>
                  <a:lnTo>
                    <a:pt x="1421" y="925"/>
                  </a:lnTo>
                  <a:lnTo>
                    <a:pt x="1421" y="925"/>
                  </a:lnTo>
                  <a:lnTo>
                    <a:pt x="1421" y="925"/>
                  </a:lnTo>
                  <a:lnTo>
                    <a:pt x="1421" y="923"/>
                  </a:lnTo>
                  <a:lnTo>
                    <a:pt x="1421" y="923"/>
                  </a:lnTo>
                  <a:lnTo>
                    <a:pt x="1419" y="923"/>
                  </a:lnTo>
                  <a:lnTo>
                    <a:pt x="1419" y="923"/>
                  </a:lnTo>
                  <a:lnTo>
                    <a:pt x="1419" y="921"/>
                  </a:lnTo>
                  <a:lnTo>
                    <a:pt x="1419" y="921"/>
                  </a:lnTo>
                  <a:lnTo>
                    <a:pt x="1419" y="921"/>
                  </a:lnTo>
                  <a:lnTo>
                    <a:pt x="1419" y="919"/>
                  </a:lnTo>
                  <a:lnTo>
                    <a:pt x="1419" y="919"/>
                  </a:lnTo>
                  <a:lnTo>
                    <a:pt x="1417" y="919"/>
                  </a:lnTo>
                  <a:lnTo>
                    <a:pt x="1415" y="919"/>
                  </a:lnTo>
                  <a:lnTo>
                    <a:pt x="1413" y="919"/>
                  </a:lnTo>
                  <a:lnTo>
                    <a:pt x="1413" y="919"/>
                  </a:lnTo>
                  <a:lnTo>
                    <a:pt x="1413" y="921"/>
                  </a:lnTo>
                  <a:lnTo>
                    <a:pt x="1415" y="921"/>
                  </a:lnTo>
                  <a:lnTo>
                    <a:pt x="1415" y="921"/>
                  </a:lnTo>
                  <a:lnTo>
                    <a:pt x="1415" y="921"/>
                  </a:lnTo>
                  <a:lnTo>
                    <a:pt x="1415" y="921"/>
                  </a:lnTo>
                  <a:lnTo>
                    <a:pt x="1417" y="923"/>
                  </a:lnTo>
                  <a:lnTo>
                    <a:pt x="1417" y="923"/>
                  </a:lnTo>
                  <a:lnTo>
                    <a:pt x="1417" y="923"/>
                  </a:lnTo>
                  <a:lnTo>
                    <a:pt x="1417" y="923"/>
                  </a:lnTo>
                  <a:lnTo>
                    <a:pt x="1419" y="925"/>
                  </a:lnTo>
                  <a:lnTo>
                    <a:pt x="1419" y="925"/>
                  </a:lnTo>
                  <a:lnTo>
                    <a:pt x="1419" y="925"/>
                  </a:lnTo>
                  <a:lnTo>
                    <a:pt x="1419" y="927"/>
                  </a:lnTo>
                  <a:lnTo>
                    <a:pt x="1419" y="927"/>
                  </a:lnTo>
                  <a:lnTo>
                    <a:pt x="1419" y="929"/>
                  </a:lnTo>
                  <a:lnTo>
                    <a:pt x="1419" y="929"/>
                  </a:lnTo>
                  <a:lnTo>
                    <a:pt x="1419" y="931"/>
                  </a:lnTo>
                  <a:lnTo>
                    <a:pt x="1419" y="931"/>
                  </a:lnTo>
                  <a:lnTo>
                    <a:pt x="1417" y="933"/>
                  </a:lnTo>
                  <a:lnTo>
                    <a:pt x="1417" y="933"/>
                  </a:lnTo>
                  <a:lnTo>
                    <a:pt x="1417" y="933"/>
                  </a:lnTo>
                  <a:lnTo>
                    <a:pt x="1417" y="933"/>
                  </a:lnTo>
                  <a:lnTo>
                    <a:pt x="1415" y="933"/>
                  </a:lnTo>
                  <a:lnTo>
                    <a:pt x="1415" y="936"/>
                  </a:lnTo>
                  <a:lnTo>
                    <a:pt x="1415" y="936"/>
                  </a:lnTo>
                  <a:lnTo>
                    <a:pt x="1415" y="938"/>
                  </a:lnTo>
                  <a:lnTo>
                    <a:pt x="1415" y="938"/>
                  </a:lnTo>
                  <a:lnTo>
                    <a:pt x="1413" y="940"/>
                  </a:lnTo>
                  <a:lnTo>
                    <a:pt x="1413" y="940"/>
                  </a:lnTo>
                  <a:lnTo>
                    <a:pt x="1413" y="942"/>
                  </a:lnTo>
                  <a:lnTo>
                    <a:pt x="1413" y="948"/>
                  </a:lnTo>
                  <a:lnTo>
                    <a:pt x="1413" y="948"/>
                  </a:lnTo>
                  <a:lnTo>
                    <a:pt x="1413" y="950"/>
                  </a:lnTo>
                  <a:lnTo>
                    <a:pt x="1413" y="952"/>
                  </a:lnTo>
                  <a:lnTo>
                    <a:pt x="1413" y="952"/>
                  </a:lnTo>
                  <a:lnTo>
                    <a:pt x="1410" y="954"/>
                  </a:lnTo>
                  <a:lnTo>
                    <a:pt x="1410" y="954"/>
                  </a:lnTo>
                  <a:lnTo>
                    <a:pt x="1408" y="954"/>
                  </a:lnTo>
                  <a:lnTo>
                    <a:pt x="1408" y="956"/>
                  </a:lnTo>
                  <a:lnTo>
                    <a:pt x="1408" y="956"/>
                  </a:lnTo>
                  <a:lnTo>
                    <a:pt x="1406" y="956"/>
                  </a:lnTo>
                  <a:lnTo>
                    <a:pt x="1404" y="958"/>
                  </a:lnTo>
                  <a:lnTo>
                    <a:pt x="1402" y="958"/>
                  </a:lnTo>
                  <a:lnTo>
                    <a:pt x="1402" y="958"/>
                  </a:lnTo>
                  <a:lnTo>
                    <a:pt x="1402" y="956"/>
                  </a:lnTo>
                  <a:lnTo>
                    <a:pt x="1402" y="954"/>
                  </a:lnTo>
                  <a:lnTo>
                    <a:pt x="1400" y="948"/>
                  </a:lnTo>
                  <a:lnTo>
                    <a:pt x="1400" y="944"/>
                  </a:lnTo>
                  <a:lnTo>
                    <a:pt x="1398" y="942"/>
                  </a:lnTo>
                  <a:lnTo>
                    <a:pt x="1398" y="942"/>
                  </a:lnTo>
                  <a:lnTo>
                    <a:pt x="1396" y="940"/>
                  </a:lnTo>
                  <a:lnTo>
                    <a:pt x="1396" y="940"/>
                  </a:lnTo>
                  <a:lnTo>
                    <a:pt x="1394" y="940"/>
                  </a:lnTo>
                  <a:lnTo>
                    <a:pt x="1394" y="942"/>
                  </a:lnTo>
                  <a:lnTo>
                    <a:pt x="1392" y="942"/>
                  </a:lnTo>
                  <a:lnTo>
                    <a:pt x="1390" y="942"/>
                  </a:lnTo>
                  <a:lnTo>
                    <a:pt x="1390" y="942"/>
                  </a:lnTo>
                  <a:lnTo>
                    <a:pt x="1390" y="942"/>
                  </a:lnTo>
                  <a:lnTo>
                    <a:pt x="1390" y="942"/>
                  </a:lnTo>
                  <a:lnTo>
                    <a:pt x="1390" y="942"/>
                  </a:lnTo>
                  <a:lnTo>
                    <a:pt x="1390" y="944"/>
                  </a:lnTo>
                  <a:lnTo>
                    <a:pt x="1390" y="944"/>
                  </a:lnTo>
                  <a:lnTo>
                    <a:pt x="1388" y="946"/>
                  </a:lnTo>
                  <a:lnTo>
                    <a:pt x="1388" y="946"/>
                  </a:lnTo>
                  <a:lnTo>
                    <a:pt x="1388" y="946"/>
                  </a:lnTo>
                  <a:lnTo>
                    <a:pt x="1386" y="946"/>
                  </a:lnTo>
                  <a:lnTo>
                    <a:pt x="1386" y="948"/>
                  </a:lnTo>
                  <a:lnTo>
                    <a:pt x="1386" y="948"/>
                  </a:lnTo>
                  <a:lnTo>
                    <a:pt x="1384" y="948"/>
                  </a:lnTo>
                  <a:lnTo>
                    <a:pt x="1382" y="948"/>
                  </a:lnTo>
                  <a:lnTo>
                    <a:pt x="1382" y="946"/>
                  </a:lnTo>
                  <a:lnTo>
                    <a:pt x="1382" y="946"/>
                  </a:lnTo>
                  <a:lnTo>
                    <a:pt x="1382" y="946"/>
                  </a:lnTo>
                  <a:lnTo>
                    <a:pt x="1382" y="944"/>
                  </a:lnTo>
                  <a:lnTo>
                    <a:pt x="1382" y="944"/>
                  </a:lnTo>
                  <a:lnTo>
                    <a:pt x="1382" y="942"/>
                  </a:lnTo>
                  <a:lnTo>
                    <a:pt x="1384" y="942"/>
                  </a:lnTo>
                  <a:lnTo>
                    <a:pt x="1384" y="942"/>
                  </a:lnTo>
                  <a:lnTo>
                    <a:pt x="1386" y="942"/>
                  </a:lnTo>
                  <a:lnTo>
                    <a:pt x="1386" y="940"/>
                  </a:lnTo>
                  <a:lnTo>
                    <a:pt x="1386" y="940"/>
                  </a:lnTo>
                  <a:lnTo>
                    <a:pt x="1386" y="940"/>
                  </a:lnTo>
                  <a:lnTo>
                    <a:pt x="1386" y="940"/>
                  </a:lnTo>
                  <a:lnTo>
                    <a:pt x="1388" y="938"/>
                  </a:lnTo>
                  <a:lnTo>
                    <a:pt x="1388" y="936"/>
                  </a:lnTo>
                  <a:lnTo>
                    <a:pt x="1388" y="936"/>
                  </a:lnTo>
                  <a:lnTo>
                    <a:pt x="1388" y="936"/>
                  </a:lnTo>
                  <a:lnTo>
                    <a:pt x="1388" y="938"/>
                  </a:lnTo>
                  <a:lnTo>
                    <a:pt x="1390" y="936"/>
                  </a:lnTo>
                  <a:lnTo>
                    <a:pt x="1390" y="936"/>
                  </a:lnTo>
                  <a:lnTo>
                    <a:pt x="1390" y="933"/>
                  </a:lnTo>
                  <a:lnTo>
                    <a:pt x="1390" y="931"/>
                  </a:lnTo>
                  <a:lnTo>
                    <a:pt x="1390" y="929"/>
                  </a:lnTo>
                  <a:lnTo>
                    <a:pt x="1390" y="929"/>
                  </a:lnTo>
                  <a:lnTo>
                    <a:pt x="1390" y="927"/>
                  </a:lnTo>
                  <a:lnTo>
                    <a:pt x="1390" y="925"/>
                  </a:lnTo>
                  <a:lnTo>
                    <a:pt x="1388" y="925"/>
                  </a:lnTo>
                  <a:lnTo>
                    <a:pt x="1388" y="923"/>
                  </a:lnTo>
                  <a:lnTo>
                    <a:pt x="1388" y="923"/>
                  </a:lnTo>
                  <a:lnTo>
                    <a:pt x="1388" y="923"/>
                  </a:lnTo>
                  <a:lnTo>
                    <a:pt x="1390" y="923"/>
                  </a:lnTo>
                  <a:lnTo>
                    <a:pt x="1390" y="923"/>
                  </a:lnTo>
                  <a:lnTo>
                    <a:pt x="1390" y="923"/>
                  </a:lnTo>
                  <a:lnTo>
                    <a:pt x="1390" y="923"/>
                  </a:lnTo>
                  <a:lnTo>
                    <a:pt x="1390" y="923"/>
                  </a:lnTo>
                  <a:lnTo>
                    <a:pt x="1390" y="921"/>
                  </a:lnTo>
                  <a:lnTo>
                    <a:pt x="1390" y="921"/>
                  </a:lnTo>
                  <a:lnTo>
                    <a:pt x="1390" y="921"/>
                  </a:lnTo>
                  <a:lnTo>
                    <a:pt x="1390" y="919"/>
                  </a:lnTo>
                  <a:lnTo>
                    <a:pt x="1390" y="919"/>
                  </a:lnTo>
                  <a:lnTo>
                    <a:pt x="1390" y="919"/>
                  </a:lnTo>
                  <a:lnTo>
                    <a:pt x="1388" y="919"/>
                  </a:lnTo>
                  <a:lnTo>
                    <a:pt x="1388" y="917"/>
                  </a:lnTo>
                  <a:lnTo>
                    <a:pt x="1386" y="917"/>
                  </a:lnTo>
                  <a:lnTo>
                    <a:pt x="1382" y="915"/>
                  </a:lnTo>
                  <a:lnTo>
                    <a:pt x="1382" y="915"/>
                  </a:lnTo>
                  <a:lnTo>
                    <a:pt x="1382" y="915"/>
                  </a:lnTo>
                  <a:lnTo>
                    <a:pt x="1380" y="915"/>
                  </a:lnTo>
                  <a:lnTo>
                    <a:pt x="1380" y="915"/>
                  </a:lnTo>
                  <a:lnTo>
                    <a:pt x="1377" y="913"/>
                  </a:lnTo>
                  <a:lnTo>
                    <a:pt x="1377" y="913"/>
                  </a:lnTo>
                  <a:lnTo>
                    <a:pt x="1377" y="913"/>
                  </a:lnTo>
                  <a:lnTo>
                    <a:pt x="1375" y="913"/>
                  </a:lnTo>
                  <a:lnTo>
                    <a:pt x="1373" y="913"/>
                  </a:lnTo>
                  <a:lnTo>
                    <a:pt x="1373" y="911"/>
                  </a:lnTo>
                  <a:lnTo>
                    <a:pt x="1371" y="911"/>
                  </a:lnTo>
                  <a:lnTo>
                    <a:pt x="1369" y="911"/>
                  </a:lnTo>
                  <a:lnTo>
                    <a:pt x="1369" y="911"/>
                  </a:lnTo>
                  <a:lnTo>
                    <a:pt x="1367" y="911"/>
                  </a:lnTo>
                  <a:lnTo>
                    <a:pt x="1367" y="911"/>
                  </a:lnTo>
                  <a:lnTo>
                    <a:pt x="1367" y="911"/>
                  </a:lnTo>
                  <a:lnTo>
                    <a:pt x="1367" y="911"/>
                  </a:lnTo>
                  <a:lnTo>
                    <a:pt x="1367" y="911"/>
                  </a:lnTo>
                  <a:lnTo>
                    <a:pt x="1365" y="913"/>
                  </a:lnTo>
                  <a:lnTo>
                    <a:pt x="1365" y="913"/>
                  </a:lnTo>
                  <a:lnTo>
                    <a:pt x="1365" y="915"/>
                  </a:lnTo>
                  <a:lnTo>
                    <a:pt x="1365" y="915"/>
                  </a:lnTo>
                  <a:lnTo>
                    <a:pt x="1365" y="915"/>
                  </a:lnTo>
                  <a:lnTo>
                    <a:pt x="1367" y="917"/>
                  </a:lnTo>
                  <a:lnTo>
                    <a:pt x="1367" y="917"/>
                  </a:lnTo>
                  <a:lnTo>
                    <a:pt x="1367" y="917"/>
                  </a:lnTo>
                  <a:lnTo>
                    <a:pt x="1367" y="917"/>
                  </a:lnTo>
                  <a:lnTo>
                    <a:pt x="1365" y="917"/>
                  </a:lnTo>
                  <a:lnTo>
                    <a:pt x="1365" y="917"/>
                  </a:lnTo>
                  <a:lnTo>
                    <a:pt x="1363" y="917"/>
                  </a:lnTo>
                  <a:lnTo>
                    <a:pt x="1361" y="919"/>
                  </a:lnTo>
                  <a:lnTo>
                    <a:pt x="1361" y="919"/>
                  </a:lnTo>
                  <a:lnTo>
                    <a:pt x="1361" y="919"/>
                  </a:lnTo>
                  <a:lnTo>
                    <a:pt x="1361" y="921"/>
                  </a:lnTo>
                  <a:lnTo>
                    <a:pt x="1361" y="923"/>
                  </a:lnTo>
                  <a:lnTo>
                    <a:pt x="1361" y="923"/>
                  </a:lnTo>
                  <a:lnTo>
                    <a:pt x="1361" y="925"/>
                  </a:lnTo>
                  <a:lnTo>
                    <a:pt x="1359" y="927"/>
                  </a:lnTo>
                  <a:lnTo>
                    <a:pt x="1359" y="927"/>
                  </a:lnTo>
                  <a:lnTo>
                    <a:pt x="1359" y="927"/>
                  </a:lnTo>
                  <a:lnTo>
                    <a:pt x="1359" y="927"/>
                  </a:lnTo>
                  <a:lnTo>
                    <a:pt x="1359" y="925"/>
                  </a:lnTo>
                  <a:lnTo>
                    <a:pt x="1359" y="925"/>
                  </a:lnTo>
                  <a:lnTo>
                    <a:pt x="1359" y="923"/>
                  </a:lnTo>
                  <a:lnTo>
                    <a:pt x="1359" y="923"/>
                  </a:lnTo>
                  <a:lnTo>
                    <a:pt x="1359" y="925"/>
                  </a:lnTo>
                  <a:lnTo>
                    <a:pt x="1359" y="925"/>
                  </a:lnTo>
                  <a:lnTo>
                    <a:pt x="1359" y="925"/>
                  </a:lnTo>
                  <a:lnTo>
                    <a:pt x="1359" y="925"/>
                  </a:lnTo>
                  <a:lnTo>
                    <a:pt x="1359" y="925"/>
                  </a:lnTo>
                  <a:lnTo>
                    <a:pt x="1359" y="927"/>
                  </a:lnTo>
                  <a:lnTo>
                    <a:pt x="1357" y="927"/>
                  </a:lnTo>
                  <a:lnTo>
                    <a:pt x="1357" y="927"/>
                  </a:lnTo>
                  <a:lnTo>
                    <a:pt x="1357" y="925"/>
                  </a:lnTo>
                  <a:lnTo>
                    <a:pt x="1357" y="925"/>
                  </a:lnTo>
                  <a:lnTo>
                    <a:pt x="1357" y="923"/>
                  </a:lnTo>
                  <a:lnTo>
                    <a:pt x="1357" y="923"/>
                  </a:lnTo>
                  <a:lnTo>
                    <a:pt x="1359" y="923"/>
                  </a:lnTo>
                  <a:lnTo>
                    <a:pt x="1357" y="921"/>
                  </a:lnTo>
                  <a:lnTo>
                    <a:pt x="1359" y="921"/>
                  </a:lnTo>
                  <a:lnTo>
                    <a:pt x="1359" y="921"/>
                  </a:lnTo>
                  <a:lnTo>
                    <a:pt x="1359" y="921"/>
                  </a:lnTo>
                  <a:lnTo>
                    <a:pt x="1357" y="921"/>
                  </a:lnTo>
                  <a:lnTo>
                    <a:pt x="1357" y="921"/>
                  </a:lnTo>
                  <a:lnTo>
                    <a:pt x="1355" y="923"/>
                  </a:lnTo>
                  <a:lnTo>
                    <a:pt x="1355" y="925"/>
                  </a:lnTo>
                  <a:lnTo>
                    <a:pt x="1353" y="925"/>
                  </a:lnTo>
                  <a:lnTo>
                    <a:pt x="1353" y="925"/>
                  </a:lnTo>
                  <a:lnTo>
                    <a:pt x="1353" y="925"/>
                  </a:lnTo>
                  <a:lnTo>
                    <a:pt x="1353" y="925"/>
                  </a:lnTo>
                  <a:lnTo>
                    <a:pt x="1351" y="925"/>
                  </a:lnTo>
                  <a:lnTo>
                    <a:pt x="1351" y="925"/>
                  </a:lnTo>
                  <a:lnTo>
                    <a:pt x="1351" y="927"/>
                  </a:lnTo>
                  <a:lnTo>
                    <a:pt x="1351" y="927"/>
                  </a:lnTo>
                  <a:lnTo>
                    <a:pt x="1349" y="929"/>
                  </a:lnTo>
                  <a:lnTo>
                    <a:pt x="1349" y="929"/>
                  </a:lnTo>
                  <a:lnTo>
                    <a:pt x="1349" y="929"/>
                  </a:lnTo>
                  <a:lnTo>
                    <a:pt x="1349" y="929"/>
                  </a:lnTo>
                  <a:lnTo>
                    <a:pt x="1349" y="931"/>
                  </a:lnTo>
                  <a:lnTo>
                    <a:pt x="1349" y="933"/>
                  </a:lnTo>
                  <a:lnTo>
                    <a:pt x="1349" y="936"/>
                  </a:lnTo>
                  <a:lnTo>
                    <a:pt x="1347" y="938"/>
                  </a:lnTo>
                  <a:lnTo>
                    <a:pt x="1347" y="938"/>
                  </a:lnTo>
                  <a:lnTo>
                    <a:pt x="1344" y="940"/>
                  </a:lnTo>
                  <a:lnTo>
                    <a:pt x="1344" y="940"/>
                  </a:lnTo>
                  <a:lnTo>
                    <a:pt x="1347" y="942"/>
                  </a:lnTo>
                  <a:lnTo>
                    <a:pt x="1347" y="942"/>
                  </a:lnTo>
                  <a:lnTo>
                    <a:pt x="1347" y="944"/>
                  </a:lnTo>
                  <a:lnTo>
                    <a:pt x="1347" y="944"/>
                  </a:lnTo>
                  <a:lnTo>
                    <a:pt x="1344" y="948"/>
                  </a:lnTo>
                  <a:lnTo>
                    <a:pt x="1344" y="948"/>
                  </a:lnTo>
                  <a:lnTo>
                    <a:pt x="1347" y="952"/>
                  </a:lnTo>
                  <a:lnTo>
                    <a:pt x="1347" y="954"/>
                  </a:lnTo>
                  <a:lnTo>
                    <a:pt x="1347" y="954"/>
                  </a:lnTo>
                  <a:lnTo>
                    <a:pt x="1349" y="956"/>
                  </a:lnTo>
                  <a:lnTo>
                    <a:pt x="1349" y="958"/>
                  </a:lnTo>
                  <a:lnTo>
                    <a:pt x="1349" y="960"/>
                  </a:lnTo>
                  <a:lnTo>
                    <a:pt x="1349" y="962"/>
                  </a:lnTo>
                  <a:lnTo>
                    <a:pt x="1349" y="964"/>
                  </a:lnTo>
                  <a:lnTo>
                    <a:pt x="1349" y="966"/>
                  </a:lnTo>
                  <a:lnTo>
                    <a:pt x="1349" y="969"/>
                  </a:lnTo>
                  <a:lnTo>
                    <a:pt x="1347" y="971"/>
                  </a:lnTo>
                  <a:lnTo>
                    <a:pt x="1347" y="971"/>
                  </a:lnTo>
                  <a:lnTo>
                    <a:pt x="1344" y="975"/>
                  </a:lnTo>
                  <a:lnTo>
                    <a:pt x="1344" y="975"/>
                  </a:lnTo>
                  <a:lnTo>
                    <a:pt x="1342" y="977"/>
                  </a:lnTo>
                  <a:lnTo>
                    <a:pt x="1342" y="979"/>
                  </a:lnTo>
                  <a:lnTo>
                    <a:pt x="1340" y="979"/>
                  </a:lnTo>
                  <a:lnTo>
                    <a:pt x="1336" y="981"/>
                  </a:lnTo>
                  <a:lnTo>
                    <a:pt x="1336" y="981"/>
                  </a:lnTo>
                  <a:lnTo>
                    <a:pt x="1334" y="981"/>
                  </a:lnTo>
                  <a:lnTo>
                    <a:pt x="1332" y="981"/>
                  </a:lnTo>
                  <a:lnTo>
                    <a:pt x="1332" y="981"/>
                  </a:lnTo>
                  <a:lnTo>
                    <a:pt x="1332" y="981"/>
                  </a:lnTo>
                  <a:lnTo>
                    <a:pt x="1332" y="981"/>
                  </a:lnTo>
                  <a:lnTo>
                    <a:pt x="1332" y="981"/>
                  </a:lnTo>
                  <a:lnTo>
                    <a:pt x="1330" y="981"/>
                  </a:lnTo>
                  <a:lnTo>
                    <a:pt x="1330" y="979"/>
                  </a:lnTo>
                  <a:lnTo>
                    <a:pt x="1330" y="977"/>
                  </a:lnTo>
                  <a:lnTo>
                    <a:pt x="1328" y="975"/>
                  </a:lnTo>
                  <a:lnTo>
                    <a:pt x="1328" y="975"/>
                  </a:lnTo>
                  <a:lnTo>
                    <a:pt x="1328" y="973"/>
                  </a:lnTo>
                  <a:lnTo>
                    <a:pt x="1328" y="973"/>
                  </a:lnTo>
                  <a:lnTo>
                    <a:pt x="1326" y="973"/>
                  </a:lnTo>
                  <a:lnTo>
                    <a:pt x="1326" y="971"/>
                  </a:lnTo>
                  <a:lnTo>
                    <a:pt x="1326" y="966"/>
                  </a:lnTo>
                  <a:lnTo>
                    <a:pt x="1326" y="964"/>
                  </a:lnTo>
                  <a:lnTo>
                    <a:pt x="1328" y="962"/>
                  </a:lnTo>
                  <a:lnTo>
                    <a:pt x="1326" y="962"/>
                  </a:lnTo>
                  <a:lnTo>
                    <a:pt x="1326" y="960"/>
                  </a:lnTo>
                  <a:lnTo>
                    <a:pt x="1326" y="960"/>
                  </a:lnTo>
                  <a:lnTo>
                    <a:pt x="1326" y="958"/>
                  </a:lnTo>
                  <a:lnTo>
                    <a:pt x="1326" y="958"/>
                  </a:lnTo>
                  <a:lnTo>
                    <a:pt x="1326" y="958"/>
                  </a:lnTo>
                  <a:lnTo>
                    <a:pt x="1326" y="958"/>
                  </a:lnTo>
                  <a:lnTo>
                    <a:pt x="1326" y="956"/>
                  </a:lnTo>
                  <a:lnTo>
                    <a:pt x="1326" y="956"/>
                  </a:lnTo>
                  <a:lnTo>
                    <a:pt x="1326" y="956"/>
                  </a:lnTo>
                  <a:lnTo>
                    <a:pt x="1326" y="956"/>
                  </a:lnTo>
                  <a:lnTo>
                    <a:pt x="1326" y="956"/>
                  </a:lnTo>
                  <a:lnTo>
                    <a:pt x="1326" y="954"/>
                  </a:lnTo>
                  <a:lnTo>
                    <a:pt x="1326" y="954"/>
                  </a:lnTo>
                  <a:lnTo>
                    <a:pt x="1326" y="952"/>
                  </a:lnTo>
                  <a:lnTo>
                    <a:pt x="1326" y="950"/>
                  </a:lnTo>
                  <a:lnTo>
                    <a:pt x="1326" y="950"/>
                  </a:lnTo>
                  <a:lnTo>
                    <a:pt x="1326" y="950"/>
                  </a:lnTo>
                  <a:lnTo>
                    <a:pt x="1328" y="948"/>
                  </a:lnTo>
                  <a:lnTo>
                    <a:pt x="1328" y="946"/>
                  </a:lnTo>
                  <a:lnTo>
                    <a:pt x="1328" y="946"/>
                  </a:lnTo>
                  <a:lnTo>
                    <a:pt x="1328" y="944"/>
                  </a:lnTo>
                  <a:lnTo>
                    <a:pt x="1328" y="944"/>
                  </a:lnTo>
                  <a:lnTo>
                    <a:pt x="1328" y="944"/>
                  </a:lnTo>
                  <a:lnTo>
                    <a:pt x="1328" y="942"/>
                  </a:lnTo>
                  <a:lnTo>
                    <a:pt x="1328" y="940"/>
                  </a:lnTo>
                  <a:lnTo>
                    <a:pt x="1330" y="940"/>
                  </a:lnTo>
                  <a:lnTo>
                    <a:pt x="1330" y="938"/>
                  </a:lnTo>
                  <a:lnTo>
                    <a:pt x="1330" y="938"/>
                  </a:lnTo>
                  <a:lnTo>
                    <a:pt x="1330" y="936"/>
                  </a:lnTo>
                  <a:lnTo>
                    <a:pt x="1330" y="936"/>
                  </a:lnTo>
                  <a:lnTo>
                    <a:pt x="1332" y="931"/>
                  </a:lnTo>
                  <a:lnTo>
                    <a:pt x="1332" y="931"/>
                  </a:lnTo>
                  <a:lnTo>
                    <a:pt x="1332" y="929"/>
                  </a:lnTo>
                  <a:lnTo>
                    <a:pt x="1332" y="929"/>
                  </a:lnTo>
                  <a:lnTo>
                    <a:pt x="1334" y="927"/>
                  </a:lnTo>
                  <a:lnTo>
                    <a:pt x="1334" y="927"/>
                  </a:lnTo>
                  <a:lnTo>
                    <a:pt x="1332" y="927"/>
                  </a:lnTo>
                  <a:lnTo>
                    <a:pt x="1332" y="925"/>
                  </a:lnTo>
                  <a:lnTo>
                    <a:pt x="1332" y="925"/>
                  </a:lnTo>
                  <a:lnTo>
                    <a:pt x="1330" y="927"/>
                  </a:lnTo>
                  <a:lnTo>
                    <a:pt x="1330" y="927"/>
                  </a:lnTo>
                  <a:lnTo>
                    <a:pt x="1330" y="927"/>
                  </a:lnTo>
                  <a:lnTo>
                    <a:pt x="1328" y="927"/>
                  </a:lnTo>
                  <a:lnTo>
                    <a:pt x="1328" y="929"/>
                  </a:lnTo>
                  <a:lnTo>
                    <a:pt x="1326" y="929"/>
                  </a:lnTo>
                  <a:lnTo>
                    <a:pt x="1326" y="929"/>
                  </a:lnTo>
                  <a:lnTo>
                    <a:pt x="1326" y="931"/>
                  </a:lnTo>
                  <a:lnTo>
                    <a:pt x="1326" y="931"/>
                  </a:lnTo>
                  <a:lnTo>
                    <a:pt x="1324" y="931"/>
                  </a:lnTo>
                  <a:lnTo>
                    <a:pt x="1324" y="931"/>
                  </a:lnTo>
                  <a:lnTo>
                    <a:pt x="1324" y="931"/>
                  </a:lnTo>
                  <a:lnTo>
                    <a:pt x="1324" y="929"/>
                  </a:lnTo>
                  <a:lnTo>
                    <a:pt x="1324" y="927"/>
                  </a:lnTo>
                  <a:lnTo>
                    <a:pt x="1326" y="925"/>
                  </a:lnTo>
                  <a:lnTo>
                    <a:pt x="1326" y="925"/>
                  </a:lnTo>
                  <a:lnTo>
                    <a:pt x="1326" y="925"/>
                  </a:lnTo>
                  <a:lnTo>
                    <a:pt x="1328" y="923"/>
                  </a:lnTo>
                  <a:lnTo>
                    <a:pt x="1330" y="923"/>
                  </a:lnTo>
                  <a:lnTo>
                    <a:pt x="1330" y="923"/>
                  </a:lnTo>
                  <a:lnTo>
                    <a:pt x="1330" y="921"/>
                  </a:lnTo>
                  <a:lnTo>
                    <a:pt x="1330" y="921"/>
                  </a:lnTo>
                  <a:lnTo>
                    <a:pt x="1330" y="921"/>
                  </a:lnTo>
                  <a:lnTo>
                    <a:pt x="1330" y="919"/>
                  </a:lnTo>
                  <a:lnTo>
                    <a:pt x="1332" y="917"/>
                  </a:lnTo>
                  <a:lnTo>
                    <a:pt x="1334" y="915"/>
                  </a:lnTo>
                  <a:lnTo>
                    <a:pt x="1334" y="913"/>
                  </a:lnTo>
                  <a:lnTo>
                    <a:pt x="1336" y="913"/>
                  </a:lnTo>
                  <a:lnTo>
                    <a:pt x="1336" y="911"/>
                  </a:lnTo>
                  <a:lnTo>
                    <a:pt x="1336" y="911"/>
                  </a:lnTo>
                  <a:lnTo>
                    <a:pt x="1338" y="909"/>
                  </a:lnTo>
                  <a:lnTo>
                    <a:pt x="1338" y="909"/>
                  </a:lnTo>
                  <a:lnTo>
                    <a:pt x="1338" y="909"/>
                  </a:lnTo>
                  <a:lnTo>
                    <a:pt x="1338" y="909"/>
                  </a:lnTo>
                  <a:lnTo>
                    <a:pt x="1338" y="909"/>
                  </a:lnTo>
                  <a:lnTo>
                    <a:pt x="1338" y="911"/>
                  </a:lnTo>
                  <a:lnTo>
                    <a:pt x="1338" y="911"/>
                  </a:lnTo>
                  <a:lnTo>
                    <a:pt x="1338" y="911"/>
                  </a:lnTo>
                  <a:lnTo>
                    <a:pt x="1340" y="911"/>
                  </a:lnTo>
                  <a:lnTo>
                    <a:pt x="1340" y="911"/>
                  </a:lnTo>
                  <a:lnTo>
                    <a:pt x="1340" y="909"/>
                  </a:lnTo>
                  <a:lnTo>
                    <a:pt x="1342" y="909"/>
                  </a:lnTo>
                  <a:lnTo>
                    <a:pt x="1342" y="909"/>
                  </a:lnTo>
                  <a:lnTo>
                    <a:pt x="1342" y="909"/>
                  </a:lnTo>
                  <a:lnTo>
                    <a:pt x="1342" y="909"/>
                  </a:lnTo>
                  <a:lnTo>
                    <a:pt x="1344" y="909"/>
                  </a:lnTo>
                  <a:lnTo>
                    <a:pt x="1344" y="909"/>
                  </a:lnTo>
                  <a:lnTo>
                    <a:pt x="1344" y="909"/>
                  </a:lnTo>
                  <a:lnTo>
                    <a:pt x="1344" y="911"/>
                  </a:lnTo>
                  <a:lnTo>
                    <a:pt x="1344" y="911"/>
                  </a:lnTo>
                  <a:lnTo>
                    <a:pt x="1342" y="911"/>
                  </a:lnTo>
                  <a:lnTo>
                    <a:pt x="1342" y="911"/>
                  </a:lnTo>
                  <a:lnTo>
                    <a:pt x="1342" y="913"/>
                  </a:lnTo>
                  <a:lnTo>
                    <a:pt x="1342" y="913"/>
                  </a:lnTo>
                  <a:lnTo>
                    <a:pt x="1342" y="913"/>
                  </a:lnTo>
                  <a:lnTo>
                    <a:pt x="1342" y="913"/>
                  </a:lnTo>
                  <a:lnTo>
                    <a:pt x="1344" y="913"/>
                  </a:lnTo>
                  <a:lnTo>
                    <a:pt x="1344" y="911"/>
                  </a:lnTo>
                  <a:lnTo>
                    <a:pt x="1344" y="911"/>
                  </a:lnTo>
                  <a:lnTo>
                    <a:pt x="1347" y="911"/>
                  </a:lnTo>
                  <a:lnTo>
                    <a:pt x="1347" y="909"/>
                  </a:lnTo>
                  <a:lnTo>
                    <a:pt x="1347" y="909"/>
                  </a:lnTo>
                  <a:lnTo>
                    <a:pt x="1349" y="907"/>
                  </a:lnTo>
                  <a:lnTo>
                    <a:pt x="1349" y="907"/>
                  </a:lnTo>
                  <a:lnTo>
                    <a:pt x="1351" y="907"/>
                  </a:lnTo>
                  <a:lnTo>
                    <a:pt x="1351" y="907"/>
                  </a:lnTo>
                  <a:lnTo>
                    <a:pt x="1353" y="907"/>
                  </a:lnTo>
                  <a:lnTo>
                    <a:pt x="1353" y="907"/>
                  </a:lnTo>
                  <a:lnTo>
                    <a:pt x="1353" y="907"/>
                  </a:lnTo>
                  <a:lnTo>
                    <a:pt x="1355" y="907"/>
                  </a:lnTo>
                  <a:lnTo>
                    <a:pt x="1357" y="907"/>
                  </a:lnTo>
                  <a:lnTo>
                    <a:pt x="1357" y="907"/>
                  </a:lnTo>
                  <a:lnTo>
                    <a:pt x="1359" y="905"/>
                  </a:lnTo>
                  <a:lnTo>
                    <a:pt x="1359" y="905"/>
                  </a:lnTo>
                  <a:lnTo>
                    <a:pt x="1361" y="905"/>
                  </a:lnTo>
                  <a:lnTo>
                    <a:pt x="1363" y="905"/>
                  </a:lnTo>
                  <a:lnTo>
                    <a:pt x="1365" y="905"/>
                  </a:lnTo>
                  <a:lnTo>
                    <a:pt x="1367" y="907"/>
                  </a:lnTo>
                  <a:lnTo>
                    <a:pt x="1369" y="909"/>
                  </a:lnTo>
                  <a:lnTo>
                    <a:pt x="1369" y="909"/>
                  </a:lnTo>
                  <a:lnTo>
                    <a:pt x="1369" y="909"/>
                  </a:lnTo>
                  <a:lnTo>
                    <a:pt x="1371" y="909"/>
                  </a:lnTo>
                  <a:lnTo>
                    <a:pt x="1371" y="909"/>
                  </a:lnTo>
                  <a:lnTo>
                    <a:pt x="1369" y="909"/>
                  </a:lnTo>
                  <a:lnTo>
                    <a:pt x="1371" y="907"/>
                  </a:lnTo>
                  <a:lnTo>
                    <a:pt x="1369" y="907"/>
                  </a:lnTo>
                  <a:lnTo>
                    <a:pt x="1371" y="907"/>
                  </a:lnTo>
                  <a:lnTo>
                    <a:pt x="1371" y="905"/>
                  </a:lnTo>
                  <a:lnTo>
                    <a:pt x="1371" y="905"/>
                  </a:lnTo>
                  <a:lnTo>
                    <a:pt x="1373" y="907"/>
                  </a:lnTo>
                  <a:lnTo>
                    <a:pt x="1373" y="907"/>
                  </a:lnTo>
                  <a:lnTo>
                    <a:pt x="1373" y="907"/>
                  </a:lnTo>
                  <a:lnTo>
                    <a:pt x="1373" y="907"/>
                  </a:lnTo>
                  <a:lnTo>
                    <a:pt x="1373" y="907"/>
                  </a:lnTo>
                  <a:lnTo>
                    <a:pt x="1373" y="907"/>
                  </a:lnTo>
                  <a:lnTo>
                    <a:pt x="1373" y="907"/>
                  </a:lnTo>
                  <a:lnTo>
                    <a:pt x="1375" y="907"/>
                  </a:lnTo>
                  <a:lnTo>
                    <a:pt x="1382" y="907"/>
                  </a:lnTo>
                  <a:lnTo>
                    <a:pt x="1382" y="907"/>
                  </a:lnTo>
                  <a:lnTo>
                    <a:pt x="1382" y="907"/>
                  </a:lnTo>
                  <a:lnTo>
                    <a:pt x="1382" y="907"/>
                  </a:lnTo>
                  <a:lnTo>
                    <a:pt x="1382" y="907"/>
                  </a:lnTo>
                  <a:lnTo>
                    <a:pt x="1380" y="905"/>
                  </a:lnTo>
                  <a:lnTo>
                    <a:pt x="1380" y="905"/>
                  </a:lnTo>
                  <a:lnTo>
                    <a:pt x="1380" y="905"/>
                  </a:lnTo>
                  <a:lnTo>
                    <a:pt x="1380" y="905"/>
                  </a:lnTo>
                  <a:lnTo>
                    <a:pt x="1380" y="902"/>
                  </a:lnTo>
                  <a:lnTo>
                    <a:pt x="1380" y="902"/>
                  </a:lnTo>
                  <a:lnTo>
                    <a:pt x="1377" y="902"/>
                  </a:lnTo>
                  <a:lnTo>
                    <a:pt x="1377" y="902"/>
                  </a:lnTo>
                  <a:lnTo>
                    <a:pt x="1377" y="902"/>
                  </a:lnTo>
                  <a:lnTo>
                    <a:pt x="1377" y="902"/>
                  </a:lnTo>
                  <a:lnTo>
                    <a:pt x="1377" y="900"/>
                  </a:lnTo>
                  <a:lnTo>
                    <a:pt x="1377" y="900"/>
                  </a:lnTo>
                  <a:lnTo>
                    <a:pt x="1377" y="900"/>
                  </a:lnTo>
                  <a:lnTo>
                    <a:pt x="1377" y="898"/>
                  </a:lnTo>
                  <a:lnTo>
                    <a:pt x="1375" y="898"/>
                  </a:lnTo>
                  <a:lnTo>
                    <a:pt x="1375" y="898"/>
                  </a:lnTo>
                  <a:lnTo>
                    <a:pt x="1375" y="896"/>
                  </a:lnTo>
                  <a:lnTo>
                    <a:pt x="1375" y="898"/>
                  </a:lnTo>
                  <a:lnTo>
                    <a:pt x="1375" y="898"/>
                  </a:lnTo>
                  <a:lnTo>
                    <a:pt x="1373" y="898"/>
                  </a:lnTo>
                  <a:lnTo>
                    <a:pt x="1373" y="898"/>
                  </a:lnTo>
                  <a:lnTo>
                    <a:pt x="1371" y="898"/>
                  </a:lnTo>
                  <a:lnTo>
                    <a:pt x="1371" y="898"/>
                  </a:lnTo>
                  <a:lnTo>
                    <a:pt x="1371" y="898"/>
                  </a:lnTo>
                  <a:lnTo>
                    <a:pt x="1369" y="898"/>
                  </a:lnTo>
                  <a:lnTo>
                    <a:pt x="1369" y="898"/>
                  </a:lnTo>
                  <a:lnTo>
                    <a:pt x="1367" y="898"/>
                  </a:lnTo>
                  <a:lnTo>
                    <a:pt x="1365" y="896"/>
                  </a:lnTo>
                  <a:lnTo>
                    <a:pt x="1365" y="896"/>
                  </a:lnTo>
                  <a:lnTo>
                    <a:pt x="1365" y="896"/>
                  </a:lnTo>
                  <a:lnTo>
                    <a:pt x="1365" y="896"/>
                  </a:lnTo>
                  <a:lnTo>
                    <a:pt x="1365" y="896"/>
                  </a:lnTo>
                  <a:lnTo>
                    <a:pt x="1365" y="894"/>
                  </a:lnTo>
                  <a:lnTo>
                    <a:pt x="1367" y="892"/>
                  </a:lnTo>
                  <a:lnTo>
                    <a:pt x="1367" y="892"/>
                  </a:lnTo>
                  <a:lnTo>
                    <a:pt x="1365" y="892"/>
                  </a:lnTo>
                  <a:lnTo>
                    <a:pt x="1365" y="892"/>
                  </a:lnTo>
                  <a:lnTo>
                    <a:pt x="1363" y="892"/>
                  </a:lnTo>
                  <a:lnTo>
                    <a:pt x="1361" y="894"/>
                  </a:lnTo>
                  <a:lnTo>
                    <a:pt x="1357" y="894"/>
                  </a:lnTo>
                  <a:lnTo>
                    <a:pt x="1355" y="894"/>
                  </a:lnTo>
                  <a:lnTo>
                    <a:pt x="1353" y="894"/>
                  </a:lnTo>
                  <a:lnTo>
                    <a:pt x="1351" y="894"/>
                  </a:lnTo>
                  <a:lnTo>
                    <a:pt x="1351" y="894"/>
                  </a:lnTo>
                  <a:lnTo>
                    <a:pt x="1349" y="894"/>
                  </a:lnTo>
                  <a:lnTo>
                    <a:pt x="1347" y="896"/>
                  </a:lnTo>
                  <a:lnTo>
                    <a:pt x="1344" y="896"/>
                  </a:lnTo>
                  <a:lnTo>
                    <a:pt x="1342" y="898"/>
                  </a:lnTo>
                  <a:lnTo>
                    <a:pt x="1342" y="898"/>
                  </a:lnTo>
                  <a:lnTo>
                    <a:pt x="1342" y="898"/>
                  </a:lnTo>
                  <a:lnTo>
                    <a:pt x="1342" y="898"/>
                  </a:lnTo>
                  <a:lnTo>
                    <a:pt x="1340" y="898"/>
                  </a:lnTo>
                  <a:lnTo>
                    <a:pt x="1340" y="898"/>
                  </a:lnTo>
                  <a:lnTo>
                    <a:pt x="1338" y="898"/>
                  </a:lnTo>
                  <a:lnTo>
                    <a:pt x="1338" y="896"/>
                  </a:lnTo>
                  <a:lnTo>
                    <a:pt x="1338" y="896"/>
                  </a:lnTo>
                  <a:lnTo>
                    <a:pt x="1336" y="896"/>
                  </a:lnTo>
                  <a:lnTo>
                    <a:pt x="1336" y="896"/>
                  </a:lnTo>
                  <a:lnTo>
                    <a:pt x="1332" y="896"/>
                  </a:lnTo>
                  <a:lnTo>
                    <a:pt x="1332" y="896"/>
                  </a:lnTo>
                  <a:lnTo>
                    <a:pt x="1332" y="896"/>
                  </a:lnTo>
                  <a:lnTo>
                    <a:pt x="1332" y="896"/>
                  </a:lnTo>
                  <a:lnTo>
                    <a:pt x="1332" y="894"/>
                  </a:lnTo>
                  <a:lnTo>
                    <a:pt x="1330" y="894"/>
                  </a:lnTo>
                  <a:lnTo>
                    <a:pt x="1330" y="892"/>
                  </a:lnTo>
                  <a:lnTo>
                    <a:pt x="1328" y="892"/>
                  </a:lnTo>
                  <a:lnTo>
                    <a:pt x="1328" y="890"/>
                  </a:lnTo>
                  <a:lnTo>
                    <a:pt x="1326" y="890"/>
                  </a:lnTo>
                  <a:lnTo>
                    <a:pt x="1322" y="890"/>
                  </a:lnTo>
                  <a:lnTo>
                    <a:pt x="1322" y="890"/>
                  </a:lnTo>
                  <a:lnTo>
                    <a:pt x="1322" y="890"/>
                  </a:lnTo>
                  <a:lnTo>
                    <a:pt x="1318" y="890"/>
                  </a:lnTo>
                  <a:lnTo>
                    <a:pt x="1318" y="890"/>
                  </a:lnTo>
                  <a:lnTo>
                    <a:pt x="1318" y="892"/>
                  </a:lnTo>
                  <a:lnTo>
                    <a:pt x="1318" y="892"/>
                  </a:lnTo>
                  <a:lnTo>
                    <a:pt x="1318" y="892"/>
                  </a:lnTo>
                  <a:lnTo>
                    <a:pt x="1318" y="892"/>
                  </a:lnTo>
                  <a:lnTo>
                    <a:pt x="1318" y="892"/>
                  </a:lnTo>
                  <a:lnTo>
                    <a:pt x="1318" y="890"/>
                  </a:lnTo>
                  <a:lnTo>
                    <a:pt x="1318" y="890"/>
                  </a:lnTo>
                  <a:lnTo>
                    <a:pt x="1318" y="888"/>
                  </a:lnTo>
                  <a:lnTo>
                    <a:pt x="1318" y="888"/>
                  </a:lnTo>
                  <a:lnTo>
                    <a:pt x="1316" y="888"/>
                  </a:lnTo>
                  <a:lnTo>
                    <a:pt x="1316" y="886"/>
                  </a:lnTo>
                  <a:lnTo>
                    <a:pt x="1316" y="886"/>
                  </a:lnTo>
                  <a:lnTo>
                    <a:pt x="1316" y="886"/>
                  </a:lnTo>
                  <a:lnTo>
                    <a:pt x="1316" y="886"/>
                  </a:lnTo>
                  <a:lnTo>
                    <a:pt x="1316" y="886"/>
                  </a:lnTo>
                  <a:lnTo>
                    <a:pt x="1316" y="884"/>
                  </a:lnTo>
                  <a:lnTo>
                    <a:pt x="1316" y="884"/>
                  </a:lnTo>
                  <a:lnTo>
                    <a:pt x="1314" y="884"/>
                  </a:lnTo>
                  <a:lnTo>
                    <a:pt x="1311" y="886"/>
                  </a:lnTo>
                  <a:lnTo>
                    <a:pt x="1311" y="886"/>
                  </a:lnTo>
                  <a:lnTo>
                    <a:pt x="1311" y="888"/>
                  </a:lnTo>
                  <a:lnTo>
                    <a:pt x="1309" y="888"/>
                  </a:lnTo>
                  <a:lnTo>
                    <a:pt x="1309" y="888"/>
                  </a:lnTo>
                  <a:lnTo>
                    <a:pt x="1307" y="888"/>
                  </a:lnTo>
                  <a:lnTo>
                    <a:pt x="1305" y="890"/>
                  </a:lnTo>
                  <a:lnTo>
                    <a:pt x="1305" y="890"/>
                  </a:lnTo>
                  <a:lnTo>
                    <a:pt x="1303" y="890"/>
                  </a:lnTo>
                  <a:lnTo>
                    <a:pt x="1299" y="892"/>
                  </a:lnTo>
                  <a:lnTo>
                    <a:pt x="1297" y="892"/>
                  </a:lnTo>
                  <a:lnTo>
                    <a:pt x="1295" y="894"/>
                  </a:lnTo>
                  <a:lnTo>
                    <a:pt x="1293" y="894"/>
                  </a:lnTo>
                  <a:lnTo>
                    <a:pt x="1291" y="896"/>
                  </a:lnTo>
                  <a:lnTo>
                    <a:pt x="1289" y="896"/>
                  </a:lnTo>
                  <a:lnTo>
                    <a:pt x="1289" y="896"/>
                  </a:lnTo>
                  <a:lnTo>
                    <a:pt x="1287" y="894"/>
                  </a:lnTo>
                  <a:lnTo>
                    <a:pt x="1285" y="894"/>
                  </a:lnTo>
                  <a:lnTo>
                    <a:pt x="1285" y="894"/>
                  </a:lnTo>
                  <a:lnTo>
                    <a:pt x="1285" y="894"/>
                  </a:lnTo>
                  <a:lnTo>
                    <a:pt x="1285" y="894"/>
                  </a:lnTo>
                  <a:lnTo>
                    <a:pt x="1285" y="894"/>
                  </a:lnTo>
                  <a:lnTo>
                    <a:pt x="1283" y="896"/>
                  </a:lnTo>
                  <a:lnTo>
                    <a:pt x="1283" y="896"/>
                  </a:lnTo>
                  <a:lnTo>
                    <a:pt x="1283" y="894"/>
                  </a:lnTo>
                  <a:lnTo>
                    <a:pt x="1283" y="894"/>
                  </a:lnTo>
                  <a:lnTo>
                    <a:pt x="1283" y="892"/>
                  </a:lnTo>
                  <a:lnTo>
                    <a:pt x="1285" y="892"/>
                  </a:lnTo>
                  <a:lnTo>
                    <a:pt x="1285" y="890"/>
                  </a:lnTo>
                  <a:lnTo>
                    <a:pt x="1285" y="890"/>
                  </a:lnTo>
                  <a:lnTo>
                    <a:pt x="1285" y="890"/>
                  </a:lnTo>
                  <a:lnTo>
                    <a:pt x="1285" y="890"/>
                  </a:lnTo>
                  <a:lnTo>
                    <a:pt x="1283" y="890"/>
                  </a:lnTo>
                  <a:lnTo>
                    <a:pt x="1283" y="890"/>
                  </a:lnTo>
                  <a:lnTo>
                    <a:pt x="1281" y="890"/>
                  </a:lnTo>
                  <a:lnTo>
                    <a:pt x="1278" y="890"/>
                  </a:lnTo>
                  <a:lnTo>
                    <a:pt x="1278" y="890"/>
                  </a:lnTo>
                  <a:lnTo>
                    <a:pt x="1278" y="890"/>
                  </a:lnTo>
                  <a:lnTo>
                    <a:pt x="1276" y="892"/>
                  </a:lnTo>
                  <a:lnTo>
                    <a:pt x="1274" y="892"/>
                  </a:lnTo>
                  <a:lnTo>
                    <a:pt x="1270" y="894"/>
                  </a:lnTo>
                  <a:lnTo>
                    <a:pt x="1268" y="894"/>
                  </a:lnTo>
                  <a:lnTo>
                    <a:pt x="1268" y="894"/>
                  </a:lnTo>
                  <a:lnTo>
                    <a:pt x="1266" y="892"/>
                  </a:lnTo>
                  <a:lnTo>
                    <a:pt x="1266" y="892"/>
                  </a:lnTo>
                  <a:lnTo>
                    <a:pt x="1266" y="892"/>
                  </a:lnTo>
                  <a:close/>
                  <a:moveTo>
                    <a:pt x="1289" y="888"/>
                  </a:moveTo>
                  <a:lnTo>
                    <a:pt x="1291" y="888"/>
                  </a:lnTo>
                  <a:lnTo>
                    <a:pt x="1291" y="888"/>
                  </a:lnTo>
                  <a:lnTo>
                    <a:pt x="1289" y="888"/>
                  </a:lnTo>
                  <a:lnTo>
                    <a:pt x="1289" y="888"/>
                  </a:lnTo>
                  <a:lnTo>
                    <a:pt x="1289" y="888"/>
                  </a:lnTo>
                  <a:lnTo>
                    <a:pt x="1289" y="888"/>
                  </a:lnTo>
                  <a:lnTo>
                    <a:pt x="1289" y="888"/>
                  </a:lnTo>
                  <a:lnTo>
                    <a:pt x="1289" y="888"/>
                  </a:lnTo>
                  <a:close/>
                  <a:moveTo>
                    <a:pt x="1289" y="890"/>
                  </a:moveTo>
                  <a:lnTo>
                    <a:pt x="1289" y="890"/>
                  </a:lnTo>
                  <a:lnTo>
                    <a:pt x="1289" y="890"/>
                  </a:lnTo>
                  <a:lnTo>
                    <a:pt x="1287" y="890"/>
                  </a:lnTo>
                  <a:lnTo>
                    <a:pt x="1287" y="890"/>
                  </a:lnTo>
                  <a:lnTo>
                    <a:pt x="1287" y="890"/>
                  </a:lnTo>
                  <a:lnTo>
                    <a:pt x="1287" y="890"/>
                  </a:lnTo>
                  <a:lnTo>
                    <a:pt x="1289" y="890"/>
                  </a:lnTo>
                  <a:close/>
                  <a:moveTo>
                    <a:pt x="1316" y="884"/>
                  </a:moveTo>
                  <a:lnTo>
                    <a:pt x="1316" y="886"/>
                  </a:lnTo>
                  <a:lnTo>
                    <a:pt x="1316" y="886"/>
                  </a:lnTo>
                  <a:lnTo>
                    <a:pt x="1318" y="886"/>
                  </a:lnTo>
                  <a:lnTo>
                    <a:pt x="1318" y="886"/>
                  </a:lnTo>
                  <a:lnTo>
                    <a:pt x="1318" y="886"/>
                  </a:lnTo>
                  <a:lnTo>
                    <a:pt x="1318" y="886"/>
                  </a:lnTo>
                  <a:lnTo>
                    <a:pt x="1318" y="886"/>
                  </a:lnTo>
                  <a:lnTo>
                    <a:pt x="1318" y="886"/>
                  </a:lnTo>
                  <a:lnTo>
                    <a:pt x="1318" y="886"/>
                  </a:lnTo>
                  <a:lnTo>
                    <a:pt x="1318" y="886"/>
                  </a:lnTo>
                  <a:lnTo>
                    <a:pt x="1318" y="888"/>
                  </a:lnTo>
                  <a:lnTo>
                    <a:pt x="1318" y="888"/>
                  </a:lnTo>
                  <a:lnTo>
                    <a:pt x="1318" y="888"/>
                  </a:lnTo>
                  <a:lnTo>
                    <a:pt x="1318" y="888"/>
                  </a:lnTo>
                  <a:lnTo>
                    <a:pt x="1320" y="888"/>
                  </a:lnTo>
                  <a:lnTo>
                    <a:pt x="1320" y="886"/>
                  </a:lnTo>
                  <a:lnTo>
                    <a:pt x="1320" y="886"/>
                  </a:lnTo>
                  <a:lnTo>
                    <a:pt x="1322" y="884"/>
                  </a:lnTo>
                  <a:lnTo>
                    <a:pt x="1324" y="882"/>
                  </a:lnTo>
                  <a:lnTo>
                    <a:pt x="1324" y="882"/>
                  </a:lnTo>
                  <a:lnTo>
                    <a:pt x="1324" y="882"/>
                  </a:lnTo>
                  <a:lnTo>
                    <a:pt x="1324" y="882"/>
                  </a:lnTo>
                  <a:lnTo>
                    <a:pt x="1324" y="882"/>
                  </a:lnTo>
                  <a:lnTo>
                    <a:pt x="1326" y="882"/>
                  </a:lnTo>
                  <a:lnTo>
                    <a:pt x="1328" y="880"/>
                  </a:lnTo>
                  <a:lnTo>
                    <a:pt x="1326" y="880"/>
                  </a:lnTo>
                  <a:lnTo>
                    <a:pt x="1326" y="880"/>
                  </a:lnTo>
                  <a:lnTo>
                    <a:pt x="1324" y="880"/>
                  </a:lnTo>
                  <a:lnTo>
                    <a:pt x="1322" y="880"/>
                  </a:lnTo>
                  <a:lnTo>
                    <a:pt x="1320" y="882"/>
                  </a:lnTo>
                  <a:lnTo>
                    <a:pt x="1318" y="882"/>
                  </a:lnTo>
                  <a:lnTo>
                    <a:pt x="1316" y="884"/>
                  </a:lnTo>
                  <a:lnTo>
                    <a:pt x="1316" y="884"/>
                  </a:lnTo>
                  <a:close/>
                  <a:moveTo>
                    <a:pt x="1324" y="857"/>
                  </a:moveTo>
                  <a:lnTo>
                    <a:pt x="1324" y="857"/>
                  </a:lnTo>
                  <a:lnTo>
                    <a:pt x="1324" y="857"/>
                  </a:lnTo>
                  <a:lnTo>
                    <a:pt x="1324" y="857"/>
                  </a:lnTo>
                  <a:lnTo>
                    <a:pt x="1326" y="857"/>
                  </a:lnTo>
                  <a:lnTo>
                    <a:pt x="1326" y="857"/>
                  </a:lnTo>
                  <a:lnTo>
                    <a:pt x="1326" y="857"/>
                  </a:lnTo>
                  <a:lnTo>
                    <a:pt x="1328" y="857"/>
                  </a:lnTo>
                  <a:lnTo>
                    <a:pt x="1328" y="855"/>
                  </a:lnTo>
                  <a:lnTo>
                    <a:pt x="1328" y="855"/>
                  </a:lnTo>
                  <a:lnTo>
                    <a:pt x="1326" y="855"/>
                  </a:lnTo>
                  <a:lnTo>
                    <a:pt x="1326" y="855"/>
                  </a:lnTo>
                  <a:lnTo>
                    <a:pt x="1324" y="855"/>
                  </a:lnTo>
                  <a:lnTo>
                    <a:pt x="1324" y="855"/>
                  </a:lnTo>
                  <a:lnTo>
                    <a:pt x="1322" y="855"/>
                  </a:lnTo>
                  <a:lnTo>
                    <a:pt x="1324" y="857"/>
                  </a:lnTo>
                  <a:lnTo>
                    <a:pt x="1324" y="857"/>
                  </a:lnTo>
                  <a:close/>
                  <a:moveTo>
                    <a:pt x="1307" y="872"/>
                  </a:moveTo>
                  <a:lnTo>
                    <a:pt x="1307" y="874"/>
                  </a:lnTo>
                  <a:lnTo>
                    <a:pt x="1307" y="874"/>
                  </a:lnTo>
                  <a:lnTo>
                    <a:pt x="1307" y="874"/>
                  </a:lnTo>
                  <a:lnTo>
                    <a:pt x="1309" y="874"/>
                  </a:lnTo>
                  <a:lnTo>
                    <a:pt x="1309" y="874"/>
                  </a:lnTo>
                  <a:lnTo>
                    <a:pt x="1311" y="872"/>
                  </a:lnTo>
                  <a:lnTo>
                    <a:pt x="1311" y="872"/>
                  </a:lnTo>
                  <a:lnTo>
                    <a:pt x="1309" y="872"/>
                  </a:lnTo>
                  <a:lnTo>
                    <a:pt x="1309" y="872"/>
                  </a:lnTo>
                  <a:lnTo>
                    <a:pt x="1311" y="872"/>
                  </a:lnTo>
                  <a:lnTo>
                    <a:pt x="1316" y="869"/>
                  </a:lnTo>
                  <a:lnTo>
                    <a:pt x="1316" y="869"/>
                  </a:lnTo>
                  <a:lnTo>
                    <a:pt x="1316" y="869"/>
                  </a:lnTo>
                  <a:lnTo>
                    <a:pt x="1316" y="869"/>
                  </a:lnTo>
                  <a:lnTo>
                    <a:pt x="1318" y="867"/>
                  </a:lnTo>
                  <a:lnTo>
                    <a:pt x="1318" y="867"/>
                  </a:lnTo>
                  <a:lnTo>
                    <a:pt x="1316" y="867"/>
                  </a:lnTo>
                  <a:lnTo>
                    <a:pt x="1314" y="869"/>
                  </a:lnTo>
                  <a:lnTo>
                    <a:pt x="1307" y="872"/>
                  </a:lnTo>
                  <a:lnTo>
                    <a:pt x="1307" y="872"/>
                  </a:lnTo>
                  <a:lnTo>
                    <a:pt x="1307" y="872"/>
                  </a:lnTo>
                  <a:lnTo>
                    <a:pt x="1307" y="872"/>
                  </a:lnTo>
                  <a:lnTo>
                    <a:pt x="1307" y="872"/>
                  </a:lnTo>
                  <a:close/>
                  <a:moveTo>
                    <a:pt x="1287" y="890"/>
                  </a:moveTo>
                  <a:lnTo>
                    <a:pt x="1285" y="892"/>
                  </a:lnTo>
                  <a:lnTo>
                    <a:pt x="1285" y="892"/>
                  </a:lnTo>
                  <a:lnTo>
                    <a:pt x="1285" y="892"/>
                  </a:lnTo>
                  <a:lnTo>
                    <a:pt x="1285" y="892"/>
                  </a:lnTo>
                  <a:lnTo>
                    <a:pt x="1285" y="892"/>
                  </a:lnTo>
                  <a:lnTo>
                    <a:pt x="1287" y="892"/>
                  </a:lnTo>
                  <a:lnTo>
                    <a:pt x="1287" y="892"/>
                  </a:lnTo>
                  <a:lnTo>
                    <a:pt x="1287" y="892"/>
                  </a:lnTo>
                  <a:lnTo>
                    <a:pt x="1287" y="890"/>
                  </a:lnTo>
                  <a:lnTo>
                    <a:pt x="1287" y="890"/>
                  </a:lnTo>
                  <a:lnTo>
                    <a:pt x="1287" y="890"/>
                  </a:lnTo>
                  <a:close/>
                  <a:moveTo>
                    <a:pt x="1377" y="900"/>
                  </a:moveTo>
                  <a:lnTo>
                    <a:pt x="1377" y="900"/>
                  </a:lnTo>
                  <a:lnTo>
                    <a:pt x="1377" y="900"/>
                  </a:lnTo>
                  <a:lnTo>
                    <a:pt x="1377" y="900"/>
                  </a:lnTo>
                  <a:lnTo>
                    <a:pt x="1377" y="902"/>
                  </a:lnTo>
                  <a:lnTo>
                    <a:pt x="1380" y="902"/>
                  </a:lnTo>
                  <a:lnTo>
                    <a:pt x="1380" y="902"/>
                  </a:lnTo>
                  <a:lnTo>
                    <a:pt x="1380" y="900"/>
                  </a:lnTo>
                  <a:lnTo>
                    <a:pt x="1377" y="900"/>
                  </a:lnTo>
                  <a:lnTo>
                    <a:pt x="1377" y="900"/>
                  </a:lnTo>
                  <a:close/>
                  <a:moveTo>
                    <a:pt x="2015" y="1790"/>
                  </a:moveTo>
                  <a:lnTo>
                    <a:pt x="2015" y="1790"/>
                  </a:lnTo>
                  <a:lnTo>
                    <a:pt x="2013" y="1792"/>
                  </a:lnTo>
                  <a:lnTo>
                    <a:pt x="2013" y="1792"/>
                  </a:lnTo>
                  <a:lnTo>
                    <a:pt x="2015" y="1792"/>
                  </a:lnTo>
                  <a:lnTo>
                    <a:pt x="2017" y="1790"/>
                  </a:lnTo>
                  <a:lnTo>
                    <a:pt x="2017" y="1790"/>
                  </a:lnTo>
                  <a:lnTo>
                    <a:pt x="2017" y="1790"/>
                  </a:lnTo>
                  <a:lnTo>
                    <a:pt x="2015" y="1790"/>
                  </a:lnTo>
                  <a:close/>
                  <a:moveTo>
                    <a:pt x="1922" y="1949"/>
                  </a:moveTo>
                  <a:lnTo>
                    <a:pt x="1920" y="1947"/>
                  </a:lnTo>
                  <a:lnTo>
                    <a:pt x="1918" y="1951"/>
                  </a:lnTo>
                  <a:lnTo>
                    <a:pt x="1920" y="1951"/>
                  </a:lnTo>
                  <a:lnTo>
                    <a:pt x="1920" y="1951"/>
                  </a:lnTo>
                  <a:lnTo>
                    <a:pt x="1922" y="1951"/>
                  </a:lnTo>
                  <a:lnTo>
                    <a:pt x="1922" y="1951"/>
                  </a:lnTo>
                  <a:lnTo>
                    <a:pt x="1922" y="1949"/>
                  </a:lnTo>
                  <a:lnTo>
                    <a:pt x="1922" y="1949"/>
                  </a:lnTo>
                  <a:lnTo>
                    <a:pt x="1922" y="1949"/>
                  </a:lnTo>
                  <a:lnTo>
                    <a:pt x="1922" y="1949"/>
                  </a:lnTo>
                  <a:close/>
                  <a:moveTo>
                    <a:pt x="1936" y="1939"/>
                  </a:moveTo>
                  <a:lnTo>
                    <a:pt x="1936" y="1939"/>
                  </a:lnTo>
                  <a:lnTo>
                    <a:pt x="1936" y="1939"/>
                  </a:lnTo>
                  <a:lnTo>
                    <a:pt x="1934" y="1939"/>
                  </a:lnTo>
                  <a:lnTo>
                    <a:pt x="1934" y="1939"/>
                  </a:lnTo>
                  <a:lnTo>
                    <a:pt x="1934" y="1941"/>
                  </a:lnTo>
                  <a:lnTo>
                    <a:pt x="1936" y="1941"/>
                  </a:lnTo>
                  <a:lnTo>
                    <a:pt x="1936" y="1939"/>
                  </a:lnTo>
                  <a:lnTo>
                    <a:pt x="1938" y="1939"/>
                  </a:lnTo>
                  <a:lnTo>
                    <a:pt x="1936" y="1939"/>
                  </a:lnTo>
                  <a:lnTo>
                    <a:pt x="1936" y="1939"/>
                  </a:lnTo>
                  <a:close/>
                  <a:moveTo>
                    <a:pt x="2054" y="2468"/>
                  </a:moveTo>
                  <a:lnTo>
                    <a:pt x="2054" y="2466"/>
                  </a:lnTo>
                  <a:lnTo>
                    <a:pt x="2054" y="2466"/>
                  </a:lnTo>
                  <a:lnTo>
                    <a:pt x="2052" y="2466"/>
                  </a:lnTo>
                  <a:lnTo>
                    <a:pt x="2052" y="2466"/>
                  </a:lnTo>
                  <a:lnTo>
                    <a:pt x="2052" y="2464"/>
                  </a:lnTo>
                  <a:lnTo>
                    <a:pt x="2050" y="2461"/>
                  </a:lnTo>
                  <a:lnTo>
                    <a:pt x="2050" y="2461"/>
                  </a:lnTo>
                  <a:lnTo>
                    <a:pt x="2050" y="2459"/>
                  </a:lnTo>
                  <a:lnTo>
                    <a:pt x="2048" y="2459"/>
                  </a:lnTo>
                  <a:lnTo>
                    <a:pt x="2048" y="2459"/>
                  </a:lnTo>
                  <a:lnTo>
                    <a:pt x="2048" y="2461"/>
                  </a:lnTo>
                  <a:lnTo>
                    <a:pt x="2048" y="2461"/>
                  </a:lnTo>
                  <a:lnTo>
                    <a:pt x="2046" y="2459"/>
                  </a:lnTo>
                  <a:lnTo>
                    <a:pt x="2043" y="2459"/>
                  </a:lnTo>
                  <a:lnTo>
                    <a:pt x="2043" y="2457"/>
                  </a:lnTo>
                  <a:lnTo>
                    <a:pt x="2043" y="2457"/>
                  </a:lnTo>
                  <a:lnTo>
                    <a:pt x="2041" y="2457"/>
                  </a:lnTo>
                  <a:lnTo>
                    <a:pt x="2041" y="2457"/>
                  </a:lnTo>
                  <a:lnTo>
                    <a:pt x="2041" y="2455"/>
                  </a:lnTo>
                  <a:lnTo>
                    <a:pt x="2039" y="2455"/>
                  </a:lnTo>
                  <a:lnTo>
                    <a:pt x="2039" y="2457"/>
                  </a:lnTo>
                  <a:lnTo>
                    <a:pt x="2037" y="2455"/>
                  </a:lnTo>
                  <a:lnTo>
                    <a:pt x="2035" y="2455"/>
                  </a:lnTo>
                  <a:lnTo>
                    <a:pt x="2033" y="2455"/>
                  </a:lnTo>
                  <a:lnTo>
                    <a:pt x="2033" y="2455"/>
                  </a:lnTo>
                  <a:lnTo>
                    <a:pt x="2031" y="2455"/>
                  </a:lnTo>
                  <a:lnTo>
                    <a:pt x="2025" y="2455"/>
                  </a:lnTo>
                  <a:lnTo>
                    <a:pt x="2025" y="2455"/>
                  </a:lnTo>
                  <a:lnTo>
                    <a:pt x="2025" y="2455"/>
                  </a:lnTo>
                  <a:lnTo>
                    <a:pt x="2029" y="2455"/>
                  </a:lnTo>
                  <a:lnTo>
                    <a:pt x="2029" y="2455"/>
                  </a:lnTo>
                  <a:lnTo>
                    <a:pt x="2029" y="2457"/>
                  </a:lnTo>
                  <a:lnTo>
                    <a:pt x="2029" y="2457"/>
                  </a:lnTo>
                  <a:lnTo>
                    <a:pt x="2031" y="2457"/>
                  </a:lnTo>
                  <a:lnTo>
                    <a:pt x="2037" y="2459"/>
                  </a:lnTo>
                  <a:lnTo>
                    <a:pt x="2037" y="2461"/>
                  </a:lnTo>
                  <a:lnTo>
                    <a:pt x="2039" y="2461"/>
                  </a:lnTo>
                  <a:lnTo>
                    <a:pt x="2041" y="2461"/>
                  </a:lnTo>
                  <a:lnTo>
                    <a:pt x="2041" y="2461"/>
                  </a:lnTo>
                  <a:lnTo>
                    <a:pt x="2041" y="2464"/>
                  </a:lnTo>
                  <a:lnTo>
                    <a:pt x="2043" y="2464"/>
                  </a:lnTo>
                  <a:lnTo>
                    <a:pt x="2043" y="2464"/>
                  </a:lnTo>
                  <a:lnTo>
                    <a:pt x="2046" y="2466"/>
                  </a:lnTo>
                  <a:lnTo>
                    <a:pt x="2046" y="2466"/>
                  </a:lnTo>
                  <a:lnTo>
                    <a:pt x="2048" y="2466"/>
                  </a:lnTo>
                  <a:lnTo>
                    <a:pt x="2048" y="2468"/>
                  </a:lnTo>
                  <a:lnTo>
                    <a:pt x="2050" y="2470"/>
                  </a:lnTo>
                  <a:lnTo>
                    <a:pt x="2052" y="2472"/>
                  </a:lnTo>
                  <a:lnTo>
                    <a:pt x="2052" y="2472"/>
                  </a:lnTo>
                  <a:lnTo>
                    <a:pt x="2054" y="2472"/>
                  </a:lnTo>
                  <a:lnTo>
                    <a:pt x="2056" y="2470"/>
                  </a:lnTo>
                  <a:lnTo>
                    <a:pt x="2056" y="2470"/>
                  </a:lnTo>
                  <a:lnTo>
                    <a:pt x="2054" y="2468"/>
                  </a:lnTo>
                  <a:lnTo>
                    <a:pt x="2054" y="2468"/>
                  </a:lnTo>
                  <a:close/>
                  <a:moveTo>
                    <a:pt x="1794" y="878"/>
                  </a:moveTo>
                  <a:lnTo>
                    <a:pt x="1794" y="878"/>
                  </a:lnTo>
                  <a:lnTo>
                    <a:pt x="1794" y="878"/>
                  </a:lnTo>
                  <a:lnTo>
                    <a:pt x="1794" y="878"/>
                  </a:lnTo>
                  <a:lnTo>
                    <a:pt x="1794" y="880"/>
                  </a:lnTo>
                  <a:lnTo>
                    <a:pt x="1792" y="880"/>
                  </a:lnTo>
                  <a:lnTo>
                    <a:pt x="1792" y="880"/>
                  </a:lnTo>
                  <a:lnTo>
                    <a:pt x="1792" y="882"/>
                  </a:lnTo>
                  <a:lnTo>
                    <a:pt x="1792" y="882"/>
                  </a:lnTo>
                  <a:lnTo>
                    <a:pt x="1794" y="880"/>
                  </a:lnTo>
                  <a:lnTo>
                    <a:pt x="1794" y="878"/>
                  </a:lnTo>
                  <a:lnTo>
                    <a:pt x="1794" y="878"/>
                  </a:lnTo>
                  <a:close/>
                  <a:moveTo>
                    <a:pt x="1740" y="2408"/>
                  </a:moveTo>
                  <a:lnTo>
                    <a:pt x="1740" y="2408"/>
                  </a:lnTo>
                  <a:lnTo>
                    <a:pt x="1742" y="2408"/>
                  </a:lnTo>
                  <a:lnTo>
                    <a:pt x="1740" y="2406"/>
                  </a:lnTo>
                  <a:lnTo>
                    <a:pt x="1740" y="2406"/>
                  </a:lnTo>
                  <a:lnTo>
                    <a:pt x="1736" y="2406"/>
                  </a:lnTo>
                  <a:lnTo>
                    <a:pt x="1736" y="2406"/>
                  </a:lnTo>
                  <a:lnTo>
                    <a:pt x="1736" y="2406"/>
                  </a:lnTo>
                  <a:lnTo>
                    <a:pt x="1736" y="2408"/>
                  </a:lnTo>
                  <a:lnTo>
                    <a:pt x="1736" y="2408"/>
                  </a:lnTo>
                  <a:lnTo>
                    <a:pt x="1736" y="2408"/>
                  </a:lnTo>
                  <a:lnTo>
                    <a:pt x="1736" y="2408"/>
                  </a:lnTo>
                  <a:lnTo>
                    <a:pt x="1732" y="2408"/>
                  </a:lnTo>
                  <a:lnTo>
                    <a:pt x="1732" y="2406"/>
                  </a:lnTo>
                  <a:lnTo>
                    <a:pt x="1732" y="2406"/>
                  </a:lnTo>
                  <a:lnTo>
                    <a:pt x="1732" y="2406"/>
                  </a:lnTo>
                  <a:lnTo>
                    <a:pt x="1734" y="2406"/>
                  </a:lnTo>
                  <a:lnTo>
                    <a:pt x="1734" y="2404"/>
                  </a:lnTo>
                  <a:lnTo>
                    <a:pt x="1734" y="2404"/>
                  </a:lnTo>
                  <a:lnTo>
                    <a:pt x="1732" y="2404"/>
                  </a:lnTo>
                  <a:lnTo>
                    <a:pt x="1730" y="2404"/>
                  </a:lnTo>
                  <a:lnTo>
                    <a:pt x="1728" y="2404"/>
                  </a:lnTo>
                  <a:lnTo>
                    <a:pt x="1726" y="2404"/>
                  </a:lnTo>
                  <a:lnTo>
                    <a:pt x="1726" y="2404"/>
                  </a:lnTo>
                  <a:lnTo>
                    <a:pt x="1724" y="2408"/>
                  </a:lnTo>
                  <a:lnTo>
                    <a:pt x="1724" y="2408"/>
                  </a:lnTo>
                  <a:lnTo>
                    <a:pt x="1724" y="2410"/>
                  </a:lnTo>
                  <a:lnTo>
                    <a:pt x="1724" y="2410"/>
                  </a:lnTo>
                  <a:lnTo>
                    <a:pt x="1724" y="2410"/>
                  </a:lnTo>
                  <a:lnTo>
                    <a:pt x="1722" y="2412"/>
                  </a:lnTo>
                  <a:lnTo>
                    <a:pt x="1722" y="2412"/>
                  </a:lnTo>
                  <a:lnTo>
                    <a:pt x="1720" y="2412"/>
                  </a:lnTo>
                  <a:lnTo>
                    <a:pt x="1718" y="2414"/>
                  </a:lnTo>
                  <a:lnTo>
                    <a:pt x="1718" y="2416"/>
                  </a:lnTo>
                  <a:lnTo>
                    <a:pt x="1716" y="2418"/>
                  </a:lnTo>
                  <a:lnTo>
                    <a:pt x="1716" y="2418"/>
                  </a:lnTo>
                  <a:lnTo>
                    <a:pt x="1718" y="2420"/>
                  </a:lnTo>
                  <a:lnTo>
                    <a:pt x="1720" y="2422"/>
                  </a:lnTo>
                  <a:lnTo>
                    <a:pt x="1720" y="2420"/>
                  </a:lnTo>
                  <a:lnTo>
                    <a:pt x="1722" y="2420"/>
                  </a:lnTo>
                  <a:lnTo>
                    <a:pt x="1722" y="2420"/>
                  </a:lnTo>
                  <a:lnTo>
                    <a:pt x="1724" y="2420"/>
                  </a:lnTo>
                  <a:lnTo>
                    <a:pt x="1722" y="2416"/>
                  </a:lnTo>
                  <a:lnTo>
                    <a:pt x="1724" y="2416"/>
                  </a:lnTo>
                  <a:lnTo>
                    <a:pt x="1730" y="2418"/>
                  </a:lnTo>
                  <a:lnTo>
                    <a:pt x="1730" y="2416"/>
                  </a:lnTo>
                  <a:lnTo>
                    <a:pt x="1730" y="2416"/>
                  </a:lnTo>
                  <a:lnTo>
                    <a:pt x="1730" y="2416"/>
                  </a:lnTo>
                  <a:lnTo>
                    <a:pt x="1734" y="2414"/>
                  </a:lnTo>
                  <a:lnTo>
                    <a:pt x="1736" y="2414"/>
                  </a:lnTo>
                  <a:lnTo>
                    <a:pt x="1736" y="2412"/>
                  </a:lnTo>
                  <a:lnTo>
                    <a:pt x="1740" y="2412"/>
                  </a:lnTo>
                  <a:lnTo>
                    <a:pt x="1742" y="2410"/>
                  </a:lnTo>
                  <a:lnTo>
                    <a:pt x="1742" y="2410"/>
                  </a:lnTo>
                  <a:lnTo>
                    <a:pt x="1742" y="2410"/>
                  </a:lnTo>
                  <a:lnTo>
                    <a:pt x="1740" y="2410"/>
                  </a:lnTo>
                  <a:lnTo>
                    <a:pt x="1740" y="2408"/>
                  </a:lnTo>
                  <a:close/>
                  <a:moveTo>
                    <a:pt x="1375" y="909"/>
                  </a:moveTo>
                  <a:lnTo>
                    <a:pt x="1373" y="909"/>
                  </a:lnTo>
                  <a:lnTo>
                    <a:pt x="1373" y="909"/>
                  </a:lnTo>
                  <a:lnTo>
                    <a:pt x="1373" y="909"/>
                  </a:lnTo>
                  <a:lnTo>
                    <a:pt x="1373" y="911"/>
                  </a:lnTo>
                  <a:lnTo>
                    <a:pt x="1373" y="911"/>
                  </a:lnTo>
                  <a:lnTo>
                    <a:pt x="1375" y="911"/>
                  </a:lnTo>
                  <a:lnTo>
                    <a:pt x="1375" y="911"/>
                  </a:lnTo>
                  <a:lnTo>
                    <a:pt x="1375" y="911"/>
                  </a:lnTo>
                  <a:lnTo>
                    <a:pt x="1375" y="911"/>
                  </a:lnTo>
                  <a:lnTo>
                    <a:pt x="1375" y="909"/>
                  </a:lnTo>
                  <a:close/>
                  <a:moveTo>
                    <a:pt x="1874" y="2005"/>
                  </a:moveTo>
                  <a:lnTo>
                    <a:pt x="1874" y="2005"/>
                  </a:lnTo>
                  <a:lnTo>
                    <a:pt x="1874" y="2007"/>
                  </a:lnTo>
                  <a:lnTo>
                    <a:pt x="1874" y="2009"/>
                  </a:lnTo>
                  <a:lnTo>
                    <a:pt x="1874" y="2009"/>
                  </a:lnTo>
                  <a:lnTo>
                    <a:pt x="1874" y="2009"/>
                  </a:lnTo>
                  <a:lnTo>
                    <a:pt x="1876" y="2007"/>
                  </a:lnTo>
                  <a:lnTo>
                    <a:pt x="1876" y="2005"/>
                  </a:lnTo>
                  <a:lnTo>
                    <a:pt x="1876" y="2003"/>
                  </a:lnTo>
                  <a:lnTo>
                    <a:pt x="1874" y="2005"/>
                  </a:lnTo>
                  <a:close/>
                  <a:moveTo>
                    <a:pt x="1452" y="958"/>
                  </a:moveTo>
                  <a:lnTo>
                    <a:pt x="1452" y="958"/>
                  </a:lnTo>
                  <a:lnTo>
                    <a:pt x="1452" y="958"/>
                  </a:lnTo>
                  <a:lnTo>
                    <a:pt x="1452" y="958"/>
                  </a:lnTo>
                  <a:lnTo>
                    <a:pt x="1452" y="958"/>
                  </a:lnTo>
                  <a:lnTo>
                    <a:pt x="1452" y="958"/>
                  </a:lnTo>
                  <a:lnTo>
                    <a:pt x="1452" y="958"/>
                  </a:lnTo>
                  <a:lnTo>
                    <a:pt x="1452" y="958"/>
                  </a:lnTo>
                  <a:lnTo>
                    <a:pt x="1452" y="958"/>
                  </a:lnTo>
                  <a:lnTo>
                    <a:pt x="1452" y="958"/>
                  </a:lnTo>
                  <a:close/>
                  <a:moveTo>
                    <a:pt x="1732" y="2416"/>
                  </a:moveTo>
                  <a:lnTo>
                    <a:pt x="1732" y="2416"/>
                  </a:lnTo>
                  <a:lnTo>
                    <a:pt x="1732" y="2416"/>
                  </a:lnTo>
                  <a:lnTo>
                    <a:pt x="1732" y="2418"/>
                  </a:lnTo>
                  <a:lnTo>
                    <a:pt x="1734" y="2418"/>
                  </a:lnTo>
                  <a:lnTo>
                    <a:pt x="1732" y="2416"/>
                  </a:lnTo>
                  <a:lnTo>
                    <a:pt x="1732" y="2416"/>
                  </a:lnTo>
                  <a:close/>
                  <a:moveTo>
                    <a:pt x="1353" y="921"/>
                  </a:moveTo>
                  <a:lnTo>
                    <a:pt x="1351" y="921"/>
                  </a:lnTo>
                  <a:lnTo>
                    <a:pt x="1351" y="921"/>
                  </a:lnTo>
                  <a:lnTo>
                    <a:pt x="1351" y="921"/>
                  </a:lnTo>
                  <a:lnTo>
                    <a:pt x="1353" y="923"/>
                  </a:lnTo>
                  <a:lnTo>
                    <a:pt x="1353" y="923"/>
                  </a:lnTo>
                  <a:lnTo>
                    <a:pt x="1353" y="921"/>
                  </a:lnTo>
                  <a:lnTo>
                    <a:pt x="1353" y="921"/>
                  </a:lnTo>
                  <a:lnTo>
                    <a:pt x="1353" y="921"/>
                  </a:lnTo>
                  <a:close/>
                  <a:moveTo>
                    <a:pt x="1714" y="2418"/>
                  </a:moveTo>
                  <a:lnTo>
                    <a:pt x="1714" y="2420"/>
                  </a:lnTo>
                  <a:lnTo>
                    <a:pt x="1714" y="2420"/>
                  </a:lnTo>
                  <a:lnTo>
                    <a:pt x="1714" y="2420"/>
                  </a:lnTo>
                  <a:lnTo>
                    <a:pt x="1714" y="2420"/>
                  </a:lnTo>
                  <a:lnTo>
                    <a:pt x="1716" y="2420"/>
                  </a:lnTo>
                  <a:lnTo>
                    <a:pt x="1716" y="2420"/>
                  </a:lnTo>
                  <a:lnTo>
                    <a:pt x="1714" y="2418"/>
                  </a:lnTo>
                  <a:lnTo>
                    <a:pt x="1714" y="2418"/>
                  </a:lnTo>
                  <a:close/>
                  <a:moveTo>
                    <a:pt x="1359" y="911"/>
                  </a:moveTo>
                  <a:lnTo>
                    <a:pt x="1359" y="911"/>
                  </a:lnTo>
                  <a:lnTo>
                    <a:pt x="1357" y="913"/>
                  </a:lnTo>
                  <a:lnTo>
                    <a:pt x="1357" y="913"/>
                  </a:lnTo>
                  <a:lnTo>
                    <a:pt x="1359" y="913"/>
                  </a:lnTo>
                  <a:lnTo>
                    <a:pt x="1359" y="913"/>
                  </a:lnTo>
                  <a:lnTo>
                    <a:pt x="1359" y="913"/>
                  </a:lnTo>
                  <a:lnTo>
                    <a:pt x="1359" y="913"/>
                  </a:lnTo>
                  <a:lnTo>
                    <a:pt x="1359" y="911"/>
                  </a:lnTo>
                  <a:lnTo>
                    <a:pt x="1359" y="911"/>
                  </a:lnTo>
                  <a:lnTo>
                    <a:pt x="1359" y="911"/>
                  </a:lnTo>
                  <a:close/>
                  <a:moveTo>
                    <a:pt x="1338" y="919"/>
                  </a:moveTo>
                  <a:lnTo>
                    <a:pt x="1336" y="919"/>
                  </a:lnTo>
                  <a:lnTo>
                    <a:pt x="1336" y="919"/>
                  </a:lnTo>
                  <a:lnTo>
                    <a:pt x="1336" y="921"/>
                  </a:lnTo>
                  <a:lnTo>
                    <a:pt x="1334" y="921"/>
                  </a:lnTo>
                  <a:lnTo>
                    <a:pt x="1334" y="921"/>
                  </a:lnTo>
                  <a:lnTo>
                    <a:pt x="1334" y="923"/>
                  </a:lnTo>
                  <a:lnTo>
                    <a:pt x="1334" y="923"/>
                  </a:lnTo>
                  <a:lnTo>
                    <a:pt x="1332" y="925"/>
                  </a:lnTo>
                  <a:lnTo>
                    <a:pt x="1332" y="925"/>
                  </a:lnTo>
                  <a:lnTo>
                    <a:pt x="1332" y="925"/>
                  </a:lnTo>
                  <a:lnTo>
                    <a:pt x="1332" y="925"/>
                  </a:lnTo>
                  <a:lnTo>
                    <a:pt x="1332" y="927"/>
                  </a:lnTo>
                  <a:lnTo>
                    <a:pt x="1334" y="927"/>
                  </a:lnTo>
                  <a:lnTo>
                    <a:pt x="1334" y="927"/>
                  </a:lnTo>
                  <a:lnTo>
                    <a:pt x="1336" y="925"/>
                  </a:lnTo>
                  <a:lnTo>
                    <a:pt x="1336" y="925"/>
                  </a:lnTo>
                  <a:lnTo>
                    <a:pt x="1336" y="925"/>
                  </a:lnTo>
                  <a:lnTo>
                    <a:pt x="1336" y="923"/>
                  </a:lnTo>
                  <a:lnTo>
                    <a:pt x="1336" y="923"/>
                  </a:lnTo>
                  <a:lnTo>
                    <a:pt x="1336" y="923"/>
                  </a:lnTo>
                  <a:lnTo>
                    <a:pt x="1336" y="923"/>
                  </a:lnTo>
                  <a:lnTo>
                    <a:pt x="1336" y="923"/>
                  </a:lnTo>
                  <a:lnTo>
                    <a:pt x="1336" y="921"/>
                  </a:lnTo>
                  <a:lnTo>
                    <a:pt x="1336" y="921"/>
                  </a:lnTo>
                  <a:lnTo>
                    <a:pt x="1336" y="921"/>
                  </a:lnTo>
                  <a:lnTo>
                    <a:pt x="1336" y="921"/>
                  </a:lnTo>
                  <a:lnTo>
                    <a:pt x="1336" y="921"/>
                  </a:lnTo>
                  <a:lnTo>
                    <a:pt x="1338" y="921"/>
                  </a:lnTo>
                  <a:lnTo>
                    <a:pt x="1338" y="919"/>
                  </a:lnTo>
                  <a:lnTo>
                    <a:pt x="1338" y="919"/>
                  </a:lnTo>
                  <a:lnTo>
                    <a:pt x="1338" y="919"/>
                  </a:lnTo>
                  <a:lnTo>
                    <a:pt x="1338" y="919"/>
                  </a:lnTo>
                  <a:lnTo>
                    <a:pt x="1338" y="919"/>
                  </a:lnTo>
                  <a:lnTo>
                    <a:pt x="1338" y="919"/>
                  </a:lnTo>
                  <a:lnTo>
                    <a:pt x="1338" y="919"/>
                  </a:lnTo>
                  <a:close/>
                  <a:moveTo>
                    <a:pt x="1491" y="936"/>
                  </a:moveTo>
                  <a:lnTo>
                    <a:pt x="1493" y="936"/>
                  </a:lnTo>
                  <a:lnTo>
                    <a:pt x="1493" y="936"/>
                  </a:lnTo>
                  <a:lnTo>
                    <a:pt x="1491" y="936"/>
                  </a:lnTo>
                  <a:lnTo>
                    <a:pt x="1491" y="936"/>
                  </a:lnTo>
                  <a:lnTo>
                    <a:pt x="1491" y="936"/>
                  </a:lnTo>
                  <a:lnTo>
                    <a:pt x="1491" y="936"/>
                  </a:lnTo>
                  <a:lnTo>
                    <a:pt x="1491" y="936"/>
                  </a:lnTo>
                  <a:close/>
                  <a:moveTo>
                    <a:pt x="1491" y="942"/>
                  </a:moveTo>
                  <a:lnTo>
                    <a:pt x="1491" y="942"/>
                  </a:lnTo>
                  <a:lnTo>
                    <a:pt x="1489" y="942"/>
                  </a:lnTo>
                  <a:lnTo>
                    <a:pt x="1489" y="942"/>
                  </a:lnTo>
                  <a:lnTo>
                    <a:pt x="1489" y="942"/>
                  </a:lnTo>
                  <a:lnTo>
                    <a:pt x="1489" y="942"/>
                  </a:lnTo>
                  <a:lnTo>
                    <a:pt x="1491" y="942"/>
                  </a:lnTo>
                  <a:close/>
                  <a:moveTo>
                    <a:pt x="1400" y="979"/>
                  </a:moveTo>
                  <a:lnTo>
                    <a:pt x="1398" y="979"/>
                  </a:lnTo>
                  <a:lnTo>
                    <a:pt x="1398" y="979"/>
                  </a:lnTo>
                  <a:lnTo>
                    <a:pt x="1398" y="981"/>
                  </a:lnTo>
                  <a:lnTo>
                    <a:pt x="1400" y="979"/>
                  </a:lnTo>
                  <a:lnTo>
                    <a:pt x="1400" y="979"/>
                  </a:lnTo>
                  <a:lnTo>
                    <a:pt x="1400" y="979"/>
                  </a:lnTo>
                  <a:lnTo>
                    <a:pt x="1400" y="979"/>
                  </a:lnTo>
                  <a:close/>
                  <a:moveTo>
                    <a:pt x="1487" y="940"/>
                  </a:moveTo>
                  <a:lnTo>
                    <a:pt x="1487" y="940"/>
                  </a:lnTo>
                  <a:lnTo>
                    <a:pt x="1487" y="940"/>
                  </a:lnTo>
                  <a:lnTo>
                    <a:pt x="1487" y="940"/>
                  </a:lnTo>
                  <a:lnTo>
                    <a:pt x="1489" y="938"/>
                  </a:lnTo>
                  <a:lnTo>
                    <a:pt x="1489" y="938"/>
                  </a:lnTo>
                  <a:lnTo>
                    <a:pt x="1489" y="938"/>
                  </a:lnTo>
                  <a:lnTo>
                    <a:pt x="1491" y="938"/>
                  </a:lnTo>
                  <a:lnTo>
                    <a:pt x="1491" y="938"/>
                  </a:lnTo>
                  <a:lnTo>
                    <a:pt x="1489" y="938"/>
                  </a:lnTo>
                  <a:lnTo>
                    <a:pt x="1489" y="938"/>
                  </a:lnTo>
                  <a:lnTo>
                    <a:pt x="1487" y="938"/>
                  </a:lnTo>
                  <a:lnTo>
                    <a:pt x="1487" y="938"/>
                  </a:lnTo>
                  <a:lnTo>
                    <a:pt x="1487" y="938"/>
                  </a:lnTo>
                  <a:lnTo>
                    <a:pt x="1487" y="938"/>
                  </a:lnTo>
                  <a:lnTo>
                    <a:pt x="1487" y="938"/>
                  </a:lnTo>
                  <a:lnTo>
                    <a:pt x="1487" y="940"/>
                  </a:lnTo>
                  <a:close/>
                  <a:moveTo>
                    <a:pt x="1483" y="940"/>
                  </a:moveTo>
                  <a:lnTo>
                    <a:pt x="1483" y="940"/>
                  </a:lnTo>
                  <a:lnTo>
                    <a:pt x="1485" y="938"/>
                  </a:lnTo>
                  <a:lnTo>
                    <a:pt x="1485" y="938"/>
                  </a:lnTo>
                  <a:lnTo>
                    <a:pt x="1483" y="938"/>
                  </a:lnTo>
                  <a:lnTo>
                    <a:pt x="1483" y="938"/>
                  </a:lnTo>
                  <a:lnTo>
                    <a:pt x="1483" y="940"/>
                  </a:lnTo>
                  <a:lnTo>
                    <a:pt x="1483" y="940"/>
                  </a:lnTo>
                  <a:lnTo>
                    <a:pt x="1483" y="940"/>
                  </a:lnTo>
                  <a:close/>
                  <a:moveTo>
                    <a:pt x="1340" y="917"/>
                  </a:moveTo>
                  <a:lnTo>
                    <a:pt x="1338" y="917"/>
                  </a:lnTo>
                  <a:lnTo>
                    <a:pt x="1338" y="917"/>
                  </a:lnTo>
                  <a:lnTo>
                    <a:pt x="1338" y="917"/>
                  </a:lnTo>
                  <a:lnTo>
                    <a:pt x="1338" y="917"/>
                  </a:lnTo>
                  <a:lnTo>
                    <a:pt x="1340" y="917"/>
                  </a:lnTo>
                  <a:lnTo>
                    <a:pt x="1340" y="917"/>
                  </a:lnTo>
                  <a:lnTo>
                    <a:pt x="1340" y="917"/>
                  </a:lnTo>
                  <a:lnTo>
                    <a:pt x="1340" y="917"/>
                  </a:lnTo>
                  <a:lnTo>
                    <a:pt x="1340" y="917"/>
                  </a:lnTo>
                  <a:close/>
                  <a:moveTo>
                    <a:pt x="272" y="667"/>
                  </a:moveTo>
                  <a:lnTo>
                    <a:pt x="274" y="663"/>
                  </a:lnTo>
                  <a:lnTo>
                    <a:pt x="274" y="663"/>
                  </a:lnTo>
                  <a:lnTo>
                    <a:pt x="270" y="663"/>
                  </a:lnTo>
                  <a:lnTo>
                    <a:pt x="270" y="665"/>
                  </a:lnTo>
                  <a:lnTo>
                    <a:pt x="268" y="665"/>
                  </a:lnTo>
                  <a:lnTo>
                    <a:pt x="270" y="667"/>
                  </a:lnTo>
                  <a:lnTo>
                    <a:pt x="270" y="667"/>
                  </a:lnTo>
                  <a:lnTo>
                    <a:pt x="272" y="667"/>
                  </a:lnTo>
                  <a:close/>
                  <a:moveTo>
                    <a:pt x="814" y="884"/>
                  </a:moveTo>
                  <a:lnTo>
                    <a:pt x="814" y="886"/>
                  </a:lnTo>
                  <a:lnTo>
                    <a:pt x="814" y="886"/>
                  </a:lnTo>
                  <a:lnTo>
                    <a:pt x="814" y="884"/>
                  </a:lnTo>
                  <a:lnTo>
                    <a:pt x="814" y="884"/>
                  </a:lnTo>
                  <a:lnTo>
                    <a:pt x="814" y="884"/>
                  </a:lnTo>
                  <a:lnTo>
                    <a:pt x="814" y="884"/>
                  </a:lnTo>
                  <a:lnTo>
                    <a:pt x="814" y="884"/>
                  </a:lnTo>
                  <a:close/>
                  <a:moveTo>
                    <a:pt x="202" y="496"/>
                  </a:moveTo>
                  <a:lnTo>
                    <a:pt x="202" y="496"/>
                  </a:lnTo>
                  <a:lnTo>
                    <a:pt x="200" y="498"/>
                  </a:lnTo>
                  <a:lnTo>
                    <a:pt x="198" y="498"/>
                  </a:lnTo>
                  <a:lnTo>
                    <a:pt x="198" y="498"/>
                  </a:lnTo>
                  <a:lnTo>
                    <a:pt x="198" y="498"/>
                  </a:lnTo>
                  <a:lnTo>
                    <a:pt x="200" y="498"/>
                  </a:lnTo>
                  <a:lnTo>
                    <a:pt x="202" y="496"/>
                  </a:lnTo>
                  <a:close/>
                  <a:moveTo>
                    <a:pt x="1237" y="597"/>
                  </a:moveTo>
                  <a:lnTo>
                    <a:pt x="1237" y="597"/>
                  </a:lnTo>
                  <a:lnTo>
                    <a:pt x="1239" y="597"/>
                  </a:lnTo>
                  <a:lnTo>
                    <a:pt x="1239" y="597"/>
                  </a:lnTo>
                  <a:lnTo>
                    <a:pt x="1241" y="597"/>
                  </a:lnTo>
                  <a:lnTo>
                    <a:pt x="1241" y="597"/>
                  </a:lnTo>
                  <a:lnTo>
                    <a:pt x="1239" y="595"/>
                  </a:lnTo>
                  <a:lnTo>
                    <a:pt x="1237" y="597"/>
                  </a:lnTo>
                  <a:close/>
                  <a:moveTo>
                    <a:pt x="1025" y="479"/>
                  </a:moveTo>
                  <a:lnTo>
                    <a:pt x="1025" y="481"/>
                  </a:lnTo>
                  <a:lnTo>
                    <a:pt x="1027" y="483"/>
                  </a:lnTo>
                  <a:lnTo>
                    <a:pt x="1027" y="483"/>
                  </a:lnTo>
                  <a:lnTo>
                    <a:pt x="1029" y="483"/>
                  </a:lnTo>
                  <a:lnTo>
                    <a:pt x="1029" y="481"/>
                  </a:lnTo>
                  <a:lnTo>
                    <a:pt x="1029" y="481"/>
                  </a:lnTo>
                  <a:lnTo>
                    <a:pt x="1027" y="481"/>
                  </a:lnTo>
                  <a:lnTo>
                    <a:pt x="1025" y="479"/>
                  </a:lnTo>
                  <a:close/>
                  <a:moveTo>
                    <a:pt x="1025" y="471"/>
                  </a:moveTo>
                  <a:lnTo>
                    <a:pt x="1025" y="471"/>
                  </a:lnTo>
                  <a:lnTo>
                    <a:pt x="1027" y="471"/>
                  </a:lnTo>
                  <a:lnTo>
                    <a:pt x="1027" y="473"/>
                  </a:lnTo>
                  <a:lnTo>
                    <a:pt x="1027" y="473"/>
                  </a:lnTo>
                  <a:lnTo>
                    <a:pt x="1029" y="471"/>
                  </a:lnTo>
                  <a:lnTo>
                    <a:pt x="1029" y="469"/>
                  </a:lnTo>
                  <a:lnTo>
                    <a:pt x="1027" y="469"/>
                  </a:lnTo>
                  <a:lnTo>
                    <a:pt x="1027" y="469"/>
                  </a:lnTo>
                  <a:lnTo>
                    <a:pt x="1027" y="469"/>
                  </a:lnTo>
                  <a:lnTo>
                    <a:pt x="1027" y="467"/>
                  </a:lnTo>
                  <a:lnTo>
                    <a:pt x="1027" y="465"/>
                  </a:lnTo>
                  <a:lnTo>
                    <a:pt x="1025" y="465"/>
                  </a:lnTo>
                  <a:lnTo>
                    <a:pt x="1025" y="465"/>
                  </a:lnTo>
                  <a:lnTo>
                    <a:pt x="1025" y="467"/>
                  </a:lnTo>
                  <a:lnTo>
                    <a:pt x="1025" y="467"/>
                  </a:lnTo>
                  <a:lnTo>
                    <a:pt x="1025" y="471"/>
                  </a:lnTo>
                  <a:close/>
                  <a:moveTo>
                    <a:pt x="819" y="865"/>
                  </a:moveTo>
                  <a:lnTo>
                    <a:pt x="819" y="865"/>
                  </a:lnTo>
                  <a:lnTo>
                    <a:pt x="819" y="863"/>
                  </a:lnTo>
                  <a:lnTo>
                    <a:pt x="819" y="863"/>
                  </a:lnTo>
                  <a:lnTo>
                    <a:pt x="819" y="863"/>
                  </a:lnTo>
                  <a:lnTo>
                    <a:pt x="817" y="863"/>
                  </a:lnTo>
                  <a:lnTo>
                    <a:pt x="817" y="865"/>
                  </a:lnTo>
                  <a:lnTo>
                    <a:pt x="817" y="865"/>
                  </a:lnTo>
                  <a:lnTo>
                    <a:pt x="817" y="867"/>
                  </a:lnTo>
                  <a:lnTo>
                    <a:pt x="817" y="867"/>
                  </a:lnTo>
                  <a:lnTo>
                    <a:pt x="817" y="867"/>
                  </a:lnTo>
                  <a:lnTo>
                    <a:pt x="819" y="867"/>
                  </a:lnTo>
                  <a:lnTo>
                    <a:pt x="819" y="867"/>
                  </a:lnTo>
                  <a:lnTo>
                    <a:pt x="819" y="869"/>
                  </a:lnTo>
                  <a:lnTo>
                    <a:pt x="819" y="869"/>
                  </a:lnTo>
                  <a:lnTo>
                    <a:pt x="819" y="872"/>
                  </a:lnTo>
                  <a:lnTo>
                    <a:pt x="821" y="872"/>
                  </a:lnTo>
                  <a:lnTo>
                    <a:pt x="821" y="872"/>
                  </a:lnTo>
                  <a:lnTo>
                    <a:pt x="821" y="872"/>
                  </a:lnTo>
                  <a:lnTo>
                    <a:pt x="821" y="872"/>
                  </a:lnTo>
                  <a:lnTo>
                    <a:pt x="821" y="872"/>
                  </a:lnTo>
                  <a:lnTo>
                    <a:pt x="821" y="872"/>
                  </a:lnTo>
                  <a:lnTo>
                    <a:pt x="821" y="872"/>
                  </a:lnTo>
                  <a:lnTo>
                    <a:pt x="821" y="869"/>
                  </a:lnTo>
                  <a:lnTo>
                    <a:pt x="819" y="869"/>
                  </a:lnTo>
                  <a:lnTo>
                    <a:pt x="819" y="867"/>
                  </a:lnTo>
                  <a:lnTo>
                    <a:pt x="819" y="867"/>
                  </a:lnTo>
                  <a:lnTo>
                    <a:pt x="819" y="867"/>
                  </a:lnTo>
                  <a:lnTo>
                    <a:pt x="817" y="867"/>
                  </a:lnTo>
                  <a:lnTo>
                    <a:pt x="817" y="865"/>
                  </a:lnTo>
                  <a:lnTo>
                    <a:pt x="819" y="865"/>
                  </a:lnTo>
                  <a:close/>
                  <a:moveTo>
                    <a:pt x="812" y="861"/>
                  </a:moveTo>
                  <a:lnTo>
                    <a:pt x="810" y="859"/>
                  </a:lnTo>
                  <a:lnTo>
                    <a:pt x="810" y="859"/>
                  </a:lnTo>
                  <a:lnTo>
                    <a:pt x="810" y="859"/>
                  </a:lnTo>
                  <a:lnTo>
                    <a:pt x="810" y="861"/>
                  </a:lnTo>
                  <a:lnTo>
                    <a:pt x="810" y="861"/>
                  </a:lnTo>
                  <a:lnTo>
                    <a:pt x="810" y="861"/>
                  </a:lnTo>
                  <a:lnTo>
                    <a:pt x="812" y="861"/>
                  </a:lnTo>
                  <a:lnTo>
                    <a:pt x="812" y="861"/>
                  </a:lnTo>
                  <a:lnTo>
                    <a:pt x="812" y="861"/>
                  </a:lnTo>
                  <a:close/>
                  <a:moveTo>
                    <a:pt x="821" y="878"/>
                  </a:moveTo>
                  <a:lnTo>
                    <a:pt x="821" y="876"/>
                  </a:lnTo>
                  <a:lnTo>
                    <a:pt x="819" y="876"/>
                  </a:lnTo>
                  <a:lnTo>
                    <a:pt x="819" y="876"/>
                  </a:lnTo>
                  <a:lnTo>
                    <a:pt x="819" y="876"/>
                  </a:lnTo>
                  <a:lnTo>
                    <a:pt x="819" y="876"/>
                  </a:lnTo>
                  <a:lnTo>
                    <a:pt x="819" y="878"/>
                  </a:lnTo>
                  <a:lnTo>
                    <a:pt x="819" y="878"/>
                  </a:lnTo>
                  <a:lnTo>
                    <a:pt x="821" y="878"/>
                  </a:lnTo>
                  <a:lnTo>
                    <a:pt x="821" y="878"/>
                  </a:lnTo>
                  <a:close/>
                  <a:moveTo>
                    <a:pt x="821" y="882"/>
                  </a:moveTo>
                  <a:lnTo>
                    <a:pt x="821" y="882"/>
                  </a:lnTo>
                  <a:lnTo>
                    <a:pt x="821" y="882"/>
                  </a:lnTo>
                  <a:lnTo>
                    <a:pt x="821" y="882"/>
                  </a:lnTo>
                  <a:lnTo>
                    <a:pt x="821" y="882"/>
                  </a:lnTo>
                  <a:lnTo>
                    <a:pt x="821" y="880"/>
                  </a:lnTo>
                  <a:lnTo>
                    <a:pt x="821" y="880"/>
                  </a:lnTo>
                  <a:lnTo>
                    <a:pt x="821" y="880"/>
                  </a:lnTo>
                  <a:lnTo>
                    <a:pt x="821" y="882"/>
                  </a:lnTo>
                  <a:lnTo>
                    <a:pt x="819" y="882"/>
                  </a:lnTo>
                  <a:lnTo>
                    <a:pt x="821" y="882"/>
                  </a:lnTo>
                  <a:lnTo>
                    <a:pt x="821" y="882"/>
                  </a:lnTo>
                  <a:close/>
                  <a:moveTo>
                    <a:pt x="1773" y="820"/>
                  </a:moveTo>
                  <a:lnTo>
                    <a:pt x="1773" y="820"/>
                  </a:lnTo>
                  <a:lnTo>
                    <a:pt x="1773" y="820"/>
                  </a:lnTo>
                  <a:lnTo>
                    <a:pt x="1773" y="820"/>
                  </a:lnTo>
                  <a:lnTo>
                    <a:pt x="1775" y="820"/>
                  </a:lnTo>
                  <a:lnTo>
                    <a:pt x="1775" y="820"/>
                  </a:lnTo>
                  <a:lnTo>
                    <a:pt x="1775" y="820"/>
                  </a:lnTo>
                  <a:lnTo>
                    <a:pt x="1775" y="820"/>
                  </a:lnTo>
                  <a:lnTo>
                    <a:pt x="1775" y="820"/>
                  </a:lnTo>
                  <a:lnTo>
                    <a:pt x="1773" y="820"/>
                  </a:lnTo>
                  <a:lnTo>
                    <a:pt x="1773" y="820"/>
                  </a:lnTo>
                  <a:close/>
                  <a:moveTo>
                    <a:pt x="1794" y="838"/>
                  </a:moveTo>
                  <a:lnTo>
                    <a:pt x="1794" y="841"/>
                  </a:lnTo>
                  <a:lnTo>
                    <a:pt x="1792" y="838"/>
                  </a:lnTo>
                  <a:lnTo>
                    <a:pt x="1792" y="838"/>
                  </a:lnTo>
                  <a:lnTo>
                    <a:pt x="1792" y="841"/>
                  </a:lnTo>
                  <a:lnTo>
                    <a:pt x="1792" y="841"/>
                  </a:lnTo>
                  <a:lnTo>
                    <a:pt x="1792" y="843"/>
                  </a:lnTo>
                  <a:lnTo>
                    <a:pt x="1794" y="841"/>
                  </a:lnTo>
                  <a:lnTo>
                    <a:pt x="1796" y="841"/>
                  </a:lnTo>
                  <a:lnTo>
                    <a:pt x="1796" y="841"/>
                  </a:lnTo>
                  <a:lnTo>
                    <a:pt x="1796" y="838"/>
                  </a:lnTo>
                  <a:lnTo>
                    <a:pt x="1794" y="838"/>
                  </a:lnTo>
                  <a:close/>
                  <a:moveTo>
                    <a:pt x="1788" y="407"/>
                  </a:moveTo>
                  <a:lnTo>
                    <a:pt x="1786" y="407"/>
                  </a:lnTo>
                  <a:lnTo>
                    <a:pt x="1784" y="409"/>
                  </a:lnTo>
                  <a:lnTo>
                    <a:pt x="1784" y="413"/>
                  </a:lnTo>
                  <a:lnTo>
                    <a:pt x="1784" y="415"/>
                  </a:lnTo>
                  <a:lnTo>
                    <a:pt x="1786" y="415"/>
                  </a:lnTo>
                  <a:lnTo>
                    <a:pt x="1786" y="417"/>
                  </a:lnTo>
                  <a:lnTo>
                    <a:pt x="1790" y="417"/>
                  </a:lnTo>
                  <a:lnTo>
                    <a:pt x="1794" y="417"/>
                  </a:lnTo>
                  <a:lnTo>
                    <a:pt x="1796" y="417"/>
                  </a:lnTo>
                  <a:lnTo>
                    <a:pt x="1798" y="419"/>
                  </a:lnTo>
                  <a:lnTo>
                    <a:pt x="1798" y="417"/>
                  </a:lnTo>
                  <a:lnTo>
                    <a:pt x="1800" y="419"/>
                  </a:lnTo>
                  <a:lnTo>
                    <a:pt x="1800" y="419"/>
                  </a:lnTo>
                  <a:lnTo>
                    <a:pt x="1802" y="419"/>
                  </a:lnTo>
                  <a:lnTo>
                    <a:pt x="1798" y="421"/>
                  </a:lnTo>
                  <a:lnTo>
                    <a:pt x="1796" y="421"/>
                  </a:lnTo>
                  <a:lnTo>
                    <a:pt x="1794" y="421"/>
                  </a:lnTo>
                  <a:lnTo>
                    <a:pt x="1794" y="421"/>
                  </a:lnTo>
                  <a:lnTo>
                    <a:pt x="1794" y="423"/>
                  </a:lnTo>
                  <a:lnTo>
                    <a:pt x="1796" y="423"/>
                  </a:lnTo>
                  <a:lnTo>
                    <a:pt x="1798" y="423"/>
                  </a:lnTo>
                  <a:lnTo>
                    <a:pt x="1800" y="426"/>
                  </a:lnTo>
                  <a:lnTo>
                    <a:pt x="1800" y="426"/>
                  </a:lnTo>
                  <a:lnTo>
                    <a:pt x="1802" y="426"/>
                  </a:lnTo>
                  <a:lnTo>
                    <a:pt x="1810" y="423"/>
                  </a:lnTo>
                  <a:lnTo>
                    <a:pt x="1815" y="423"/>
                  </a:lnTo>
                  <a:lnTo>
                    <a:pt x="1823" y="419"/>
                  </a:lnTo>
                  <a:lnTo>
                    <a:pt x="1825" y="417"/>
                  </a:lnTo>
                  <a:lnTo>
                    <a:pt x="1827" y="417"/>
                  </a:lnTo>
                  <a:lnTo>
                    <a:pt x="1827" y="415"/>
                  </a:lnTo>
                  <a:lnTo>
                    <a:pt x="1825" y="415"/>
                  </a:lnTo>
                  <a:lnTo>
                    <a:pt x="1825" y="415"/>
                  </a:lnTo>
                  <a:lnTo>
                    <a:pt x="1825" y="413"/>
                  </a:lnTo>
                  <a:lnTo>
                    <a:pt x="1825" y="413"/>
                  </a:lnTo>
                  <a:lnTo>
                    <a:pt x="1825" y="413"/>
                  </a:lnTo>
                  <a:lnTo>
                    <a:pt x="1825" y="413"/>
                  </a:lnTo>
                  <a:lnTo>
                    <a:pt x="1825" y="411"/>
                  </a:lnTo>
                  <a:lnTo>
                    <a:pt x="1819" y="411"/>
                  </a:lnTo>
                  <a:lnTo>
                    <a:pt x="1815" y="409"/>
                  </a:lnTo>
                  <a:lnTo>
                    <a:pt x="1808" y="403"/>
                  </a:lnTo>
                  <a:lnTo>
                    <a:pt x="1806" y="401"/>
                  </a:lnTo>
                  <a:lnTo>
                    <a:pt x="1806" y="401"/>
                  </a:lnTo>
                  <a:lnTo>
                    <a:pt x="1796" y="399"/>
                  </a:lnTo>
                  <a:lnTo>
                    <a:pt x="1792" y="399"/>
                  </a:lnTo>
                  <a:lnTo>
                    <a:pt x="1786" y="401"/>
                  </a:lnTo>
                  <a:lnTo>
                    <a:pt x="1786" y="401"/>
                  </a:lnTo>
                  <a:lnTo>
                    <a:pt x="1786" y="403"/>
                  </a:lnTo>
                  <a:lnTo>
                    <a:pt x="1784" y="403"/>
                  </a:lnTo>
                  <a:lnTo>
                    <a:pt x="1784" y="403"/>
                  </a:lnTo>
                  <a:lnTo>
                    <a:pt x="1786" y="405"/>
                  </a:lnTo>
                  <a:lnTo>
                    <a:pt x="1786" y="405"/>
                  </a:lnTo>
                  <a:lnTo>
                    <a:pt x="1788" y="407"/>
                  </a:lnTo>
                  <a:lnTo>
                    <a:pt x="1792" y="409"/>
                  </a:lnTo>
                  <a:lnTo>
                    <a:pt x="1792" y="409"/>
                  </a:lnTo>
                  <a:lnTo>
                    <a:pt x="1788" y="407"/>
                  </a:lnTo>
                  <a:close/>
                  <a:moveTo>
                    <a:pt x="1777" y="797"/>
                  </a:moveTo>
                  <a:lnTo>
                    <a:pt x="1777" y="797"/>
                  </a:lnTo>
                  <a:lnTo>
                    <a:pt x="1777" y="797"/>
                  </a:lnTo>
                  <a:lnTo>
                    <a:pt x="1777" y="797"/>
                  </a:lnTo>
                  <a:lnTo>
                    <a:pt x="1775" y="799"/>
                  </a:lnTo>
                  <a:lnTo>
                    <a:pt x="1775" y="799"/>
                  </a:lnTo>
                  <a:lnTo>
                    <a:pt x="1777" y="799"/>
                  </a:lnTo>
                  <a:lnTo>
                    <a:pt x="1777" y="797"/>
                  </a:lnTo>
                  <a:close/>
                  <a:moveTo>
                    <a:pt x="1786" y="843"/>
                  </a:moveTo>
                  <a:lnTo>
                    <a:pt x="1786" y="843"/>
                  </a:lnTo>
                  <a:lnTo>
                    <a:pt x="1786" y="843"/>
                  </a:lnTo>
                  <a:lnTo>
                    <a:pt x="1786" y="843"/>
                  </a:lnTo>
                  <a:lnTo>
                    <a:pt x="1786" y="841"/>
                  </a:lnTo>
                  <a:lnTo>
                    <a:pt x="1784" y="841"/>
                  </a:lnTo>
                  <a:lnTo>
                    <a:pt x="1784" y="843"/>
                  </a:lnTo>
                  <a:lnTo>
                    <a:pt x="1786" y="843"/>
                  </a:lnTo>
                  <a:lnTo>
                    <a:pt x="1786" y="843"/>
                  </a:lnTo>
                  <a:lnTo>
                    <a:pt x="1786" y="843"/>
                  </a:lnTo>
                  <a:lnTo>
                    <a:pt x="1786" y="843"/>
                  </a:lnTo>
                  <a:lnTo>
                    <a:pt x="1788" y="843"/>
                  </a:lnTo>
                  <a:lnTo>
                    <a:pt x="1788" y="841"/>
                  </a:lnTo>
                  <a:lnTo>
                    <a:pt x="1788" y="841"/>
                  </a:lnTo>
                  <a:lnTo>
                    <a:pt x="1788" y="841"/>
                  </a:lnTo>
                  <a:lnTo>
                    <a:pt x="1786" y="843"/>
                  </a:lnTo>
                  <a:close/>
                  <a:moveTo>
                    <a:pt x="1697" y="717"/>
                  </a:moveTo>
                  <a:lnTo>
                    <a:pt x="1695" y="717"/>
                  </a:lnTo>
                  <a:lnTo>
                    <a:pt x="1695" y="717"/>
                  </a:lnTo>
                  <a:lnTo>
                    <a:pt x="1695" y="717"/>
                  </a:lnTo>
                  <a:lnTo>
                    <a:pt x="1693" y="717"/>
                  </a:lnTo>
                  <a:lnTo>
                    <a:pt x="1693" y="719"/>
                  </a:lnTo>
                  <a:lnTo>
                    <a:pt x="1693" y="719"/>
                  </a:lnTo>
                  <a:lnTo>
                    <a:pt x="1695" y="719"/>
                  </a:lnTo>
                  <a:lnTo>
                    <a:pt x="1697" y="719"/>
                  </a:lnTo>
                  <a:lnTo>
                    <a:pt x="1697" y="719"/>
                  </a:lnTo>
                  <a:lnTo>
                    <a:pt x="1697" y="717"/>
                  </a:lnTo>
                  <a:lnTo>
                    <a:pt x="1697" y="717"/>
                  </a:lnTo>
                  <a:close/>
                  <a:moveTo>
                    <a:pt x="814" y="861"/>
                  </a:moveTo>
                  <a:lnTo>
                    <a:pt x="814" y="861"/>
                  </a:lnTo>
                  <a:lnTo>
                    <a:pt x="814" y="861"/>
                  </a:lnTo>
                  <a:lnTo>
                    <a:pt x="814" y="861"/>
                  </a:lnTo>
                  <a:lnTo>
                    <a:pt x="814" y="863"/>
                  </a:lnTo>
                  <a:lnTo>
                    <a:pt x="814" y="863"/>
                  </a:lnTo>
                  <a:lnTo>
                    <a:pt x="814" y="863"/>
                  </a:lnTo>
                  <a:lnTo>
                    <a:pt x="814" y="863"/>
                  </a:lnTo>
                  <a:lnTo>
                    <a:pt x="814" y="863"/>
                  </a:lnTo>
                  <a:lnTo>
                    <a:pt x="814" y="861"/>
                  </a:lnTo>
                  <a:lnTo>
                    <a:pt x="814" y="861"/>
                  </a:lnTo>
                  <a:close/>
                  <a:moveTo>
                    <a:pt x="1433" y="797"/>
                  </a:moveTo>
                  <a:lnTo>
                    <a:pt x="1433" y="797"/>
                  </a:lnTo>
                  <a:lnTo>
                    <a:pt x="1435" y="797"/>
                  </a:lnTo>
                  <a:lnTo>
                    <a:pt x="1435" y="797"/>
                  </a:lnTo>
                  <a:lnTo>
                    <a:pt x="1435" y="797"/>
                  </a:lnTo>
                  <a:lnTo>
                    <a:pt x="1435" y="797"/>
                  </a:lnTo>
                  <a:lnTo>
                    <a:pt x="1435" y="795"/>
                  </a:lnTo>
                  <a:lnTo>
                    <a:pt x="1435" y="795"/>
                  </a:lnTo>
                  <a:lnTo>
                    <a:pt x="1435" y="795"/>
                  </a:lnTo>
                  <a:lnTo>
                    <a:pt x="1431" y="797"/>
                  </a:lnTo>
                  <a:lnTo>
                    <a:pt x="1431" y="797"/>
                  </a:lnTo>
                  <a:lnTo>
                    <a:pt x="1433" y="797"/>
                  </a:lnTo>
                  <a:close/>
                  <a:moveTo>
                    <a:pt x="1769" y="337"/>
                  </a:moveTo>
                  <a:lnTo>
                    <a:pt x="1769" y="337"/>
                  </a:lnTo>
                  <a:lnTo>
                    <a:pt x="1771" y="337"/>
                  </a:lnTo>
                  <a:lnTo>
                    <a:pt x="1771" y="339"/>
                  </a:lnTo>
                  <a:lnTo>
                    <a:pt x="1771" y="339"/>
                  </a:lnTo>
                  <a:lnTo>
                    <a:pt x="1773" y="339"/>
                  </a:lnTo>
                  <a:lnTo>
                    <a:pt x="1773" y="339"/>
                  </a:lnTo>
                  <a:lnTo>
                    <a:pt x="1773" y="341"/>
                  </a:lnTo>
                  <a:lnTo>
                    <a:pt x="1775" y="341"/>
                  </a:lnTo>
                  <a:lnTo>
                    <a:pt x="1777" y="337"/>
                  </a:lnTo>
                  <a:lnTo>
                    <a:pt x="1780" y="337"/>
                  </a:lnTo>
                  <a:lnTo>
                    <a:pt x="1782" y="335"/>
                  </a:lnTo>
                  <a:lnTo>
                    <a:pt x="1782" y="333"/>
                  </a:lnTo>
                  <a:lnTo>
                    <a:pt x="1780" y="333"/>
                  </a:lnTo>
                  <a:lnTo>
                    <a:pt x="1780" y="333"/>
                  </a:lnTo>
                  <a:lnTo>
                    <a:pt x="1775" y="335"/>
                  </a:lnTo>
                  <a:lnTo>
                    <a:pt x="1775" y="335"/>
                  </a:lnTo>
                  <a:lnTo>
                    <a:pt x="1773" y="335"/>
                  </a:lnTo>
                  <a:lnTo>
                    <a:pt x="1773" y="335"/>
                  </a:lnTo>
                  <a:lnTo>
                    <a:pt x="1767" y="335"/>
                  </a:lnTo>
                  <a:lnTo>
                    <a:pt x="1767" y="335"/>
                  </a:lnTo>
                  <a:lnTo>
                    <a:pt x="1765" y="337"/>
                  </a:lnTo>
                  <a:lnTo>
                    <a:pt x="1765" y="337"/>
                  </a:lnTo>
                  <a:lnTo>
                    <a:pt x="1767" y="337"/>
                  </a:lnTo>
                  <a:lnTo>
                    <a:pt x="1769" y="337"/>
                  </a:lnTo>
                  <a:close/>
                  <a:moveTo>
                    <a:pt x="1775" y="805"/>
                  </a:moveTo>
                  <a:lnTo>
                    <a:pt x="1775" y="805"/>
                  </a:lnTo>
                  <a:lnTo>
                    <a:pt x="1775" y="803"/>
                  </a:lnTo>
                  <a:lnTo>
                    <a:pt x="1773" y="805"/>
                  </a:lnTo>
                  <a:lnTo>
                    <a:pt x="1771" y="805"/>
                  </a:lnTo>
                  <a:lnTo>
                    <a:pt x="1773" y="805"/>
                  </a:lnTo>
                  <a:lnTo>
                    <a:pt x="1771" y="808"/>
                  </a:lnTo>
                  <a:lnTo>
                    <a:pt x="1769" y="805"/>
                  </a:lnTo>
                  <a:lnTo>
                    <a:pt x="1769" y="805"/>
                  </a:lnTo>
                  <a:lnTo>
                    <a:pt x="1767" y="805"/>
                  </a:lnTo>
                  <a:lnTo>
                    <a:pt x="1765" y="805"/>
                  </a:lnTo>
                  <a:lnTo>
                    <a:pt x="1761" y="808"/>
                  </a:lnTo>
                  <a:lnTo>
                    <a:pt x="1759" y="810"/>
                  </a:lnTo>
                  <a:lnTo>
                    <a:pt x="1759" y="810"/>
                  </a:lnTo>
                  <a:lnTo>
                    <a:pt x="1757" y="810"/>
                  </a:lnTo>
                  <a:lnTo>
                    <a:pt x="1757" y="814"/>
                  </a:lnTo>
                  <a:lnTo>
                    <a:pt x="1757" y="814"/>
                  </a:lnTo>
                  <a:lnTo>
                    <a:pt x="1755" y="816"/>
                  </a:lnTo>
                  <a:lnTo>
                    <a:pt x="1753" y="816"/>
                  </a:lnTo>
                  <a:lnTo>
                    <a:pt x="1753" y="816"/>
                  </a:lnTo>
                  <a:lnTo>
                    <a:pt x="1753" y="816"/>
                  </a:lnTo>
                  <a:lnTo>
                    <a:pt x="1753" y="816"/>
                  </a:lnTo>
                  <a:lnTo>
                    <a:pt x="1753" y="818"/>
                  </a:lnTo>
                  <a:lnTo>
                    <a:pt x="1753" y="820"/>
                  </a:lnTo>
                  <a:lnTo>
                    <a:pt x="1751" y="820"/>
                  </a:lnTo>
                  <a:lnTo>
                    <a:pt x="1751" y="820"/>
                  </a:lnTo>
                  <a:lnTo>
                    <a:pt x="1749" y="822"/>
                  </a:lnTo>
                  <a:lnTo>
                    <a:pt x="1749" y="822"/>
                  </a:lnTo>
                  <a:lnTo>
                    <a:pt x="1751" y="822"/>
                  </a:lnTo>
                  <a:lnTo>
                    <a:pt x="1751" y="822"/>
                  </a:lnTo>
                  <a:lnTo>
                    <a:pt x="1751" y="822"/>
                  </a:lnTo>
                  <a:lnTo>
                    <a:pt x="1749" y="822"/>
                  </a:lnTo>
                  <a:lnTo>
                    <a:pt x="1749" y="824"/>
                  </a:lnTo>
                  <a:lnTo>
                    <a:pt x="1747" y="824"/>
                  </a:lnTo>
                  <a:lnTo>
                    <a:pt x="1747" y="826"/>
                  </a:lnTo>
                  <a:lnTo>
                    <a:pt x="1744" y="830"/>
                  </a:lnTo>
                  <a:lnTo>
                    <a:pt x="1744" y="834"/>
                  </a:lnTo>
                  <a:lnTo>
                    <a:pt x="1740" y="841"/>
                  </a:lnTo>
                  <a:lnTo>
                    <a:pt x="1740" y="841"/>
                  </a:lnTo>
                  <a:lnTo>
                    <a:pt x="1740" y="841"/>
                  </a:lnTo>
                  <a:lnTo>
                    <a:pt x="1742" y="843"/>
                  </a:lnTo>
                  <a:lnTo>
                    <a:pt x="1742" y="843"/>
                  </a:lnTo>
                  <a:lnTo>
                    <a:pt x="1742" y="845"/>
                  </a:lnTo>
                  <a:lnTo>
                    <a:pt x="1740" y="843"/>
                  </a:lnTo>
                  <a:lnTo>
                    <a:pt x="1738" y="843"/>
                  </a:lnTo>
                  <a:lnTo>
                    <a:pt x="1738" y="843"/>
                  </a:lnTo>
                  <a:lnTo>
                    <a:pt x="1736" y="845"/>
                  </a:lnTo>
                  <a:lnTo>
                    <a:pt x="1736" y="845"/>
                  </a:lnTo>
                  <a:lnTo>
                    <a:pt x="1736" y="847"/>
                  </a:lnTo>
                  <a:lnTo>
                    <a:pt x="1736" y="847"/>
                  </a:lnTo>
                  <a:lnTo>
                    <a:pt x="1738" y="849"/>
                  </a:lnTo>
                  <a:lnTo>
                    <a:pt x="1740" y="849"/>
                  </a:lnTo>
                  <a:lnTo>
                    <a:pt x="1740" y="849"/>
                  </a:lnTo>
                  <a:lnTo>
                    <a:pt x="1738" y="849"/>
                  </a:lnTo>
                  <a:lnTo>
                    <a:pt x="1738" y="851"/>
                  </a:lnTo>
                  <a:lnTo>
                    <a:pt x="1738" y="851"/>
                  </a:lnTo>
                  <a:lnTo>
                    <a:pt x="1738" y="853"/>
                  </a:lnTo>
                  <a:lnTo>
                    <a:pt x="1740" y="853"/>
                  </a:lnTo>
                  <a:lnTo>
                    <a:pt x="1738" y="853"/>
                  </a:lnTo>
                  <a:lnTo>
                    <a:pt x="1738" y="853"/>
                  </a:lnTo>
                  <a:lnTo>
                    <a:pt x="1736" y="851"/>
                  </a:lnTo>
                  <a:lnTo>
                    <a:pt x="1734" y="851"/>
                  </a:lnTo>
                  <a:lnTo>
                    <a:pt x="1734" y="851"/>
                  </a:lnTo>
                  <a:lnTo>
                    <a:pt x="1734" y="851"/>
                  </a:lnTo>
                  <a:lnTo>
                    <a:pt x="1732" y="853"/>
                  </a:lnTo>
                  <a:lnTo>
                    <a:pt x="1732" y="855"/>
                  </a:lnTo>
                  <a:lnTo>
                    <a:pt x="1730" y="857"/>
                  </a:lnTo>
                  <a:lnTo>
                    <a:pt x="1730" y="859"/>
                  </a:lnTo>
                  <a:lnTo>
                    <a:pt x="1730" y="859"/>
                  </a:lnTo>
                  <a:lnTo>
                    <a:pt x="1728" y="859"/>
                  </a:lnTo>
                  <a:lnTo>
                    <a:pt x="1726" y="859"/>
                  </a:lnTo>
                  <a:lnTo>
                    <a:pt x="1726" y="859"/>
                  </a:lnTo>
                  <a:lnTo>
                    <a:pt x="1726" y="857"/>
                  </a:lnTo>
                  <a:lnTo>
                    <a:pt x="1728" y="857"/>
                  </a:lnTo>
                  <a:lnTo>
                    <a:pt x="1728" y="857"/>
                  </a:lnTo>
                  <a:lnTo>
                    <a:pt x="1724" y="859"/>
                  </a:lnTo>
                  <a:lnTo>
                    <a:pt x="1722" y="861"/>
                  </a:lnTo>
                  <a:lnTo>
                    <a:pt x="1722" y="861"/>
                  </a:lnTo>
                  <a:lnTo>
                    <a:pt x="1726" y="861"/>
                  </a:lnTo>
                  <a:lnTo>
                    <a:pt x="1730" y="861"/>
                  </a:lnTo>
                  <a:lnTo>
                    <a:pt x="1730" y="861"/>
                  </a:lnTo>
                  <a:lnTo>
                    <a:pt x="1732" y="861"/>
                  </a:lnTo>
                  <a:lnTo>
                    <a:pt x="1734" y="861"/>
                  </a:lnTo>
                  <a:lnTo>
                    <a:pt x="1734" y="861"/>
                  </a:lnTo>
                  <a:lnTo>
                    <a:pt x="1732" y="863"/>
                  </a:lnTo>
                  <a:lnTo>
                    <a:pt x="1730" y="863"/>
                  </a:lnTo>
                  <a:lnTo>
                    <a:pt x="1730" y="865"/>
                  </a:lnTo>
                  <a:lnTo>
                    <a:pt x="1726" y="867"/>
                  </a:lnTo>
                  <a:lnTo>
                    <a:pt x="1722" y="872"/>
                  </a:lnTo>
                  <a:lnTo>
                    <a:pt x="1720" y="872"/>
                  </a:lnTo>
                  <a:lnTo>
                    <a:pt x="1720" y="874"/>
                  </a:lnTo>
                  <a:lnTo>
                    <a:pt x="1720" y="874"/>
                  </a:lnTo>
                  <a:lnTo>
                    <a:pt x="1720" y="876"/>
                  </a:lnTo>
                  <a:lnTo>
                    <a:pt x="1722" y="878"/>
                  </a:lnTo>
                  <a:lnTo>
                    <a:pt x="1722" y="878"/>
                  </a:lnTo>
                  <a:lnTo>
                    <a:pt x="1724" y="878"/>
                  </a:lnTo>
                  <a:lnTo>
                    <a:pt x="1726" y="878"/>
                  </a:lnTo>
                  <a:lnTo>
                    <a:pt x="1730" y="878"/>
                  </a:lnTo>
                  <a:lnTo>
                    <a:pt x="1732" y="878"/>
                  </a:lnTo>
                  <a:lnTo>
                    <a:pt x="1734" y="876"/>
                  </a:lnTo>
                  <a:lnTo>
                    <a:pt x="1734" y="876"/>
                  </a:lnTo>
                  <a:lnTo>
                    <a:pt x="1734" y="876"/>
                  </a:lnTo>
                  <a:lnTo>
                    <a:pt x="1734" y="876"/>
                  </a:lnTo>
                  <a:lnTo>
                    <a:pt x="1736" y="876"/>
                  </a:lnTo>
                  <a:lnTo>
                    <a:pt x="1740" y="876"/>
                  </a:lnTo>
                  <a:lnTo>
                    <a:pt x="1740" y="876"/>
                  </a:lnTo>
                  <a:lnTo>
                    <a:pt x="1744" y="878"/>
                  </a:lnTo>
                  <a:lnTo>
                    <a:pt x="1747" y="878"/>
                  </a:lnTo>
                  <a:lnTo>
                    <a:pt x="1755" y="878"/>
                  </a:lnTo>
                  <a:lnTo>
                    <a:pt x="1757" y="878"/>
                  </a:lnTo>
                  <a:lnTo>
                    <a:pt x="1757" y="878"/>
                  </a:lnTo>
                  <a:lnTo>
                    <a:pt x="1761" y="878"/>
                  </a:lnTo>
                  <a:lnTo>
                    <a:pt x="1763" y="878"/>
                  </a:lnTo>
                  <a:lnTo>
                    <a:pt x="1765" y="878"/>
                  </a:lnTo>
                  <a:lnTo>
                    <a:pt x="1765" y="876"/>
                  </a:lnTo>
                  <a:lnTo>
                    <a:pt x="1765" y="874"/>
                  </a:lnTo>
                  <a:lnTo>
                    <a:pt x="1767" y="874"/>
                  </a:lnTo>
                  <a:lnTo>
                    <a:pt x="1767" y="876"/>
                  </a:lnTo>
                  <a:lnTo>
                    <a:pt x="1767" y="876"/>
                  </a:lnTo>
                  <a:lnTo>
                    <a:pt x="1769" y="874"/>
                  </a:lnTo>
                  <a:lnTo>
                    <a:pt x="1769" y="874"/>
                  </a:lnTo>
                  <a:lnTo>
                    <a:pt x="1769" y="874"/>
                  </a:lnTo>
                  <a:lnTo>
                    <a:pt x="1769" y="878"/>
                  </a:lnTo>
                  <a:lnTo>
                    <a:pt x="1767" y="880"/>
                  </a:lnTo>
                  <a:lnTo>
                    <a:pt x="1765" y="880"/>
                  </a:lnTo>
                  <a:lnTo>
                    <a:pt x="1767" y="880"/>
                  </a:lnTo>
                  <a:lnTo>
                    <a:pt x="1769" y="880"/>
                  </a:lnTo>
                  <a:lnTo>
                    <a:pt x="1771" y="880"/>
                  </a:lnTo>
                  <a:lnTo>
                    <a:pt x="1771" y="880"/>
                  </a:lnTo>
                  <a:lnTo>
                    <a:pt x="1773" y="880"/>
                  </a:lnTo>
                  <a:lnTo>
                    <a:pt x="1775" y="880"/>
                  </a:lnTo>
                  <a:lnTo>
                    <a:pt x="1775" y="880"/>
                  </a:lnTo>
                  <a:lnTo>
                    <a:pt x="1775" y="880"/>
                  </a:lnTo>
                  <a:lnTo>
                    <a:pt x="1775" y="878"/>
                  </a:lnTo>
                  <a:lnTo>
                    <a:pt x="1777" y="878"/>
                  </a:lnTo>
                  <a:lnTo>
                    <a:pt x="1777" y="876"/>
                  </a:lnTo>
                  <a:lnTo>
                    <a:pt x="1780" y="878"/>
                  </a:lnTo>
                  <a:lnTo>
                    <a:pt x="1782" y="878"/>
                  </a:lnTo>
                  <a:lnTo>
                    <a:pt x="1782" y="878"/>
                  </a:lnTo>
                  <a:lnTo>
                    <a:pt x="1784" y="878"/>
                  </a:lnTo>
                  <a:lnTo>
                    <a:pt x="1784" y="878"/>
                  </a:lnTo>
                  <a:lnTo>
                    <a:pt x="1786" y="876"/>
                  </a:lnTo>
                  <a:lnTo>
                    <a:pt x="1786" y="878"/>
                  </a:lnTo>
                  <a:lnTo>
                    <a:pt x="1784" y="878"/>
                  </a:lnTo>
                  <a:lnTo>
                    <a:pt x="1782" y="880"/>
                  </a:lnTo>
                  <a:lnTo>
                    <a:pt x="1780" y="880"/>
                  </a:lnTo>
                  <a:lnTo>
                    <a:pt x="1777" y="884"/>
                  </a:lnTo>
                  <a:lnTo>
                    <a:pt x="1775" y="884"/>
                  </a:lnTo>
                  <a:lnTo>
                    <a:pt x="1775" y="886"/>
                  </a:lnTo>
                  <a:lnTo>
                    <a:pt x="1773" y="886"/>
                  </a:lnTo>
                  <a:lnTo>
                    <a:pt x="1771" y="886"/>
                  </a:lnTo>
                  <a:lnTo>
                    <a:pt x="1769" y="888"/>
                  </a:lnTo>
                  <a:lnTo>
                    <a:pt x="1769" y="888"/>
                  </a:lnTo>
                  <a:lnTo>
                    <a:pt x="1769" y="888"/>
                  </a:lnTo>
                  <a:lnTo>
                    <a:pt x="1769" y="890"/>
                  </a:lnTo>
                  <a:lnTo>
                    <a:pt x="1769" y="890"/>
                  </a:lnTo>
                  <a:lnTo>
                    <a:pt x="1769" y="890"/>
                  </a:lnTo>
                  <a:lnTo>
                    <a:pt x="1769" y="890"/>
                  </a:lnTo>
                  <a:lnTo>
                    <a:pt x="1771" y="890"/>
                  </a:lnTo>
                  <a:lnTo>
                    <a:pt x="1773" y="890"/>
                  </a:lnTo>
                  <a:lnTo>
                    <a:pt x="1775" y="890"/>
                  </a:lnTo>
                  <a:lnTo>
                    <a:pt x="1775" y="890"/>
                  </a:lnTo>
                  <a:lnTo>
                    <a:pt x="1775" y="890"/>
                  </a:lnTo>
                  <a:lnTo>
                    <a:pt x="1777" y="890"/>
                  </a:lnTo>
                  <a:lnTo>
                    <a:pt x="1780" y="890"/>
                  </a:lnTo>
                  <a:lnTo>
                    <a:pt x="1780" y="888"/>
                  </a:lnTo>
                  <a:lnTo>
                    <a:pt x="1782" y="886"/>
                  </a:lnTo>
                  <a:lnTo>
                    <a:pt x="1782" y="886"/>
                  </a:lnTo>
                  <a:lnTo>
                    <a:pt x="1784" y="882"/>
                  </a:lnTo>
                  <a:lnTo>
                    <a:pt x="1786" y="882"/>
                  </a:lnTo>
                  <a:lnTo>
                    <a:pt x="1786" y="882"/>
                  </a:lnTo>
                  <a:lnTo>
                    <a:pt x="1788" y="882"/>
                  </a:lnTo>
                  <a:lnTo>
                    <a:pt x="1788" y="880"/>
                  </a:lnTo>
                  <a:lnTo>
                    <a:pt x="1790" y="878"/>
                  </a:lnTo>
                  <a:lnTo>
                    <a:pt x="1790" y="880"/>
                  </a:lnTo>
                  <a:lnTo>
                    <a:pt x="1788" y="882"/>
                  </a:lnTo>
                  <a:lnTo>
                    <a:pt x="1788" y="882"/>
                  </a:lnTo>
                  <a:lnTo>
                    <a:pt x="1790" y="882"/>
                  </a:lnTo>
                  <a:lnTo>
                    <a:pt x="1790" y="882"/>
                  </a:lnTo>
                  <a:lnTo>
                    <a:pt x="1790" y="880"/>
                  </a:lnTo>
                  <a:lnTo>
                    <a:pt x="1790" y="878"/>
                  </a:lnTo>
                  <a:lnTo>
                    <a:pt x="1794" y="876"/>
                  </a:lnTo>
                  <a:lnTo>
                    <a:pt x="1794" y="874"/>
                  </a:lnTo>
                  <a:lnTo>
                    <a:pt x="1794" y="874"/>
                  </a:lnTo>
                  <a:lnTo>
                    <a:pt x="1796" y="874"/>
                  </a:lnTo>
                  <a:lnTo>
                    <a:pt x="1796" y="876"/>
                  </a:lnTo>
                  <a:lnTo>
                    <a:pt x="1798" y="878"/>
                  </a:lnTo>
                  <a:lnTo>
                    <a:pt x="1798" y="880"/>
                  </a:lnTo>
                  <a:lnTo>
                    <a:pt x="1798" y="880"/>
                  </a:lnTo>
                  <a:lnTo>
                    <a:pt x="1798" y="880"/>
                  </a:lnTo>
                  <a:lnTo>
                    <a:pt x="1798" y="882"/>
                  </a:lnTo>
                  <a:lnTo>
                    <a:pt x="1796" y="884"/>
                  </a:lnTo>
                  <a:lnTo>
                    <a:pt x="1796" y="886"/>
                  </a:lnTo>
                  <a:lnTo>
                    <a:pt x="1794" y="890"/>
                  </a:lnTo>
                  <a:lnTo>
                    <a:pt x="1794" y="890"/>
                  </a:lnTo>
                  <a:lnTo>
                    <a:pt x="1794" y="890"/>
                  </a:lnTo>
                  <a:lnTo>
                    <a:pt x="1794" y="892"/>
                  </a:lnTo>
                  <a:lnTo>
                    <a:pt x="1794" y="892"/>
                  </a:lnTo>
                  <a:lnTo>
                    <a:pt x="1796" y="892"/>
                  </a:lnTo>
                  <a:lnTo>
                    <a:pt x="1796" y="892"/>
                  </a:lnTo>
                  <a:lnTo>
                    <a:pt x="1798" y="890"/>
                  </a:lnTo>
                  <a:lnTo>
                    <a:pt x="1800" y="888"/>
                  </a:lnTo>
                  <a:lnTo>
                    <a:pt x="1800" y="886"/>
                  </a:lnTo>
                  <a:lnTo>
                    <a:pt x="1802" y="886"/>
                  </a:lnTo>
                  <a:lnTo>
                    <a:pt x="1802" y="886"/>
                  </a:lnTo>
                  <a:lnTo>
                    <a:pt x="1802" y="886"/>
                  </a:lnTo>
                  <a:lnTo>
                    <a:pt x="1802" y="886"/>
                  </a:lnTo>
                  <a:lnTo>
                    <a:pt x="1802" y="888"/>
                  </a:lnTo>
                  <a:lnTo>
                    <a:pt x="1802" y="890"/>
                  </a:lnTo>
                  <a:lnTo>
                    <a:pt x="1802" y="890"/>
                  </a:lnTo>
                  <a:lnTo>
                    <a:pt x="1802" y="894"/>
                  </a:lnTo>
                  <a:lnTo>
                    <a:pt x="1802" y="894"/>
                  </a:lnTo>
                  <a:lnTo>
                    <a:pt x="1802" y="894"/>
                  </a:lnTo>
                  <a:lnTo>
                    <a:pt x="1802" y="894"/>
                  </a:lnTo>
                  <a:lnTo>
                    <a:pt x="1804" y="894"/>
                  </a:lnTo>
                  <a:lnTo>
                    <a:pt x="1806" y="894"/>
                  </a:lnTo>
                  <a:lnTo>
                    <a:pt x="1806" y="894"/>
                  </a:lnTo>
                  <a:lnTo>
                    <a:pt x="1806" y="894"/>
                  </a:lnTo>
                  <a:lnTo>
                    <a:pt x="1808" y="894"/>
                  </a:lnTo>
                  <a:lnTo>
                    <a:pt x="1808" y="894"/>
                  </a:lnTo>
                  <a:lnTo>
                    <a:pt x="1808" y="894"/>
                  </a:lnTo>
                  <a:lnTo>
                    <a:pt x="1810" y="894"/>
                  </a:lnTo>
                  <a:lnTo>
                    <a:pt x="1810" y="894"/>
                  </a:lnTo>
                  <a:lnTo>
                    <a:pt x="1810" y="892"/>
                  </a:lnTo>
                  <a:lnTo>
                    <a:pt x="1813" y="888"/>
                  </a:lnTo>
                  <a:lnTo>
                    <a:pt x="1813" y="888"/>
                  </a:lnTo>
                  <a:lnTo>
                    <a:pt x="1813" y="888"/>
                  </a:lnTo>
                  <a:lnTo>
                    <a:pt x="1813" y="886"/>
                  </a:lnTo>
                  <a:lnTo>
                    <a:pt x="1815" y="882"/>
                  </a:lnTo>
                  <a:lnTo>
                    <a:pt x="1815" y="880"/>
                  </a:lnTo>
                  <a:lnTo>
                    <a:pt x="1815" y="878"/>
                  </a:lnTo>
                  <a:lnTo>
                    <a:pt x="1815" y="878"/>
                  </a:lnTo>
                  <a:lnTo>
                    <a:pt x="1815" y="876"/>
                  </a:lnTo>
                  <a:lnTo>
                    <a:pt x="1815" y="876"/>
                  </a:lnTo>
                  <a:lnTo>
                    <a:pt x="1815" y="876"/>
                  </a:lnTo>
                  <a:lnTo>
                    <a:pt x="1815" y="876"/>
                  </a:lnTo>
                  <a:lnTo>
                    <a:pt x="1813" y="876"/>
                  </a:lnTo>
                  <a:lnTo>
                    <a:pt x="1813" y="878"/>
                  </a:lnTo>
                  <a:lnTo>
                    <a:pt x="1810" y="878"/>
                  </a:lnTo>
                  <a:lnTo>
                    <a:pt x="1810" y="880"/>
                  </a:lnTo>
                  <a:lnTo>
                    <a:pt x="1808" y="880"/>
                  </a:lnTo>
                  <a:lnTo>
                    <a:pt x="1808" y="880"/>
                  </a:lnTo>
                  <a:lnTo>
                    <a:pt x="1808" y="880"/>
                  </a:lnTo>
                  <a:lnTo>
                    <a:pt x="1808" y="878"/>
                  </a:lnTo>
                  <a:lnTo>
                    <a:pt x="1808" y="876"/>
                  </a:lnTo>
                  <a:lnTo>
                    <a:pt x="1808" y="874"/>
                  </a:lnTo>
                  <a:lnTo>
                    <a:pt x="1810" y="872"/>
                  </a:lnTo>
                  <a:lnTo>
                    <a:pt x="1810" y="869"/>
                  </a:lnTo>
                  <a:lnTo>
                    <a:pt x="1813" y="869"/>
                  </a:lnTo>
                  <a:lnTo>
                    <a:pt x="1813" y="869"/>
                  </a:lnTo>
                  <a:lnTo>
                    <a:pt x="1813" y="867"/>
                  </a:lnTo>
                  <a:lnTo>
                    <a:pt x="1813" y="867"/>
                  </a:lnTo>
                  <a:lnTo>
                    <a:pt x="1810" y="869"/>
                  </a:lnTo>
                  <a:lnTo>
                    <a:pt x="1806" y="872"/>
                  </a:lnTo>
                  <a:lnTo>
                    <a:pt x="1804" y="876"/>
                  </a:lnTo>
                  <a:lnTo>
                    <a:pt x="1802" y="876"/>
                  </a:lnTo>
                  <a:lnTo>
                    <a:pt x="1800" y="878"/>
                  </a:lnTo>
                  <a:lnTo>
                    <a:pt x="1800" y="878"/>
                  </a:lnTo>
                  <a:lnTo>
                    <a:pt x="1800" y="876"/>
                  </a:lnTo>
                  <a:lnTo>
                    <a:pt x="1798" y="876"/>
                  </a:lnTo>
                  <a:lnTo>
                    <a:pt x="1798" y="874"/>
                  </a:lnTo>
                  <a:lnTo>
                    <a:pt x="1798" y="874"/>
                  </a:lnTo>
                  <a:lnTo>
                    <a:pt x="1800" y="872"/>
                  </a:lnTo>
                  <a:lnTo>
                    <a:pt x="1802" y="872"/>
                  </a:lnTo>
                  <a:lnTo>
                    <a:pt x="1802" y="869"/>
                  </a:lnTo>
                  <a:lnTo>
                    <a:pt x="1802" y="869"/>
                  </a:lnTo>
                  <a:lnTo>
                    <a:pt x="1800" y="869"/>
                  </a:lnTo>
                  <a:lnTo>
                    <a:pt x="1798" y="869"/>
                  </a:lnTo>
                  <a:lnTo>
                    <a:pt x="1800" y="869"/>
                  </a:lnTo>
                  <a:lnTo>
                    <a:pt x="1800" y="869"/>
                  </a:lnTo>
                  <a:lnTo>
                    <a:pt x="1800" y="869"/>
                  </a:lnTo>
                  <a:lnTo>
                    <a:pt x="1802" y="869"/>
                  </a:lnTo>
                  <a:lnTo>
                    <a:pt x="1802" y="869"/>
                  </a:lnTo>
                  <a:lnTo>
                    <a:pt x="1802" y="867"/>
                  </a:lnTo>
                  <a:lnTo>
                    <a:pt x="1802" y="867"/>
                  </a:lnTo>
                  <a:lnTo>
                    <a:pt x="1802" y="867"/>
                  </a:lnTo>
                  <a:lnTo>
                    <a:pt x="1804" y="865"/>
                  </a:lnTo>
                  <a:lnTo>
                    <a:pt x="1806" y="863"/>
                  </a:lnTo>
                  <a:lnTo>
                    <a:pt x="1806" y="863"/>
                  </a:lnTo>
                  <a:lnTo>
                    <a:pt x="1808" y="863"/>
                  </a:lnTo>
                  <a:lnTo>
                    <a:pt x="1808" y="863"/>
                  </a:lnTo>
                  <a:lnTo>
                    <a:pt x="1808" y="863"/>
                  </a:lnTo>
                  <a:lnTo>
                    <a:pt x="1810" y="861"/>
                  </a:lnTo>
                  <a:lnTo>
                    <a:pt x="1810" y="861"/>
                  </a:lnTo>
                  <a:lnTo>
                    <a:pt x="1810" y="861"/>
                  </a:lnTo>
                  <a:lnTo>
                    <a:pt x="1810" y="859"/>
                  </a:lnTo>
                  <a:lnTo>
                    <a:pt x="1810" y="859"/>
                  </a:lnTo>
                  <a:lnTo>
                    <a:pt x="1810" y="859"/>
                  </a:lnTo>
                  <a:lnTo>
                    <a:pt x="1808" y="859"/>
                  </a:lnTo>
                  <a:lnTo>
                    <a:pt x="1808" y="859"/>
                  </a:lnTo>
                  <a:lnTo>
                    <a:pt x="1806" y="861"/>
                  </a:lnTo>
                  <a:lnTo>
                    <a:pt x="1806" y="861"/>
                  </a:lnTo>
                  <a:lnTo>
                    <a:pt x="1804" y="861"/>
                  </a:lnTo>
                  <a:lnTo>
                    <a:pt x="1802" y="861"/>
                  </a:lnTo>
                  <a:lnTo>
                    <a:pt x="1802" y="861"/>
                  </a:lnTo>
                  <a:lnTo>
                    <a:pt x="1800" y="861"/>
                  </a:lnTo>
                  <a:lnTo>
                    <a:pt x="1800" y="863"/>
                  </a:lnTo>
                  <a:lnTo>
                    <a:pt x="1798" y="863"/>
                  </a:lnTo>
                  <a:lnTo>
                    <a:pt x="1798" y="863"/>
                  </a:lnTo>
                  <a:lnTo>
                    <a:pt x="1794" y="863"/>
                  </a:lnTo>
                  <a:lnTo>
                    <a:pt x="1794" y="863"/>
                  </a:lnTo>
                  <a:lnTo>
                    <a:pt x="1796" y="863"/>
                  </a:lnTo>
                  <a:lnTo>
                    <a:pt x="1798" y="861"/>
                  </a:lnTo>
                  <a:lnTo>
                    <a:pt x="1800" y="861"/>
                  </a:lnTo>
                  <a:lnTo>
                    <a:pt x="1800" y="859"/>
                  </a:lnTo>
                  <a:lnTo>
                    <a:pt x="1800" y="859"/>
                  </a:lnTo>
                  <a:lnTo>
                    <a:pt x="1800" y="859"/>
                  </a:lnTo>
                  <a:lnTo>
                    <a:pt x="1800" y="857"/>
                  </a:lnTo>
                  <a:lnTo>
                    <a:pt x="1798" y="859"/>
                  </a:lnTo>
                  <a:lnTo>
                    <a:pt x="1796" y="857"/>
                  </a:lnTo>
                  <a:lnTo>
                    <a:pt x="1796" y="857"/>
                  </a:lnTo>
                  <a:lnTo>
                    <a:pt x="1796" y="857"/>
                  </a:lnTo>
                  <a:lnTo>
                    <a:pt x="1798" y="857"/>
                  </a:lnTo>
                  <a:lnTo>
                    <a:pt x="1798" y="857"/>
                  </a:lnTo>
                  <a:lnTo>
                    <a:pt x="1798" y="855"/>
                  </a:lnTo>
                  <a:lnTo>
                    <a:pt x="1798" y="855"/>
                  </a:lnTo>
                  <a:lnTo>
                    <a:pt x="1794" y="857"/>
                  </a:lnTo>
                  <a:lnTo>
                    <a:pt x="1794" y="857"/>
                  </a:lnTo>
                  <a:lnTo>
                    <a:pt x="1798" y="855"/>
                  </a:lnTo>
                  <a:lnTo>
                    <a:pt x="1798" y="853"/>
                  </a:lnTo>
                  <a:lnTo>
                    <a:pt x="1798" y="853"/>
                  </a:lnTo>
                  <a:lnTo>
                    <a:pt x="1798" y="853"/>
                  </a:lnTo>
                  <a:lnTo>
                    <a:pt x="1800" y="851"/>
                  </a:lnTo>
                  <a:lnTo>
                    <a:pt x="1800" y="851"/>
                  </a:lnTo>
                  <a:lnTo>
                    <a:pt x="1802" y="849"/>
                  </a:lnTo>
                  <a:lnTo>
                    <a:pt x="1802" y="849"/>
                  </a:lnTo>
                  <a:lnTo>
                    <a:pt x="1802" y="847"/>
                  </a:lnTo>
                  <a:lnTo>
                    <a:pt x="1802" y="847"/>
                  </a:lnTo>
                  <a:lnTo>
                    <a:pt x="1800" y="845"/>
                  </a:lnTo>
                  <a:lnTo>
                    <a:pt x="1798" y="845"/>
                  </a:lnTo>
                  <a:lnTo>
                    <a:pt x="1796" y="845"/>
                  </a:lnTo>
                  <a:lnTo>
                    <a:pt x="1792" y="845"/>
                  </a:lnTo>
                  <a:lnTo>
                    <a:pt x="1792" y="845"/>
                  </a:lnTo>
                  <a:lnTo>
                    <a:pt x="1792" y="845"/>
                  </a:lnTo>
                  <a:lnTo>
                    <a:pt x="1790" y="845"/>
                  </a:lnTo>
                  <a:lnTo>
                    <a:pt x="1790" y="847"/>
                  </a:lnTo>
                  <a:lnTo>
                    <a:pt x="1790" y="847"/>
                  </a:lnTo>
                  <a:lnTo>
                    <a:pt x="1790" y="845"/>
                  </a:lnTo>
                  <a:lnTo>
                    <a:pt x="1790" y="845"/>
                  </a:lnTo>
                  <a:lnTo>
                    <a:pt x="1790" y="843"/>
                  </a:lnTo>
                  <a:lnTo>
                    <a:pt x="1790" y="843"/>
                  </a:lnTo>
                  <a:lnTo>
                    <a:pt x="1788" y="843"/>
                  </a:lnTo>
                  <a:lnTo>
                    <a:pt x="1788" y="845"/>
                  </a:lnTo>
                  <a:lnTo>
                    <a:pt x="1786" y="845"/>
                  </a:lnTo>
                  <a:lnTo>
                    <a:pt x="1786" y="847"/>
                  </a:lnTo>
                  <a:lnTo>
                    <a:pt x="1784" y="847"/>
                  </a:lnTo>
                  <a:lnTo>
                    <a:pt x="1784" y="847"/>
                  </a:lnTo>
                  <a:lnTo>
                    <a:pt x="1782" y="847"/>
                  </a:lnTo>
                  <a:lnTo>
                    <a:pt x="1782" y="847"/>
                  </a:lnTo>
                  <a:lnTo>
                    <a:pt x="1782" y="847"/>
                  </a:lnTo>
                  <a:lnTo>
                    <a:pt x="1782" y="847"/>
                  </a:lnTo>
                  <a:lnTo>
                    <a:pt x="1782" y="847"/>
                  </a:lnTo>
                  <a:lnTo>
                    <a:pt x="1780" y="849"/>
                  </a:lnTo>
                  <a:lnTo>
                    <a:pt x="1780" y="849"/>
                  </a:lnTo>
                  <a:lnTo>
                    <a:pt x="1780" y="849"/>
                  </a:lnTo>
                  <a:lnTo>
                    <a:pt x="1780" y="851"/>
                  </a:lnTo>
                  <a:lnTo>
                    <a:pt x="1780" y="851"/>
                  </a:lnTo>
                  <a:lnTo>
                    <a:pt x="1777" y="851"/>
                  </a:lnTo>
                  <a:lnTo>
                    <a:pt x="1777" y="851"/>
                  </a:lnTo>
                  <a:lnTo>
                    <a:pt x="1777" y="851"/>
                  </a:lnTo>
                  <a:lnTo>
                    <a:pt x="1777" y="849"/>
                  </a:lnTo>
                  <a:lnTo>
                    <a:pt x="1777" y="847"/>
                  </a:lnTo>
                  <a:lnTo>
                    <a:pt x="1780" y="847"/>
                  </a:lnTo>
                  <a:lnTo>
                    <a:pt x="1780" y="845"/>
                  </a:lnTo>
                  <a:lnTo>
                    <a:pt x="1780" y="843"/>
                  </a:lnTo>
                  <a:lnTo>
                    <a:pt x="1780" y="843"/>
                  </a:lnTo>
                  <a:lnTo>
                    <a:pt x="1777" y="843"/>
                  </a:lnTo>
                  <a:lnTo>
                    <a:pt x="1777" y="843"/>
                  </a:lnTo>
                  <a:lnTo>
                    <a:pt x="1777" y="845"/>
                  </a:lnTo>
                  <a:lnTo>
                    <a:pt x="1777" y="845"/>
                  </a:lnTo>
                  <a:lnTo>
                    <a:pt x="1777" y="845"/>
                  </a:lnTo>
                  <a:lnTo>
                    <a:pt x="1777" y="845"/>
                  </a:lnTo>
                  <a:lnTo>
                    <a:pt x="1777" y="845"/>
                  </a:lnTo>
                  <a:lnTo>
                    <a:pt x="1777" y="845"/>
                  </a:lnTo>
                  <a:lnTo>
                    <a:pt x="1777" y="843"/>
                  </a:lnTo>
                  <a:lnTo>
                    <a:pt x="1775" y="845"/>
                  </a:lnTo>
                  <a:lnTo>
                    <a:pt x="1773" y="845"/>
                  </a:lnTo>
                  <a:lnTo>
                    <a:pt x="1771" y="843"/>
                  </a:lnTo>
                  <a:lnTo>
                    <a:pt x="1767" y="845"/>
                  </a:lnTo>
                  <a:lnTo>
                    <a:pt x="1767" y="845"/>
                  </a:lnTo>
                  <a:lnTo>
                    <a:pt x="1769" y="843"/>
                  </a:lnTo>
                  <a:lnTo>
                    <a:pt x="1769" y="841"/>
                  </a:lnTo>
                  <a:lnTo>
                    <a:pt x="1769" y="841"/>
                  </a:lnTo>
                  <a:lnTo>
                    <a:pt x="1769" y="841"/>
                  </a:lnTo>
                  <a:lnTo>
                    <a:pt x="1769" y="841"/>
                  </a:lnTo>
                  <a:lnTo>
                    <a:pt x="1767" y="841"/>
                  </a:lnTo>
                  <a:lnTo>
                    <a:pt x="1767" y="841"/>
                  </a:lnTo>
                  <a:lnTo>
                    <a:pt x="1765" y="841"/>
                  </a:lnTo>
                  <a:lnTo>
                    <a:pt x="1767" y="838"/>
                  </a:lnTo>
                  <a:lnTo>
                    <a:pt x="1771" y="836"/>
                  </a:lnTo>
                  <a:lnTo>
                    <a:pt x="1773" y="836"/>
                  </a:lnTo>
                  <a:lnTo>
                    <a:pt x="1775" y="834"/>
                  </a:lnTo>
                  <a:lnTo>
                    <a:pt x="1775" y="834"/>
                  </a:lnTo>
                  <a:lnTo>
                    <a:pt x="1775" y="834"/>
                  </a:lnTo>
                  <a:lnTo>
                    <a:pt x="1773" y="834"/>
                  </a:lnTo>
                  <a:lnTo>
                    <a:pt x="1771" y="834"/>
                  </a:lnTo>
                  <a:lnTo>
                    <a:pt x="1769" y="834"/>
                  </a:lnTo>
                  <a:lnTo>
                    <a:pt x="1769" y="834"/>
                  </a:lnTo>
                  <a:lnTo>
                    <a:pt x="1767" y="834"/>
                  </a:lnTo>
                  <a:lnTo>
                    <a:pt x="1765" y="834"/>
                  </a:lnTo>
                  <a:lnTo>
                    <a:pt x="1765" y="834"/>
                  </a:lnTo>
                  <a:lnTo>
                    <a:pt x="1765" y="834"/>
                  </a:lnTo>
                  <a:lnTo>
                    <a:pt x="1767" y="832"/>
                  </a:lnTo>
                  <a:lnTo>
                    <a:pt x="1765" y="832"/>
                  </a:lnTo>
                  <a:lnTo>
                    <a:pt x="1765" y="832"/>
                  </a:lnTo>
                  <a:lnTo>
                    <a:pt x="1765" y="832"/>
                  </a:lnTo>
                  <a:lnTo>
                    <a:pt x="1763" y="834"/>
                  </a:lnTo>
                  <a:lnTo>
                    <a:pt x="1763" y="834"/>
                  </a:lnTo>
                  <a:lnTo>
                    <a:pt x="1761" y="836"/>
                  </a:lnTo>
                  <a:lnTo>
                    <a:pt x="1761" y="836"/>
                  </a:lnTo>
                  <a:lnTo>
                    <a:pt x="1759" y="838"/>
                  </a:lnTo>
                  <a:lnTo>
                    <a:pt x="1757" y="841"/>
                  </a:lnTo>
                  <a:lnTo>
                    <a:pt x="1757" y="841"/>
                  </a:lnTo>
                  <a:lnTo>
                    <a:pt x="1757" y="841"/>
                  </a:lnTo>
                  <a:lnTo>
                    <a:pt x="1757" y="838"/>
                  </a:lnTo>
                  <a:lnTo>
                    <a:pt x="1757" y="838"/>
                  </a:lnTo>
                  <a:lnTo>
                    <a:pt x="1755" y="838"/>
                  </a:lnTo>
                  <a:lnTo>
                    <a:pt x="1757" y="838"/>
                  </a:lnTo>
                  <a:lnTo>
                    <a:pt x="1757" y="836"/>
                  </a:lnTo>
                  <a:lnTo>
                    <a:pt x="1757" y="836"/>
                  </a:lnTo>
                  <a:lnTo>
                    <a:pt x="1757" y="836"/>
                  </a:lnTo>
                  <a:lnTo>
                    <a:pt x="1757" y="834"/>
                  </a:lnTo>
                  <a:lnTo>
                    <a:pt x="1757" y="834"/>
                  </a:lnTo>
                  <a:lnTo>
                    <a:pt x="1759" y="832"/>
                  </a:lnTo>
                  <a:lnTo>
                    <a:pt x="1761" y="830"/>
                  </a:lnTo>
                  <a:lnTo>
                    <a:pt x="1761" y="828"/>
                  </a:lnTo>
                  <a:lnTo>
                    <a:pt x="1761" y="828"/>
                  </a:lnTo>
                  <a:lnTo>
                    <a:pt x="1761" y="826"/>
                  </a:lnTo>
                  <a:lnTo>
                    <a:pt x="1763" y="826"/>
                  </a:lnTo>
                  <a:lnTo>
                    <a:pt x="1765" y="824"/>
                  </a:lnTo>
                  <a:lnTo>
                    <a:pt x="1765" y="822"/>
                  </a:lnTo>
                  <a:lnTo>
                    <a:pt x="1767" y="820"/>
                  </a:lnTo>
                  <a:lnTo>
                    <a:pt x="1767" y="820"/>
                  </a:lnTo>
                  <a:lnTo>
                    <a:pt x="1767" y="820"/>
                  </a:lnTo>
                  <a:lnTo>
                    <a:pt x="1769" y="818"/>
                  </a:lnTo>
                  <a:lnTo>
                    <a:pt x="1769" y="818"/>
                  </a:lnTo>
                  <a:lnTo>
                    <a:pt x="1771" y="816"/>
                  </a:lnTo>
                  <a:lnTo>
                    <a:pt x="1771" y="814"/>
                  </a:lnTo>
                  <a:lnTo>
                    <a:pt x="1771" y="814"/>
                  </a:lnTo>
                  <a:lnTo>
                    <a:pt x="1771" y="812"/>
                  </a:lnTo>
                  <a:lnTo>
                    <a:pt x="1771" y="812"/>
                  </a:lnTo>
                  <a:lnTo>
                    <a:pt x="1769" y="812"/>
                  </a:lnTo>
                  <a:lnTo>
                    <a:pt x="1769" y="812"/>
                  </a:lnTo>
                  <a:lnTo>
                    <a:pt x="1769" y="812"/>
                  </a:lnTo>
                  <a:lnTo>
                    <a:pt x="1767" y="812"/>
                  </a:lnTo>
                  <a:lnTo>
                    <a:pt x="1767" y="812"/>
                  </a:lnTo>
                  <a:lnTo>
                    <a:pt x="1767" y="810"/>
                  </a:lnTo>
                  <a:lnTo>
                    <a:pt x="1767" y="810"/>
                  </a:lnTo>
                  <a:lnTo>
                    <a:pt x="1769" y="810"/>
                  </a:lnTo>
                  <a:lnTo>
                    <a:pt x="1771" y="810"/>
                  </a:lnTo>
                  <a:lnTo>
                    <a:pt x="1773" y="808"/>
                  </a:lnTo>
                  <a:lnTo>
                    <a:pt x="1773" y="808"/>
                  </a:lnTo>
                  <a:lnTo>
                    <a:pt x="1775" y="808"/>
                  </a:lnTo>
                  <a:lnTo>
                    <a:pt x="1775" y="805"/>
                  </a:lnTo>
                  <a:lnTo>
                    <a:pt x="1775" y="805"/>
                  </a:lnTo>
                  <a:close/>
                  <a:moveTo>
                    <a:pt x="1452" y="1571"/>
                  </a:moveTo>
                  <a:lnTo>
                    <a:pt x="1452" y="1569"/>
                  </a:lnTo>
                  <a:lnTo>
                    <a:pt x="1452" y="1569"/>
                  </a:lnTo>
                  <a:lnTo>
                    <a:pt x="1452" y="1569"/>
                  </a:lnTo>
                  <a:lnTo>
                    <a:pt x="1452" y="1569"/>
                  </a:lnTo>
                  <a:lnTo>
                    <a:pt x="1452" y="1569"/>
                  </a:lnTo>
                  <a:lnTo>
                    <a:pt x="1452" y="1571"/>
                  </a:lnTo>
                  <a:lnTo>
                    <a:pt x="1452" y="1571"/>
                  </a:lnTo>
                  <a:close/>
                  <a:moveTo>
                    <a:pt x="1501" y="2300"/>
                  </a:moveTo>
                  <a:lnTo>
                    <a:pt x="1501" y="2302"/>
                  </a:lnTo>
                  <a:lnTo>
                    <a:pt x="1503" y="2302"/>
                  </a:lnTo>
                  <a:lnTo>
                    <a:pt x="1505" y="2302"/>
                  </a:lnTo>
                  <a:lnTo>
                    <a:pt x="1505" y="2302"/>
                  </a:lnTo>
                  <a:lnTo>
                    <a:pt x="1507" y="2300"/>
                  </a:lnTo>
                  <a:lnTo>
                    <a:pt x="1507" y="2300"/>
                  </a:lnTo>
                  <a:lnTo>
                    <a:pt x="1507" y="2300"/>
                  </a:lnTo>
                  <a:lnTo>
                    <a:pt x="1507" y="2298"/>
                  </a:lnTo>
                  <a:lnTo>
                    <a:pt x="1507" y="2298"/>
                  </a:lnTo>
                  <a:lnTo>
                    <a:pt x="1507" y="2294"/>
                  </a:lnTo>
                  <a:lnTo>
                    <a:pt x="1507" y="2292"/>
                  </a:lnTo>
                  <a:lnTo>
                    <a:pt x="1505" y="2292"/>
                  </a:lnTo>
                  <a:lnTo>
                    <a:pt x="1505" y="2294"/>
                  </a:lnTo>
                  <a:lnTo>
                    <a:pt x="1503" y="2294"/>
                  </a:lnTo>
                  <a:lnTo>
                    <a:pt x="1503" y="2296"/>
                  </a:lnTo>
                  <a:lnTo>
                    <a:pt x="1503" y="2298"/>
                  </a:lnTo>
                  <a:lnTo>
                    <a:pt x="1501" y="2300"/>
                  </a:lnTo>
                  <a:lnTo>
                    <a:pt x="1501" y="2300"/>
                  </a:lnTo>
                  <a:close/>
                  <a:moveTo>
                    <a:pt x="1514" y="2267"/>
                  </a:moveTo>
                  <a:lnTo>
                    <a:pt x="1511" y="2269"/>
                  </a:lnTo>
                  <a:lnTo>
                    <a:pt x="1509" y="2269"/>
                  </a:lnTo>
                  <a:lnTo>
                    <a:pt x="1509" y="2269"/>
                  </a:lnTo>
                  <a:lnTo>
                    <a:pt x="1509" y="2269"/>
                  </a:lnTo>
                  <a:lnTo>
                    <a:pt x="1511" y="2271"/>
                  </a:lnTo>
                  <a:lnTo>
                    <a:pt x="1511" y="2269"/>
                  </a:lnTo>
                  <a:lnTo>
                    <a:pt x="1514" y="2269"/>
                  </a:lnTo>
                  <a:lnTo>
                    <a:pt x="1514" y="2269"/>
                  </a:lnTo>
                  <a:lnTo>
                    <a:pt x="1514" y="2269"/>
                  </a:lnTo>
                  <a:lnTo>
                    <a:pt x="1514" y="2269"/>
                  </a:lnTo>
                  <a:lnTo>
                    <a:pt x="1514" y="2267"/>
                  </a:lnTo>
                  <a:lnTo>
                    <a:pt x="1514" y="2267"/>
                  </a:lnTo>
                  <a:close/>
                  <a:moveTo>
                    <a:pt x="817" y="859"/>
                  </a:moveTo>
                  <a:lnTo>
                    <a:pt x="817" y="859"/>
                  </a:lnTo>
                  <a:lnTo>
                    <a:pt x="814" y="857"/>
                  </a:lnTo>
                  <a:lnTo>
                    <a:pt x="814" y="857"/>
                  </a:lnTo>
                  <a:lnTo>
                    <a:pt x="812" y="859"/>
                  </a:lnTo>
                  <a:lnTo>
                    <a:pt x="812" y="859"/>
                  </a:lnTo>
                  <a:lnTo>
                    <a:pt x="812" y="859"/>
                  </a:lnTo>
                  <a:lnTo>
                    <a:pt x="814" y="859"/>
                  </a:lnTo>
                  <a:lnTo>
                    <a:pt x="814" y="859"/>
                  </a:lnTo>
                  <a:lnTo>
                    <a:pt x="814" y="859"/>
                  </a:lnTo>
                  <a:lnTo>
                    <a:pt x="814" y="859"/>
                  </a:lnTo>
                  <a:lnTo>
                    <a:pt x="814" y="859"/>
                  </a:lnTo>
                  <a:lnTo>
                    <a:pt x="814" y="859"/>
                  </a:lnTo>
                  <a:lnTo>
                    <a:pt x="817" y="859"/>
                  </a:lnTo>
                  <a:close/>
                  <a:moveTo>
                    <a:pt x="1425" y="1648"/>
                  </a:moveTo>
                  <a:lnTo>
                    <a:pt x="1425" y="1646"/>
                  </a:lnTo>
                  <a:lnTo>
                    <a:pt x="1425" y="1646"/>
                  </a:lnTo>
                  <a:lnTo>
                    <a:pt x="1425" y="1646"/>
                  </a:lnTo>
                  <a:lnTo>
                    <a:pt x="1427" y="1646"/>
                  </a:lnTo>
                  <a:lnTo>
                    <a:pt x="1425" y="1644"/>
                  </a:lnTo>
                  <a:lnTo>
                    <a:pt x="1425" y="1644"/>
                  </a:lnTo>
                  <a:lnTo>
                    <a:pt x="1423" y="1644"/>
                  </a:lnTo>
                  <a:lnTo>
                    <a:pt x="1423" y="1646"/>
                  </a:lnTo>
                  <a:lnTo>
                    <a:pt x="1423" y="1646"/>
                  </a:lnTo>
                  <a:lnTo>
                    <a:pt x="1423" y="1648"/>
                  </a:lnTo>
                  <a:lnTo>
                    <a:pt x="1423" y="1648"/>
                  </a:lnTo>
                  <a:lnTo>
                    <a:pt x="1423" y="1650"/>
                  </a:lnTo>
                  <a:lnTo>
                    <a:pt x="1423" y="1650"/>
                  </a:lnTo>
                  <a:lnTo>
                    <a:pt x="1425" y="1648"/>
                  </a:lnTo>
                  <a:close/>
                  <a:moveTo>
                    <a:pt x="1439" y="1489"/>
                  </a:moveTo>
                  <a:lnTo>
                    <a:pt x="1439" y="1489"/>
                  </a:lnTo>
                  <a:lnTo>
                    <a:pt x="1437" y="1489"/>
                  </a:lnTo>
                  <a:lnTo>
                    <a:pt x="1439" y="1491"/>
                  </a:lnTo>
                  <a:lnTo>
                    <a:pt x="1439" y="1489"/>
                  </a:lnTo>
                  <a:lnTo>
                    <a:pt x="1439" y="1489"/>
                  </a:lnTo>
                  <a:close/>
                  <a:moveTo>
                    <a:pt x="1507" y="2257"/>
                  </a:moveTo>
                  <a:lnTo>
                    <a:pt x="1505" y="2257"/>
                  </a:lnTo>
                  <a:lnTo>
                    <a:pt x="1505" y="2259"/>
                  </a:lnTo>
                  <a:lnTo>
                    <a:pt x="1505" y="2259"/>
                  </a:lnTo>
                  <a:lnTo>
                    <a:pt x="1507" y="2259"/>
                  </a:lnTo>
                  <a:lnTo>
                    <a:pt x="1509" y="2261"/>
                  </a:lnTo>
                  <a:lnTo>
                    <a:pt x="1511" y="2261"/>
                  </a:lnTo>
                  <a:lnTo>
                    <a:pt x="1511" y="2261"/>
                  </a:lnTo>
                  <a:lnTo>
                    <a:pt x="1514" y="2261"/>
                  </a:lnTo>
                  <a:lnTo>
                    <a:pt x="1514" y="2261"/>
                  </a:lnTo>
                  <a:lnTo>
                    <a:pt x="1516" y="2259"/>
                  </a:lnTo>
                  <a:lnTo>
                    <a:pt x="1516" y="2257"/>
                  </a:lnTo>
                  <a:lnTo>
                    <a:pt x="1516" y="2257"/>
                  </a:lnTo>
                  <a:lnTo>
                    <a:pt x="1518" y="2255"/>
                  </a:lnTo>
                  <a:lnTo>
                    <a:pt x="1520" y="2255"/>
                  </a:lnTo>
                  <a:lnTo>
                    <a:pt x="1520" y="2253"/>
                  </a:lnTo>
                  <a:lnTo>
                    <a:pt x="1518" y="2253"/>
                  </a:lnTo>
                  <a:lnTo>
                    <a:pt x="1518" y="2251"/>
                  </a:lnTo>
                  <a:lnTo>
                    <a:pt x="1516" y="2249"/>
                  </a:lnTo>
                  <a:lnTo>
                    <a:pt x="1516" y="2249"/>
                  </a:lnTo>
                  <a:lnTo>
                    <a:pt x="1514" y="2247"/>
                  </a:lnTo>
                  <a:lnTo>
                    <a:pt x="1516" y="2247"/>
                  </a:lnTo>
                  <a:lnTo>
                    <a:pt x="1516" y="2247"/>
                  </a:lnTo>
                  <a:lnTo>
                    <a:pt x="1516" y="2247"/>
                  </a:lnTo>
                  <a:lnTo>
                    <a:pt x="1518" y="2247"/>
                  </a:lnTo>
                  <a:lnTo>
                    <a:pt x="1520" y="2245"/>
                  </a:lnTo>
                  <a:lnTo>
                    <a:pt x="1518" y="2245"/>
                  </a:lnTo>
                  <a:lnTo>
                    <a:pt x="1518" y="2243"/>
                  </a:lnTo>
                  <a:lnTo>
                    <a:pt x="1520" y="2243"/>
                  </a:lnTo>
                  <a:lnTo>
                    <a:pt x="1520" y="2241"/>
                  </a:lnTo>
                  <a:lnTo>
                    <a:pt x="1520" y="2241"/>
                  </a:lnTo>
                  <a:lnTo>
                    <a:pt x="1520" y="2238"/>
                  </a:lnTo>
                  <a:lnTo>
                    <a:pt x="1518" y="2236"/>
                  </a:lnTo>
                  <a:lnTo>
                    <a:pt x="1518" y="2236"/>
                  </a:lnTo>
                  <a:lnTo>
                    <a:pt x="1516" y="2236"/>
                  </a:lnTo>
                  <a:lnTo>
                    <a:pt x="1511" y="2234"/>
                  </a:lnTo>
                  <a:lnTo>
                    <a:pt x="1509" y="2234"/>
                  </a:lnTo>
                  <a:lnTo>
                    <a:pt x="1511" y="2234"/>
                  </a:lnTo>
                  <a:lnTo>
                    <a:pt x="1511" y="2236"/>
                  </a:lnTo>
                  <a:lnTo>
                    <a:pt x="1511" y="2238"/>
                  </a:lnTo>
                  <a:lnTo>
                    <a:pt x="1509" y="2238"/>
                  </a:lnTo>
                  <a:lnTo>
                    <a:pt x="1509" y="2238"/>
                  </a:lnTo>
                  <a:lnTo>
                    <a:pt x="1509" y="2241"/>
                  </a:lnTo>
                  <a:lnTo>
                    <a:pt x="1509" y="2243"/>
                  </a:lnTo>
                  <a:lnTo>
                    <a:pt x="1509" y="2243"/>
                  </a:lnTo>
                  <a:lnTo>
                    <a:pt x="1509" y="2245"/>
                  </a:lnTo>
                  <a:lnTo>
                    <a:pt x="1509" y="2245"/>
                  </a:lnTo>
                  <a:lnTo>
                    <a:pt x="1509" y="2247"/>
                  </a:lnTo>
                  <a:lnTo>
                    <a:pt x="1509" y="2247"/>
                  </a:lnTo>
                  <a:lnTo>
                    <a:pt x="1507" y="2253"/>
                  </a:lnTo>
                  <a:lnTo>
                    <a:pt x="1507" y="2257"/>
                  </a:lnTo>
                  <a:close/>
                  <a:moveTo>
                    <a:pt x="1516" y="2282"/>
                  </a:moveTo>
                  <a:lnTo>
                    <a:pt x="1516" y="2282"/>
                  </a:lnTo>
                  <a:lnTo>
                    <a:pt x="1514" y="2282"/>
                  </a:lnTo>
                  <a:lnTo>
                    <a:pt x="1514" y="2282"/>
                  </a:lnTo>
                  <a:lnTo>
                    <a:pt x="1514" y="2284"/>
                  </a:lnTo>
                  <a:lnTo>
                    <a:pt x="1514" y="2284"/>
                  </a:lnTo>
                  <a:lnTo>
                    <a:pt x="1516" y="2286"/>
                  </a:lnTo>
                  <a:lnTo>
                    <a:pt x="1516" y="2286"/>
                  </a:lnTo>
                  <a:lnTo>
                    <a:pt x="1516" y="2286"/>
                  </a:lnTo>
                  <a:lnTo>
                    <a:pt x="1516" y="2286"/>
                  </a:lnTo>
                  <a:lnTo>
                    <a:pt x="1516" y="2286"/>
                  </a:lnTo>
                  <a:lnTo>
                    <a:pt x="1518" y="2286"/>
                  </a:lnTo>
                  <a:lnTo>
                    <a:pt x="1516" y="2284"/>
                  </a:lnTo>
                  <a:lnTo>
                    <a:pt x="1516" y="2282"/>
                  </a:lnTo>
                  <a:lnTo>
                    <a:pt x="1516" y="2282"/>
                  </a:lnTo>
                  <a:close/>
                  <a:moveTo>
                    <a:pt x="1503" y="2284"/>
                  </a:moveTo>
                  <a:lnTo>
                    <a:pt x="1505" y="2286"/>
                  </a:lnTo>
                  <a:lnTo>
                    <a:pt x="1505" y="2288"/>
                  </a:lnTo>
                  <a:lnTo>
                    <a:pt x="1507" y="2290"/>
                  </a:lnTo>
                  <a:lnTo>
                    <a:pt x="1509" y="2292"/>
                  </a:lnTo>
                  <a:lnTo>
                    <a:pt x="1509" y="2292"/>
                  </a:lnTo>
                  <a:lnTo>
                    <a:pt x="1509" y="2294"/>
                  </a:lnTo>
                  <a:lnTo>
                    <a:pt x="1511" y="2296"/>
                  </a:lnTo>
                  <a:lnTo>
                    <a:pt x="1514" y="2294"/>
                  </a:lnTo>
                  <a:lnTo>
                    <a:pt x="1514" y="2294"/>
                  </a:lnTo>
                  <a:lnTo>
                    <a:pt x="1514" y="2294"/>
                  </a:lnTo>
                  <a:lnTo>
                    <a:pt x="1514" y="2294"/>
                  </a:lnTo>
                  <a:lnTo>
                    <a:pt x="1516" y="2294"/>
                  </a:lnTo>
                  <a:lnTo>
                    <a:pt x="1516" y="2292"/>
                  </a:lnTo>
                  <a:lnTo>
                    <a:pt x="1516" y="2292"/>
                  </a:lnTo>
                  <a:lnTo>
                    <a:pt x="1516" y="2292"/>
                  </a:lnTo>
                  <a:lnTo>
                    <a:pt x="1514" y="2290"/>
                  </a:lnTo>
                  <a:lnTo>
                    <a:pt x="1514" y="2288"/>
                  </a:lnTo>
                  <a:lnTo>
                    <a:pt x="1514" y="2288"/>
                  </a:lnTo>
                  <a:lnTo>
                    <a:pt x="1514" y="2286"/>
                  </a:lnTo>
                  <a:lnTo>
                    <a:pt x="1514" y="2284"/>
                  </a:lnTo>
                  <a:lnTo>
                    <a:pt x="1511" y="2284"/>
                  </a:lnTo>
                  <a:lnTo>
                    <a:pt x="1511" y="2282"/>
                  </a:lnTo>
                  <a:lnTo>
                    <a:pt x="1511" y="2282"/>
                  </a:lnTo>
                  <a:lnTo>
                    <a:pt x="1511" y="2280"/>
                  </a:lnTo>
                  <a:lnTo>
                    <a:pt x="1514" y="2280"/>
                  </a:lnTo>
                  <a:lnTo>
                    <a:pt x="1514" y="2280"/>
                  </a:lnTo>
                  <a:lnTo>
                    <a:pt x="1516" y="2278"/>
                  </a:lnTo>
                  <a:lnTo>
                    <a:pt x="1516" y="2278"/>
                  </a:lnTo>
                  <a:lnTo>
                    <a:pt x="1516" y="2276"/>
                  </a:lnTo>
                  <a:lnTo>
                    <a:pt x="1514" y="2276"/>
                  </a:lnTo>
                  <a:lnTo>
                    <a:pt x="1514" y="2276"/>
                  </a:lnTo>
                  <a:lnTo>
                    <a:pt x="1514" y="2274"/>
                  </a:lnTo>
                  <a:lnTo>
                    <a:pt x="1511" y="2274"/>
                  </a:lnTo>
                  <a:lnTo>
                    <a:pt x="1509" y="2276"/>
                  </a:lnTo>
                  <a:lnTo>
                    <a:pt x="1509" y="2276"/>
                  </a:lnTo>
                  <a:lnTo>
                    <a:pt x="1509" y="2278"/>
                  </a:lnTo>
                  <a:lnTo>
                    <a:pt x="1509" y="2280"/>
                  </a:lnTo>
                  <a:lnTo>
                    <a:pt x="1507" y="2280"/>
                  </a:lnTo>
                  <a:lnTo>
                    <a:pt x="1507" y="2280"/>
                  </a:lnTo>
                  <a:lnTo>
                    <a:pt x="1505" y="2280"/>
                  </a:lnTo>
                  <a:lnTo>
                    <a:pt x="1503" y="2280"/>
                  </a:lnTo>
                  <a:lnTo>
                    <a:pt x="1505" y="2282"/>
                  </a:lnTo>
                  <a:lnTo>
                    <a:pt x="1503" y="2284"/>
                  </a:lnTo>
                  <a:lnTo>
                    <a:pt x="1503" y="2284"/>
                  </a:lnTo>
                  <a:close/>
                  <a:moveTo>
                    <a:pt x="1522" y="2282"/>
                  </a:moveTo>
                  <a:lnTo>
                    <a:pt x="1520" y="2282"/>
                  </a:lnTo>
                  <a:lnTo>
                    <a:pt x="1520" y="2284"/>
                  </a:lnTo>
                  <a:lnTo>
                    <a:pt x="1520" y="2284"/>
                  </a:lnTo>
                  <a:lnTo>
                    <a:pt x="1520" y="2286"/>
                  </a:lnTo>
                  <a:lnTo>
                    <a:pt x="1520" y="2286"/>
                  </a:lnTo>
                  <a:lnTo>
                    <a:pt x="1522" y="2286"/>
                  </a:lnTo>
                  <a:lnTo>
                    <a:pt x="1526" y="2286"/>
                  </a:lnTo>
                  <a:lnTo>
                    <a:pt x="1528" y="2284"/>
                  </a:lnTo>
                  <a:lnTo>
                    <a:pt x="1528" y="2284"/>
                  </a:lnTo>
                  <a:lnTo>
                    <a:pt x="1528" y="2282"/>
                  </a:lnTo>
                  <a:lnTo>
                    <a:pt x="1528" y="2280"/>
                  </a:lnTo>
                  <a:lnTo>
                    <a:pt x="1528" y="2280"/>
                  </a:lnTo>
                  <a:lnTo>
                    <a:pt x="1526" y="2278"/>
                  </a:lnTo>
                  <a:lnTo>
                    <a:pt x="1522" y="2278"/>
                  </a:lnTo>
                  <a:lnTo>
                    <a:pt x="1522" y="2278"/>
                  </a:lnTo>
                  <a:lnTo>
                    <a:pt x="1522" y="2278"/>
                  </a:lnTo>
                  <a:lnTo>
                    <a:pt x="1522" y="2280"/>
                  </a:lnTo>
                  <a:lnTo>
                    <a:pt x="1522" y="2280"/>
                  </a:lnTo>
                  <a:lnTo>
                    <a:pt x="1522" y="2282"/>
                  </a:lnTo>
                  <a:close/>
                  <a:moveTo>
                    <a:pt x="1501" y="2263"/>
                  </a:moveTo>
                  <a:lnTo>
                    <a:pt x="1501" y="2263"/>
                  </a:lnTo>
                  <a:lnTo>
                    <a:pt x="1499" y="2263"/>
                  </a:lnTo>
                  <a:lnTo>
                    <a:pt x="1499" y="2265"/>
                  </a:lnTo>
                  <a:lnTo>
                    <a:pt x="1499" y="2265"/>
                  </a:lnTo>
                  <a:lnTo>
                    <a:pt x="1499" y="2265"/>
                  </a:lnTo>
                  <a:lnTo>
                    <a:pt x="1501" y="2265"/>
                  </a:lnTo>
                  <a:lnTo>
                    <a:pt x="1501" y="2265"/>
                  </a:lnTo>
                  <a:lnTo>
                    <a:pt x="1501" y="2265"/>
                  </a:lnTo>
                  <a:lnTo>
                    <a:pt x="1501" y="2263"/>
                  </a:lnTo>
                  <a:close/>
                  <a:moveTo>
                    <a:pt x="590" y="1755"/>
                  </a:moveTo>
                  <a:lnTo>
                    <a:pt x="590" y="1755"/>
                  </a:lnTo>
                  <a:lnTo>
                    <a:pt x="590" y="1755"/>
                  </a:lnTo>
                  <a:lnTo>
                    <a:pt x="590" y="1755"/>
                  </a:lnTo>
                  <a:lnTo>
                    <a:pt x="590" y="1755"/>
                  </a:lnTo>
                  <a:lnTo>
                    <a:pt x="590" y="1755"/>
                  </a:lnTo>
                  <a:lnTo>
                    <a:pt x="590" y="1755"/>
                  </a:lnTo>
                  <a:close/>
                  <a:moveTo>
                    <a:pt x="951" y="1179"/>
                  </a:moveTo>
                  <a:lnTo>
                    <a:pt x="951" y="1179"/>
                  </a:lnTo>
                  <a:lnTo>
                    <a:pt x="949" y="1177"/>
                  </a:lnTo>
                  <a:lnTo>
                    <a:pt x="949" y="1177"/>
                  </a:lnTo>
                  <a:lnTo>
                    <a:pt x="946" y="1175"/>
                  </a:lnTo>
                  <a:lnTo>
                    <a:pt x="946" y="1177"/>
                  </a:lnTo>
                  <a:lnTo>
                    <a:pt x="946" y="1179"/>
                  </a:lnTo>
                  <a:lnTo>
                    <a:pt x="949" y="1179"/>
                  </a:lnTo>
                  <a:lnTo>
                    <a:pt x="951" y="1183"/>
                  </a:lnTo>
                  <a:lnTo>
                    <a:pt x="953" y="1183"/>
                  </a:lnTo>
                  <a:lnTo>
                    <a:pt x="953" y="1183"/>
                  </a:lnTo>
                  <a:lnTo>
                    <a:pt x="953" y="1183"/>
                  </a:lnTo>
                  <a:lnTo>
                    <a:pt x="953" y="1179"/>
                  </a:lnTo>
                  <a:lnTo>
                    <a:pt x="951" y="1179"/>
                  </a:lnTo>
                  <a:close/>
                  <a:moveTo>
                    <a:pt x="982" y="1229"/>
                  </a:moveTo>
                  <a:lnTo>
                    <a:pt x="982" y="1231"/>
                  </a:lnTo>
                  <a:lnTo>
                    <a:pt x="982" y="1233"/>
                  </a:lnTo>
                  <a:lnTo>
                    <a:pt x="982" y="1233"/>
                  </a:lnTo>
                  <a:lnTo>
                    <a:pt x="982" y="1231"/>
                  </a:lnTo>
                  <a:lnTo>
                    <a:pt x="982" y="1231"/>
                  </a:lnTo>
                  <a:lnTo>
                    <a:pt x="982" y="1231"/>
                  </a:lnTo>
                  <a:lnTo>
                    <a:pt x="982" y="1231"/>
                  </a:lnTo>
                  <a:lnTo>
                    <a:pt x="982" y="1229"/>
                  </a:lnTo>
                  <a:lnTo>
                    <a:pt x="982" y="1229"/>
                  </a:lnTo>
                  <a:close/>
                  <a:moveTo>
                    <a:pt x="930" y="1142"/>
                  </a:moveTo>
                  <a:lnTo>
                    <a:pt x="930" y="1142"/>
                  </a:lnTo>
                  <a:lnTo>
                    <a:pt x="930" y="1142"/>
                  </a:lnTo>
                  <a:lnTo>
                    <a:pt x="930" y="1142"/>
                  </a:lnTo>
                  <a:lnTo>
                    <a:pt x="932" y="1142"/>
                  </a:lnTo>
                  <a:lnTo>
                    <a:pt x="932" y="1142"/>
                  </a:lnTo>
                  <a:lnTo>
                    <a:pt x="930" y="1142"/>
                  </a:lnTo>
                  <a:lnTo>
                    <a:pt x="930" y="1142"/>
                  </a:lnTo>
                  <a:close/>
                  <a:moveTo>
                    <a:pt x="965" y="1181"/>
                  </a:moveTo>
                  <a:lnTo>
                    <a:pt x="965" y="1181"/>
                  </a:lnTo>
                  <a:lnTo>
                    <a:pt x="963" y="1181"/>
                  </a:lnTo>
                  <a:lnTo>
                    <a:pt x="963" y="1181"/>
                  </a:lnTo>
                  <a:lnTo>
                    <a:pt x="961" y="1187"/>
                  </a:lnTo>
                  <a:lnTo>
                    <a:pt x="963" y="1187"/>
                  </a:lnTo>
                  <a:lnTo>
                    <a:pt x="965" y="1187"/>
                  </a:lnTo>
                  <a:lnTo>
                    <a:pt x="965" y="1187"/>
                  </a:lnTo>
                  <a:lnTo>
                    <a:pt x="967" y="1185"/>
                  </a:lnTo>
                  <a:lnTo>
                    <a:pt x="965" y="1183"/>
                  </a:lnTo>
                  <a:lnTo>
                    <a:pt x="965" y="1181"/>
                  </a:lnTo>
                  <a:close/>
                  <a:moveTo>
                    <a:pt x="1497" y="2288"/>
                  </a:moveTo>
                  <a:lnTo>
                    <a:pt x="1497" y="2288"/>
                  </a:lnTo>
                  <a:lnTo>
                    <a:pt x="1497" y="2288"/>
                  </a:lnTo>
                  <a:lnTo>
                    <a:pt x="1497" y="2286"/>
                  </a:lnTo>
                  <a:lnTo>
                    <a:pt x="1495" y="2286"/>
                  </a:lnTo>
                  <a:lnTo>
                    <a:pt x="1495" y="2286"/>
                  </a:lnTo>
                  <a:lnTo>
                    <a:pt x="1495" y="2286"/>
                  </a:lnTo>
                  <a:lnTo>
                    <a:pt x="1495" y="2288"/>
                  </a:lnTo>
                  <a:lnTo>
                    <a:pt x="1495" y="2288"/>
                  </a:lnTo>
                  <a:lnTo>
                    <a:pt x="1497" y="2288"/>
                  </a:lnTo>
                  <a:close/>
                  <a:moveTo>
                    <a:pt x="1441" y="1489"/>
                  </a:moveTo>
                  <a:lnTo>
                    <a:pt x="1441" y="1489"/>
                  </a:lnTo>
                  <a:lnTo>
                    <a:pt x="1441" y="1489"/>
                  </a:lnTo>
                  <a:lnTo>
                    <a:pt x="1441" y="1489"/>
                  </a:lnTo>
                  <a:lnTo>
                    <a:pt x="1441" y="1487"/>
                  </a:lnTo>
                  <a:lnTo>
                    <a:pt x="1441" y="1487"/>
                  </a:lnTo>
                  <a:lnTo>
                    <a:pt x="1441" y="1487"/>
                  </a:lnTo>
                  <a:lnTo>
                    <a:pt x="1441" y="1487"/>
                  </a:lnTo>
                  <a:lnTo>
                    <a:pt x="1441" y="1489"/>
                  </a:lnTo>
                  <a:lnTo>
                    <a:pt x="1441" y="1489"/>
                  </a:lnTo>
                  <a:lnTo>
                    <a:pt x="1441" y="1489"/>
                  </a:lnTo>
                  <a:close/>
                  <a:moveTo>
                    <a:pt x="990" y="1245"/>
                  </a:moveTo>
                  <a:lnTo>
                    <a:pt x="988" y="1245"/>
                  </a:lnTo>
                  <a:lnTo>
                    <a:pt x="988" y="1245"/>
                  </a:lnTo>
                  <a:lnTo>
                    <a:pt x="988" y="1245"/>
                  </a:lnTo>
                  <a:lnTo>
                    <a:pt x="988" y="1245"/>
                  </a:lnTo>
                  <a:lnTo>
                    <a:pt x="990" y="1247"/>
                  </a:lnTo>
                  <a:lnTo>
                    <a:pt x="990" y="1247"/>
                  </a:lnTo>
                  <a:lnTo>
                    <a:pt x="990" y="1245"/>
                  </a:lnTo>
                  <a:lnTo>
                    <a:pt x="990" y="1245"/>
                  </a:lnTo>
                  <a:close/>
                  <a:moveTo>
                    <a:pt x="1000" y="1256"/>
                  </a:moveTo>
                  <a:lnTo>
                    <a:pt x="1000" y="1258"/>
                  </a:lnTo>
                  <a:lnTo>
                    <a:pt x="1000" y="1258"/>
                  </a:lnTo>
                  <a:lnTo>
                    <a:pt x="1000" y="1258"/>
                  </a:lnTo>
                  <a:lnTo>
                    <a:pt x="1000" y="1258"/>
                  </a:lnTo>
                  <a:lnTo>
                    <a:pt x="1000" y="1258"/>
                  </a:lnTo>
                  <a:lnTo>
                    <a:pt x="1000" y="1256"/>
                  </a:lnTo>
                  <a:lnTo>
                    <a:pt x="1000" y="1256"/>
                  </a:lnTo>
                  <a:close/>
                  <a:moveTo>
                    <a:pt x="1874" y="1984"/>
                  </a:moveTo>
                  <a:lnTo>
                    <a:pt x="1872" y="1987"/>
                  </a:lnTo>
                  <a:lnTo>
                    <a:pt x="1872" y="1989"/>
                  </a:lnTo>
                  <a:lnTo>
                    <a:pt x="1874" y="1989"/>
                  </a:lnTo>
                  <a:lnTo>
                    <a:pt x="1874" y="1989"/>
                  </a:lnTo>
                  <a:lnTo>
                    <a:pt x="1874" y="1987"/>
                  </a:lnTo>
                  <a:lnTo>
                    <a:pt x="1874" y="1987"/>
                  </a:lnTo>
                  <a:lnTo>
                    <a:pt x="1874" y="1984"/>
                  </a:lnTo>
                  <a:close/>
                  <a:moveTo>
                    <a:pt x="732" y="777"/>
                  </a:moveTo>
                  <a:lnTo>
                    <a:pt x="730" y="774"/>
                  </a:lnTo>
                  <a:lnTo>
                    <a:pt x="730" y="772"/>
                  </a:lnTo>
                  <a:lnTo>
                    <a:pt x="728" y="772"/>
                  </a:lnTo>
                  <a:lnTo>
                    <a:pt x="726" y="772"/>
                  </a:lnTo>
                  <a:lnTo>
                    <a:pt x="726" y="772"/>
                  </a:lnTo>
                  <a:lnTo>
                    <a:pt x="726" y="774"/>
                  </a:lnTo>
                  <a:lnTo>
                    <a:pt x="726" y="777"/>
                  </a:lnTo>
                  <a:lnTo>
                    <a:pt x="724" y="777"/>
                  </a:lnTo>
                  <a:lnTo>
                    <a:pt x="724" y="779"/>
                  </a:lnTo>
                  <a:lnTo>
                    <a:pt x="724" y="779"/>
                  </a:lnTo>
                  <a:lnTo>
                    <a:pt x="726" y="781"/>
                  </a:lnTo>
                  <a:lnTo>
                    <a:pt x="726" y="781"/>
                  </a:lnTo>
                  <a:lnTo>
                    <a:pt x="726" y="783"/>
                  </a:lnTo>
                  <a:lnTo>
                    <a:pt x="728" y="785"/>
                  </a:lnTo>
                  <a:lnTo>
                    <a:pt x="730" y="785"/>
                  </a:lnTo>
                  <a:lnTo>
                    <a:pt x="730" y="783"/>
                  </a:lnTo>
                  <a:lnTo>
                    <a:pt x="730" y="783"/>
                  </a:lnTo>
                  <a:lnTo>
                    <a:pt x="730" y="785"/>
                  </a:lnTo>
                  <a:lnTo>
                    <a:pt x="730" y="787"/>
                  </a:lnTo>
                  <a:lnTo>
                    <a:pt x="730" y="787"/>
                  </a:lnTo>
                  <a:lnTo>
                    <a:pt x="730" y="789"/>
                  </a:lnTo>
                  <a:lnTo>
                    <a:pt x="732" y="791"/>
                  </a:lnTo>
                  <a:lnTo>
                    <a:pt x="732" y="791"/>
                  </a:lnTo>
                  <a:lnTo>
                    <a:pt x="734" y="789"/>
                  </a:lnTo>
                  <a:lnTo>
                    <a:pt x="734" y="787"/>
                  </a:lnTo>
                  <a:lnTo>
                    <a:pt x="734" y="785"/>
                  </a:lnTo>
                  <a:lnTo>
                    <a:pt x="734" y="779"/>
                  </a:lnTo>
                  <a:lnTo>
                    <a:pt x="732" y="777"/>
                  </a:lnTo>
                  <a:close/>
                  <a:moveTo>
                    <a:pt x="728" y="785"/>
                  </a:moveTo>
                  <a:lnTo>
                    <a:pt x="724" y="781"/>
                  </a:lnTo>
                  <a:lnTo>
                    <a:pt x="724" y="781"/>
                  </a:lnTo>
                  <a:lnTo>
                    <a:pt x="724" y="781"/>
                  </a:lnTo>
                  <a:lnTo>
                    <a:pt x="724" y="781"/>
                  </a:lnTo>
                  <a:lnTo>
                    <a:pt x="724" y="783"/>
                  </a:lnTo>
                  <a:lnTo>
                    <a:pt x="724" y="783"/>
                  </a:lnTo>
                  <a:lnTo>
                    <a:pt x="726" y="785"/>
                  </a:lnTo>
                  <a:lnTo>
                    <a:pt x="726" y="785"/>
                  </a:lnTo>
                  <a:lnTo>
                    <a:pt x="728" y="789"/>
                  </a:lnTo>
                  <a:lnTo>
                    <a:pt x="728" y="787"/>
                  </a:lnTo>
                  <a:lnTo>
                    <a:pt x="728" y="785"/>
                  </a:lnTo>
                  <a:lnTo>
                    <a:pt x="728" y="785"/>
                  </a:lnTo>
                  <a:close/>
                  <a:moveTo>
                    <a:pt x="736" y="789"/>
                  </a:moveTo>
                  <a:lnTo>
                    <a:pt x="736" y="787"/>
                  </a:lnTo>
                  <a:lnTo>
                    <a:pt x="738" y="783"/>
                  </a:lnTo>
                  <a:lnTo>
                    <a:pt x="738" y="783"/>
                  </a:lnTo>
                  <a:lnTo>
                    <a:pt x="736" y="783"/>
                  </a:lnTo>
                  <a:lnTo>
                    <a:pt x="734" y="783"/>
                  </a:lnTo>
                  <a:lnTo>
                    <a:pt x="736" y="787"/>
                  </a:lnTo>
                  <a:lnTo>
                    <a:pt x="736" y="787"/>
                  </a:lnTo>
                  <a:lnTo>
                    <a:pt x="736" y="787"/>
                  </a:lnTo>
                  <a:lnTo>
                    <a:pt x="736" y="789"/>
                  </a:lnTo>
                  <a:lnTo>
                    <a:pt x="734" y="789"/>
                  </a:lnTo>
                  <a:lnTo>
                    <a:pt x="736" y="789"/>
                  </a:lnTo>
                  <a:lnTo>
                    <a:pt x="736" y="789"/>
                  </a:lnTo>
                  <a:lnTo>
                    <a:pt x="736" y="789"/>
                  </a:lnTo>
                  <a:close/>
                  <a:moveTo>
                    <a:pt x="736" y="1958"/>
                  </a:moveTo>
                  <a:lnTo>
                    <a:pt x="736" y="1958"/>
                  </a:lnTo>
                  <a:lnTo>
                    <a:pt x="736" y="1958"/>
                  </a:lnTo>
                  <a:lnTo>
                    <a:pt x="736" y="1958"/>
                  </a:lnTo>
                  <a:lnTo>
                    <a:pt x="736" y="1958"/>
                  </a:lnTo>
                  <a:lnTo>
                    <a:pt x="736" y="1958"/>
                  </a:lnTo>
                  <a:lnTo>
                    <a:pt x="738" y="1958"/>
                  </a:lnTo>
                  <a:lnTo>
                    <a:pt x="738" y="1958"/>
                  </a:lnTo>
                  <a:lnTo>
                    <a:pt x="736" y="1958"/>
                  </a:lnTo>
                  <a:close/>
                  <a:moveTo>
                    <a:pt x="761" y="838"/>
                  </a:moveTo>
                  <a:lnTo>
                    <a:pt x="761" y="838"/>
                  </a:lnTo>
                  <a:lnTo>
                    <a:pt x="759" y="836"/>
                  </a:lnTo>
                  <a:lnTo>
                    <a:pt x="759" y="836"/>
                  </a:lnTo>
                  <a:lnTo>
                    <a:pt x="757" y="836"/>
                  </a:lnTo>
                  <a:lnTo>
                    <a:pt x="757" y="838"/>
                  </a:lnTo>
                  <a:lnTo>
                    <a:pt x="757" y="838"/>
                  </a:lnTo>
                  <a:lnTo>
                    <a:pt x="757" y="838"/>
                  </a:lnTo>
                  <a:lnTo>
                    <a:pt x="757" y="838"/>
                  </a:lnTo>
                  <a:lnTo>
                    <a:pt x="757" y="838"/>
                  </a:lnTo>
                  <a:lnTo>
                    <a:pt x="759" y="841"/>
                  </a:lnTo>
                  <a:lnTo>
                    <a:pt x="759" y="841"/>
                  </a:lnTo>
                  <a:lnTo>
                    <a:pt x="761" y="841"/>
                  </a:lnTo>
                  <a:lnTo>
                    <a:pt x="761" y="841"/>
                  </a:lnTo>
                  <a:lnTo>
                    <a:pt x="761" y="841"/>
                  </a:lnTo>
                  <a:lnTo>
                    <a:pt x="761" y="841"/>
                  </a:lnTo>
                  <a:lnTo>
                    <a:pt x="761" y="838"/>
                  </a:lnTo>
                  <a:close/>
                  <a:moveTo>
                    <a:pt x="722" y="774"/>
                  </a:moveTo>
                  <a:lnTo>
                    <a:pt x="720" y="774"/>
                  </a:lnTo>
                  <a:lnTo>
                    <a:pt x="720" y="774"/>
                  </a:lnTo>
                  <a:lnTo>
                    <a:pt x="720" y="774"/>
                  </a:lnTo>
                  <a:lnTo>
                    <a:pt x="720" y="774"/>
                  </a:lnTo>
                  <a:lnTo>
                    <a:pt x="720" y="777"/>
                  </a:lnTo>
                  <a:lnTo>
                    <a:pt x="722" y="777"/>
                  </a:lnTo>
                  <a:lnTo>
                    <a:pt x="722" y="779"/>
                  </a:lnTo>
                  <a:lnTo>
                    <a:pt x="722" y="779"/>
                  </a:lnTo>
                  <a:lnTo>
                    <a:pt x="722" y="779"/>
                  </a:lnTo>
                  <a:lnTo>
                    <a:pt x="722" y="777"/>
                  </a:lnTo>
                  <a:lnTo>
                    <a:pt x="722" y="774"/>
                  </a:lnTo>
                  <a:close/>
                  <a:moveTo>
                    <a:pt x="711" y="768"/>
                  </a:moveTo>
                  <a:lnTo>
                    <a:pt x="709" y="766"/>
                  </a:lnTo>
                  <a:lnTo>
                    <a:pt x="707" y="766"/>
                  </a:lnTo>
                  <a:lnTo>
                    <a:pt x="707" y="766"/>
                  </a:lnTo>
                  <a:lnTo>
                    <a:pt x="705" y="766"/>
                  </a:lnTo>
                  <a:lnTo>
                    <a:pt x="707" y="768"/>
                  </a:lnTo>
                  <a:lnTo>
                    <a:pt x="709" y="770"/>
                  </a:lnTo>
                  <a:lnTo>
                    <a:pt x="711" y="770"/>
                  </a:lnTo>
                  <a:lnTo>
                    <a:pt x="713" y="774"/>
                  </a:lnTo>
                  <a:lnTo>
                    <a:pt x="716" y="774"/>
                  </a:lnTo>
                  <a:lnTo>
                    <a:pt x="716" y="774"/>
                  </a:lnTo>
                  <a:lnTo>
                    <a:pt x="716" y="774"/>
                  </a:lnTo>
                  <a:lnTo>
                    <a:pt x="716" y="772"/>
                  </a:lnTo>
                  <a:lnTo>
                    <a:pt x="713" y="768"/>
                  </a:lnTo>
                  <a:lnTo>
                    <a:pt x="711" y="768"/>
                  </a:lnTo>
                  <a:close/>
                  <a:moveTo>
                    <a:pt x="707" y="762"/>
                  </a:moveTo>
                  <a:lnTo>
                    <a:pt x="707" y="762"/>
                  </a:lnTo>
                  <a:lnTo>
                    <a:pt x="707" y="760"/>
                  </a:lnTo>
                  <a:lnTo>
                    <a:pt x="709" y="760"/>
                  </a:lnTo>
                  <a:lnTo>
                    <a:pt x="709" y="760"/>
                  </a:lnTo>
                  <a:lnTo>
                    <a:pt x="709" y="758"/>
                  </a:lnTo>
                  <a:lnTo>
                    <a:pt x="709" y="758"/>
                  </a:lnTo>
                  <a:lnTo>
                    <a:pt x="707" y="756"/>
                  </a:lnTo>
                  <a:lnTo>
                    <a:pt x="707" y="756"/>
                  </a:lnTo>
                  <a:lnTo>
                    <a:pt x="705" y="758"/>
                  </a:lnTo>
                  <a:lnTo>
                    <a:pt x="703" y="758"/>
                  </a:lnTo>
                  <a:lnTo>
                    <a:pt x="703" y="760"/>
                  </a:lnTo>
                  <a:lnTo>
                    <a:pt x="703" y="760"/>
                  </a:lnTo>
                  <a:lnTo>
                    <a:pt x="703" y="760"/>
                  </a:lnTo>
                  <a:lnTo>
                    <a:pt x="703" y="762"/>
                  </a:lnTo>
                  <a:lnTo>
                    <a:pt x="703" y="762"/>
                  </a:lnTo>
                  <a:lnTo>
                    <a:pt x="703" y="762"/>
                  </a:lnTo>
                  <a:lnTo>
                    <a:pt x="703" y="762"/>
                  </a:lnTo>
                  <a:lnTo>
                    <a:pt x="703" y="760"/>
                  </a:lnTo>
                  <a:lnTo>
                    <a:pt x="703" y="760"/>
                  </a:lnTo>
                  <a:lnTo>
                    <a:pt x="703" y="760"/>
                  </a:lnTo>
                  <a:lnTo>
                    <a:pt x="705" y="760"/>
                  </a:lnTo>
                  <a:lnTo>
                    <a:pt x="705" y="760"/>
                  </a:lnTo>
                  <a:lnTo>
                    <a:pt x="705" y="762"/>
                  </a:lnTo>
                  <a:lnTo>
                    <a:pt x="707" y="762"/>
                  </a:lnTo>
                  <a:close/>
                  <a:moveTo>
                    <a:pt x="724" y="774"/>
                  </a:moveTo>
                  <a:lnTo>
                    <a:pt x="724" y="772"/>
                  </a:lnTo>
                  <a:lnTo>
                    <a:pt x="724" y="772"/>
                  </a:lnTo>
                  <a:lnTo>
                    <a:pt x="724" y="770"/>
                  </a:lnTo>
                  <a:lnTo>
                    <a:pt x="724" y="772"/>
                  </a:lnTo>
                  <a:lnTo>
                    <a:pt x="724" y="772"/>
                  </a:lnTo>
                  <a:lnTo>
                    <a:pt x="722" y="774"/>
                  </a:lnTo>
                  <a:lnTo>
                    <a:pt x="722" y="774"/>
                  </a:lnTo>
                  <a:lnTo>
                    <a:pt x="722" y="774"/>
                  </a:lnTo>
                  <a:lnTo>
                    <a:pt x="724" y="774"/>
                  </a:lnTo>
                  <a:lnTo>
                    <a:pt x="724" y="777"/>
                  </a:lnTo>
                  <a:lnTo>
                    <a:pt x="724" y="777"/>
                  </a:lnTo>
                  <a:lnTo>
                    <a:pt x="724" y="774"/>
                  </a:lnTo>
                  <a:close/>
                  <a:moveTo>
                    <a:pt x="701" y="746"/>
                  </a:moveTo>
                  <a:lnTo>
                    <a:pt x="699" y="746"/>
                  </a:lnTo>
                  <a:lnTo>
                    <a:pt x="699" y="746"/>
                  </a:lnTo>
                  <a:lnTo>
                    <a:pt x="699" y="748"/>
                  </a:lnTo>
                  <a:lnTo>
                    <a:pt x="699" y="750"/>
                  </a:lnTo>
                  <a:lnTo>
                    <a:pt x="699" y="750"/>
                  </a:lnTo>
                  <a:lnTo>
                    <a:pt x="699" y="750"/>
                  </a:lnTo>
                  <a:lnTo>
                    <a:pt x="701" y="748"/>
                  </a:lnTo>
                  <a:lnTo>
                    <a:pt x="701" y="748"/>
                  </a:lnTo>
                  <a:lnTo>
                    <a:pt x="701" y="748"/>
                  </a:lnTo>
                  <a:lnTo>
                    <a:pt x="701" y="746"/>
                  </a:lnTo>
                  <a:lnTo>
                    <a:pt x="701" y="746"/>
                  </a:lnTo>
                  <a:close/>
                  <a:moveTo>
                    <a:pt x="769" y="847"/>
                  </a:moveTo>
                  <a:lnTo>
                    <a:pt x="767" y="845"/>
                  </a:lnTo>
                  <a:lnTo>
                    <a:pt x="767" y="847"/>
                  </a:lnTo>
                  <a:lnTo>
                    <a:pt x="767" y="847"/>
                  </a:lnTo>
                  <a:lnTo>
                    <a:pt x="767" y="847"/>
                  </a:lnTo>
                  <a:lnTo>
                    <a:pt x="769" y="847"/>
                  </a:lnTo>
                  <a:lnTo>
                    <a:pt x="769" y="847"/>
                  </a:lnTo>
                  <a:lnTo>
                    <a:pt x="769" y="847"/>
                  </a:lnTo>
                  <a:close/>
                  <a:moveTo>
                    <a:pt x="862" y="1117"/>
                  </a:moveTo>
                  <a:lnTo>
                    <a:pt x="862" y="1117"/>
                  </a:lnTo>
                  <a:lnTo>
                    <a:pt x="862" y="1117"/>
                  </a:lnTo>
                  <a:lnTo>
                    <a:pt x="862" y="1119"/>
                  </a:lnTo>
                  <a:lnTo>
                    <a:pt x="862" y="1119"/>
                  </a:lnTo>
                  <a:lnTo>
                    <a:pt x="864" y="1119"/>
                  </a:lnTo>
                  <a:lnTo>
                    <a:pt x="864" y="1119"/>
                  </a:lnTo>
                  <a:lnTo>
                    <a:pt x="862" y="1117"/>
                  </a:lnTo>
                  <a:close/>
                  <a:moveTo>
                    <a:pt x="850" y="1105"/>
                  </a:moveTo>
                  <a:lnTo>
                    <a:pt x="850" y="1105"/>
                  </a:lnTo>
                  <a:lnTo>
                    <a:pt x="850" y="1107"/>
                  </a:lnTo>
                  <a:lnTo>
                    <a:pt x="850" y="1107"/>
                  </a:lnTo>
                  <a:lnTo>
                    <a:pt x="852" y="1107"/>
                  </a:lnTo>
                  <a:lnTo>
                    <a:pt x="850" y="1105"/>
                  </a:lnTo>
                  <a:lnTo>
                    <a:pt x="850" y="1105"/>
                  </a:lnTo>
                  <a:close/>
                  <a:moveTo>
                    <a:pt x="794" y="861"/>
                  </a:moveTo>
                  <a:lnTo>
                    <a:pt x="796" y="863"/>
                  </a:lnTo>
                  <a:lnTo>
                    <a:pt x="800" y="863"/>
                  </a:lnTo>
                  <a:lnTo>
                    <a:pt x="804" y="865"/>
                  </a:lnTo>
                  <a:lnTo>
                    <a:pt x="804" y="865"/>
                  </a:lnTo>
                  <a:lnTo>
                    <a:pt x="804" y="865"/>
                  </a:lnTo>
                  <a:lnTo>
                    <a:pt x="806" y="863"/>
                  </a:lnTo>
                  <a:lnTo>
                    <a:pt x="806" y="863"/>
                  </a:lnTo>
                  <a:lnTo>
                    <a:pt x="808" y="863"/>
                  </a:lnTo>
                  <a:lnTo>
                    <a:pt x="808" y="863"/>
                  </a:lnTo>
                  <a:lnTo>
                    <a:pt x="808" y="863"/>
                  </a:lnTo>
                  <a:lnTo>
                    <a:pt x="808" y="859"/>
                  </a:lnTo>
                  <a:lnTo>
                    <a:pt x="806" y="859"/>
                  </a:lnTo>
                  <a:lnTo>
                    <a:pt x="806" y="857"/>
                  </a:lnTo>
                  <a:lnTo>
                    <a:pt x="806" y="857"/>
                  </a:lnTo>
                  <a:lnTo>
                    <a:pt x="806" y="859"/>
                  </a:lnTo>
                  <a:lnTo>
                    <a:pt x="806" y="859"/>
                  </a:lnTo>
                  <a:lnTo>
                    <a:pt x="806" y="859"/>
                  </a:lnTo>
                  <a:lnTo>
                    <a:pt x="804" y="855"/>
                  </a:lnTo>
                  <a:lnTo>
                    <a:pt x="802" y="853"/>
                  </a:lnTo>
                  <a:lnTo>
                    <a:pt x="800" y="851"/>
                  </a:lnTo>
                  <a:lnTo>
                    <a:pt x="800" y="851"/>
                  </a:lnTo>
                  <a:lnTo>
                    <a:pt x="800" y="849"/>
                  </a:lnTo>
                  <a:lnTo>
                    <a:pt x="798" y="849"/>
                  </a:lnTo>
                  <a:lnTo>
                    <a:pt x="796" y="847"/>
                  </a:lnTo>
                  <a:lnTo>
                    <a:pt x="792" y="845"/>
                  </a:lnTo>
                  <a:lnTo>
                    <a:pt x="790" y="845"/>
                  </a:lnTo>
                  <a:lnTo>
                    <a:pt x="786" y="843"/>
                  </a:lnTo>
                  <a:lnTo>
                    <a:pt x="786" y="841"/>
                  </a:lnTo>
                  <a:lnTo>
                    <a:pt x="786" y="841"/>
                  </a:lnTo>
                  <a:lnTo>
                    <a:pt x="786" y="841"/>
                  </a:lnTo>
                  <a:lnTo>
                    <a:pt x="786" y="838"/>
                  </a:lnTo>
                  <a:lnTo>
                    <a:pt x="784" y="836"/>
                  </a:lnTo>
                  <a:lnTo>
                    <a:pt x="782" y="834"/>
                  </a:lnTo>
                  <a:lnTo>
                    <a:pt x="779" y="832"/>
                  </a:lnTo>
                  <a:lnTo>
                    <a:pt x="777" y="830"/>
                  </a:lnTo>
                  <a:lnTo>
                    <a:pt x="777" y="828"/>
                  </a:lnTo>
                  <a:lnTo>
                    <a:pt x="777" y="828"/>
                  </a:lnTo>
                  <a:lnTo>
                    <a:pt x="775" y="828"/>
                  </a:lnTo>
                  <a:lnTo>
                    <a:pt x="771" y="826"/>
                  </a:lnTo>
                  <a:lnTo>
                    <a:pt x="767" y="826"/>
                  </a:lnTo>
                  <a:lnTo>
                    <a:pt x="761" y="824"/>
                  </a:lnTo>
                  <a:lnTo>
                    <a:pt x="753" y="822"/>
                  </a:lnTo>
                  <a:lnTo>
                    <a:pt x="746" y="818"/>
                  </a:lnTo>
                  <a:lnTo>
                    <a:pt x="742" y="818"/>
                  </a:lnTo>
                  <a:lnTo>
                    <a:pt x="740" y="818"/>
                  </a:lnTo>
                  <a:lnTo>
                    <a:pt x="738" y="818"/>
                  </a:lnTo>
                  <a:lnTo>
                    <a:pt x="736" y="820"/>
                  </a:lnTo>
                  <a:lnTo>
                    <a:pt x="736" y="820"/>
                  </a:lnTo>
                  <a:lnTo>
                    <a:pt x="736" y="822"/>
                  </a:lnTo>
                  <a:lnTo>
                    <a:pt x="738" y="822"/>
                  </a:lnTo>
                  <a:lnTo>
                    <a:pt x="740" y="824"/>
                  </a:lnTo>
                  <a:lnTo>
                    <a:pt x="740" y="824"/>
                  </a:lnTo>
                  <a:lnTo>
                    <a:pt x="742" y="824"/>
                  </a:lnTo>
                  <a:lnTo>
                    <a:pt x="742" y="824"/>
                  </a:lnTo>
                  <a:lnTo>
                    <a:pt x="744" y="824"/>
                  </a:lnTo>
                  <a:lnTo>
                    <a:pt x="744" y="824"/>
                  </a:lnTo>
                  <a:lnTo>
                    <a:pt x="744" y="822"/>
                  </a:lnTo>
                  <a:lnTo>
                    <a:pt x="749" y="824"/>
                  </a:lnTo>
                  <a:lnTo>
                    <a:pt x="749" y="824"/>
                  </a:lnTo>
                  <a:lnTo>
                    <a:pt x="749" y="824"/>
                  </a:lnTo>
                  <a:lnTo>
                    <a:pt x="749" y="824"/>
                  </a:lnTo>
                  <a:lnTo>
                    <a:pt x="749" y="826"/>
                  </a:lnTo>
                  <a:lnTo>
                    <a:pt x="749" y="826"/>
                  </a:lnTo>
                  <a:lnTo>
                    <a:pt x="746" y="826"/>
                  </a:lnTo>
                  <a:lnTo>
                    <a:pt x="746" y="826"/>
                  </a:lnTo>
                  <a:lnTo>
                    <a:pt x="744" y="826"/>
                  </a:lnTo>
                  <a:lnTo>
                    <a:pt x="742" y="826"/>
                  </a:lnTo>
                  <a:lnTo>
                    <a:pt x="742" y="826"/>
                  </a:lnTo>
                  <a:lnTo>
                    <a:pt x="742" y="828"/>
                  </a:lnTo>
                  <a:lnTo>
                    <a:pt x="742" y="828"/>
                  </a:lnTo>
                  <a:lnTo>
                    <a:pt x="744" y="828"/>
                  </a:lnTo>
                  <a:lnTo>
                    <a:pt x="744" y="828"/>
                  </a:lnTo>
                  <a:lnTo>
                    <a:pt x="744" y="830"/>
                  </a:lnTo>
                  <a:lnTo>
                    <a:pt x="742" y="832"/>
                  </a:lnTo>
                  <a:lnTo>
                    <a:pt x="742" y="832"/>
                  </a:lnTo>
                  <a:lnTo>
                    <a:pt x="744" y="832"/>
                  </a:lnTo>
                  <a:lnTo>
                    <a:pt x="744" y="832"/>
                  </a:lnTo>
                  <a:lnTo>
                    <a:pt x="746" y="830"/>
                  </a:lnTo>
                  <a:lnTo>
                    <a:pt x="749" y="830"/>
                  </a:lnTo>
                  <a:lnTo>
                    <a:pt x="749" y="832"/>
                  </a:lnTo>
                  <a:lnTo>
                    <a:pt x="751" y="832"/>
                  </a:lnTo>
                  <a:lnTo>
                    <a:pt x="751" y="832"/>
                  </a:lnTo>
                  <a:lnTo>
                    <a:pt x="751" y="832"/>
                  </a:lnTo>
                  <a:lnTo>
                    <a:pt x="753" y="832"/>
                  </a:lnTo>
                  <a:lnTo>
                    <a:pt x="753" y="832"/>
                  </a:lnTo>
                  <a:lnTo>
                    <a:pt x="753" y="832"/>
                  </a:lnTo>
                  <a:lnTo>
                    <a:pt x="753" y="832"/>
                  </a:lnTo>
                  <a:lnTo>
                    <a:pt x="753" y="832"/>
                  </a:lnTo>
                  <a:lnTo>
                    <a:pt x="753" y="832"/>
                  </a:lnTo>
                  <a:lnTo>
                    <a:pt x="753" y="832"/>
                  </a:lnTo>
                  <a:lnTo>
                    <a:pt x="753" y="834"/>
                  </a:lnTo>
                  <a:lnTo>
                    <a:pt x="753" y="834"/>
                  </a:lnTo>
                  <a:lnTo>
                    <a:pt x="753" y="836"/>
                  </a:lnTo>
                  <a:lnTo>
                    <a:pt x="755" y="836"/>
                  </a:lnTo>
                  <a:lnTo>
                    <a:pt x="755" y="836"/>
                  </a:lnTo>
                  <a:lnTo>
                    <a:pt x="757" y="836"/>
                  </a:lnTo>
                  <a:lnTo>
                    <a:pt x="757" y="836"/>
                  </a:lnTo>
                  <a:lnTo>
                    <a:pt x="757" y="834"/>
                  </a:lnTo>
                  <a:lnTo>
                    <a:pt x="757" y="834"/>
                  </a:lnTo>
                  <a:lnTo>
                    <a:pt x="757" y="836"/>
                  </a:lnTo>
                  <a:lnTo>
                    <a:pt x="759" y="836"/>
                  </a:lnTo>
                  <a:lnTo>
                    <a:pt x="761" y="836"/>
                  </a:lnTo>
                  <a:lnTo>
                    <a:pt x="761" y="838"/>
                  </a:lnTo>
                  <a:lnTo>
                    <a:pt x="763" y="838"/>
                  </a:lnTo>
                  <a:lnTo>
                    <a:pt x="763" y="838"/>
                  </a:lnTo>
                  <a:lnTo>
                    <a:pt x="763" y="838"/>
                  </a:lnTo>
                  <a:lnTo>
                    <a:pt x="765" y="841"/>
                  </a:lnTo>
                  <a:lnTo>
                    <a:pt x="765" y="841"/>
                  </a:lnTo>
                  <a:lnTo>
                    <a:pt x="767" y="841"/>
                  </a:lnTo>
                  <a:lnTo>
                    <a:pt x="767" y="841"/>
                  </a:lnTo>
                  <a:lnTo>
                    <a:pt x="763" y="841"/>
                  </a:lnTo>
                  <a:lnTo>
                    <a:pt x="763" y="843"/>
                  </a:lnTo>
                  <a:lnTo>
                    <a:pt x="763" y="843"/>
                  </a:lnTo>
                  <a:lnTo>
                    <a:pt x="761" y="843"/>
                  </a:lnTo>
                  <a:lnTo>
                    <a:pt x="763" y="845"/>
                  </a:lnTo>
                  <a:lnTo>
                    <a:pt x="763" y="845"/>
                  </a:lnTo>
                  <a:lnTo>
                    <a:pt x="763" y="845"/>
                  </a:lnTo>
                  <a:lnTo>
                    <a:pt x="763" y="845"/>
                  </a:lnTo>
                  <a:lnTo>
                    <a:pt x="763" y="845"/>
                  </a:lnTo>
                  <a:lnTo>
                    <a:pt x="765" y="845"/>
                  </a:lnTo>
                  <a:lnTo>
                    <a:pt x="765" y="845"/>
                  </a:lnTo>
                  <a:lnTo>
                    <a:pt x="767" y="845"/>
                  </a:lnTo>
                  <a:lnTo>
                    <a:pt x="767" y="845"/>
                  </a:lnTo>
                  <a:lnTo>
                    <a:pt x="767" y="845"/>
                  </a:lnTo>
                  <a:lnTo>
                    <a:pt x="769" y="845"/>
                  </a:lnTo>
                  <a:lnTo>
                    <a:pt x="769" y="845"/>
                  </a:lnTo>
                  <a:lnTo>
                    <a:pt x="769" y="845"/>
                  </a:lnTo>
                  <a:lnTo>
                    <a:pt x="769" y="845"/>
                  </a:lnTo>
                  <a:lnTo>
                    <a:pt x="771" y="845"/>
                  </a:lnTo>
                  <a:lnTo>
                    <a:pt x="771" y="845"/>
                  </a:lnTo>
                  <a:lnTo>
                    <a:pt x="769" y="847"/>
                  </a:lnTo>
                  <a:lnTo>
                    <a:pt x="771" y="849"/>
                  </a:lnTo>
                  <a:lnTo>
                    <a:pt x="771" y="849"/>
                  </a:lnTo>
                  <a:lnTo>
                    <a:pt x="773" y="847"/>
                  </a:lnTo>
                  <a:lnTo>
                    <a:pt x="773" y="847"/>
                  </a:lnTo>
                  <a:lnTo>
                    <a:pt x="773" y="849"/>
                  </a:lnTo>
                  <a:lnTo>
                    <a:pt x="773" y="849"/>
                  </a:lnTo>
                  <a:lnTo>
                    <a:pt x="775" y="849"/>
                  </a:lnTo>
                  <a:lnTo>
                    <a:pt x="775" y="849"/>
                  </a:lnTo>
                  <a:lnTo>
                    <a:pt x="773" y="851"/>
                  </a:lnTo>
                  <a:lnTo>
                    <a:pt x="773" y="851"/>
                  </a:lnTo>
                  <a:lnTo>
                    <a:pt x="773" y="851"/>
                  </a:lnTo>
                  <a:lnTo>
                    <a:pt x="775" y="851"/>
                  </a:lnTo>
                  <a:lnTo>
                    <a:pt x="777" y="853"/>
                  </a:lnTo>
                  <a:lnTo>
                    <a:pt x="777" y="853"/>
                  </a:lnTo>
                  <a:lnTo>
                    <a:pt x="777" y="853"/>
                  </a:lnTo>
                  <a:lnTo>
                    <a:pt x="779" y="853"/>
                  </a:lnTo>
                  <a:lnTo>
                    <a:pt x="782" y="853"/>
                  </a:lnTo>
                  <a:lnTo>
                    <a:pt x="786" y="853"/>
                  </a:lnTo>
                  <a:lnTo>
                    <a:pt x="786" y="851"/>
                  </a:lnTo>
                  <a:lnTo>
                    <a:pt x="786" y="851"/>
                  </a:lnTo>
                  <a:lnTo>
                    <a:pt x="786" y="851"/>
                  </a:lnTo>
                  <a:lnTo>
                    <a:pt x="788" y="849"/>
                  </a:lnTo>
                  <a:lnTo>
                    <a:pt x="788" y="849"/>
                  </a:lnTo>
                  <a:lnTo>
                    <a:pt x="788" y="849"/>
                  </a:lnTo>
                  <a:lnTo>
                    <a:pt x="788" y="851"/>
                  </a:lnTo>
                  <a:lnTo>
                    <a:pt x="786" y="851"/>
                  </a:lnTo>
                  <a:lnTo>
                    <a:pt x="786" y="853"/>
                  </a:lnTo>
                  <a:lnTo>
                    <a:pt x="782" y="855"/>
                  </a:lnTo>
                  <a:lnTo>
                    <a:pt x="782" y="855"/>
                  </a:lnTo>
                  <a:lnTo>
                    <a:pt x="782" y="857"/>
                  </a:lnTo>
                  <a:lnTo>
                    <a:pt x="784" y="857"/>
                  </a:lnTo>
                  <a:lnTo>
                    <a:pt x="786" y="859"/>
                  </a:lnTo>
                  <a:lnTo>
                    <a:pt x="788" y="859"/>
                  </a:lnTo>
                  <a:lnTo>
                    <a:pt x="794" y="861"/>
                  </a:lnTo>
                  <a:close/>
                  <a:moveTo>
                    <a:pt x="804" y="853"/>
                  </a:moveTo>
                  <a:lnTo>
                    <a:pt x="804" y="853"/>
                  </a:lnTo>
                  <a:lnTo>
                    <a:pt x="806" y="857"/>
                  </a:lnTo>
                  <a:lnTo>
                    <a:pt x="806" y="857"/>
                  </a:lnTo>
                  <a:lnTo>
                    <a:pt x="806" y="857"/>
                  </a:lnTo>
                  <a:lnTo>
                    <a:pt x="806" y="857"/>
                  </a:lnTo>
                  <a:lnTo>
                    <a:pt x="806" y="857"/>
                  </a:lnTo>
                  <a:lnTo>
                    <a:pt x="806" y="857"/>
                  </a:lnTo>
                  <a:lnTo>
                    <a:pt x="806" y="855"/>
                  </a:lnTo>
                  <a:lnTo>
                    <a:pt x="806" y="855"/>
                  </a:lnTo>
                  <a:lnTo>
                    <a:pt x="804" y="853"/>
                  </a:lnTo>
                  <a:close/>
                  <a:moveTo>
                    <a:pt x="854" y="1107"/>
                  </a:moveTo>
                  <a:lnTo>
                    <a:pt x="852" y="1107"/>
                  </a:lnTo>
                  <a:lnTo>
                    <a:pt x="854" y="1109"/>
                  </a:lnTo>
                  <a:lnTo>
                    <a:pt x="854" y="1109"/>
                  </a:lnTo>
                  <a:lnTo>
                    <a:pt x="856" y="1109"/>
                  </a:lnTo>
                  <a:lnTo>
                    <a:pt x="856" y="1107"/>
                  </a:lnTo>
                  <a:lnTo>
                    <a:pt x="856" y="1107"/>
                  </a:lnTo>
                  <a:lnTo>
                    <a:pt x="854" y="1107"/>
                  </a:lnTo>
                  <a:close/>
                  <a:moveTo>
                    <a:pt x="862" y="1107"/>
                  </a:moveTo>
                  <a:lnTo>
                    <a:pt x="862" y="1105"/>
                  </a:lnTo>
                  <a:lnTo>
                    <a:pt x="860" y="1107"/>
                  </a:lnTo>
                  <a:lnTo>
                    <a:pt x="858" y="1105"/>
                  </a:lnTo>
                  <a:lnTo>
                    <a:pt x="856" y="1105"/>
                  </a:lnTo>
                  <a:lnTo>
                    <a:pt x="858" y="1107"/>
                  </a:lnTo>
                  <a:lnTo>
                    <a:pt x="858" y="1107"/>
                  </a:lnTo>
                  <a:lnTo>
                    <a:pt x="858" y="1107"/>
                  </a:lnTo>
                  <a:lnTo>
                    <a:pt x="862" y="1107"/>
                  </a:lnTo>
                  <a:lnTo>
                    <a:pt x="862" y="1107"/>
                  </a:lnTo>
                  <a:close/>
                  <a:moveTo>
                    <a:pt x="792" y="841"/>
                  </a:moveTo>
                  <a:lnTo>
                    <a:pt x="792" y="841"/>
                  </a:lnTo>
                  <a:lnTo>
                    <a:pt x="792" y="841"/>
                  </a:lnTo>
                  <a:lnTo>
                    <a:pt x="794" y="843"/>
                  </a:lnTo>
                  <a:lnTo>
                    <a:pt x="796" y="843"/>
                  </a:lnTo>
                  <a:lnTo>
                    <a:pt x="796" y="843"/>
                  </a:lnTo>
                  <a:lnTo>
                    <a:pt x="794" y="841"/>
                  </a:lnTo>
                  <a:lnTo>
                    <a:pt x="792" y="838"/>
                  </a:lnTo>
                  <a:lnTo>
                    <a:pt x="790" y="838"/>
                  </a:lnTo>
                  <a:lnTo>
                    <a:pt x="790" y="838"/>
                  </a:lnTo>
                  <a:lnTo>
                    <a:pt x="790" y="838"/>
                  </a:lnTo>
                  <a:lnTo>
                    <a:pt x="790" y="838"/>
                  </a:lnTo>
                  <a:lnTo>
                    <a:pt x="792" y="841"/>
                  </a:lnTo>
                  <a:close/>
                  <a:moveTo>
                    <a:pt x="782" y="832"/>
                  </a:moveTo>
                  <a:lnTo>
                    <a:pt x="782" y="832"/>
                  </a:lnTo>
                  <a:lnTo>
                    <a:pt x="782" y="830"/>
                  </a:lnTo>
                  <a:lnTo>
                    <a:pt x="784" y="830"/>
                  </a:lnTo>
                  <a:lnTo>
                    <a:pt x="784" y="828"/>
                  </a:lnTo>
                  <a:lnTo>
                    <a:pt x="782" y="828"/>
                  </a:lnTo>
                  <a:lnTo>
                    <a:pt x="782" y="828"/>
                  </a:lnTo>
                  <a:lnTo>
                    <a:pt x="782" y="826"/>
                  </a:lnTo>
                  <a:lnTo>
                    <a:pt x="779" y="826"/>
                  </a:lnTo>
                  <a:lnTo>
                    <a:pt x="779" y="826"/>
                  </a:lnTo>
                  <a:lnTo>
                    <a:pt x="779" y="828"/>
                  </a:lnTo>
                  <a:lnTo>
                    <a:pt x="779" y="828"/>
                  </a:lnTo>
                  <a:lnTo>
                    <a:pt x="779" y="832"/>
                  </a:lnTo>
                  <a:lnTo>
                    <a:pt x="782" y="832"/>
                  </a:lnTo>
                  <a:close/>
                  <a:moveTo>
                    <a:pt x="740" y="808"/>
                  </a:moveTo>
                  <a:lnTo>
                    <a:pt x="742" y="808"/>
                  </a:lnTo>
                  <a:lnTo>
                    <a:pt x="742" y="808"/>
                  </a:lnTo>
                  <a:lnTo>
                    <a:pt x="742" y="808"/>
                  </a:lnTo>
                  <a:lnTo>
                    <a:pt x="742" y="805"/>
                  </a:lnTo>
                  <a:lnTo>
                    <a:pt x="742" y="805"/>
                  </a:lnTo>
                  <a:lnTo>
                    <a:pt x="742" y="803"/>
                  </a:lnTo>
                  <a:lnTo>
                    <a:pt x="742" y="803"/>
                  </a:lnTo>
                  <a:lnTo>
                    <a:pt x="742" y="801"/>
                  </a:lnTo>
                  <a:lnTo>
                    <a:pt x="740" y="801"/>
                  </a:lnTo>
                  <a:lnTo>
                    <a:pt x="740" y="803"/>
                  </a:lnTo>
                  <a:lnTo>
                    <a:pt x="740" y="803"/>
                  </a:lnTo>
                  <a:lnTo>
                    <a:pt x="740" y="803"/>
                  </a:lnTo>
                  <a:lnTo>
                    <a:pt x="740" y="805"/>
                  </a:lnTo>
                  <a:lnTo>
                    <a:pt x="740" y="808"/>
                  </a:lnTo>
                  <a:close/>
                  <a:moveTo>
                    <a:pt x="784" y="832"/>
                  </a:moveTo>
                  <a:lnTo>
                    <a:pt x="784" y="834"/>
                  </a:lnTo>
                  <a:lnTo>
                    <a:pt x="784" y="834"/>
                  </a:lnTo>
                  <a:lnTo>
                    <a:pt x="786" y="832"/>
                  </a:lnTo>
                  <a:lnTo>
                    <a:pt x="786" y="832"/>
                  </a:lnTo>
                  <a:lnTo>
                    <a:pt x="786" y="832"/>
                  </a:lnTo>
                  <a:lnTo>
                    <a:pt x="786" y="830"/>
                  </a:lnTo>
                  <a:lnTo>
                    <a:pt x="784" y="830"/>
                  </a:lnTo>
                  <a:lnTo>
                    <a:pt x="784" y="830"/>
                  </a:lnTo>
                  <a:lnTo>
                    <a:pt x="784" y="830"/>
                  </a:lnTo>
                  <a:lnTo>
                    <a:pt x="784" y="832"/>
                  </a:lnTo>
                  <a:close/>
                  <a:moveTo>
                    <a:pt x="808" y="855"/>
                  </a:moveTo>
                  <a:lnTo>
                    <a:pt x="806" y="855"/>
                  </a:lnTo>
                  <a:lnTo>
                    <a:pt x="806" y="853"/>
                  </a:lnTo>
                  <a:lnTo>
                    <a:pt x="802" y="851"/>
                  </a:lnTo>
                  <a:lnTo>
                    <a:pt x="804" y="851"/>
                  </a:lnTo>
                  <a:lnTo>
                    <a:pt x="804" y="853"/>
                  </a:lnTo>
                  <a:lnTo>
                    <a:pt x="806" y="855"/>
                  </a:lnTo>
                  <a:lnTo>
                    <a:pt x="808" y="855"/>
                  </a:lnTo>
                  <a:close/>
                  <a:moveTo>
                    <a:pt x="647" y="704"/>
                  </a:moveTo>
                  <a:lnTo>
                    <a:pt x="645" y="702"/>
                  </a:lnTo>
                  <a:lnTo>
                    <a:pt x="645" y="698"/>
                  </a:lnTo>
                  <a:lnTo>
                    <a:pt x="643" y="696"/>
                  </a:lnTo>
                  <a:lnTo>
                    <a:pt x="643" y="694"/>
                  </a:lnTo>
                  <a:lnTo>
                    <a:pt x="641" y="692"/>
                  </a:lnTo>
                  <a:lnTo>
                    <a:pt x="641" y="690"/>
                  </a:lnTo>
                  <a:lnTo>
                    <a:pt x="639" y="690"/>
                  </a:lnTo>
                  <a:lnTo>
                    <a:pt x="637" y="688"/>
                  </a:lnTo>
                  <a:lnTo>
                    <a:pt x="635" y="688"/>
                  </a:lnTo>
                  <a:lnTo>
                    <a:pt x="635" y="688"/>
                  </a:lnTo>
                  <a:lnTo>
                    <a:pt x="633" y="690"/>
                  </a:lnTo>
                  <a:lnTo>
                    <a:pt x="633" y="692"/>
                  </a:lnTo>
                  <a:lnTo>
                    <a:pt x="633" y="692"/>
                  </a:lnTo>
                  <a:lnTo>
                    <a:pt x="631" y="692"/>
                  </a:lnTo>
                  <a:lnTo>
                    <a:pt x="631" y="692"/>
                  </a:lnTo>
                  <a:lnTo>
                    <a:pt x="629" y="694"/>
                  </a:lnTo>
                  <a:lnTo>
                    <a:pt x="629" y="694"/>
                  </a:lnTo>
                  <a:lnTo>
                    <a:pt x="631" y="696"/>
                  </a:lnTo>
                  <a:lnTo>
                    <a:pt x="631" y="698"/>
                  </a:lnTo>
                  <a:lnTo>
                    <a:pt x="631" y="698"/>
                  </a:lnTo>
                  <a:lnTo>
                    <a:pt x="633" y="698"/>
                  </a:lnTo>
                  <a:lnTo>
                    <a:pt x="633" y="698"/>
                  </a:lnTo>
                  <a:lnTo>
                    <a:pt x="635" y="694"/>
                  </a:lnTo>
                  <a:lnTo>
                    <a:pt x="635" y="694"/>
                  </a:lnTo>
                  <a:lnTo>
                    <a:pt x="637" y="696"/>
                  </a:lnTo>
                  <a:lnTo>
                    <a:pt x="637" y="698"/>
                  </a:lnTo>
                  <a:lnTo>
                    <a:pt x="637" y="698"/>
                  </a:lnTo>
                  <a:lnTo>
                    <a:pt x="639" y="698"/>
                  </a:lnTo>
                  <a:lnTo>
                    <a:pt x="639" y="698"/>
                  </a:lnTo>
                  <a:lnTo>
                    <a:pt x="637" y="700"/>
                  </a:lnTo>
                  <a:lnTo>
                    <a:pt x="637" y="702"/>
                  </a:lnTo>
                  <a:lnTo>
                    <a:pt x="637" y="702"/>
                  </a:lnTo>
                  <a:lnTo>
                    <a:pt x="637" y="702"/>
                  </a:lnTo>
                  <a:lnTo>
                    <a:pt x="637" y="702"/>
                  </a:lnTo>
                  <a:lnTo>
                    <a:pt x="639" y="702"/>
                  </a:lnTo>
                  <a:lnTo>
                    <a:pt x="639" y="702"/>
                  </a:lnTo>
                  <a:lnTo>
                    <a:pt x="639" y="704"/>
                  </a:lnTo>
                  <a:lnTo>
                    <a:pt x="639" y="704"/>
                  </a:lnTo>
                  <a:lnTo>
                    <a:pt x="641" y="706"/>
                  </a:lnTo>
                  <a:lnTo>
                    <a:pt x="643" y="706"/>
                  </a:lnTo>
                  <a:lnTo>
                    <a:pt x="643" y="706"/>
                  </a:lnTo>
                  <a:lnTo>
                    <a:pt x="643" y="706"/>
                  </a:lnTo>
                  <a:lnTo>
                    <a:pt x="643" y="706"/>
                  </a:lnTo>
                  <a:lnTo>
                    <a:pt x="641" y="706"/>
                  </a:lnTo>
                  <a:lnTo>
                    <a:pt x="641" y="708"/>
                  </a:lnTo>
                  <a:lnTo>
                    <a:pt x="641" y="708"/>
                  </a:lnTo>
                  <a:lnTo>
                    <a:pt x="641" y="710"/>
                  </a:lnTo>
                  <a:lnTo>
                    <a:pt x="643" y="713"/>
                  </a:lnTo>
                  <a:lnTo>
                    <a:pt x="643" y="713"/>
                  </a:lnTo>
                  <a:lnTo>
                    <a:pt x="645" y="715"/>
                  </a:lnTo>
                  <a:lnTo>
                    <a:pt x="645" y="715"/>
                  </a:lnTo>
                  <a:lnTo>
                    <a:pt x="647" y="715"/>
                  </a:lnTo>
                  <a:lnTo>
                    <a:pt x="647" y="713"/>
                  </a:lnTo>
                  <a:lnTo>
                    <a:pt x="647" y="710"/>
                  </a:lnTo>
                  <a:lnTo>
                    <a:pt x="647" y="708"/>
                  </a:lnTo>
                  <a:lnTo>
                    <a:pt x="647" y="708"/>
                  </a:lnTo>
                  <a:lnTo>
                    <a:pt x="647" y="708"/>
                  </a:lnTo>
                  <a:lnTo>
                    <a:pt x="647" y="706"/>
                  </a:lnTo>
                  <a:lnTo>
                    <a:pt x="647" y="704"/>
                  </a:lnTo>
                  <a:lnTo>
                    <a:pt x="647" y="704"/>
                  </a:lnTo>
                  <a:close/>
                  <a:moveTo>
                    <a:pt x="670" y="713"/>
                  </a:moveTo>
                  <a:lnTo>
                    <a:pt x="670" y="713"/>
                  </a:lnTo>
                  <a:lnTo>
                    <a:pt x="672" y="715"/>
                  </a:lnTo>
                  <a:lnTo>
                    <a:pt x="672" y="715"/>
                  </a:lnTo>
                  <a:lnTo>
                    <a:pt x="672" y="715"/>
                  </a:lnTo>
                  <a:lnTo>
                    <a:pt x="674" y="713"/>
                  </a:lnTo>
                  <a:lnTo>
                    <a:pt x="674" y="713"/>
                  </a:lnTo>
                  <a:lnTo>
                    <a:pt x="674" y="713"/>
                  </a:lnTo>
                  <a:lnTo>
                    <a:pt x="674" y="713"/>
                  </a:lnTo>
                  <a:lnTo>
                    <a:pt x="676" y="710"/>
                  </a:lnTo>
                  <a:lnTo>
                    <a:pt x="676" y="710"/>
                  </a:lnTo>
                  <a:lnTo>
                    <a:pt x="674" y="710"/>
                  </a:lnTo>
                  <a:lnTo>
                    <a:pt x="674" y="710"/>
                  </a:lnTo>
                  <a:lnTo>
                    <a:pt x="672" y="710"/>
                  </a:lnTo>
                  <a:lnTo>
                    <a:pt x="670" y="710"/>
                  </a:lnTo>
                  <a:lnTo>
                    <a:pt x="670" y="710"/>
                  </a:lnTo>
                  <a:lnTo>
                    <a:pt x="670" y="713"/>
                  </a:lnTo>
                  <a:close/>
                  <a:moveTo>
                    <a:pt x="654" y="694"/>
                  </a:moveTo>
                  <a:lnTo>
                    <a:pt x="658" y="692"/>
                  </a:lnTo>
                  <a:lnTo>
                    <a:pt x="658" y="692"/>
                  </a:lnTo>
                  <a:lnTo>
                    <a:pt x="658" y="692"/>
                  </a:lnTo>
                  <a:lnTo>
                    <a:pt x="656" y="690"/>
                  </a:lnTo>
                  <a:lnTo>
                    <a:pt x="658" y="690"/>
                  </a:lnTo>
                  <a:lnTo>
                    <a:pt x="656" y="688"/>
                  </a:lnTo>
                  <a:lnTo>
                    <a:pt x="656" y="686"/>
                  </a:lnTo>
                  <a:lnTo>
                    <a:pt x="654" y="684"/>
                  </a:lnTo>
                  <a:lnTo>
                    <a:pt x="652" y="682"/>
                  </a:lnTo>
                  <a:lnTo>
                    <a:pt x="652" y="679"/>
                  </a:lnTo>
                  <a:lnTo>
                    <a:pt x="652" y="677"/>
                  </a:lnTo>
                  <a:lnTo>
                    <a:pt x="652" y="677"/>
                  </a:lnTo>
                  <a:lnTo>
                    <a:pt x="652" y="677"/>
                  </a:lnTo>
                  <a:lnTo>
                    <a:pt x="654" y="677"/>
                  </a:lnTo>
                  <a:lnTo>
                    <a:pt x="654" y="679"/>
                  </a:lnTo>
                  <a:lnTo>
                    <a:pt x="654" y="679"/>
                  </a:lnTo>
                  <a:lnTo>
                    <a:pt x="654" y="682"/>
                  </a:lnTo>
                  <a:lnTo>
                    <a:pt x="656" y="682"/>
                  </a:lnTo>
                  <a:lnTo>
                    <a:pt x="656" y="682"/>
                  </a:lnTo>
                  <a:lnTo>
                    <a:pt x="656" y="684"/>
                  </a:lnTo>
                  <a:lnTo>
                    <a:pt x="658" y="686"/>
                  </a:lnTo>
                  <a:lnTo>
                    <a:pt x="658" y="686"/>
                  </a:lnTo>
                  <a:lnTo>
                    <a:pt x="658" y="686"/>
                  </a:lnTo>
                  <a:lnTo>
                    <a:pt x="658" y="686"/>
                  </a:lnTo>
                  <a:lnTo>
                    <a:pt x="658" y="684"/>
                  </a:lnTo>
                  <a:lnTo>
                    <a:pt x="656" y="682"/>
                  </a:lnTo>
                  <a:lnTo>
                    <a:pt x="656" y="679"/>
                  </a:lnTo>
                  <a:lnTo>
                    <a:pt x="652" y="675"/>
                  </a:lnTo>
                  <a:lnTo>
                    <a:pt x="650" y="675"/>
                  </a:lnTo>
                  <a:lnTo>
                    <a:pt x="645" y="675"/>
                  </a:lnTo>
                  <a:lnTo>
                    <a:pt x="645" y="673"/>
                  </a:lnTo>
                  <a:lnTo>
                    <a:pt x="643" y="671"/>
                  </a:lnTo>
                  <a:lnTo>
                    <a:pt x="643" y="671"/>
                  </a:lnTo>
                  <a:lnTo>
                    <a:pt x="643" y="671"/>
                  </a:lnTo>
                  <a:lnTo>
                    <a:pt x="643" y="673"/>
                  </a:lnTo>
                  <a:lnTo>
                    <a:pt x="643" y="675"/>
                  </a:lnTo>
                  <a:lnTo>
                    <a:pt x="643" y="675"/>
                  </a:lnTo>
                  <a:lnTo>
                    <a:pt x="645" y="677"/>
                  </a:lnTo>
                  <a:lnTo>
                    <a:pt x="645" y="679"/>
                  </a:lnTo>
                  <a:lnTo>
                    <a:pt x="645" y="684"/>
                  </a:lnTo>
                  <a:lnTo>
                    <a:pt x="645" y="686"/>
                  </a:lnTo>
                  <a:lnTo>
                    <a:pt x="647" y="688"/>
                  </a:lnTo>
                  <a:lnTo>
                    <a:pt x="650" y="690"/>
                  </a:lnTo>
                  <a:lnTo>
                    <a:pt x="650" y="690"/>
                  </a:lnTo>
                  <a:lnTo>
                    <a:pt x="647" y="694"/>
                  </a:lnTo>
                  <a:lnTo>
                    <a:pt x="647" y="696"/>
                  </a:lnTo>
                  <a:lnTo>
                    <a:pt x="647" y="696"/>
                  </a:lnTo>
                  <a:lnTo>
                    <a:pt x="647" y="698"/>
                  </a:lnTo>
                  <a:lnTo>
                    <a:pt x="647" y="698"/>
                  </a:lnTo>
                  <a:lnTo>
                    <a:pt x="647" y="698"/>
                  </a:lnTo>
                  <a:lnTo>
                    <a:pt x="650" y="698"/>
                  </a:lnTo>
                  <a:lnTo>
                    <a:pt x="652" y="696"/>
                  </a:lnTo>
                  <a:lnTo>
                    <a:pt x="654" y="694"/>
                  </a:lnTo>
                  <a:close/>
                  <a:moveTo>
                    <a:pt x="678" y="721"/>
                  </a:moveTo>
                  <a:lnTo>
                    <a:pt x="678" y="721"/>
                  </a:lnTo>
                  <a:lnTo>
                    <a:pt x="680" y="721"/>
                  </a:lnTo>
                  <a:lnTo>
                    <a:pt x="680" y="721"/>
                  </a:lnTo>
                  <a:lnTo>
                    <a:pt x="683" y="721"/>
                  </a:lnTo>
                  <a:lnTo>
                    <a:pt x="683" y="721"/>
                  </a:lnTo>
                  <a:lnTo>
                    <a:pt x="683" y="717"/>
                  </a:lnTo>
                  <a:lnTo>
                    <a:pt x="683" y="715"/>
                  </a:lnTo>
                  <a:lnTo>
                    <a:pt x="680" y="710"/>
                  </a:lnTo>
                  <a:lnTo>
                    <a:pt x="680" y="708"/>
                  </a:lnTo>
                  <a:lnTo>
                    <a:pt x="678" y="708"/>
                  </a:lnTo>
                  <a:lnTo>
                    <a:pt x="676" y="713"/>
                  </a:lnTo>
                  <a:lnTo>
                    <a:pt x="676" y="713"/>
                  </a:lnTo>
                  <a:lnTo>
                    <a:pt x="676" y="715"/>
                  </a:lnTo>
                  <a:lnTo>
                    <a:pt x="674" y="715"/>
                  </a:lnTo>
                  <a:lnTo>
                    <a:pt x="674" y="715"/>
                  </a:lnTo>
                  <a:lnTo>
                    <a:pt x="674" y="717"/>
                  </a:lnTo>
                  <a:lnTo>
                    <a:pt x="674" y="717"/>
                  </a:lnTo>
                  <a:lnTo>
                    <a:pt x="676" y="719"/>
                  </a:lnTo>
                  <a:lnTo>
                    <a:pt x="678" y="719"/>
                  </a:lnTo>
                  <a:lnTo>
                    <a:pt x="678" y="719"/>
                  </a:lnTo>
                  <a:lnTo>
                    <a:pt x="678" y="719"/>
                  </a:lnTo>
                  <a:lnTo>
                    <a:pt x="678" y="721"/>
                  </a:lnTo>
                  <a:close/>
                  <a:moveTo>
                    <a:pt x="674" y="706"/>
                  </a:moveTo>
                  <a:lnTo>
                    <a:pt x="672" y="702"/>
                  </a:lnTo>
                  <a:lnTo>
                    <a:pt x="672" y="704"/>
                  </a:lnTo>
                  <a:lnTo>
                    <a:pt x="672" y="706"/>
                  </a:lnTo>
                  <a:lnTo>
                    <a:pt x="670" y="706"/>
                  </a:lnTo>
                  <a:lnTo>
                    <a:pt x="670" y="708"/>
                  </a:lnTo>
                  <a:lnTo>
                    <a:pt x="670" y="708"/>
                  </a:lnTo>
                  <a:lnTo>
                    <a:pt x="672" y="708"/>
                  </a:lnTo>
                  <a:lnTo>
                    <a:pt x="674" y="708"/>
                  </a:lnTo>
                  <a:lnTo>
                    <a:pt x="674" y="708"/>
                  </a:lnTo>
                  <a:lnTo>
                    <a:pt x="674" y="708"/>
                  </a:lnTo>
                  <a:lnTo>
                    <a:pt x="674" y="708"/>
                  </a:lnTo>
                  <a:lnTo>
                    <a:pt x="676" y="708"/>
                  </a:lnTo>
                  <a:lnTo>
                    <a:pt x="676" y="706"/>
                  </a:lnTo>
                  <a:lnTo>
                    <a:pt x="674" y="706"/>
                  </a:lnTo>
                  <a:close/>
                  <a:moveTo>
                    <a:pt x="652" y="675"/>
                  </a:moveTo>
                  <a:lnTo>
                    <a:pt x="652" y="673"/>
                  </a:lnTo>
                  <a:lnTo>
                    <a:pt x="650" y="673"/>
                  </a:lnTo>
                  <a:lnTo>
                    <a:pt x="647" y="671"/>
                  </a:lnTo>
                  <a:lnTo>
                    <a:pt x="647" y="673"/>
                  </a:lnTo>
                  <a:lnTo>
                    <a:pt x="645" y="673"/>
                  </a:lnTo>
                  <a:lnTo>
                    <a:pt x="647" y="673"/>
                  </a:lnTo>
                  <a:lnTo>
                    <a:pt x="650" y="675"/>
                  </a:lnTo>
                  <a:lnTo>
                    <a:pt x="652" y="675"/>
                  </a:lnTo>
                  <a:close/>
                  <a:moveTo>
                    <a:pt x="633" y="690"/>
                  </a:moveTo>
                  <a:lnTo>
                    <a:pt x="633" y="688"/>
                  </a:lnTo>
                  <a:lnTo>
                    <a:pt x="633" y="686"/>
                  </a:lnTo>
                  <a:lnTo>
                    <a:pt x="633" y="686"/>
                  </a:lnTo>
                  <a:lnTo>
                    <a:pt x="635" y="686"/>
                  </a:lnTo>
                  <a:lnTo>
                    <a:pt x="639" y="688"/>
                  </a:lnTo>
                  <a:lnTo>
                    <a:pt x="641" y="688"/>
                  </a:lnTo>
                  <a:lnTo>
                    <a:pt x="643" y="690"/>
                  </a:lnTo>
                  <a:lnTo>
                    <a:pt x="643" y="688"/>
                  </a:lnTo>
                  <a:lnTo>
                    <a:pt x="643" y="686"/>
                  </a:lnTo>
                  <a:lnTo>
                    <a:pt x="641" y="684"/>
                  </a:lnTo>
                  <a:lnTo>
                    <a:pt x="637" y="684"/>
                  </a:lnTo>
                  <a:lnTo>
                    <a:pt x="637" y="684"/>
                  </a:lnTo>
                  <a:lnTo>
                    <a:pt x="639" y="682"/>
                  </a:lnTo>
                  <a:lnTo>
                    <a:pt x="639" y="684"/>
                  </a:lnTo>
                  <a:lnTo>
                    <a:pt x="639" y="684"/>
                  </a:lnTo>
                  <a:lnTo>
                    <a:pt x="641" y="682"/>
                  </a:lnTo>
                  <a:lnTo>
                    <a:pt x="643" y="679"/>
                  </a:lnTo>
                  <a:lnTo>
                    <a:pt x="641" y="677"/>
                  </a:lnTo>
                  <a:lnTo>
                    <a:pt x="641" y="677"/>
                  </a:lnTo>
                  <a:lnTo>
                    <a:pt x="639" y="677"/>
                  </a:lnTo>
                  <a:lnTo>
                    <a:pt x="637" y="675"/>
                  </a:lnTo>
                  <a:lnTo>
                    <a:pt x="637" y="675"/>
                  </a:lnTo>
                  <a:lnTo>
                    <a:pt x="635" y="677"/>
                  </a:lnTo>
                  <a:lnTo>
                    <a:pt x="633" y="679"/>
                  </a:lnTo>
                  <a:lnTo>
                    <a:pt x="633" y="679"/>
                  </a:lnTo>
                  <a:lnTo>
                    <a:pt x="631" y="677"/>
                  </a:lnTo>
                  <a:lnTo>
                    <a:pt x="631" y="677"/>
                  </a:lnTo>
                  <a:lnTo>
                    <a:pt x="633" y="677"/>
                  </a:lnTo>
                  <a:lnTo>
                    <a:pt x="633" y="675"/>
                  </a:lnTo>
                  <a:lnTo>
                    <a:pt x="633" y="675"/>
                  </a:lnTo>
                  <a:lnTo>
                    <a:pt x="631" y="673"/>
                  </a:lnTo>
                  <a:lnTo>
                    <a:pt x="631" y="673"/>
                  </a:lnTo>
                  <a:lnTo>
                    <a:pt x="629" y="673"/>
                  </a:lnTo>
                  <a:lnTo>
                    <a:pt x="629" y="675"/>
                  </a:lnTo>
                  <a:lnTo>
                    <a:pt x="627" y="675"/>
                  </a:lnTo>
                  <a:lnTo>
                    <a:pt x="627" y="675"/>
                  </a:lnTo>
                  <a:lnTo>
                    <a:pt x="625" y="675"/>
                  </a:lnTo>
                  <a:lnTo>
                    <a:pt x="625" y="677"/>
                  </a:lnTo>
                  <a:lnTo>
                    <a:pt x="625" y="675"/>
                  </a:lnTo>
                  <a:lnTo>
                    <a:pt x="623" y="673"/>
                  </a:lnTo>
                  <a:lnTo>
                    <a:pt x="623" y="675"/>
                  </a:lnTo>
                  <a:lnTo>
                    <a:pt x="621" y="677"/>
                  </a:lnTo>
                  <a:lnTo>
                    <a:pt x="621" y="677"/>
                  </a:lnTo>
                  <a:lnTo>
                    <a:pt x="621" y="677"/>
                  </a:lnTo>
                  <a:lnTo>
                    <a:pt x="619" y="679"/>
                  </a:lnTo>
                  <a:lnTo>
                    <a:pt x="621" y="682"/>
                  </a:lnTo>
                  <a:lnTo>
                    <a:pt x="623" y="682"/>
                  </a:lnTo>
                  <a:lnTo>
                    <a:pt x="627" y="686"/>
                  </a:lnTo>
                  <a:lnTo>
                    <a:pt x="627" y="688"/>
                  </a:lnTo>
                  <a:lnTo>
                    <a:pt x="629" y="690"/>
                  </a:lnTo>
                  <a:lnTo>
                    <a:pt x="631" y="690"/>
                  </a:lnTo>
                  <a:lnTo>
                    <a:pt x="633" y="690"/>
                  </a:lnTo>
                  <a:close/>
                  <a:moveTo>
                    <a:pt x="612" y="1867"/>
                  </a:moveTo>
                  <a:lnTo>
                    <a:pt x="614" y="1869"/>
                  </a:lnTo>
                  <a:lnTo>
                    <a:pt x="614" y="1869"/>
                  </a:lnTo>
                  <a:lnTo>
                    <a:pt x="612" y="1867"/>
                  </a:lnTo>
                  <a:lnTo>
                    <a:pt x="612" y="1867"/>
                  </a:lnTo>
                  <a:close/>
                  <a:moveTo>
                    <a:pt x="592" y="1904"/>
                  </a:moveTo>
                  <a:lnTo>
                    <a:pt x="590" y="1904"/>
                  </a:lnTo>
                  <a:lnTo>
                    <a:pt x="592" y="1904"/>
                  </a:lnTo>
                  <a:lnTo>
                    <a:pt x="592" y="1906"/>
                  </a:lnTo>
                  <a:lnTo>
                    <a:pt x="592" y="1906"/>
                  </a:lnTo>
                  <a:lnTo>
                    <a:pt x="592" y="1906"/>
                  </a:lnTo>
                  <a:lnTo>
                    <a:pt x="592" y="1906"/>
                  </a:lnTo>
                  <a:lnTo>
                    <a:pt x="592" y="1904"/>
                  </a:lnTo>
                  <a:close/>
                  <a:moveTo>
                    <a:pt x="623" y="1871"/>
                  </a:moveTo>
                  <a:lnTo>
                    <a:pt x="621" y="1871"/>
                  </a:lnTo>
                  <a:lnTo>
                    <a:pt x="621" y="1871"/>
                  </a:lnTo>
                  <a:lnTo>
                    <a:pt x="621" y="1871"/>
                  </a:lnTo>
                  <a:lnTo>
                    <a:pt x="621" y="1871"/>
                  </a:lnTo>
                  <a:lnTo>
                    <a:pt x="621" y="1871"/>
                  </a:lnTo>
                  <a:lnTo>
                    <a:pt x="623" y="1871"/>
                  </a:lnTo>
                  <a:lnTo>
                    <a:pt x="623" y="1871"/>
                  </a:lnTo>
                  <a:lnTo>
                    <a:pt x="623" y="1871"/>
                  </a:lnTo>
                  <a:lnTo>
                    <a:pt x="623" y="1873"/>
                  </a:lnTo>
                  <a:lnTo>
                    <a:pt x="623" y="1871"/>
                  </a:lnTo>
                  <a:lnTo>
                    <a:pt x="623" y="1871"/>
                  </a:lnTo>
                  <a:lnTo>
                    <a:pt x="623" y="1871"/>
                  </a:lnTo>
                  <a:close/>
                  <a:moveTo>
                    <a:pt x="668" y="741"/>
                  </a:moveTo>
                  <a:lnTo>
                    <a:pt x="670" y="741"/>
                  </a:lnTo>
                  <a:lnTo>
                    <a:pt x="672" y="743"/>
                  </a:lnTo>
                  <a:lnTo>
                    <a:pt x="672" y="746"/>
                  </a:lnTo>
                  <a:lnTo>
                    <a:pt x="674" y="746"/>
                  </a:lnTo>
                  <a:lnTo>
                    <a:pt x="674" y="743"/>
                  </a:lnTo>
                  <a:lnTo>
                    <a:pt x="674" y="743"/>
                  </a:lnTo>
                  <a:lnTo>
                    <a:pt x="674" y="741"/>
                  </a:lnTo>
                  <a:lnTo>
                    <a:pt x="676" y="741"/>
                  </a:lnTo>
                  <a:lnTo>
                    <a:pt x="674" y="741"/>
                  </a:lnTo>
                  <a:lnTo>
                    <a:pt x="674" y="741"/>
                  </a:lnTo>
                  <a:lnTo>
                    <a:pt x="674" y="739"/>
                  </a:lnTo>
                  <a:lnTo>
                    <a:pt x="672" y="741"/>
                  </a:lnTo>
                  <a:lnTo>
                    <a:pt x="672" y="741"/>
                  </a:lnTo>
                  <a:lnTo>
                    <a:pt x="672" y="741"/>
                  </a:lnTo>
                  <a:lnTo>
                    <a:pt x="670" y="739"/>
                  </a:lnTo>
                  <a:lnTo>
                    <a:pt x="670" y="737"/>
                  </a:lnTo>
                  <a:lnTo>
                    <a:pt x="670" y="737"/>
                  </a:lnTo>
                  <a:lnTo>
                    <a:pt x="670" y="735"/>
                  </a:lnTo>
                  <a:lnTo>
                    <a:pt x="668" y="735"/>
                  </a:lnTo>
                  <a:lnTo>
                    <a:pt x="666" y="733"/>
                  </a:lnTo>
                  <a:lnTo>
                    <a:pt x="664" y="733"/>
                  </a:lnTo>
                  <a:lnTo>
                    <a:pt x="664" y="733"/>
                  </a:lnTo>
                  <a:lnTo>
                    <a:pt x="664" y="735"/>
                  </a:lnTo>
                  <a:lnTo>
                    <a:pt x="666" y="735"/>
                  </a:lnTo>
                  <a:lnTo>
                    <a:pt x="666" y="735"/>
                  </a:lnTo>
                  <a:lnTo>
                    <a:pt x="668" y="737"/>
                  </a:lnTo>
                  <a:lnTo>
                    <a:pt x="668" y="739"/>
                  </a:lnTo>
                  <a:lnTo>
                    <a:pt x="668" y="739"/>
                  </a:lnTo>
                  <a:lnTo>
                    <a:pt x="668" y="741"/>
                  </a:lnTo>
                  <a:close/>
                  <a:moveTo>
                    <a:pt x="678" y="774"/>
                  </a:moveTo>
                  <a:lnTo>
                    <a:pt x="685" y="772"/>
                  </a:lnTo>
                  <a:lnTo>
                    <a:pt x="685" y="772"/>
                  </a:lnTo>
                  <a:lnTo>
                    <a:pt x="685" y="770"/>
                  </a:lnTo>
                  <a:lnTo>
                    <a:pt x="685" y="766"/>
                  </a:lnTo>
                  <a:lnTo>
                    <a:pt x="687" y="764"/>
                  </a:lnTo>
                  <a:lnTo>
                    <a:pt x="687" y="762"/>
                  </a:lnTo>
                  <a:lnTo>
                    <a:pt x="689" y="758"/>
                  </a:lnTo>
                  <a:lnTo>
                    <a:pt x="689" y="758"/>
                  </a:lnTo>
                  <a:lnTo>
                    <a:pt x="689" y="756"/>
                  </a:lnTo>
                  <a:lnTo>
                    <a:pt x="689" y="756"/>
                  </a:lnTo>
                  <a:lnTo>
                    <a:pt x="687" y="756"/>
                  </a:lnTo>
                  <a:lnTo>
                    <a:pt x="685" y="758"/>
                  </a:lnTo>
                  <a:lnTo>
                    <a:pt x="683" y="758"/>
                  </a:lnTo>
                  <a:lnTo>
                    <a:pt x="683" y="758"/>
                  </a:lnTo>
                  <a:lnTo>
                    <a:pt x="683" y="760"/>
                  </a:lnTo>
                  <a:lnTo>
                    <a:pt x="683" y="762"/>
                  </a:lnTo>
                  <a:lnTo>
                    <a:pt x="683" y="762"/>
                  </a:lnTo>
                  <a:lnTo>
                    <a:pt x="683" y="764"/>
                  </a:lnTo>
                  <a:lnTo>
                    <a:pt x="683" y="764"/>
                  </a:lnTo>
                  <a:lnTo>
                    <a:pt x="678" y="764"/>
                  </a:lnTo>
                  <a:lnTo>
                    <a:pt x="676" y="764"/>
                  </a:lnTo>
                  <a:lnTo>
                    <a:pt x="676" y="764"/>
                  </a:lnTo>
                  <a:lnTo>
                    <a:pt x="676" y="764"/>
                  </a:lnTo>
                  <a:lnTo>
                    <a:pt x="676" y="764"/>
                  </a:lnTo>
                  <a:lnTo>
                    <a:pt x="680" y="762"/>
                  </a:lnTo>
                  <a:lnTo>
                    <a:pt x="683" y="762"/>
                  </a:lnTo>
                  <a:lnTo>
                    <a:pt x="683" y="760"/>
                  </a:lnTo>
                  <a:lnTo>
                    <a:pt x="683" y="760"/>
                  </a:lnTo>
                  <a:lnTo>
                    <a:pt x="680" y="758"/>
                  </a:lnTo>
                  <a:lnTo>
                    <a:pt x="680" y="758"/>
                  </a:lnTo>
                  <a:lnTo>
                    <a:pt x="680" y="756"/>
                  </a:lnTo>
                  <a:lnTo>
                    <a:pt x="678" y="756"/>
                  </a:lnTo>
                  <a:lnTo>
                    <a:pt x="676" y="758"/>
                  </a:lnTo>
                  <a:lnTo>
                    <a:pt x="674" y="756"/>
                  </a:lnTo>
                  <a:lnTo>
                    <a:pt x="672" y="756"/>
                  </a:lnTo>
                  <a:lnTo>
                    <a:pt x="670" y="756"/>
                  </a:lnTo>
                  <a:lnTo>
                    <a:pt x="670" y="756"/>
                  </a:lnTo>
                  <a:lnTo>
                    <a:pt x="670" y="756"/>
                  </a:lnTo>
                  <a:lnTo>
                    <a:pt x="668" y="758"/>
                  </a:lnTo>
                  <a:lnTo>
                    <a:pt x="668" y="760"/>
                  </a:lnTo>
                  <a:lnTo>
                    <a:pt x="668" y="762"/>
                  </a:lnTo>
                  <a:lnTo>
                    <a:pt x="670" y="762"/>
                  </a:lnTo>
                  <a:lnTo>
                    <a:pt x="672" y="766"/>
                  </a:lnTo>
                  <a:lnTo>
                    <a:pt x="672" y="766"/>
                  </a:lnTo>
                  <a:lnTo>
                    <a:pt x="672" y="766"/>
                  </a:lnTo>
                  <a:lnTo>
                    <a:pt x="672" y="768"/>
                  </a:lnTo>
                  <a:lnTo>
                    <a:pt x="674" y="768"/>
                  </a:lnTo>
                  <a:lnTo>
                    <a:pt x="678" y="770"/>
                  </a:lnTo>
                  <a:lnTo>
                    <a:pt x="678" y="770"/>
                  </a:lnTo>
                  <a:lnTo>
                    <a:pt x="678" y="770"/>
                  </a:lnTo>
                  <a:lnTo>
                    <a:pt x="676" y="770"/>
                  </a:lnTo>
                  <a:lnTo>
                    <a:pt x="674" y="770"/>
                  </a:lnTo>
                  <a:lnTo>
                    <a:pt x="674" y="770"/>
                  </a:lnTo>
                  <a:lnTo>
                    <a:pt x="674" y="772"/>
                  </a:lnTo>
                  <a:lnTo>
                    <a:pt x="674" y="772"/>
                  </a:lnTo>
                  <a:lnTo>
                    <a:pt x="676" y="774"/>
                  </a:lnTo>
                  <a:lnTo>
                    <a:pt x="678" y="774"/>
                  </a:lnTo>
                  <a:close/>
                  <a:moveTo>
                    <a:pt x="693" y="741"/>
                  </a:moveTo>
                  <a:lnTo>
                    <a:pt x="693" y="741"/>
                  </a:lnTo>
                  <a:lnTo>
                    <a:pt x="695" y="741"/>
                  </a:lnTo>
                  <a:lnTo>
                    <a:pt x="695" y="741"/>
                  </a:lnTo>
                  <a:lnTo>
                    <a:pt x="695" y="739"/>
                  </a:lnTo>
                  <a:lnTo>
                    <a:pt x="693" y="737"/>
                  </a:lnTo>
                  <a:lnTo>
                    <a:pt x="693" y="735"/>
                  </a:lnTo>
                  <a:lnTo>
                    <a:pt x="691" y="733"/>
                  </a:lnTo>
                  <a:lnTo>
                    <a:pt x="691" y="733"/>
                  </a:lnTo>
                  <a:lnTo>
                    <a:pt x="691" y="733"/>
                  </a:lnTo>
                  <a:lnTo>
                    <a:pt x="691" y="735"/>
                  </a:lnTo>
                  <a:lnTo>
                    <a:pt x="691" y="735"/>
                  </a:lnTo>
                  <a:lnTo>
                    <a:pt x="691" y="737"/>
                  </a:lnTo>
                  <a:lnTo>
                    <a:pt x="691" y="739"/>
                  </a:lnTo>
                  <a:lnTo>
                    <a:pt x="691" y="737"/>
                  </a:lnTo>
                  <a:lnTo>
                    <a:pt x="691" y="737"/>
                  </a:lnTo>
                  <a:lnTo>
                    <a:pt x="693" y="739"/>
                  </a:lnTo>
                  <a:lnTo>
                    <a:pt x="693" y="739"/>
                  </a:lnTo>
                  <a:lnTo>
                    <a:pt x="693" y="741"/>
                  </a:lnTo>
                  <a:close/>
                  <a:moveTo>
                    <a:pt x="697" y="733"/>
                  </a:moveTo>
                  <a:lnTo>
                    <a:pt x="699" y="731"/>
                  </a:lnTo>
                  <a:lnTo>
                    <a:pt x="699" y="729"/>
                  </a:lnTo>
                  <a:lnTo>
                    <a:pt x="699" y="727"/>
                  </a:lnTo>
                  <a:lnTo>
                    <a:pt x="699" y="725"/>
                  </a:lnTo>
                  <a:lnTo>
                    <a:pt x="699" y="725"/>
                  </a:lnTo>
                  <a:lnTo>
                    <a:pt x="697" y="723"/>
                  </a:lnTo>
                  <a:lnTo>
                    <a:pt x="695" y="721"/>
                  </a:lnTo>
                  <a:lnTo>
                    <a:pt x="695" y="721"/>
                  </a:lnTo>
                  <a:lnTo>
                    <a:pt x="689" y="723"/>
                  </a:lnTo>
                  <a:lnTo>
                    <a:pt x="689" y="727"/>
                  </a:lnTo>
                  <a:lnTo>
                    <a:pt x="689" y="729"/>
                  </a:lnTo>
                  <a:lnTo>
                    <a:pt x="687" y="731"/>
                  </a:lnTo>
                  <a:lnTo>
                    <a:pt x="687" y="731"/>
                  </a:lnTo>
                  <a:lnTo>
                    <a:pt x="687" y="735"/>
                  </a:lnTo>
                  <a:lnTo>
                    <a:pt x="689" y="735"/>
                  </a:lnTo>
                  <a:lnTo>
                    <a:pt x="689" y="735"/>
                  </a:lnTo>
                  <a:lnTo>
                    <a:pt x="689" y="733"/>
                  </a:lnTo>
                  <a:lnTo>
                    <a:pt x="691" y="733"/>
                  </a:lnTo>
                  <a:lnTo>
                    <a:pt x="693" y="731"/>
                  </a:lnTo>
                  <a:lnTo>
                    <a:pt x="693" y="731"/>
                  </a:lnTo>
                  <a:lnTo>
                    <a:pt x="693" y="731"/>
                  </a:lnTo>
                  <a:lnTo>
                    <a:pt x="693" y="733"/>
                  </a:lnTo>
                  <a:lnTo>
                    <a:pt x="693" y="733"/>
                  </a:lnTo>
                  <a:lnTo>
                    <a:pt x="693" y="733"/>
                  </a:lnTo>
                  <a:lnTo>
                    <a:pt x="695" y="733"/>
                  </a:lnTo>
                  <a:lnTo>
                    <a:pt x="695" y="735"/>
                  </a:lnTo>
                  <a:lnTo>
                    <a:pt x="695" y="735"/>
                  </a:lnTo>
                  <a:lnTo>
                    <a:pt x="697" y="733"/>
                  </a:lnTo>
                  <a:close/>
                  <a:moveTo>
                    <a:pt x="697" y="791"/>
                  </a:moveTo>
                  <a:lnTo>
                    <a:pt x="695" y="791"/>
                  </a:lnTo>
                  <a:lnTo>
                    <a:pt x="695" y="791"/>
                  </a:lnTo>
                  <a:lnTo>
                    <a:pt x="695" y="791"/>
                  </a:lnTo>
                  <a:lnTo>
                    <a:pt x="695" y="789"/>
                  </a:lnTo>
                  <a:lnTo>
                    <a:pt x="695" y="789"/>
                  </a:lnTo>
                  <a:lnTo>
                    <a:pt x="695" y="789"/>
                  </a:lnTo>
                  <a:lnTo>
                    <a:pt x="693" y="789"/>
                  </a:lnTo>
                  <a:lnTo>
                    <a:pt x="693" y="789"/>
                  </a:lnTo>
                  <a:lnTo>
                    <a:pt x="693" y="789"/>
                  </a:lnTo>
                  <a:lnTo>
                    <a:pt x="691" y="785"/>
                  </a:lnTo>
                  <a:lnTo>
                    <a:pt x="691" y="785"/>
                  </a:lnTo>
                  <a:lnTo>
                    <a:pt x="693" y="783"/>
                  </a:lnTo>
                  <a:lnTo>
                    <a:pt x="691" y="783"/>
                  </a:lnTo>
                  <a:lnTo>
                    <a:pt x="689" y="783"/>
                  </a:lnTo>
                  <a:lnTo>
                    <a:pt x="687" y="781"/>
                  </a:lnTo>
                  <a:lnTo>
                    <a:pt x="687" y="781"/>
                  </a:lnTo>
                  <a:lnTo>
                    <a:pt x="685" y="781"/>
                  </a:lnTo>
                  <a:lnTo>
                    <a:pt x="685" y="779"/>
                  </a:lnTo>
                  <a:lnTo>
                    <a:pt x="687" y="779"/>
                  </a:lnTo>
                  <a:lnTo>
                    <a:pt x="687" y="781"/>
                  </a:lnTo>
                  <a:lnTo>
                    <a:pt x="689" y="779"/>
                  </a:lnTo>
                  <a:lnTo>
                    <a:pt x="689" y="777"/>
                  </a:lnTo>
                  <a:lnTo>
                    <a:pt x="689" y="777"/>
                  </a:lnTo>
                  <a:lnTo>
                    <a:pt x="689" y="774"/>
                  </a:lnTo>
                  <a:lnTo>
                    <a:pt x="687" y="772"/>
                  </a:lnTo>
                  <a:lnTo>
                    <a:pt x="687" y="772"/>
                  </a:lnTo>
                  <a:lnTo>
                    <a:pt x="685" y="774"/>
                  </a:lnTo>
                  <a:lnTo>
                    <a:pt x="685" y="774"/>
                  </a:lnTo>
                  <a:lnTo>
                    <a:pt x="683" y="774"/>
                  </a:lnTo>
                  <a:lnTo>
                    <a:pt x="678" y="774"/>
                  </a:lnTo>
                  <a:lnTo>
                    <a:pt x="676" y="774"/>
                  </a:lnTo>
                  <a:lnTo>
                    <a:pt x="676" y="774"/>
                  </a:lnTo>
                  <a:lnTo>
                    <a:pt x="676" y="777"/>
                  </a:lnTo>
                  <a:lnTo>
                    <a:pt x="678" y="777"/>
                  </a:lnTo>
                  <a:lnTo>
                    <a:pt x="683" y="779"/>
                  </a:lnTo>
                  <a:lnTo>
                    <a:pt x="683" y="779"/>
                  </a:lnTo>
                  <a:lnTo>
                    <a:pt x="680" y="779"/>
                  </a:lnTo>
                  <a:lnTo>
                    <a:pt x="680" y="779"/>
                  </a:lnTo>
                  <a:lnTo>
                    <a:pt x="680" y="779"/>
                  </a:lnTo>
                  <a:lnTo>
                    <a:pt x="680" y="781"/>
                  </a:lnTo>
                  <a:lnTo>
                    <a:pt x="683" y="783"/>
                  </a:lnTo>
                  <a:lnTo>
                    <a:pt x="683" y="783"/>
                  </a:lnTo>
                  <a:lnTo>
                    <a:pt x="687" y="787"/>
                  </a:lnTo>
                  <a:lnTo>
                    <a:pt x="689" y="789"/>
                  </a:lnTo>
                  <a:lnTo>
                    <a:pt x="691" y="789"/>
                  </a:lnTo>
                  <a:lnTo>
                    <a:pt x="691" y="791"/>
                  </a:lnTo>
                  <a:lnTo>
                    <a:pt x="693" y="793"/>
                  </a:lnTo>
                  <a:lnTo>
                    <a:pt x="695" y="793"/>
                  </a:lnTo>
                  <a:lnTo>
                    <a:pt x="697" y="793"/>
                  </a:lnTo>
                  <a:lnTo>
                    <a:pt x="697" y="791"/>
                  </a:lnTo>
                  <a:close/>
                  <a:moveTo>
                    <a:pt x="670" y="702"/>
                  </a:moveTo>
                  <a:lnTo>
                    <a:pt x="670" y="700"/>
                  </a:lnTo>
                  <a:lnTo>
                    <a:pt x="668" y="700"/>
                  </a:lnTo>
                  <a:lnTo>
                    <a:pt x="668" y="698"/>
                  </a:lnTo>
                  <a:lnTo>
                    <a:pt x="666" y="698"/>
                  </a:lnTo>
                  <a:lnTo>
                    <a:pt x="666" y="700"/>
                  </a:lnTo>
                  <a:lnTo>
                    <a:pt x="664" y="698"/>
                  </a:lnTo>
                  <a:lnTo>
                    <a:pt x="660" y="698"/>
                  </a:lnTo>
                  <a:lnTo>
                    <a:pt x="658" y="698"/>
                  </a:lnTo>
                  <a:lnTo>
                    <a:pt x="656" y="698"/>
                  </a:lnTo>
                  <a:lnTo>
                    <a:pt x="656" y="698"/>
                  </a:lnTo>
                  <a:lnTo>
                    <a:pt x="658" y="700"/>
                  </a:lnTo>
                  <a:lnTo>
                    <a:pt x="658" y="700"/>
                  </a:lnTo>
                  <a:lnTo>
                    <a:pt x="660" y="702"/>
                  </a:lnTo>
                  <a:lnTo>
                    <a:pt x="660" y="702"/>
                  </a:lnTo>
                  <a:lnTo>
                    <a:pt x="660" y="704"/>
                  </a:lnTo>
                  <a:lnTo>
                    <a:pt x="660" y="706"/>
                  </a:lnTo>
                  <a:lnTo>
                    <a:pt x="660" y="708"/>
                  </a:lnTo>
                  <a:lnTo>
                    <a:pt x="662" y="710"/>
                  </a:lnTo>
                  <a:lnTo>
                    <a:pt x="662" y="710"/>
                  </a:lnTo>
                  <a:lnTo>
                    <a:pt x="664" y="710"/>
                  </a:lnTo>
                  <a:lnTo>
                    <a:pt x="664" y="710"/>
                  </a:lnTo>
                  <a:lnTo>
                    <a:pt x="666" y="710"/>
                  </a:lnTo>
                  <a:lnTo>
                    <a:pt x="668" y="710"/>
                  </a:lnTo>
                  <a:lnTo>
                    <a:pt x="668" y="708"/>
                  </a:lnTo>
                  <a:lnTo>
                    <a:pt x="668" y="708"/>
                  </a:lnTo>
                  <a:lnTo>
                    <a:pt x="668" y="708"/>
                  </a:lnTo>
                  <a:lnTo>
                    <a:pt x="668" y="706"/>
                  </a:lnTo>
                  <a:lnTo>
                    <a:pt x="668" y="706"/>
                  </a:lnTo>
                  <a:lnTo>
                    <a:pt x="666" y="706"/>
                  </a:lnTo>
                  <a:lnTo>
                    <a:pt x="666" y="704"/>
                  </a:lnTo>
                  <a:lnTo>
                    <a:pt x="666" y="704"/>
                  </a:lnTo>
                  <a:lnTo>
                    <a:pt x="666" y="702"/>
                  </a:lnTo>
                  <a:lnTo>
                    <a:pt x="666" y="702"/>
                  </a:lnTo>
                  <a:lnTo>
                    <a:pt x="666" y="702"/>
                  </a:lnTo>
                  <a:lnTo>
                    <a:pt x="668" y="706"/>
                  </a:lnTo>
                  <a:lnTo>
                    <a:pt x="670" y="706"/>
                  </a:lnTo>
                  <a:lnTo>
                    <a:pt x="670" y="706"/>
                  </a:lnTo>
                  <a:lnTo>
                    <a:pt x="670" y="706"/>
                  </a:lnTo>
                  <a:lnTo>
                    <a:pt x="670" y="706"/>
                  </a:lnTo>
                  <a:lnTo>
                    <a:pt x="670" y="704"/>
                  </a:lnTo>
                  <a:lnTo>
                    <a:pt x="670" y="704"/>
                  </a:lnTo>
                  <a:lnTo>
                    <a:pt x="670" y="702"/>
                  </a:lnTo>
                  <a:lnTo>
                    <a:pt x="670" y="702"/>
                  </a:lnTo>
                  <a:close/>
                  <a:moveTo>
                    <a:pt x="662" y="719"/>
                  </a:moveTo>
                  <a:lnTo>
                    <a:pt x="664" y="719"/>
                  </a:lnTo>
                  <a:lnTo>
                    <a:pt x="666" y="719"/>
                  </a:lnTo>
                  <a:lnTo>
                    <a:pt x="666" y="721"/>
                  </a:lnTo>
                  <a:lnTo>
                    <a:pt x="666" y="721"/>
                  </a:lnTo>
                  <a:lnTo>
                    <a:pt x="666" y="721"/>
                  </a:lnTo>
                  <a:lnTo>
                    <a:pt x="666" y="723"/>
                  </a:lnTo>
                  <a:lnTo>
                    <a:pt x="664" y="723"/>
                  </a:lnTo>
                  <a:lnTo>
                    <a:pt x="664" y="723"/>
                  </a:lnTo>
                  <a:lnTo>
                    <a:pt x="662" y="723"/>
                  </a:lnTo>
                  <a:lnTo>
                    <a:pt x="662" y="723"/>
                  </a:lnTo>
                  <a:lnTo>
                    <a:pt x="660" y="723"/>
                  </a:lnTo>
                  <a:lnTo>
                    <a:pt x="660" y="723"/>
                  </a:lnTo>
                  <a:lnTo>
                    <a:pt x="662" y="725"/>
                  </a:lnTo>
                  <a:lnTo>
                    <a:pt x="662" y="725"/>
                  </a:lnTo>
                  <a:lnTo>
                    <a:pt x="662" y="725"/>
                  </a:lnTo>
                  <a:lnTo>
                    <a:pt x="664" y="725"/>
                  </a:lnTo>
                  <a:lnTo>
                    <a:pt x="666" y="727"/>
                  </a:lnTo>
                  <a:lnTo>
                    <a:pt x="666" y="727"/>
                  </a:lnTo>
                  <a:lnTo>
                    <a:pt x="666" y="727"/>
                  </a:lnTo>
                  <a:lnTo>
                    <a:pt x="668" y="727"/>
                  </a:lnTo>
                  <a:lnTo>
                    <a:pt x="670" y="727"/>
                  </a:lnTo>
                  <a:lnTo>
                    <a:pt x="668" y="729"/>
                  </a:lnTo>
                  <a:lnTo>
                    <a:pt x="668" y="729"/>
                  </a:lnTo>
                  <a:lnTo>
                    <a:pt x="670" y="731"/>
                  </a:lnTo>
                  <a:lnTo>
                    <a:pt x="670" y="731"/>
                  </a:lnTo>
                  <a:lnTo>
                    <a:pt x="670" y="731"/>
                  </a:lnTo>
                  <a:lnTo>
                    <a:pt x="668" y="731"/>
                  </a:lnTo>
                  <a:lnTo>
                    <a:pt x="668" y="733"/>
                  </a:lnTo>
                  <a:lnTo>
                    <a:pt x="670" y="733"/>
                  </a:lnTo>
                  <a:lnTo>
                    <a:pt x="672" y="735"/>
                  </a:lnTo>
                  <a:lnTo>
                    <a:pt x="672" y="737"/>
                  </a:lnTo>
                  <a:lnTo>
                    <a:pt x="674" y="737"/>
                  </a:lnTo>
                  <a:lnTo>
                    <a:pt x="674" y="737"/>
                  </a:lnTo>
                  <a:lnTo>
                    <a:pt x="674" y="737"/>
                  </a:lnTo>
                  <a:lnTo>
                    <a:pt x="674" y="735"/>
                  </a:lnTo>
                  <a:lnTo>
                    <a:pt x="676" y="735"/>
                  </a:lnTo>
                  <a:lnTo>
                    <a:pt x="676" y="737"/>
                  </a:lnTo>
                  <a:lnTo>
                    <a:pt x="676" y="737"/>
                  </a:lnTo>
                  <a:lnTo>
                    <a:pt x="676" y="739"/>
                  </a:lnTo>
                  <a:lnTo>
                    <a:pt x="676" y="739"/>
                  </a:lnTo>
                  <a:lnTo>
                    <a:pt x="678" y="739"/>
                  </a:lnTo>
                  <a:lnTo>
                    <a:pt x="678" y="739"/>
                  </a:lnTo>
                  <a:lnTo>
                    <a:pt x="678" y="741"/>
                  </a:lnTo>
                  <a:lnTo>
                    <a:pt x="680" y="741"/>
                  </a:lnTo>
                  <a:lnTo>
                    <a:pt x="680" y="743"/>
                  </a:lnTo>
                  <a:lnTo>
                    <a:pt x="683" y="743"/>
                  </a:lnTo>
                  <a:lnTo>
                    <a:pt x="683" y="743"/>
                  </a:lnTo>
                  <a:lnTo>
                    <a:pt x="683" y="743"/>
                  </a:lnTo>
                  <a:lnTo>
                    <a:pt x="685" y="743"/>
                  </a:lnTo>
                  <a:lnTo>
                    <a:pt x="685" y="743"/>
                  </a:lnTo>
                  <a:lnTo>
                    <a:pt x="685" y="741"/>
                  </a:lnTo>
                  <a:lnTo>
                    <a:pt x="685" y="741"/>
                  </a:lnTo>
                  <a:lnTo>
                    <a:pt x="685" y="741"/>
                  </a:lnTo>
                  <a:lnTo>
                    <a:pt x="685" y="739"/>
                  </a:lnTo>
                  <a:lnTo>
                    <a:pt x="685" y="739"/>
                  </a:lnTo>
                  <a:lnTo>
                    <a:pt x="685" y="737"/>
                  </a:lnTo>
                  <a:lnTo>
                    <a:pt x="685" y="735"/>
                  </a:lnTo>
                  <a:lnTo>
                    <a:pt x="685" y="735"/>
                  </a:lnTo>
                  <a:lnTo>
                    <a:pt x="683" y="735"/>
                  </a:lnTo>
                  <a:lnTo>
                    <a:pt x="680" y="735"/>
                  </a:lnTo>
                  <a:lnTo>
                    <a:pt x="680" y="735"/>
                  </a:lnTo>
                  <a:lnTo>
                    <a:pt x="683" y="733"/>
                  </a:lnTo>
                  <a:lnTo>
                    <a:pt x="683" y="733"/>
                  </a:lnTo>
                  <a:lnTo>
                    <a:pt x="683" y="733"/>
                  </a:lnTo>
                  <a:lnTo>
                    <a:pt x="680" y="731"/>
                  </a:lnTo>
                  <a:lnTo>
                    <a:pt x="680" y="731"/>
                  </a:lnTo>
                  <a:lnTo>
                    <a:pt x="678" y="729"/>
                  </a:lnTo>
                  <a:lnTo>
                    <a:pt x="676" y="729"/>
                  </a:lnTo>
                  <a:lnTo>
                    <a:pt x="676" y="729"/>
                  </a:lnTo>
                  <a:lnTo>
                    <a:pt x="676" y="729"/>
                  </a:lnTo>
                  <a:lnTo>
                    <a:pt x="676" y="729"/>
                  </a:lnTo>
                  <a:lnTo>
                    <a:pt x="676" y="727"/>
                  </a:lnTo>
                  <a:lnTo>
                    <a:pt x="676" y="727"/>
                  </a:lnTo>
                  <a:lnTo>
                    <a:pt x="680" y="729"/>
                  </a:lnTo>
                  <a:lnTo>
                    <a:pt x="683" y="729"/>
                  </a:lnTo>
                  <a:lnTo>
                    <a:pt x="683" y="729"/>
                  </a:lnTo>
                  <a:lnTo>
                    <a:pt x="680" y="729"/>
                  </a:lnTo>
                  <a:lnTo>
                    <a:pt x="680" y="727"/>
                  </a:lnTo>
                  <a:lnTo>
                    <a:pt x="678" y="725"/>
                  </a:lnTo>
                  <a:lnTo>
                    <a:pt x="676" y="723"/>
                  </a:lnTo>
                  <a:lnTo>
                    <a:pt x="676" y="723"/>
                  </a:lnTo>
                  <a:lnTo>
                    <a:pt x="676" y="721"/>
                  </a:lnTo>
                  <a:lnTo>
                    <a:pt x="674" y="719"/>
                  </a:lnTo>
                  <a:lnTo>
                    <a:pt x="668" y="717"/>
                  </a:lnTo>
                  <a:lnTo>
                    <a:pt x="668" y="717"/>
                  </a:lnTo>
                  <a:lnTo>
                    <a:pt x="668" y="717"/>
                  </a:lnTo>
                  <a:lnTo>
                    <a:pt x="668" y="717"/>
                  </a:lnTo>
                  <a:lnTo>
                    <a:pt x="668" y="715"/>
                  </a:lnTo>
                  <a:lnTo>
                    <a:pt x="668" y="715"/>
                  </a:lnTo>
                  <a:lnTo>
                    <a:pt x="668" y="713"/>
                  </a:lnTo>
                  <a:lnTo>
                    <a:pt x="668" y="713"/>
                  </a:lnTo>
                  <a:lnTo>
                    <a:pt x="664" y="713"/>
                  </a:lnTo>
                  <a:lnTo>
                    <a:pt x="662" y="713"/>
                  </a:lnTo>
                  <a:lnTo>
                    <a:pt x="662" y="713"/>
                  </a:lnTo>
                  <a:lnTo>
                    <a:pt x="662" y="715"/>
                  </a:lnTo>
                  <a:lnTo>
                    <a:pt x="662" y="715"/>
                  </a:lnTo>
                  <a:lnTo>
                    <a:pt x="662" y="717"/>
                  </a:lnTo>
                  <a:lnTo>
                    <a:pt x="662" y="717"/>
                  </a:lnTo>
                  <a:lnTo>
                    <a:pt x="660" y="719"/>
                  </a:lnTo>
                  <a:lnTo>
                    <a:pt x="660" y="721"/>
                  </a:lnTo>
                  <a:lnTo>
                    <a:pt x="660" y="721"/>
                  </a:lnTo>
                  <a:lnTo>
                    <a:pt x="662" y="719"/>
                  </a:lnTo>
                  <a:close/>
                  <a:moveTo>
                    <a:pt x="697" y="795"/>
                  </a:moveTo>
                  <a:lnTo>
                    <a:pt x="697" y="795"/>
                  </a:lnTo>
                  <a:lnTo>
                    <a:pt x="697" y="797"/>
                  </a:lnTo>
                  <a:lnTo>
                    <a:pt x="697" y="797"/>
                  </a:lnTo>
                  <a:lnTo>
                    <a:pt x="697" y="797"/>
                  </a:lnTo>
                  <a:lnTo>
                    <a:pt x="699" y="797"/>
                  </a:lnTo>
                  <a:lnTo>
                    <a:pt x="699" y="795"/>
                  </a:lnTo>
                  <a:lnTo>
                    <a:pt x="697" y="793"/>
                  </a:lnTo>
                  <a:lnTo>
                    <a:pt x="697" y="795"/>
                  </a:lnTo>
                  <a:close/>
                  <a:moveTo>
                    <a:pt x="660" y="704"/>
                  </a:moveTo>
                  <a:lnTo>
                    <a:pt x="658" y="704"/>
                  </a:lnTo>
                  <a:lnTo>
                    <a:pt x="658" y="704"/>
                  </a:lnTo>
                  <a:lnTo>
                    <a:pt x="656" y="702"/>
                  </a:lnTo>
                  <a:lnTo>
                    <a:pt x="656" y="702"/>
                  </a:lnTo>
                  <a:lnTo>
                    <a:pt x="656" y="700"/>
                  </a:lnTo>
                  <a:lnTo>
                    <a:pt x="654" y="700"/>
                  </a:lnTo>
                  <a:lnTo>
                    <a:pt x="652" y="700"/>
                  </a:lnTo>
                  <a:lnTo>
                    <a:pt x="650" y="702"/>
                  </a:lnTo>
                  <a:lnTo>
                    <a:pt x="650" y="704"/>
                  </a:lnTo>
                  <a:lnTo>
                    <a:pt x="650" y="704"/>
                  </a:lnTo>
                  <a:lnTo>
                    <a:pt x="652" y="706"/>
                  </a:lnTo>
                  <a:lnTo>
                    <a:pt x="652" y="708"/>
                  </a:lnTo>
                  <a:lnTo>
                    <a:pt x="654" y="708"/>
                  </a:lnTo>
                  <a:lnTo>
                    <a:pt x="654" y="710"/>
                  </a:lnTo>
                  <a:lnTo>
                    <a:pt x="654" y="710"/>
                  </a:lnTo>
                  <a:lnTo>
                    <a:pt x="652" y="715"/>
                  </a:lnTo>
                  <a:lnTo>
                    <a:pt x="654" y="717"/>
                  </a:lnTo>
                  <a:lnTo>
                    <a:pt x="654" y="717"/>
                  </a:lnTo>
                  <a:lnTo>
                    <a:pt x="656" y="717"/>
                  </a:lnTo>
                  <a:lnTo>
                    <a:pt x="656" y="717"/>
                  </a:lnTo>
                  <a:lnTo>
                    <a:pt x="656" y="717"/>
                  </a:lnTo>
                  <a:lnTo>
                    <a:pt x="656" y="717"/>
                  </a:lnTo>
                  <a:lnTo>
                    <a:pt x="656" y="717"/>
                  </a:lnTo>
                  <a:lnTo>
                    <a:pt x="656" y="715"/>
                  </a:lnTo>
                  <a:lnTo>
                    <a:pt x="658" y="713"/>
                  </a:lnTo>
                  <a:lnTo>
                    <a:pt x="658" y="710"/>
                  </a:lnTo>
                  <a:lnTo>
                    <a:pt x="658" y="708"/>
                  </a:lnTo>
                  <a:lnTo>
                    <a:pt x="658" y="708"/>
                  </a:lnTo>
                  <a:lnTo>
                    <a:pt x="658" y="706"/>
                  </a:lnTo>
                  <a:lnTo>
                    <a:pt x="660" y="706"/>
                  </a:lnTo>
                  <a:lnTo>
                    <a:pt x="660" y="706"/>
                  </a:lnTo>
                  <a:lnTo>
                    <a:pt x="660" y="704"/>
                  </a:lnTo>
                  <a:close/>
                  <a:moveTo>
                    <a:pt x="664" y="731"/>
                  </a:moveTo>
                  <a:lnTo>
                    <a:pt x="666" y="729"/>
                  </a:lnTo>
                  <a:lnTo>
                    <a:pt x="666" y="729"/>
                  </a:lnTo>
                  <a:lnTo>
                    <a:pt x="666" y="729"/>
                  </a:lnTo>
                  <a:lnTo>
                    <a:pt x="666" y="727"/>
                  </a:lnTo>
                  <a:lnTo>
                    <a:pt x="664" y="729"/>
                  </a:lnTo>
                  <a:lnTo>
                    <a:pt x="662" y="729"/>
                  </a:lnTo>
                  <a:lnTo>
                    <a:pt x="662" y="729"/>
                  </a:lnTo>
                  <a:lnTo>
                    <a:pt x="660" y="729"/>
                  </a:lnTo>
                  <a:lnTo>
                    <a:pt x="662" y="731"/>
                  </a:lnTo>
                  <a:lnTo>
                    <a:pt x="660" y="733"/>
                  </a:lnTo>
                  <a:lnTo>
                    <a:pt x="662" y="733"/>
                  </a:lnTo>
                  <a:lnTo>
                    <a:pt x="664" y="731"/>
                  </a:lnTo>
                  <a:lnTo>
                    <a:pt x="664" y="731"/>
                  </a:lnTo>
                  <a:lnTo>
                    <a:pt x="664" y="731"/>
                  </a:lnTo>
                  <a:lnTo>
                    <a:pt x="664" y="731"/>
                  </a:lnTo>
                  <a:close/>
                  <a:moveTo>
                    <a:pt x="1635" y="2468"/>
                  </a:moveTo>
                  <a:lnTo>
                    <a:pt x="1629" y="2468"/>
                  </a:lnTo>
                  <a:lnTo>
                    <a:pt x="1625" y="2466"/>
                  </a:lnTo>
                  <a:lnTo>
                    <a:pt x="1623" y="2466"/>
                  </a:lnTo>
                  <a:lnTo>
                    <a:pt x="1619" y="2464"/>
                  </a:lnTo>
                  <a:lnTo>
                    <a:pt x="1617" y="2461"/>
                  </a:lnTo>
                  <a:lnTo>
                    <a:pt x="1613" y="2459"/>
                  </a:lnTo>
                  <a:lnTo>
                    <a:pt x="1610" y="2457"/>
                  </a:lnTo>
                  <a:lnTo>
                    <a:pt x="1606" y="2455"/>
                  </a:lnTo>
                  <a:lnTo>
                    <a:pt x="1604" y="2453"/>
                  </a:lnTo>
                  <a:lnTo>
                    <a:pt x="1602" y="2451"/>
                  </a:lnTo>
                  <a:lnTo>
                    <a:pt x="1598" y="2449"/>
                  </a:lnTo>
                  <a:lnTo>
                    <a:pt x="1598" y="2447"/>
                  </a:lnTo>
                  <a:lnTo>
                    <a:pt x="1596" y="2447"/>
                  </a:lnTo>
                  <a:lnTo>
                    <a:pt x="1594" y="2441"/>
                  </a:lnTo>
                  <a:lnTo>
                    <a:pt x="1594" y="2441"/>
                  </a:lnTo>
                  <a:lnTo>
                    <a:pt x="1592" y="2441"/>
                  </a:lnTo>
                  <a:lnTo>
                    <a:pt x="1590" y="2441"/>
                  </a:lnTo>
                  <a:lnTo>
                    <a:pt x="1590" y="2439"/>
                  </a:lnTo>
                  <a:lnTo>
                    <a:pt x="1590" y="2439"/>
                  </a:lnTo>
                  <a:lnTo>
                    <a:pt x="1590" y="2437"/>
                  </a:lnTo>
                  <a:lnTo>
                    <a:pt x="1590" y="2437"/>
                  </a:lnTo>
                  <a:lnTo>
                    <a:pt x="1592" y="2437"/>
                  </a:lnTo>
                  <a:lnTo>
                    <a:pt x="1594" y="2437"/>
                  </a:lnTo>
                  <a:lnTo>
                    <a:pt x="1592" y="2435"/>
                  </a:lnTo>
                  <a:lnTo>
                    <a:pt x="1592" y="2433"/>
                  </a:lnTo>
                  <a:lnTo>
                    <a:pt x="1588" y="2430"/>
                  </a:lnTo>
                  <a:lnTo>
                    <a:pt x="1588" y="2428"/>
                  </a:lnTo>
                  <a:lnTo>
                    <a:pt x="1588" y="2428"/>
                  </a:lnTo>
                  <a:lnTo>
                    <a:pt x="1586" y="2428"/>
                  </a:lnTo>
                  <a:lnTo>
                    <a:pt x="1586" y="2426"/>
                  </a:lnTo>
                  <a:lnTo>
                    <a:pt x="1582" y="2428"/>
                  </a:lnTo>
                  <a:lnTo>
                    <a:pt x="1580" y="2428"/>
                  </a:lnTo>
                  <a:lnTo>
                    <a:pt x="1577" y="2426"/>
                  </a:lnTo>
                  <a:lnTo>
                    <a:pt x="1575" y="2426"/>
                  </a:lnTo>
                  <a:lnTo>
                    <a:pt x="1575" y="2426"/>
                  </a:lnTo>
                  <a:lnTo>
                    <a:pt x="1573" y="2428"/>
                  </a:lnTo>
                  <a:lnTo>
                    <a:pt x="1571" y="2430"/>
                  </a:lnTo>
                  <a:lnTo>
                    <a:pt x="1569" y="2433"/>
                  </a:lnTo>
                  <a:lnTo>
                    <a:pt x="1569" y="2433"/>
                  </a:lnTo>
                  <a:lnTo>
                    <a:pt x="1569" y="2433"/>
                  </a:lnTo>
                  <a:lnTo>
                    <a:pt x="1567" y="2430"/>
                  </a:lnTo>
                  <a:lnTo>
                    <a:pt x="1565" y="2430"/>
                  </a:lnTo>
                  <a:lnTo>
                    <a:pt x="1563" y="2430"/>
                  </a:lnTo>
                  <a:lnTo>
                    <a:pt x="1563" y="2430"/>
                  </a:lnTo>
                  <a:lnTo>
                    <a:pt x="1565" y="2433"/>
                  </a:lnTo>
                  <a:lnTo>
                    <a:pt x="1565" y="2433"/>
                  </a:lnTo>
                  <a:lnTo>
                    <a:pt x="1565" y="2433"/>
                  </a:lnTo>
                  <a:lnTo>
                    <a:pt x="1567" y="2435"/>
                  </a:lnTo>
                  <a:lnTo>
                    <a:pt x="1567" y="2435"/>
                  </a:lnTo>
                  <a:lnTo>
                    <a:pt x="1565" y="2435"/>
                  </a:lnTo>
                  <a:lnTo>
                    <a:pt x="1565" y="2435"/>
                  </a:lnTo>
                  <a:lnTo>
                    <a:pt x="1565" y="2435"/>
                  </a:lnTo>
                  <a:lnTo>
                    <a:pt x="1563" y="2435"/>
                  </a:lnTo>
                  <a:lnTo>
                    <a:pt x="1563" y="2437"/>
                  </a:lnTo>
                  <a:lnTo>
                    <a:pt x="1561" y="2437"/>
                  </a:lnTo>
                  <a:lnTo>
                    <a:pt x="1561" y="2439"/>
                  </a:lnTo>
                  <a:lnTo>
                    <a:pt x="1561" y="2439"/>
                  </a:lnTo>
                  <a:lnTo>
                    <a:pt x="1563" y="2441"/>
                  </a:lnTo>
                  <a:lnTo>
                    <a:pt x="1563" y="2443"/>
                  </a:lnTo>
                  <a:lnTo>
                    <a:pt x="1565" y="2443"/>
                  </a:lnTo>
                  <a:lnTo>
                    <a:pt x="1567" y="2443"/>
                  </a:lnTo>
                  <a:lnTo>
                    <a:pt x="1569" y="2443"/>
                  </a:lnTo>
                  <a:lnTo>
                    <a:pt x="1571" y="2443"/>
                  </a:lnTo>
                  <a:lnTo>
                    <a:pt x="1573" y="2441"/>
                  </a:lnTo>
                  <a:lnTo>
                    <a:pt x="1575" y="2443"/>
                  </a:lnTo>
                  <a:lnTo>
                    <a:pt x="1577" y="2443"/>
                  </a:lnTo>
                  <a:lnTo>
                    <a:pt x="1577" y="2443"/>
                  </a:lnTo>
                  <a:lnTo>
                    <a:pt x="1577" y="2445"/>
                  </a:lnTo>
                  <a:lnTo>
                    <a:pt x="1577" y="2445"/>
                  </a:lnTo>
                  <a:lnTo>
                    <a:pt x="1573" y="2447"/>
                  </a:lnTo>
                  <a:lnTo>
                    <a:pt x="1569" y="2449"/>
                  </a:lnTo>
                  <a:lnTo>
                    <a:pt x="1567" y="2449"/>
                  </a:lnTo>
                  <a:lnTo>
                    <a:pt x="1567" y="2449"/>
                  </a:lnTo>
                  <a:lnTo>
                    <a:pt x="1567" y="2453"/>
                  </a:lnTo>
                  <a:lnTo>
                    <a:pt x="1567" y="2455"/>
                  </a:lnTo>
                  <a:lnTo>
                    <a:pt x="1569" y="2457"/>
                  </a:lnTo>
                  <a:lnTo>
                    <a:pt x="1580" y="2461"/>
                  </a:lnTo>
                  <a:lnTo>
                    <a:pt x="1582" y="2464"/>
                  </a:lnTo>
                  <a:lnTo>
                    <a:pt x="1582" y="2464"/>
                  </a:lnTo>
                  <a:lnTo>
                    <a:pt x="1582" y="2464"/>
                  </a:lnTo>
                  <a:lnTo>
                    <a:pt x="1582" y="2464"/>
                  </a:lnTo>
                  <a:lnTo>
                    <a:pt x="1580" y="2464"/>
                  </a:lnTo>
                  <a:lnTo>
                    <a:pt x="1580" y="2466"/>
                  </a:lnTo>
                  <a:lnTo>
                    <a:pt x="1577" y="2466"/>
                  </a:lnTo>
                  <a:lnTo>
                    <a:pt x="1577" y="2466"/>
                  </a:lnTo>
                  <a:lnTo>
                    <a:pt x="1577" y="2464"/>
                  </a:lnTo>
                  <a:lnTo>
                    <a:pt x="1577" y="2464"/>
                  </a:lnTo>
                  <a:lnTo>
                    <a:pt x="1577" y="2464"/>
                  </a:lnTo>
                  <a:lnTo>
                    <a:pt x="1573" y="2461"/>
                  </a:lnTo>
                  <a:lnTo>
                    <a:pt x="1571" y="2461"/>
                  </a:lnTo>
                  <a:lnTo>
                    <a:pt x="1571" y="2461"/>
                  </a:lnTo>
                  <a:lnTo>
                    <a:pt x="1569" y="2461"/>
                  </a:lnTo>
                  <a:lnTo>
                    <a:pt x="1569" y="2461"/>
                  </a:lnTo>
                  <a:lnTo>
                    <a:pt x="1565" y="2461"/>
                  </a:lnTo>
                  <a:lnTo>
                    <a:pt x="1565" y="2461"/>
                  </a:lnTo>
                  <a:lnTo>
                    <a:pt x="1565" y="2459"/>
                  </a:lnTo>
                  <a:lnTo>
                    <a:pt x="1563" y="2457"/>
                  </a:lnTo>
                  <a:lnTo>
                    <a:pt x="1561" y="2457"/>
                  </a:lnTo>
                  <a:lnTo>
                    <a:pt x="1559" y="2455"/>
                  </a:lnTo>
                  <a:lnTo>
                    <a:pt x="1561" y="2455"/>
                  </a:lnTo>
                  <a:lnTo>
                    <a:pt x="1563" y="2455"/>
                  </a:lnTo>
                  <a:lnTo>
                    <a:pt x="1561" y="2453"/>
                  </a:lnTo>
                  <a:lnTo>
                    <a:pt x="1561" y="2447"/>
                  </a:lnTo>
                  <a:lnTo>
                    <a:pt x="1559" y="2447"/>
                  </a:lnTo>
                  <a:lnTo>
                    <a:pt x="1559" y="2449"/>
                  </a:lnTo>
                  <a:lnTo>
                    <a:pt x="1559" y="2451"/>
                  </a:lnTo>
                  <a:lnTo>
                    <a:pt x="1557" y="2453"/>
                  </a:lnTo>
                  <a:lnTo>
                    <a:pt x="1557" y="2455"/>
                  </a:lnTo>
                  <a:lnTo>
                    <a:pt x="1557" y="2457"/>
                  </a:lnTo>
                  <a:lnTo>
                    <a:pt x="1557" y="2459"/>
                  </a:lnTo>
                  <a:lnTo>
                    <a:pt x="1559" y="2459"/>
                  </a:lnTo>
                  <a:lnTo>
                    <a:pt x="1561" y="2461"/>
                  </a:lnTo>
                  <a:lnTo>
                    <a:pt x="1561" y="2461"/>
                  </a:lnTo>
                  <a:lnTo>
                    <a:pt x="1565" y="2464"/>
                  </a:lnTo>
                  <a:lnTo>
                    <a:pt x="1563" y="2466"/>
                  </a:lnTo>
                  <a:lnTo>
                    <a:pt x="1563" y="2464"/>
                  </a:lnTo>
                  <a:lnTo>
                    <a:pt x="1561" y="2464"/>
                  </a:lnTo>
                  <a:lnTo>
                    <a:pt x="1559" y="2464"/>
                  </a:lnTo>
                  <a:lnTo>
                    <a:pt x="1559" y="2464"/>
                  </a:lnTo>
                  <a:lnTo>
                    <a:pt x="1559" y="2461"/>
                  </a:lnTo>
                  <a:lnTo>
                    <a:pt x="1557" y="2461"/>
                  </a:lnTo>
                  <a:lnTo>
                    <a:pt x="1555" y="2461"/>
                  </a:lnTo>
                  <a:lnTo>
                    <a:pt x="1555" y="2461"/>
                  </a:lnTo>
                  <a:lnTo>
                    <a:pt x="1555" y="2461"/>
                  </a:lnTo>
                  <a:lnTo>
                    <a:pt x="1555" y="2464"/>
                  </a:lnTo>
                  <a:lnTo>
                    <a:pt x="1553" y="2464"/>
                  </a:lnTo>
                  <a:lnTo>
                    <a:pt x="1553" y="2464"/>
                  </a:lnTo>
                  <a:lnTo>
                    <a:pt x="1549" y="2461"/>
                  </a:lnTo>
                  <a:lnTo>
                    <a:pt x="1549" y="2461"/>
                  </a:lnTo>
                  <a:lnTo>
                    <a:pt x="1547" y="2464"/>
                  </a:lnTo>
                  <a:lnTo>
                    <a:pt x="1547" y="2464"/>
                  </a:lnTo>
                  <a:lnTo>
                    <a:pt x="1544" y="2464"/>
                  </a:lnTo>
                  <a:lnTo>
                    <a:pt x="1544" y="2464"/>
                  </a:lnTo>
                  <a:lnTo>
                    <a:pt x="1542" y="2464"/>
                  </a:lnTo>
                  <a:lnTo>
                    <a:pt x="1542" y="2464"/>
                  </a:lnTo>
                  <a:lnTo>
                    <a:pt x="1540" y="2464"/>
                  </a:lnTo>
                  <a:lnTo>
                    <a:pt x="1540" y="2466"/>
                  </a:lnTo>
                  <a:lnTo>
                    <a:pt x="1540" y="2466"/>
                  </a:lnTo>
                  <a:lnTo>
                    <a:pt x="1542" y="2468"/>
                  </a:lnTo>
                  <a:lnTo>
                    <a:pt x="1549" y="2468"/>
                  </a:lnTo>
                  <a:lnTo>
                    <a:pt x="1551" y="2468"/>
                  </a:lnTo>
                  <a:lnTo>
                    <a:pt x="1555" y="2468"/>
                  </a:lnTo>
                  <a:lnTo>
                    <a:pt x="1557" y="2470"/>
                  </a:lnTo>
                  <a:lnTo>
                    <a:pt x="1561" y="2470"/>
                  </a:lnTo>
                  <a:lnTo>
                    <a:pt x="1565" y="2470"/>
                  </a:lnTo>
                  <a:lnTo>
                    <a:pt x="1565" y="2470"/>
                  </a:lnTo>
                  <a:lnTo>
                    <a:pt x="1565" y="2470"/>
                  </a:lnTo>
                  <a:lnTo>
                    <a:pt x="1567" y="2470"/>
                  </a:lnTo>
                  <a:lnTo>
                    <a:pt x="1567" y="2470"/>
                  </a:lnTo>
                  <a:lnTo>
                    <a:pt x="1569" y="2470"/>
                  </a:lnTo>
                  <a:lnTo>
                    <a:pt x="1571" y="2470"/>
                  </a:lnTo>
                  <a:lnTo>
                    <a:pt x="1571" y="2468"/>
                  </a:lnTo>
                  <a:lnTo>
                    <a:pt x="1573" y="2470"/>
                  </a:lnTo>
                  <a:lnTo>
                    <a:pt x="1575" y="2472"/>
                  </a:lnTo>
                  <a:lnTo>
                    <a:pt x="1582" y="2472"/>
                  </a:lnTo>
                  <a:lnTo>
                    <a:pt x="1586" y="2472"/>
                  </a:lnTo>
                  <a:lnTo>
                    <a:pt x="1586" y="2472"/>
                  </a:lnTo>
                  <a:lnTo>
                    <a:pt x="1588" y="2472"/>
                  </a:lnTo>
                  <a:lnTo>
                    <a:pt x="1588" y="2472"/>
                  </a:lnTo>
                  <a:lnTo>
                    <a:pt x="1590" y="2472"/>
                  </a:lnTo>
                  <a:lnTo>
                    <a:pt x="1592" y="2470"/>
                  </a:lnTo>
                  <a:lnTo>
                    <a:pt x="1594" y="2470"/>
                  </a:lnTo>
                  <a:lnTo>
                    <a:pt x="1596" y="2472"/>
                  </a:lnTo>
                  <a:lnTo>
                    <a:pt x="1600" y="2472"/>
                  </a:lnTo>
                  <a:lnTo>
                    <a:pt x="1608" y="2472"/>
                  </a:lnTo>
                  <a:lnTo>
                    <a:pt x="1613" y="2472"/>
                  </a:lnTo>
                  <a:lnTo>
                    <a:pt x="1617" y="2474"/>
                  </a:lnTo>
                  <a:lnTo>
                    <a:pt x="1619" y="2474"/>
                  </a:lnTo>
                  <a:lnTo>
                    <a:pt x="1619" y="2474"/>
                  </a:lnTo>
                  <a:lnTo>
                    <a:pt x="1621" y="2474"/>
                  </a:lnTo>
                  <a:lnTo>
                    <a:pt x="1623" y="2474"/>
                  </a:lnTo>
                  <a:lnTo>
                    <a:pt x="1625" y="2474"/>
                  </a:lnTo>
                  <a:lnTo>
                    <a:pt x="1627" y="2472"/>
                  </a:lnTo>
                  <a:lnTo>
                    <a:pt x="1627" y="2472"/>
                  </a:lnTo>
                  <a:lnTo>
                    <a:pt x="1629" y="2472"/>
                  </a:lnTo>
                  <a:lnTo>
                    <a:pt x="1631" y="2472"/>
                  </a:lnTo>
                  <a:lnTo>
                    <a:pt x="1633" y="2472"/>
                  </a:lnTo>
                  <a:lnTo>
                    <a:pt x="1635" y="2472"/>
                  </a:lnTo>
                  <a:lnTo>
                    <a:pt x="1635" y="2470"/>
                  </a:lnTo>
                  <a:lnTo>
                    <a:pt x="1637" y="2468"/>
                  </a:lnTo>
                  <a:lnTo>
                    <a:pt x="1635" y="2468"/>
                  </a:lnTo>
                  <a:lnTo>
                    <a:pt x="1635" y="2468"/>
                  </a:lnTo>
                  <a:close/>
                  <a:moveTo>
                    <a:pt x="1505" y="2414"/>
                  </a:moveTo>
                  <a:lnTo>
                    <a:pt x="1507" y="2414"/>
                  </a:lnTo>
                  <a:lnTo>
                    <a:pt x="1507" y="2414"/>
                  </a:lnTo>
                  <a:lnTo>
                    <a:pt x="1509" y="2416"/>
                  </a:lnTo>
                  <a:lnTo>
                    <a:pt x="1509" y="2416"/>
                  </a:lnTo>
                  <a:lnTo>
                    <a:pt x="1509" y="2414"/>
                  </a:lnTo>
                  <a:lnTo>
                    <a:pt x="1509" y="2414"/>
                  </a:lnTo>
                  <a:lnTo>
                    <a:pt x="1509" y="2414"/>
                  </a:lnTo>
                  <a:lnTo>
                    <a:pt x="1507" y="2412"/>
                  </a:lnTo>
                  <a:lnTo>
                    <a:pt x="1507" y="2412"/>
                  </a:lnTo>
                  <a:lnTo>
                    <a:pt x="1505" y="2412"/>
                  </a:lnTo>
                  <a:lnTo>
                    <a:pt x="1505" y="2412"/>
                  </a:lnTo>
                  <a:lnTo>
                    <a:pt x="1505" y="2412"/>
                  </a:lnTo>
                  <a:lnTo>
                    <a:pt x="1505" y="2412"/>
                  </a:lnTo>
                  <a:lnTo>
                    <a:pt x="1505" y="2414"/>
                  </a:lnTo>
                  <a:close/>
                  <a:moveTo>
                    <a:pt x="1536" y="2449"/>
                  </a:moveTo>
                  <a:lnTo>
                    <a:pt x="1534" y="2449"/>
                  </a:lnTo>
                  <a:lnTo>
                    <a:pt x="1534" y="2447"/>
                  </a:lnTo>
                  <a:lnTo>
                    <a:pt x="1532" y="2447"/>
                  </a:lnTo>
                  <a:lnTo>
                    <a:pt x="1530" y="2447"/>
                  </a:lnTo>
                  <a:lnTo>
                    <a:pt x="1528" y="2447"/>
                  </a:lnTo>
                  <a:lnTo>
                    <a:pt x="1528" y="2447"/>
                  </a:lnTo>
                  <a:lnTo>
                    <a:pt x="1528" y="2447"/>
                  </a:lnTo>
                  <a:lnTo>
                    <a:pt x="1526" y="2445"/>
                  </a:lnTo>
                  <a:lnTo>
                    <a:pt x="1526" y="2443"/>
                  </a:lnTo>
                  <a:lnTo>
                    <a:pt x="1526" y="2443"/>
                  </a:lnTo>
                  <a:lnTo>
                    <a:pt x="1526" y="2443"/>
                  </a:lnTo>
                  <a:lnTo>
                    <a:pt x="1524" y="2443"/>
                  </a:lnTo>
                  <a:lnTo>
                    <a:pt x="1524" y="2443"/>
                  </a:lnTo>
                  <a:lnTo>
                    <a:pt x="1524" y="2443"/>
                  </a:lnTo>
                  <a:lnTo>
                    <a:pt x="1524" y="2445"/>
                  </a:lnTo>
                  <a:lnTo>
                    <a:pt x="1524" y="2445"/>
                  </a:lnTo>
                  <a:lnTo>
                    <a:pt x="1520" y="2445"/>
                  </a:lnTo>
                  <a:lnTo>
                    <a:pt x="1520" y="2443"/>
                  </a:lnTo>
                  <a:lnTo>
                    <a:pt x="1516" y="2443"/>
                  </a:lnTo>
                  <a:lnTo>
                    <a:pt x="1514" y="2445"/>
                  </a:lnTo>
                  <a:lnTo>
                    <a:pt x="1516" y="2447"/>
                  </a:lnTo>
                  <a:lnTo>
                    <a:pt x="1518" y="2447"/>
                  </a:lnTo>
                  <a:lnTo>
                    <a:pt x="1520" y="2449"/>
                  </a:lnTo>
                  <a:lnTo>
                    <a:pt x="1520" y="2449"/>
                  </a:lnTo>
                  <a:lnTo>
                    <a:pt x="1522" y="2449"/>
                  </a:lnTo>
                  <a:lnTo>
                    <a:pt x="1522" y="2449"/>
                  </a:lnTo>
                  <a:lnTo>
                    <a:pt x="1522" y="2451"/>
                  </a:lnTo>
                  <a:lnTo>
                    <a:pt x="1522" y="2451"/>
                  </a:lnTo>
                  <a:lnTo>
                    <a:pt x="1522" y="2453"/>
                  </a:lnTo>
                  <a:lnTo>
                    <a:pt x="1522" y="2453"/>
                  </a:lnTo>
                  <a:lnTo>
                    <a:pt x="1522" y="2455"/>
                  </a:lnTo>
                  <a:lnTo>
                    <a:pt x="1524" y="2455"/>
                  </a:lnTo>
                  <a:lnTo>
                    <a:pt x="1524" y="2455"/>
                  </a:lnTo>
                  <a:lnTo>
                    <a:pt x="1524" y="2453"/>
                  </a:lnTo>
                  <a:lnTo>
                    <a:pt x="1524" y="2453"/>
                  </a:lnTo>
                  <a:lnTo>
                    <a:pt x="1524" y="2453"/>
                  </a:lnTo>
                  <a:lnTo>
                    <a:pt x="1526" y="2451"/>
                  </a:lnTo>
                  <a:lnTo>
                    <a:pt x="1526" y="2451"/>
                  </a:lnTo>
                  <a:lnTo>
                    <a:pt x="1526" y="2451"/>
                  </a:lnTo>
                  <a:lnTo>
                    <a:pt x="1528" y="2451"/>
                  </a:lnTo>
                  <a:lnTo>
                    <a:pt x="1528" y="2451"/>
                  </a:lnTo>
                  <a:lnTo>
                    <a:pt x="1528" y="2453"/>
                  </a:lnTo>
                  <a:lnTo>
                    <a:pt x="1528" y="2455"/>
                  </a:lnTo>
                  <a:lnTo>
                    <a:pt x="1526" y="2455"/>
                  </a:lnTo>
                  <a:lnTo>
                    <a:pt x="1526" y="2457"/>
                  </a:lnTo>
                  <a:lnTo>
                    <a:pt x="1526" y="2457"/>
                  </a:lnTo>
                  <a:lnTo>
                    <a:pt x="1528" y="2457"/>
                  </a:lnTo>
                  <a:lnTo>
                    <a:pt x="1528" y="2457"/>
                  </a:lnTo>
                  <a:lnTo>
                    <a:pt x="1528" y="2457"/>
                  </a:lnTo>
                  <a:lnTo>
                    <a:pt x="1530" y="2455"/>
                  </a:lnTo>
                  <a:lnTo>
                    <a:pt x="1532" y="2455"/>
                  </a:lnTo>
                  <a:lnTo>
                    <a:pt x="1532" y="2455"/>
                  </a:lnTo>
                  <a:lnTo>
                    <a:pt x="1534" y="2455"/>
                  </a:lnTo>
                  <a:lnTo>
                    <a:pt x="1534" y="2455"/>
                  </a:lnTo>
                  <a:lnTo>
                    <a:pt x="1534" y="2453"/>
                  </a:lnTo>
                  <a:lnTo>
                    <a:pt x="1536" y="2451"/>
                  </a:lnTo>
                  <a:lnTo>
                    <a:pt x="1536" y="2451"/>
                  </a:lnTo>
                  <a:lnTo>
                    <a:pt x="1536" y="2449"/>
                  </a:lnTo>
                  <a:close/>
                  <a:moveTo>
                    <a:pt x="1596" y="2484"/>
                  </a:moveTo>
                  <a:lnTo>
                    <a:pt x="1594" y="2482"/>
                  </a:lnTo>
                  <a:lnTo>
                    <a:pt x="1592" y="2482"/>
                  </a:lnTo>
                  <a:lnTo>
                    <a:pt x="1592" y="2480"/>
                  </a:lnTo>
                  <a:lnTo>
                    <a:pt x="1592" y="2480"/>
                  </a:lnTo>
                  <a:lnTo>
                    <a:pt x="1592" y="2480"/>
                  </a:lnTo>
                  <a:lnTo>
                    <a:pt x="1592" y="2478"/>
                  </a:lnTo>
                  <a:lnTo>
                    <a:pt x="1592" y="2478"/>
                  </a:lnTo>
                  <a:lnTo>
                    <a:pt x="1588" y="2478"/>
                  </a:lnTo>
                  <a:lnTo>
                    <a:pt x="1588" y="2478"/>
                  </a:lnTo>
                  <a:lnTo>
                    <a:pt x="1588" y="2476"/>
                  </a:lnTo>
                  <a:lnTo>
                    <a:pt x="1592" y="2476"/>
                  </a:lnTo>
                  <a:lnTo>
                    <a:pt x="1590" y="2474"/>
                  </a:lnTo>
                  <a:lnTo>
                    <a:pt x="1588" y="2474"/>
                  </a:lnTo>
                  <a:lnTo>
                    <a:pt x="1584" y="2474"/>
                  </a:lnTo>
                  <a:lnTo>
                    <a:pt x="1573" y="2472"/>
                  </a:lnTo>
                  <a:lnTo>
                    <a:pt x="1569" y="2472"/>
                  </a:lnTo>
                  <a:lnTo>
                    <a:pt x="1569" y="2476"/>
                  </a:lnTo>
                  <a:lnTo>
                    <a:pt x="1569" y="2476"/>
                  </a:lnTo>
                  <a:lnTo>
                    <a:pt x="1569" y="2476"/>
                  </a:lnTo>
                  <a:lnTo>
                    <a:pt x="1569" y="2478"/>
                  </a:lnTo>
                  <a:lnTo>
                    <a:pt x="1569" y="2478"/>
                  </a:lnTo>
                  <a:lnTo>
                    <a:pt x="1569" y="2478"/>
                  </a:lnTo>
                  <a:lnTo>
                    <a:pt x="1571" y="2478"/>
                  </a:lnTo>
                  <a:lnTo>
                    <a:pt x="1571" y="2478"/>
                  </a:lnTo>
                  <a:lnTo>
                    <a:pt x="1573" y="2478"/>
                  </a:lnTo>
                  <a:lnTo>
                    <a:pt x="1573" y="2478"/>
                  </a:lnTo>
                  <a:lnTo>
                    <a:pt x="1573" y="2480"/>
                  </a:lnTo>
                  <a:lnTo>
                    <a:pt x="1573" y="2480"/>
                  </a:lnTo>
                  <a:lnTo>
                    <a:pt x="1573" y="2480"/>
                  </a:lnTo>
                  <a:lnTo>
                    <a:pt x="1575" y="2482"/>
                  </a:lnTo>
                  <a:lnTo>
                    <a:pt x="1575" y="2482"/>
                  </a:lnTo>
                  <a:lnTo>
                    <a:pt x="1577" y="2482"/>
                  </a:lnTo>
                  <a:lnTo>
                    <a:pt x="1580" y="2484"/>
                  </a:lnTo>
                  <a:lnTo>
                    <a:pt x="1580" y="2484"/>
                  </a:lnTo>
                  <a:lnTo>
                    <a:pt x="1577" y="2482"/>
                  </a:lnTo>
                  <a:lnTo>
                    <a:pt x="1577" y="2480"/>
                  </a:lnTo>
                  <a:lnTo>
                    <a:pt x="1577" y="2480"/>
                  </a:lnTo>
                  <a:lnTo>
                    <a:pt x="1577" y="2478"/>
                  </a:lnTo>
                  <a:lnTo>
                    <a:pt x="1580" y="2478"/>
                  </a:lnTo>
                  <a:lnTo>
                    <a:pt x="1580" y="2478"/>
                  </a:lnTo>
                  <a:lnTo>
                    <a:pt x="1582" y="2478"/>
                  </a:lnTo>
                  <a:lnTo>
                    <a:pt x="1582" y="2480"/>
                  </a:lnTo>
                  <a:lnTo>
                    <a:pt x="1584" y="2478"/>
                  </a:lnTo>
                  <a:lnTo>
                    <a:pt x="1584" y="2478"/>
                  </a:lnTo>
                  <a:lnTo>
                    <a:pt x="1584" y="2480"/>
                  </a:lnTo>
                  <a:lnTo>
                    <a:pt x="1584" y="2480"/>
                  </a:lnTo>
                  <a:lnTo>
                    <a:pt x="1584" y="2482"/>
                  </a:lnTo>
                  <a:lnTo>
                    <a:pt x="1584" y="2482"/>
                  </a:lnTo>
                  <a:lnTo>
                    <a:pt x="1584" y="2482"/>
                  </a:lnTo>
                  <a:lnTo>
                    <a:pt x="1586" y="2482"/>
                  </a:lnTo>
                  <a:lnTo>
                    <a:pt x="1588" y="2482"/>
                  </a:lnTo>
                  <a:lnTo>
                    <a:pt x="1588" y="2482"/>
                  </a:lnTo>
                  <a:lnTo>
                    <a:pt x="1590" y="2484"/>
                  </a:lnTo>
                  <a:lnTo>
                    <a:pt x="1592" y="2484"/>
                  </a:lnTo>
                  <a:lnTo>
                    <a:pt x="1592" y="2484"/>
                  </a:lnTo>
                  <a:lnTo>
                    <a:pt x="1594" y="2486"/>
                  </a:lnTo>
                  <a:lnTo>
                    <a:pt x="1594" y="2486"/>
                  </a:lnTo>
                  <a:lnTo>
                    <a:pt x="1596" y="2486"/>
                  </a:lnTo>
                  <a:lnTo>
                    <a:pt x="1596" y="2486"/>
                  </a:lnTo>
                  <a:lnTo>
                    <a:pt x="1596" y="2486"/>
                  </a:lnTo>
                  <a:lnTo>
                    <a:pt x="1596" y="2484"/>
                  </a:lnTo>
                  <a:lnTo>
                    <a:pt x="1596" y="2484"/>
                  </a:lnTo>
                  <a:close/>
                  <a:moveTo>
                    <a:pt x="1518" y="2441"/>
                  </a:moveTo>
                  <a:lnTo>
                    <a:pt x="1518" y="2441"/>
                  </a:lnTo>
                  <a:lnTo>
                    <a:pt x="1518" y="2441"/>
                  </a:lnTo>
                  <a:lnTo>
                    <a:pt x="1518" y="2441"/>
                  </a:lnTo>
                  <a:lnTo>
                    <a:pt x="1518" y="2441"/>
                  </a:lnTo>
                  <a:lnTo>
                    <a:pt x="1520" y="2441"/>
                  </a:lnTo>
                  <a:lnTo>
                    <a:pt x="1522" y="2443"/>
                  </a:lnTo>
                  <a:lnTo>
                    <a:pt x="1524" y="2443"/>
                  </a:lnTo>
                  <a:lnTo>
                    <a:pt x="1524" y="2443"/>
                  </a:lnTo>
                  <a:lnTo>
                    <a:pt x="1522" y="2441"/>
                  </a:lnTo>
                  <a:lnTo>
                    <a:pt x="1522" y="2441"/>
                  </a:lnTo>
                  <a:lnTo>
                    <a:pt x="1520" y="2439"/>
                  </a:lnTo>
                  <a:lnTo>
                    <a:pt x="1518" y="2439"/>
                  </a:lnTo>
                  <a:lnTo>
                    <a:pt x="1518" y="2439"/>
                  </a:lnTo>
                  <a:lnTo>
                    <a:pt x="1516" y="2437"/>
                  </a:lnTo>
                  <a:lnTo>
                    <a:pt x="1514" y="2437"/>
                  </a:lnTo>
                  <a:lnTo>
                    <a:pt x="1514" y="2435"/>
                  </a:lnTo>
                  <a:lnTo>
                    <a:pt x="1509" y="2435"/>
                  </a:lnTo>
                  <a:lnTo>
                    <a:pt x="1507" y="2435"/>
                  </a:lnTo>
                  <a:lnTo>
                    <a:pt x="1507" y="2435"/>
                  </a:lnTo>
                  <a:lnTo>
                    <a:pt x="1505" y="2435"/>
                  </a:lnTo>
                  <a:lnTo>
                    <a:pt x="1505" y="2435"/>
                  </a:lnTo>
                  <a:lnTo>
                    <a:pt x="1505" y="2433"/>
                  </a:lnTo>
                  <a:lnTo>
                    <a:pt x="1505" y="2433"/>
                  </a:lnTo>
                  <a:lnTo>
                    <a:pt x="1503" y="2430"/>
                  </a:lnTo>
                  <a:lnTo>
                    <a:pt x="1501" y="2430"/>
                  </a:lnTo>
                  <a:lnTo>
                    <a:pt x="1501" y="2430"/>
                  </a:lnTo>
                  <a:lnTo>
                    <a:pt x="1501" y="2430"/>
                  </a:lnTo>
                  <a:lnTo>
                    <a:pt x="1503" y="2433"/>
                  </a:lnTo>
                  <a:lnTo>
                    <a:pt x="1503" y="2435"/>
                  </a:lnTo>
                  <a:lnTo>
                    <a:pt x="1505" y="2435"/>
                  </a:lnTo>
                  <a:lnTo>
                    <a:pt x="1507" y="2437"/>
                  </a:lnTo>
                  <a:lnTo>
                    <a:pt x="1507" y="2437"/>
                  </a:lnTo>
                  <a:lnTo>
                    <a:pt x="1509" y="2437"/>
                  </a:lnTo>
                  <a:lnTo>
                    <a:pt x="1511" y="2437"/>
                  </a:lnTo>
                  <a:lnTo>
                    <a:pt x="1514" y="2437"/>
                  </a:lnTo>
                  <a:lnTo>
                    <a:pt x="1514" y="2437"/>
                  </a:lnTo>
                  <a:lnTo>
                    <a:pt x="1518" y="2441"/>
                  </a:lnTo>
                  <a:close/>
                  <a:moveTo>
                    <a:pt x="1493" y="2377"/>
                  </a:moveTo>
                  <a:lnTo>
                    <a:pt x="1495" y="2377"/>
                  </a:lnTo>
                  <a:lnTo>
                    <a:pt x="1497" y="2377"/>
                  </a:lnTo>
                  <a:lnTo>
                    <a:pt x="1497" y="2377"/>
                  </a:lnTo>
                  <a:lnTo>
                    <a:pt x="1497" y="2375"/>
                  </a:lnTo>
                  <a:lnTo>
                    <a:pt x="1497" y="2373"/>
                  </a:lnTo>
                  <a:lnTo>
                    <a:pt x="1497" y="2371"/>
                  </a:lnTo>
                  <a:lnTo>
                    <a:pt x="1497" y="2371"/>
                  </a:lnTo>
                  <a:lnTo>
                    <a:pt x="1501" y="2369"/>
                  </a:lnTo>
                  <a:lnTo>
                    <a:pt x="1501" y="2369"/>
                  </a:lnTo>
                  <a:lnTo>
                    <a:pt x="1501" y="2369"/>
                  </a:lnTo>
                  <a:lnTo>
                    <a:pt x="1501" y="2369"/>
                  </a:lnTo>
                  <a:lnTo>
                    <a:pt x="1499" y="2371"/>
                  </a:lnTo>
                  <a:lnTo>
                    <a:pt x="1499" y="2371"/>
                  </a:lnTo>
                  <a:lnTo>
                    <a:pt x="1499" y="2373"/>
                  </a:lnTo>
                  <a:lnTo>
                    <a:pt x="1499" y="2373"/>
                  </a:lnTo>
                  <a:lnTo>
                    <a:pt x="1499" y="2373"/>
                  </a:lnTo>
                  <a:lnTo>
                    <a:pt x="1499" y="2375"/>
                  </a:lnTo>
                  <a:lnTo>
                    <a:pt x="1499" y="2375"/>
                  </a:lnTo>
                  <a:lnTo>
                    <a:pt x="1499" y="2377"/>
                  </a:lnTo>
                  <a:lnTo>
                    <a:pt x="1499" y="2377"/>
                  </a:lnTo>
                  <a:lnTo>
                    <a:pt x="1501" y="2379"/>
                  </a:lnTo>
                  <a:lnTo>
                    <a:pt x="1501" y="2379"/>
                  </a:lnTo>
                  <a:lnTo>
                    <a:pt x="1503" y="2379"/>
                  </a:lnTo>
                  <a:lnTo>
                    <a:pt x="1503" y="2379"/>
                  </a:lnTo>
                  <a:lnTo>
                    <a:pt x="1503" y="2377"/>
                  </a:lnTo>
                  <a:lnTo>
                    <a:pt x="1503" y="2377"/>
                  </a:lnTo>
                  <a:lnTo>
                    <a:pt x="1505" y="2375"/>
                  </a:lnTo>
                  <a:lnTo>
                    <a:pt x="1505" y="2373"/>
                  </a:lnTo>
                  <a:lnTo>
                    <a:pt x="1505" y="2373"/>
                  </a:lnTo>
                  <a:lnTo>
                    <a:pt x="1503" y="2373"/>
                  </a:lnTo>
                  <a:lnTo>
                    <a:pt x="1503" y="2373"/>
                  </a:lnTo>
                  <a:lnTo>
                    <a:pt x="1505" y="2369"/>
                  </a:lnTo>
                  <a:lnTo>
                    <a:pt x="1505" y="2366"/>
                  </a:lnTo>
                  <a:lnTo>
                    <a:pt x="1505" y="2362"/>
                  </a:lnTo>
                  <a:lnTo>
                    <a:pt x="1503" y="2358"/>
                  </a:lnTo>
                  <a:lnTo>
                    <a:pt x="1503" y="2356"/>
                  </a:lnTo>
                  <a:lnTo>
                    <a:pt x="1503" y="2356"/>
                  </a:lnTo>
                  <a:lnTo>
                    <a:pt x="1501" y="2356"/>
                  </a:lnTo>
                  <a:lnTo>
                    <a:pt x="1501" y="2356"/>
                  </a:lnTo>
                  <a:lnTo>
                    <a:pt x="1499" y="2356"/>
                  </a:lnTo>
                  <a:lnTo>
                    <a:pt x="1499" y="2356"/>
                  </a:lnTo>
                  <a:lnTo>
                    <a:pt x="1497" y="2356"/>
                  </a:lnTo>
                  <a:lnTo>
                    <a:pt x="1497" y="2358"/>
                  </a:lnTo>
                  <a:lnTo>
                    <a:pt x="1497" y="2358"/>
                  </a:lnTo>
                  <a:lnTo>
                    <a:pt x="1497" y="2360"/>
                  </a:lnTo>
                  <a:lnTo>
                    <a:pt x="1497" y="2360"/>
                  </a:lnTo>
                  <a:lnTo>
                    <a:pt x="1495" y="2362"/>
                  </a:lnTo>
                  <a:lnTo>
                    <a:pt x="1495" y="2362"/>
                  </a:lnTo>
                  <a:lnTo>
                    <a:pt x="1495" y="2364"/>
                  </a:lnTo>
                  <a:lnTo>
                    <a:pt x="1495" y="2366"/>
                  </a:lnTo>
                  <a:lnTo>
                    <a:pt x="1493" y="2366"/>
                  </a:lnTo>
                  <a:lnTo>
                    <a:pt x="1493" y="2366"/>
                  </a:lnTo>
                  <a:lnTo>
                    <a:pt x="1493" y="2366"/>
                  </a:lnTo>
                  <a:lnTo>
                    <a:pt x="1491" y="2366"/>
                  </a:lnTo>
                  <a:lnTo>
                    <a:pt x="1491" y="2366"/>
                  </a:lnTo>
                  <a:lnTo>
                    <a:pt x="1491" y="2369"/>
                  </a:lnTo>
                  <a:lnTo>
                    <a:pt x="1491" y="2369"/>
                  </a:lnTo>
                  <a:lnTo>
                    <a:pt x="1493" y="2371"/>
                  </a:lnTo>
                  <a:lnTo>
                    <a:pt x="1493" y="2373"/>
                  </a:lnTo>
                  <a:lnTo>
                    <a:pt x="1489" y="2373"/>
                  </a:lnTo>
                  <a:lnTo>
                    <a:pt x="1489" y="2373"/>
                  </a:lnTo>
                  <a:lnTo>
                    <a:pt x="1489" y="2375"/>
                  </a:lnTo>
                  <a:lnTo>
                    <a:pt x="1491" y="2375"/>
                  </a:lnTo>
                  <a:lnTo>
                    <a:pt x="1493" y="2377"/>
                  </a:lnTo>
                  <a:close/>
                  <a:moveTo>
                    <a:pt x="1561" y="2472"/>
                  </a:moveTo>
                  <a:lnTo>
                    <a:pt x="1559" y="2474"/>
                  </a:lnTo>
                  <a:lnTo>
                    <a:pt x="1557" y="2474"/>
                  </a:lnTo>
                  <a:lnTo>
                    <a:pt x="1557" y="2474"/>
                  </a:lnTo>
                  <a:lnTo>
                    <a:pt x="1555" y="2474"/>
                  </a:lnTo>
                  <a:lnTo>
                    <a:pt x="1555" y="2474"/>
                  </a:lnTo>
                  <a:lnTo>
                    <a:pt x="1555" y="2472"/>
                  </a:lnTo>
                  <a:lnTo>
                    <a:pt x="1553" y="2472"/>
                  </a:lnTo>
                  <a:lnTo>
                    <a:pt x="1551" y="2472"/>
                  </a:lnTo>
                  <a:lnTo>
                    <a:pt x="1549" y="2472"/>
                  </a:lnTo>
                  <a:lnTo>
                    <a:pt x="1549" y="2472"/>
                  </a:lnTo>
                  <a:lnTo>
                    <a:pt x="1549" y="2472"/>
                  </a:lnTo>
                  <a:lnTo>
                    <a:pt x="1549" y="2472"/>
                  </a:lnTo>
                  <a:lnTo>
                    <a:pt x="1549" y="2472"/>
                  </a:lnTo>
                  <a:lnTo>
                    <a:pt x="1549" y="2474"/>
                  </a:lnTo>
                  <a:lnTo>
                    <a:pt x="1549" y="2472"/>
                  </a:lnTo>
                  <a:lnTo>
                    <a:pt x="1551" y="2472"/>
                  </a:lnTo>
                  <a:lnTo>
                    <a:pt x="1551" y="2472"/>
                  </a:lnTo>
                  <a:lnTo>
                    <a:pt x="1551" y="2472"/>
                  </a:lnTo>
                  <a:lnTo>
                    <a:pt x="1553" y="2474"/>
                  </a:lnTo>
                  <a:lnTo>
                    <a:pt x="1555" y="2474"/>
                  </a:lnTo>
                  <a:lnTo>
                    <a:pt x="1555" y="2474"/>
                  </a:lnTo>
                  <a:lnTo>
                    <a:pt x="1555" y="2476"/>
                  </a:lnTo>
                  <a:lnTo>
                    <a:pt x="1555" y="2476"/>
                  </a:lnTo>
                  <a:lnTo>
                    <a:pt x="1557" y="2476"/>
                  </a:lnTo>
                  <a:lnTo>
                    <a:pt x="1557" y="2476"/>
                  </a:lnTo>
                  <a:lnTo>
                    <a:pt x="1559" y="2476"/>
                  </a:lnTo>
                  <a:lnTo>
                    <a:pt x="1559" y="2476"/>
                  </a:lnTo>
                  <a:lnTo>
                    <a:pt x="1559" y="2476"/>
                  </a:lnTo>
                  <a:lnTo>
                    <a:pt x="1561" y="2476"/>
                  </a:lnTo>
                  <a:lnTo>
                    <a:pt x="1561" y="2476"/>
                  </a:lnTo>
                  <a:lnTo>
                    <a:pt x="1561" y="2478"/>
                  </a:lnTo>
                  <a:lnTo>
                    <a:pt x="1561" y="2478"/>
                  </a:lnTo>
                  <a:lnTo>
                    <a:pt x="1563" y="2478"/>
                  </a:lnTo>
                  <a:lnTo>
                    <a:pt x="1563" y="2476"/>
                  </a:lnTo>
                  <a:lnTo>
                    <a:pt x="1565" y="2476"/>
                  </a:lnTo>
                  <a:lnTo>
                    <a:pt x="1563" y="2472"/>
                  </a:lnTo>
                  <a:lnTo>
                    <a:pt x="1561" y="2472"/>
                  </a:lnTo>
                  <a:close/>
                  <a:moveTo>
                    <a:pt x="1495" y="2381"/>
                  </a:moveTo>
                  <a:lnTo>
                    <a:pt x="1495" y="2379"/>
                  </a:lnTo>
                  <a:lnTo>
                    <a:pt x="1493" y="2379"/>
                  </a:lnTo>
                  <a:lnTo>
                    <a:pt x="1491" y="2381"/>
                  </a:lnTo>
                  <a:lnTo>
                    <a:pt x="1491" y="2383"/>
                  </a:lnTo>
                  <a:lnTo>
                    <a:pt x="1491" y="2383"/>
                  </a:lnTo>
                  <a:lnTo>
                    <a:pt x="1491" y="2383"/>
                  </a:lnTo>
                  <a:lnTo>
                    <a:pt x="1491" y="2385"/>
                  </a:lnTo>
                  <a:lnTo>
                    <a:pt x="1493" y="2385"/>
                  </a:lnTo>
                  <a:lnTo>
                    <a:pt x="1493" y="2385"/>
                  </a:lnTo>
                  <a:lnTo>
                    <a:pt x="1497" y="2385"/>
                  </a:lnTo>
                  <a:lnTo>
                    <a:pt x="1497" y="2383"/>
                  </a:lnTo>
                  <a:lnTo>
                    <a:pt x="1499" y="2383"/>
                  </a:lnTo>
                  <a:lnTo>
                    <a:pt x="1499" y="2381"/>
                  </a:lnTo>
                  <a:lnTo>
                    <a:pt x="1497" y="2381"/>
                  </a:lnTo>
                  <a:lnTo>
                    <a:pt x="1495" y="2381"/>
                  </a:lnTo>
                  <a:close/>
                  <a:moveTo>
                    <a:pt x="1495" y="2389"/>
                  </a:moveTo>
                  <a:lnTo>
                    <a:pt x="1495" y="2389"/>
                  </a:lnTo>
                  <a:lnTo>
                    <a:pt x="1495" y="2389"/>
                  </a:lnTo>
                  <a:lnTo>
                    <a:pt x="1495" y="2389"/>
                  </a:lnTo>
                  <a:lnTo>
                    <a:pt x="1493" y="2387"/>
                  </a:lnTo>
                  <a:lnTo>
                    <a:pt x="1491" y="2387"/>
                  </a:lnTo>
                  <a:lnTo>
                    <a:pt x="1491" y="2389"/>
                  </a:lnTo>
                  <a:lnTo>
                    <a:pt x="1491" y="2389"/>
                  </a:lnTo>
                  <a:lnTo>
                    <a:pt x="1491" y="2391"/>
                  </a:lnTo>
                  <a:lnTo>
                    <a:pt x="1491" y="2391"/>
                  </a:lnTo>
                  <a:lnTo>
                    <a:pt x="1491" y="2393"/>
                  </a:lnTo>
                  <a:lnTo>
                    <a:pt x="1491" y="2393"/>
                  </a:lnTo>
                  <a:lnTo>
                    <a:pt x="1493" y="2393"/>
                  </a:lnTo>
                  <a:lnTo>
                    <a:pt x="1493" y="2391"/>
                  </a:lnTo>
                  <a:lnTo>
                    <a:pt x="1493" y="2389"/>
                  </a:lnTo>
                  <a:lnTo>
                    <a:pt x="1495" y="2389"/>
                  </a:lnTo>
                  <a:close/>
                  <a:moveTo>
                    <a:pt x="1497" y="2406"/>
                  </a:moveTo>
                  <a:lnTo>
                    <a:pt x="1499" y="2406"/>
                  </a:lnTo>
                  <a:lnTo>
                    <a:pt x="1499" y="2406"/>
                  </a:lnTo>
                  <a:lnTo>
                    <a:pt x="1501" y="2404"/>
                  </a:lnTo>
                  <a:lnTo>
                    <a:pt x="1501" y="2404"/>
                  </a:lnTo>
                  <a:lnTo>
                    <a:pt x="1503" y="2406"/>
                  </a:lnTo>
                  <a:lnTo>
                    <a:pt x="1503" y="2406"/>
                  </a:lnTo>
                  <a:lnTo>
                    <a:pt x="1503" y="2404"/>
                  </a:lnTo>
                  <a:lnTo>
                    <a:pt x="1503" y="2404"/>
                  </a:lnTo>
                  <a:lnTo>
                    <a:pt x="1503" y="2402"/>
                  </a:lnTo>
                  <a:lnTo>
                    <a:pt x="1503" y="2402"/>
                  </a:lnTo>
                  <a:lnTo>
                    <a:pt x="1501" y="2402"/>
                  </a:lnTo>
                  <a:lnTo>
                    <a:pt x="1499" y="2404"/>
                  </a:lnTo>
                  <a:lnTo>
                    <a:pt x="1497" y="2404"/>
                  </a:lnTo>
                  <a:lnTo>
                    <a:pt x="1495" y="2404"/>
                  </a:lnTo>
                  <a:lnTo>
                    <a:pt x="1495" y="2406"/>
                  </a:lnTo>
                  <a:lnTo>
                    <a:pt x="1493" y="2406"/>
                  </a:lnTo>
                  <a:lnTo>
                    <a:pt x="1493" y="2408"/>
                  </a:lnTo>
                  <a:lnTo>
                    <a:pt x="1493" y="2410"/>
                  </a:lnTo>
                  <a:lnTo>
                    <a:pt x="1495" y="2408"/>
                  </a:lnTo>
                  <a:lnTo>
                    <a:pt x="1495" y="2408"/>
                  </a:lnTo>
                  <a:lnTo>
                    <a:pt x="1497" y="2406"/>
                  </a:lnTo>
                  <a:lnTo>
                    <a:pt x="1497" y="2406"/>
                  </a:lnTo>
                  <a:close/>
                  <a:moveTo>
                    <a:pt x="1501" y="2420"/>
                  </a:moveTo>
                  <a:lnTo>
                    <a:pt x="1503" y="2416"/>
                  </a:lnTo>
                  <a:lnTo>
                    <a:pt x="1503" y="2416"/>
                  </a:lnTo>
                  <a:lnTo>
                    <a:pt x="1501" y="2414"/>
                  </a:lnTo>
                  <a:lnTo>
                    <a:pt x="1501" y="2414"/>
                  </a:lnTo>
                  <a:lnTo>
                    <a:pt x="1501" y="2414"/>
                  </a:lnTo>
                  <a:lnTo>
                    <a:pt x="1499" y="2410"/>
                  </a:lnTo>
                  <a:lnTo>
                    <a:pt x="1499" y="2410"/>
                  </a:lnTo>
                  <a:lnTo>
                    <a:pt x="1499" y="2412"/>
                  </a:lnTo>
                  <a:lnTo>
                    <a:pt x="1497" y="2412"/>
                  </a:lnTo>
                  <a:lnTo>
                    <a:pt x="1495" y="2412"/>
                  </a:lnTo>
                  <a:lnTo>
                    <a:pt x="1497" y="2414"/>
                  </a:lnTo>
                  <a:lnTo>
                    <a:pt x="1497" y="2418"/>
                  </a:lnTo>
                  <a:lnTo>
                    <a:pt x="1499" y="2420"/>
                  </a:lnTo>
                  <a:lnTo>
                    <a:pt x="1499" y="2422"/>
                  </a:lnTo>
                  <a:lnTo>
                    <a:pt x="1501" y="2422"/>
                  </a:lnTo>
                  <a:lnTo>
                    <a:pt x="1501" y="2420"/>
                  </a:lnTo>
                  <a:close/>
                  <a:moveTo>
                    <a:pt x="1542" y="2459"/>
                  </a:moveTo>
                  <a:lnTo>
                    <a:pt x="1544" y="2459"/>
                  </a:lnTo>
                  <a:lnTo>
                    <a:pt x="1547" y="2459"/>
                  </a:lnTo>
                  <a:lnTo>
                    <a:pt x="1547" y="2459"/>
                  </a:lnTo>
                  <a:lnTo>
                    <a:pt x="1551" y="2461"/>
                  </a:lnTo>
                  <a:lnTo>
                    <a:pt x="1553" y="2461"/>
                  </a:lnTo>
                  <a:lnTo>
                    <a:pt x="1553" y="2461"/>
                  </a:lnTo>
                  <a:lnTo>
                    <a:pt x="1553" y="2461"/>
                  </a:lnTo>
                  <a:lnTo>
                    <a:pt x="1553" y="2459"/>
                  </a:lnTo>
                  <a:lnTo>
                    <a:pt x="1555" y="2459"/>
                  </a:lnTo>
                  <a:lnTo>
                    <a:pt x="1553" y="2457"/>
                  </a:lnTo>
                  <a:lnTo>
                    <a:pt x="1553" y="2457"/>
                  </a:lnTo>
                  <a:lnTo>
                    <a:pt x="1551" y="2457"/>
                  </a:lnTo>
                  <a:lnTo>
                    <a:pt x="1549" y="2455"/>
                  </a:lnTo>
                  <a:lnTo>
                    <a:pt x="1547" y="2453"/>
                  </a:lnTo>
                  <a:lnTo>
                    <a:pt x="1544" y="2453"/>
                  </a:lnTo>
                  <a:lnTo>
                    <a:pt x="1540" y="2453"/>
                  </a:lnTo>
                  <a:lnTo>
                    <a:pt x="1538" y="2453"/>
                  </a:lnTo>
                  <a:lnTo>
                    <a:pt x="1538" y="2453"/>
                  </a:lnTo>
                  <a:lnTo>
                    <a:pt x="1536" y="2455"/>
                  </a:lnTo>
                  <a:lnTo>
                    <a:pt x="1538" y="2457"/>
                  </a:lnTo>
                  <a:lnTo>
                    <a:pt x="1540" y="2459"/>
                  </a:lnTo>
                  <a:lnTo>
                    <a:pt x="1540" y="2461"/>
                  </a:lnTo>
                  <a:lnTo>
                    <a:pt x="1542" y="2459"/>
                  </a:lnTo>
                  <a:lnTo>
                    <a:pt x="1542" y="2459"/>
                  </a:lnTo>
                  <a:close/>
                  <a:moveTo>
                    <a:pt x="1685" y="2189"/>
                  </a:moveTo>
                  <a:lnTo>
                    <a:pt x="1683" y="2189"/>
                  </a:lnTo>
                  <a:lnTo>
                    <a:pt x="1681" y="2189"/>
                  </a:lnTo>
                  <a:lnTo>
                    <a:pt x="1681" y="2189"/>
                  </a:lnTo>
                  <a:lnTo>
                    <a:pt x="1683" y="2191"/>
                  </a:lnTo>
                  <a:lnTo>
                    <a:pt x="1683" y="2191"/>
                  </a:lnTo>
                  <a:lnTo>
                    <a:pt x="1685" y="2191"/>
                  </a:lnTo>
                  <a:lnTo>
                    <a:pt x="1685" y="2191"/>
                  </a:lnTo>
                  <a:lnTo>
                    <a:pt x="1685" y="2189"/>
                  </a:lnTo>
                  <a:close/>
                  <a:moveTo>
                    <a:pt x="1654" y="2470"/>
                  </a:moveTo>
                  <a:lnTo>
                    <a:pt x="1654" y="2470"/>
                  </a:lnTo>
                  <a:lnTo>
                    <a:pt x="1652" y="2470"/>
                  </a:lnTo>
                  <a:lnTo>
                    <a:pt x="1652" y="2470"/>
                  </a:lnTo>
                  <a:lnTo>
                    <a:pt x="1648" y="2470"/>
                  </a:lnTo>
                  <a:lnTo>
                    <a:pt x="1646" y="2468"/>
                  </a:lnTo>
                  <a:lnTo>
                    <a:pt x="1646" y="2470"/>
                  </a:lnTo>
                  <a:lnTo>
                    <a:pt x="1646" y="2470"/>
                  </a:lnTo>
                  <a:lnTo>
                    <a:pt x="1643" y="2470"/>
                  </a:lnTo>
                  <a:lnTo>
                    <a:pt x="1643" y="2472"/>
                  </a:lnTo>
                  <a:lnTo>
                    <a:pt x="1643" y="2472"/>
                  </a:lnTo>
                  <a:lnTo>
                    <a:pt x="1646" y="2472"/>
                  </a:lnTo>
                  <a:lnTo>
                    <a:pt x="1648" y="2472"/>
                  </a:lnTo>
                  <a:lnTo>
                    <a:pt x="1648" y="2472"/>
                  </a:lnTo>
                  <a:lnTo>
                    <a:pt x="1650" y="2470"/>
                  </a:lnTo>
                  <a:lnTo>
                    <a:pt x="1654" y="2470"/>
                  </a:lnTo>
                  <a:lnTo>
                    <a:pt x="1654" y="2470"/>
                  </a:lnTo>
                  <a:lnTo>
                    <a:pt x="1656" y="2470"/>
                  </a:lnTo>
                  <a:lnTo>
                    <a:pt x="1656" y="2470"/>
                  </a:lnTo>
                  <a:lnTo>
                    <a:pt x="1656" y="2470"/>
                  </a:lnTo>
                  <a:lnTo>
                    <a:pt x="1654" y="2470"/>
                  </a:lnTo>
                  <a:close/>
                  <a:moveTo>
                    <a:pt x="1697" y="2414"/>
                  </a:moveTo>
                  <a:lnTo>
                    <a:pt x="1699" y="2412"/>
                  </a:lnTo>
                  <a:lnTo>
                    <a:pt x="1697" y="2412"/>
                  </a:lnTo>
                  <a:lnTo>
                    <a:pt x="1697" y="2412"/>
                  </a:lnTo>
                  <a:lnTo>
                    <a:pt x="1695" y="2412"/>
                  </a:lnTo>
                  <a:lnTo>
                    <a:pt x="1695" y="2414"/>
                  </a:lnTo>
                  <a:lnTo>
                    <a:pt x="1695" y="2414"/>
                  </a:lnTo>
                  <a:lnTo>
                    <a:pt x="1697" y="2416"/>
                  </a:lnTo>
                  <a:lnTo>
                    <a:pt x="1697" y="2416"/>
                  </a:lnTo>
                  <a:lnTo>
                    <a:pt x="1697" y="2414"/>
                  </a:lnTo>
                  <a:close/>
                  <a:moveTo>
                    <a:pt x="1718" y="2410"/>
                  </a:moveTo>
                  <a:lnTo>
                    <a:pt x="1718" y="2410"/>
                  </a:lnTo>
                  <a:lnTo>
                    <a:pt x="1720" y="2408"/>
                  </a:lnTo>
                  <a:lnTo>
                    <a:pt x="1720" y="2408"/>
                  </a:lnTo>
                  <a:lnTo>
                    <a:pt x="1720" y="2408"/>
                  </a:lnTo>
                  <a:lnTo>
                    <a:pt x="1722" y="2406"/>
                  </a:lnTo>
                  <a:lnTo>
                    <a:pt x="1722" y="2406"/>
                  </a:lnTo>
                  <a:lnTo>
                    <a:pt x="1720" y="2406"/>
                  </a:lnTo>
                  <a:lnTo>
                    <a:pt x="1720" y="2404"/>
                  </a:lnTo>
                  <a:lnTo>
                    <a:pt x="1718" y="2406"/>
                  </a:lnTo>
                  <a:lnTo>
                    <a:pt x="1718" y="2406"/>
                  </a:lnTo>
                  <a:lnTo>
                    <a:pt x="1716" y="2406"/>
                  </a:lnTo>
                  <a:lnTo>
                    <a:pt x="1714" y="2406"/>
                  </a:lnTo>
                  <a:lnTo>
                    <a:pt x="1714" y="2406"/>
                  </a:lnTo>
                  <a:lnTo>
                    <a:pt x="1712" y="2406"/>
                  </a:lnTo>
                  <a:lnTo>
                    <a:pt x="1712" y="2406"/>
                  </a:lnTo>
                  <a:lnTo>
                    <a:pt x="1709" y="2406"/>
                  </a:lnTo>
                  <a:lnTo>
                    <a:pt x="1707" y="2406"/>
                  </a:lnTo>
                  <a:lnTo>
                    <a:pt x="1705" y="2406"/>
                  </a:lnTo>
                  <a:lnTo>
                    <a:pt x="1703" y="2404"/>
                  </a:lnTo>
                  <a:lnTo>
                    <a:pt x="1703" y="2404"/>
                  </a:lnTo>
                  <a:lnTo>
                    <a:pt x="1703" y="2406"/>
                  </a:lnTo>
                  <a:lnTo>
                    <a:pt x="1703" y="2406"/>
                  </a:lnTo>
                  <a:lnTo>
                    <a:pt x="1703" y="2406"/>
                  </a:lnTo>
                  <a:lnTo>
                    <a:pt x="1705" y="2408"/>
                  </a:lnTo>
                  <a:lnTo>
                    <a:pt x="1707" y="2408"/>
                  </a:lnTo>
                  <a:lnTo>
                    <a:pt x="1707" y="2410"/>
                  </a:lnTo>
                  <a:lnTo>
                    <a:pt x="1707" y="2410"/>
                  </a:lnTo>
                  <a:lnTo>
                    <a:pt x="1703" y="2410"/>
                  </a:lnTo>
                  <a:lnTo>
                    <a:pt x="1703" y="2410"/>
                  </a:lnTo>
                  <a:lnTo>
                    <a:pt x="1703" y="2412"/>
                  </a:lnTo>
                  <a:lnTo>
                    <a:pt x="1703" y="2412"/>
                  </a:lnTo>
                  <a:lnTo>
                    <a:pt x="1705" y="2412"/>
                  </a:lnTo>
                  <a:lnTo>
                    <a:pt x="1705" y="2412"/>
                  </a:lnTo>
                  <a:lnTo>
                    <a:pt x="1707" y="2412"/>
                  </a:lnTo>
                  <a:lnTo>
                    <a:pt x="1707" y="2412"/>
                  </a:lnTo>
                  <a:lnTo>
                    <a:pt x="1707" y="2412"/>
                  </a:lnTo>
                  <a:lnTo>
                    <a:pt x="1707" y="2412"/>
                  </a:lnTo>
                  <a:lnTo>
                    <a:pt x="1705" y="2414"/>
                  </a:lnTo>
                  <a:lnTo>
                    <a:pt x="1705" y="2414"/>
                  </a:lnTo>
                  <a:lnTo>
                    <a:pt x="1703" y="2416"/>
                  </a:lnTo>
                  <a:lnTo>
                    <a:pt x="1699" y="2416"/>
                  </a:lnTo>
                  <a:lnTo>
                    <a:pt x="1697" y="2418"/>
                  </a:lnTo>
                  <a:lnTo>
                    <a:pt x="1699" y="2420"/>
                  </a:lnTo>
                  <a:lnTo>
                    <a:pt x="1701" y="2420"/>
                  </a:lnTo>
                  <a:lnTo>
                    <a:pt x="1703" y="2420"/>
                  </a:lnTo>
                  <a:lnTo>
                    <a:pt x="1703" y="2420"/>
                  </a:lnTo>
                  <a:lnTo>
                    <a:pt x="1705" y="2420"/>
                  </a:lnTo>
                  <a:lnTo>
                    <a:pt x="1705" y="2420"/>
                  </a:lnTo>
                  <a:lnTo>
                    <a:pt x="1705" y="2418"/>
                  </a:lnTo>
                  <a:lnTo>
                    <a:pt x="1707" y="2418"/>
                  </a:lnTo>
                  <a:lnTo>
                    <a:pt x="1707" y="2416"/>
                  </a:lnTo>
                  <a:lnTo>
                    <a:pt x="1707" y="2416"/>
                  </a:lnTo>
                  <a:lnTo>
                    <a:pt x="1709" y="2416"/>
                  </a:lnTo>
                  <a:lnTo>
                    <a:pt x="1712" y="2416"/>
                  </a:lnTo>
                  <a:lnTo>
                    <a:pt x="1712" y="2416"/>
                  </a:lnTo>
                  <a:lnTo>
                    <a:pt x="1716" y="2412"/>
                  </a:lnTo>
                  <a:lnTo>
                    <a:pt x="1718" y="2410"/>
                  </a:lnTo>
                  <a:close/>
                  <a:moveTo>
                    <a:pt x="1604" y="2490"/>
                  </a:moveTo>
                  <a:lnTo>
                    <a:pt x="1600" y="2490"/>
                  </a:lnTo>
                  <a:lnTo>
                    <a:pt x="1600" y="2490"/>
                  </a:lnTo>
                  <a:lnTo>
                    <a:pt x="1598" y="2490"/>
                  </a:lnTo>
                  <a:lnTo>
                    <a:pt x="1598" y="2490"/>
                  </a:lnTo>
                  <a:lnTo>
                    <a:pt x="1600" y="2490"/>
                  </a:lnTo>
                  <a:lnTo>
                    <a:pt x="1600" y="2492"/>
                  </a:lnTo>
                  <a:lnTo>
                    <a:pt x="1602" y="2492"/>
                  </a:lnTo>
                  <a:lnTo>
                    <a:pt x="1602" y="2492"/>
                  </a:lnTo>
                  <a:lnTo>
                    <a:pt x="1604" y="2492"/>
                  </a:lnTo>
                  <a:lnTo>
                    <a:pt x="1604" y="2490"/>
                  </a:lnTo>
                  <a:lnTo>
                    <a:pt x="1604" y="2490"/>
                  </a:lnTo>
                  <a:lnTo>
                    <a:pt x="1604" y="2490"/>
                  </a:lnTo>
                  <a:close/>
                  <a:moveTo>
                    <a:pt x="1610" y="2476"/>
                  </a:moveTo>
                  <a:lnTo>
                    <a:pt x="1608" y="2474"/>
                  </a:lnTo>
                  <a:lnTo>
                    <a:pt x="1604" y="2474"/>
                  </a:lnTo>
                  <a:lnTo>
                    <a:pt x="1598" y="2472"/>
                  </a:lnTo>
                  <a:lnTo>
                    <a:pt x="1596" y="2472"/>
                  </a:lnTo>
                  <a:lnTo>
                    <a:pt x="1592" y="2474"/>
                  </a:lnTo>
                  <a:lnTo>
                    <a:pt x="1594" y="2476"/>
                  </a:lnTo>
                  <a:lnTo>
                    <a:pt x="1594" y="2478"/>
                  </a:lnTo>
                  <a:lnTo>
                    <a:pt x="1596" y="2478"/>
                  </a:lnTo>
                  <a:lnTo>
                    <a:pt x="1596" y="2478"/>
                  </a:lnTo>
                  <a:lnTo>
                    <a:pt x="1600" y="2480"/>
                  </a:lnTo>
                  <a:lnTo>
                    <a:pt x="1600" y="2480"/>
                  </a:lnTo>
                  <a:lnTo>
                    <a:pt x="1602" y="2478"/>
                  </a:lnTo>
                  <a:lnTo>
                    <a:pt x="1602" y="2478"/>
                  </a:lnTo>
                  <a:lnTo>
                    <a:pt x="1604" y="2478"/>
                  </a:lnTo>
                  <a:lnTo>
                    <a:pt x="1604" y="2478"/>
                  </a:lnTo>
                  <a:lnTo>
                    <a:pt x="1604" y="2478"/>
                  </a:lnTo>
                  <a:lnTo>
                    <a:pt x="1604" y="2478"/>
                  </a:lnTo>
                  <a:lnTo>
                    <a:pt x="1604" y="2478"/>
                  </a:lnTo>
                  <a:lnTo>
                    <a:pt x="1606" y="2480"/>
                  </a:lnTo>
                  <a:lnTo>
                    <a:pt x="1606" y="2480"/>
                  </a:lnTo>
                  <a:lnTo>
                    <a:pt x="1608" y="2480"/>
                  </a:lnTo>
                  <a:lnTo>
                    <a:pt x="1608" y="2478"/>
                  </a:lnTo>
                  <a:lnTo>
                    <a:pt x="1610" y="2478"/>
                  </a:lnTo>
                  <a:lnTo>
                    <a:pt x="1610" y="2478"/>
                  </a:lnTo>
                  <a:lnTo>
                    <a:pt x="1610" y="2476"/>
                  </a:lnTo>
                  <a:lnTo>
                    <a:pt x="1610" y="2476"/>
                  </a:lnTo>
                  <a:close/>
                  <a:moveTo>
                    <a:pt x="1606" y="2486"/>
                  </a:moveTo>
                  <a:lnTo>
                    <a:pt x="1606" y="2486"/>
                  </a:lnTo>
                  <a:lnTo>
                    <a:pt x="1606" y="2486"/>
                  </a:lnTo>
                  <a:lnTo>
                    <a:pt x="1604" y="2486"/>
                  </a:lnTo>
                  <a:lnTo>
                    <a:pt x="1604" y="2486"/>
                  </a:lnTo>
                  <a:lnTo>
                    <a:pt x="1604" y="2488"/>
                  </a:lnTo>
                  <a:lnTo>
                    <a:pt x="1602" y="2488"/>
                  </a:lnTo>
                  <a:lnTo>
                    <a:pt x="1602" y="2488"/>
                  </a:lnTo>
                  <a:lnTo>
                    <a:pt x="1606" y="2488"/>
                  </a:lnTo>
                  <a:lnTo>
                    <a:pt x="1606" y="2488"/>
                  </a:lnTo>
                  <a:lnTo>
                    <a:pt x="1606" y="2490"/>
                  </a:lnTo>
                  <a:lnTo>
                    <a:pt x="1606" y="2490"/>
                  </a:lnTo>
                  <a:lnTo>
                    <a:pt x="1606" y="2488"/>
                  </a:lnTo>
                  <a:lnTo>
                    <a:pt x="1606" y="2488"/>
                  </a:lnTo>
                  <a:lnTo>
                    <a:pt x="1606" y="2488"/>
                  </a:lnTo>
                  <a:lnTo>
                    <a:pt x="1606" y="2486"/>
                  </a:lnTo>
                  <a:close/>
                  <a:moveTo>
                    <a:pt x="1617" y="2478"/>
                  </a:moveTo>
                  <a:lnTo>
                    <a:pt x="1617" y="2478"/>
                  </a:lnTo>
                  <a:lnTo>
                    <a:pt x="1617" y="2478"/>
                  </a:lnTo>
                  <a:lnTo>
                    <a:pt x="1617" y="2478"/>
                  </a:lnTo>
                  <a:lnTo>
                    <a:pt x="1617" y="2480"/>
                  </a:lnTo>
                  <a:lnTo>
                    <a:pt x="1617" y="2480"/>
                  </a:lnTo>
                  <a:lnTo>
                    <a:pt x="1617" y="2480"/>
                  </a:lnTo>
                  <a:lnTo>
                    <a:pt x="1619" y="2478"/>
                  </a:lnTo>
                  <a:lnTo>
                    <a:pt x="1619" y="2478"/>
                  </a:lnTo>
                  <a:lnTo>
                    <a:pt x="1619" y="2478"/>
                  </a:lnTo>
                  <a:lnTo>
                    <a:pt x="1617" y="2478"/>
                  </a:lnTo>
                  <a:close/>
                  <a:moveTo>
                    <a:pt x="1709" y="2404"/>
                  </a:moveTo>
                  <a:lnTo>
                    <a:pt x="1709" y="2404"/>
                  </a:lnTo>
                  <a:lnTo>
                    <a:pt x="1709" y="2404"/>
                  </a:lnTo>
                  <a:lnTo>
                    <a:pt x="1707" y="2404"/>
                  </a:lnTo>
                  <a:lnTo>
                    <a:pt x="1707" y="2404"/>
                  </a:lnTo>
                  <a:lnTo>
                    <a:pt x="1707" y="2406"/>
                  </a:lnTo>
                  <a:lnTo>
                    <a:pt x="1709" y="2406"/>
                  </a:lnTo>
                  <a:lnTo>
                    <a:pt x="1709" y="2404"/>
                  </a:lnTo>
                  <a:close/>
                  <a:moveTo>
                    <a:pt x="1276" y="1615"/>
                  </a:moveTo>
                  <a:lnTo>
                    <a:pt x="1276" y="1615"/>
                  </a:lnTo>
                  <a:lnTo>
                    <a:pt x="1276" y="1617"/>
                  </a:lnTo>
                  <a:lnTo>
                    <a:pt x="1278" y="1617"/>
                  </a:lnTo>
                  <a:lnTo>
                    <a:pt x="1278" y="1617"/>
                  </a:lnTo>
                  <a:lnTo>
                    <a:pt x="1278" y="1617"/>
                  </a:lnTo>
                  <a:lnTo>
                    <a:pt x="1278" y="1617"/>
                  </a:lnTo>
                  <a:lnTo>
                    <a:pt x="1281" y="1615"/>
                  </a:lnTo>
                  <a:lnTo>
                    <a:pt x="1281" y="1615"/>
                  </a:lnTo>
                  <a:lnTo>
                    <a:pt x="1278" y="1613"/>
                  </a:lnTo>
                  <a:lnTo>
                    <a:pt x="1276" y="1615"/>
                  </a:lnTo>
                  <a:close/>
                  <a:moveTo>
                    <a:pt x="1270" y="1615"/>
                  </a:moveTo>
                  <a:lnTo>
                    <a:pt x="1270" y="1615"/>
                  </a:lnTo>
                  <a:lnTo>
                    <a:pt x="1270" y="1615"/>
                  </a:lnTo>
                  <a:lnTo>
                    <a:pt x="1270" y="1613"/>
                  </a:lnTo>
                  <a:lnTo>
                    <a:pt x="1266" y="1609"/>
                  </a:lnTo>
                  <a:lnTo>
                    <a:pt x="1266" y="1607"/>
                  </a:lnTo>
                  <a:lnTo>
                    <a:pt x="1264" y="1607"/>
                  </a:lnTo>
                  <a:lnTo>
                    <a:pt x="1264" y="1605"/>
                  </a:lnTo>
                  <a:lnTo>
                    <a:pt x="1264" y="1605"/>
                  </a:lnTo>
                  <a:lnTo>
                    <a:pt x="1262" y="1605"/>
                  </a:lnTo>
                  <a:lnTo>
                    <a:pt x="1262" y="1607"/>
                  </a:lnTo>
                  <a:lnTo>
                    <a:pt x="1260" y="1607"/>
                  </a:lnTo>
                  <a:lnTo>
                    <a:pt x="1260" y="1607"/>
                  </a:lnTo>
                  <a:lnTo>
                    <a:pt x="1262" y="1607"/>
                  </a:lnTo>
                  <a:lnTo>
                    <a:pt x="1262" y="1607"/>
                  </a:lnTo>
                  <a:lnTo>
                    <a:pt x="1262" y="1607"/>
                  </a:lnTo>
                  <a:lnTo>
                    <a:pt x="1264" y="1611"/>
                  </a:lnTo>
                  <a:lnTo>
                    <a:pt x="1266" y="1613"/>
                  </a:lnTo>
                  <a:lnTo>
                    <a:pt x="1266" y="1613"/>
                  </a:lnTo>
                  <a:lnTo>
                    <a:pt x="1268" y="1615"/>
                  </a:lnTo>
                  <a:lnTo>
                    <a:pt x="1266" y="1615"/>
                  </a:lnTo>
                  <a:lnTo>
                    <a:pt x="1264" y="1617"/>
                  </a:lnTo>
                  <a:lnTo>
                    <a:pt x="1262" y="1617"/>
                  </a:lnTo>
                  <a:lnTo>
                    <a:pt x="1262" y="1619"/>
                  </a:lnTo>
                  <a:lnTo>
                    <a:pt x="1262" y="1619"/>
                  </a:lnTo>
                  <a:lnTo>
                    <a:pt x="1262" y="1621"/>
                  </a:lnTo>
                  <a:lnTo>
                    <a:pt x="1264" y="1621"/>
                  </a:lnTo>
                  <a:lnTo>
                    <a:pt x="1266" y="1621"/>
                  </a:lnTo>
                  <a:lnTo>
                    <a:pt x="1270" y="1619"/>
                  </a:lnTo>
                  <a:lnTo>
                    <a:pt x="1272" y="1617"/>
                  </a:lnTo>
                  <a:lnTo>
                    <a:pt x="1270" y="1617"/>
                  </a:lnTo>
                  <a:lnTo>
                    <a:pt x="1270" y="1615"/>
                  </a:lnTo>
                  <a:close/>
                  <a:moveTo>
                    <a:pt x="1006" y="1999"/>
                  </a:moveTo>
                  <a:lnTo>
                    <a:pt x="1006" y="1999"/>
                  </a:lnTo>
                  <a:lnTo>
                    <a:pt x="1006" y="2001"/>
                  </a:lnTo>
                  <a:lnTo>
                    <a:pt x="1008" y="1999"/>
                  </a:lnTo>
                  <a:lnTo>
                    <a:pt x="1008" y="1999"/>
                  </a:lnTo>
                  <a:lnTo>
                    <a:pt x="1008" y="1999"/>
                  </a:lnTo>
                  <a:lnTo>
                    <a:pt x="1006" y="1999"/>
                  </a:lnTo>
                  <a:close/>
                  <a:moveTo>
                    <a:pt x="1264" y="1613"/>
                  </a:moveTo>
                  <a:lnTo>
                    <a:pt x="1264" y="1611"/>
                  </a:lnTo>
                  <a:lnTo>
                    <a:pt x="1262" y="1611"/>
                  </a:lnTo>
                  <a:lnTo>
                    <a:pt x="1260" y="1611"/>
                  </a:lnTo>
                  <a:lnTo>
                    <a:pt x="1260" y="1611"/>
                  </a:lnTo>
                  <a:lnTo>
                    <a:pt x="1260" y="1613"/>
                  </a:lnTo>
                  <a:lnTo>
                    <a:pt x="1260" y="1613"/>
                  </a:lnTo>
                  <a:lnTo>
                    <a:pt x="1262" y="1613"/>
                  </a:lnTo>
                  <a:lnTo>
                    <a:pt x="1262" y="1613"/>
                  </a:lnTo>
                  <a:lnTo>
                    <a:pt x="1264" y="1613"/>
                  </a:lnTo>
                  <a:close/>
                  <a:moveTo>
                    <a:pt x="971" y="1251"/>
                  </a:moveTo>
                  <a:lnTo>
                    <a:pt x="969" y="1254"/>
                  </a:lnTo>
                  <a:lnTo>
                    <a:pt x="973" y="1256"/>
                  </a:lnTo>
                  <a:lnTo>
                    <a:pt x="973" y="1256"/>
                  </a:lnTo>
                  <a:lnTo>
                    <a:pt x="971" y="1254"/>
                  </a:lnTo>
                  <a:lnTo>
                    <a:pt x="971" y="1251"/>
                  </a:lnTo>
                  <a:close/>
                  <a:moveTo>
                    <a:pt x="1048" y="1295"/>
                  </a:moveTo>
                  <a:lnTo>
                    <a:pt x="1045" y="1295"/>
                  </a:lnTo>
                  <a:lnTo>
                    <a:pt x="1045" y="1297"/>
                  </a:lnTo>
                  <a:lnTo>
                    <a:pt x="1045" y="1297"/>
                  </a:lnTo>
                  <a:lnTo>
                    <a:pt x="1048" y="1297"/>
                  </a:lnTo>
                  <a:lnTo>
                    <a:pt x="1048" y="1297"/>
                  </a:lnTo>
                  <a:lnTo>
                    <a:pt x="1048" y="1295"/>
                  </a:lnTo>
                  <a:lnTo>
                    <a:pt x="1048" y="1295"/>
                  </a:lnTo>
                  <a:close/>
                  <a:moveTo>
                    <a:pt x="984" y="1336"/>
                  </a:moveTo>
                  <a:lnTo>
                    <a:pt x="984" y="1338"/>
                  </a:lnTo>
                  <a:lnTo>
                    <a:pt x="984" y="1338"/>
                  </a:lnTo>
                  <a:lnTo>
                    <a:pt x="984" y="1338"/>
                  </a:lnTo>
                  <a:lnTo>
                    <a:pt x="986" y="1338"/>
                  </a:lnTo>
                  <a:lnTo>
                    <a:pt x="984" y="1338"/>
                  </a:lnTo>
                  <a:lnTo>
                    <a:pt x="984" y="1336"/>
                  </a:lnTo>
                  <a:close/>
                  <a:moveTo>
                    <a:pt x="876" y="1115"/>
                  </a:moveTo>
                  <a:lnTo>
                    <a:pt x="876" y="1115"/>
                  </a:lnTo>
                  <a:lnTo>
                    <a:pt x="876" y="1117"/>
                  </a:lnTo>
                  <a:lnTo>
                    <a:pt x="878" y="1117"/>
                  </a:lnTo>
                  <a:lnTo>
                    <a:pt x="878" y="1117"/>
                  </a:lnTo>
                  <a:lnTo>
                    <a:pt x="880" y="1117"/>
                  </a:lnTo>
                  <a:lnTo>
                    <a:pt x="878" y="1117"/>
                  </a:lnTo>
                  <a:lnTo>
                    <a:pt x="878" y="1115"/>
                  </a:lnTo>
                  <a:lnTo>
                    <a:pt x="876" y="1115"/>
                  </a:lnTo>
                  <a:lnTo>
                    <a:pt x="876" y="1115"/>
                  </a:lnTo>
                  <a:lnTo>
                    <a:pt x="876" y="1115"/>
                  </a:lnTo>
                  <a:lnTo>
                    <a:pt x="876" y="1115"/>
                  </a:lnTo>
                  <a:lnTo>
                    <a:pt x="876" y="1115"/>
                  </a:lnTo>
                  <a:close/>
                  <a:moveTo>
                    <a:pt x="1491" y="2364"/>
                  </a:moveTo>
                  <a:lnTo>
                    <a:pt x="1493" y="2362"/>
                  </a:lnTo>
                  <a:lnTo>
                    <a:pt x="1495" y="2358"/>
                  </a:lnTo>
                  <a:lnTo>
                    <a:pt x="1495" y="2358"/>
                  </a:lnTo>
                  <a:lnTo>
                    <a:pt x="1495" y="2356"/>
                  </a:lnTo>
                  <a:lnTo>
                    <a:pt x="1493" y="2356"/>
                  </a:lnTo>
                  <a:lnTo>
                    <a:pt x="1493" y="2358"/>
                  </a:lnTo>
                  <a:lnTo>
                    <a:pt x="1491" y="2358"/>
                  </a:lnTo>
                  <a:lnTo>
                    <a:pt x="1489" y="2358"/>
                  </a:lnTo>
                  <a:lnTo>
                    <a:pt x="1489" y="2358"/>
                  </a:lnTo>
                  <a:lnTo>
                    <a:pt x="1489" y="2358"/>
                  </a:lnTo>
                  <a:lnTo>
                    <a:pt x="1489" y="2360"/>
                  </a:lnTo>
                  <a:lnTo>
                    <a:pt x="1489" y="2360"/>
                  </a:lnTo>
                  <a:lnTo>
                    <a:pt x="1489" y="2360"/>
                  </a:lnTo>
                  <a:lnTo>
                    <a:pt x="1489" y="2360"/>
                  </a:lnTo>
                  <a:lnTo>
                    <a:pt x="1491" y="2362"/>
                  </a:lnTo>
                  <a:lnTo>
                    <a:pt x="1489" y="2362"/>
                  </a:lnTo>
                  <a:lnTo>
                    <a:pt x="1489" y="2364"/>
                  </a:lnTo>
                  <a:lnTo>
                    <a:pt x="1489" y="2364"/>
                  </a:lnTo>
                  <a:lnTo>
                    <a:pt x="1489" y="2364"/>
                  </a:lnTo>
                  <a:lnTo>
                    <a:pt x="1491" y="2364"/>
                  </a:lnTo>
                  <a:close/>
                  <a:moveTo>
                    <a:pt x="924" y="1194"/>
                  </a:moveTo>
                  <a:lnTo>
                    <a:pt x="924" y="1196"/>
                  </a:lnTo>
                  <a:lnTo>
                    <a:pt x="924" y="1198"/>
                  </a:lnTo>
                  <a:lnTo>
                    <a:pt x="922" y="1198"/>
                  </a:lnTo>
                  <a:lnTo>
                    <a:pt x="924" y="1200"/>
                  </a:lnTo>
                  <a:lnTo>
                    <a:pt x="924" y="1200"/>
                  </a:lnTo>
                  <a:lnTo>
                    <a:pt x="924" y="1198"/>
                  </a:lnTo>
                  <a:lnTo>
                    <a:pt x="924" y="1196"/>
                  </a:lnTo>
                  <a:lnTo>
                    <a:pt x="924" y="1194"/>
                  </a:lnTo>
                  <a:close/>
                  <a:moveTo>
                    <a:pt x="967" y="1251"/>
                  </a:moveTo>
                  <a:lnTo>
                    <a:pt x="967" y="1249"/>
                  </a:lnTo>
                  <a:lnTo>
                    <a:pt x="967" y="1249"/>
                  </a:lnTo>
                  <a:lnTo>
                    <a:pt x="967" y="1247"/>
                  </a:lnTo>
                  <a:lnTo>
                    <a:pt x="967" y="1247"/>
                  </a:lnTo>
                  <a:lnTo>
                    <a:pt x="967" y="1243"/>
                  </a:lnTo>
                  <a:lnTo>
                    <a:pt x="967" y="1241"/>
                  </a:lnTo>
                  <a:lnTo>
                    <a:pt x="967" y="1247"/>
                  </a:lnTo>
                  <a:lnTo>
                    <a:pt x="965" y="1249"/>
                  </a:lnTo>
                  <a:lnTo>
                    <a:pt x="967" y="1249"/>
                  </a:lnTo>
                  <a:lnTo>
                    <a:pt x="967" y="1249"/>
                  </a:lnTo>
                  <a:lnTo>
                    <a:pt x="967" y="1251"/>
                  </a:lnTo>
                  <a:lnTo>
                    <a:pt x="969" y="1254"/>
                  </a:lnTo>
                  <a:lnTo>
                    <a:pt x="969" y="1254"/>
                  </a:lnTo>
                  <a:lnTo>
                    <a:pt x="969" y="1251"/>
                  </a:lnTo>
                  <a:lnTo>
                    <a:pt x="967" y="1251"/>
                  </a:lnTo>
                  <a:close/>
                  <a:moveTo>
                    <a:pt x="880" y="1183"/>
                  </a:moveTo>
                  <a:lnTo>
                    <a:pt x="880" y="1183"/>
                  </a:lnTo>
                  <a:lnTo>
                    <a:pt x="880" y="1181"/>
                  </a:lnTo>
                  <a:lnTo>
                    <a:pt x="878" y="1181"/>
                  </a:lnTo>
                  <a:lnTo>
                    <a:pt x="878" y="1183"/>
                  </a:lnTo>
                  <a:lnTo>
                    <a:pt x="878" y="1183"/>
                  </a:lnTo>
                  <a:lnTo>
                    <a:pt x="880" y="1185"/>
                  </a:lnTo>
                  <a:lnTo>
                    <a:pt x="880" y="1185"/>
                  </a:lnTo>
                  <a:lnTo>
                    <a:pt x="880" y="1183"/>
                  </a:lnTo>
                  <a:lnTo>
                    <a:pt x="880" y="1183"/>
                  </a:lnTo>
                  <a:close/>
                  <a:moveTo>
                    <a:pt x="1499" y="2340"/>
                  </a:moveTo>
                  <a:lnTo>
                    <a:pt x="1497" y="2342"/>
                  </a:lnTo>
                  <a:lnTo>
                    <a:pt x="1495" y="2342"/>
                  </a:lnTo>
                  <a:lnTo>
                    <a:pt x="1493" y="2344"/>
                  </a:lnTo>
                  <a:lnTo>
                    <a:pt x="1493" y="2344"/>
                  </a:lnTo>
                  <a:lnTo>
                    <a:pt x="1495" y="2346"/>
                  </a:lnTo>
                  <a:lnTo>
                    <a:pt x="1495" y="2346"/>
                  </a:lnTo>
                  <a:lnTo>
                    <a:pt x="1495" y="2348"/>
                  </a:lnTo>
                  <a:lnTo>
                    <a:pt x="1495" y="2350"/>
                  </a:lnTo>
                  <a:lnTo>
                    <a:pt x="1497" y="2350"/>
                  </a:lnTo>
                  <a:lnTo>
                    <a:pt x="1497" y="2352"/>
                  </a:lnTo>
                  <a:lnTo>
                    <a:pt x="1499" y="2354"/>
                  </a:lnTo>
                  <a:lnTo>
                    <a:pt x="1501" y="2354"/>
                  </a:lnTo>
                  <a:lnTo>
                    <a:pt x="1503" y="2354"/>
                  </a:lnTo>
                  <a:lnTo>
                    <a:pt x="1503" y="2354"/>
                  </a:lnTo>
                  <a:lnTo>
                    <a:pt x="1503" y="2350"/>
                  </a:lnTo>
                  <a:lnTo>
                    <a:pt x="1503" y="2350"/>
                  </a:lnTo>
                  <a:lnTo>
                    <a:pt x="1503" y="2350"/>
                  </a:lnTo>
                  <a:lnTo>
                    <a:pt x="1503" y="2348"/>
                  </a:lnTo>
                  <a:lnTo>
                    <a:pt x="1501" y="2348"/>
                  </a:lnTo>
                  <a:lnTo>
                    <a:pt x="1501" y="2346"/>
                  </a:lnTo>
                  <a:lnTo>
                    <a:pt x="1501" y="2346"/>
                  </a:lnTo>
                  <a:lnTo>
                    <a:pt x="1501" y="2344"/>
                  </a:lnTo>
                  <a:lnTo>
                    <a:pt x="1499" y="2344"/>
                  </a:lnTo>
                  <a:lnTo>
                    <a:pt x="1499" y="2344"/>
                  </a:lnTo>
                  <a:lnTo>
                    <a:pt x="1499" y="2340"/>
                  </a:lnTo>
                  <a:lnTo>
                    <a:pt x="1499" y="2340"/>
                  </a:lnTo>
                  <a:close/>
                  <a:moveTo>
                    <a:pt x="1487" y="2354"/>
                  </a:moveTo>
                  <a:lnTo>
                    <a:pt x="1489" y="2356"/>
                  </a:lnTo>
                  <a:lnTo>
                    <a:pt x="1489" y="2356"/>
                  </a:lnTo>
                  <a:lnTo>
                    <a:pt x="1491" y="2356"/>
                  </a:lnTo>
                  <a:lnTo>
                    <a:pt x="1493" y="2354"/>
                  </a:lnTo>
                  <a:lnTo>
                    <a:pt x="1495" y="2354"/>
                  </a:lnTo>
                  <a:lnTo>
                    <a:pt x="1495" y="2350"/>
                  </a:lnTo>
                  <a:lnTo>
                    <a:pt x="1493" y="2346"/>
                  </a:lnTo>
                  <a:lnTo>
                    <a:pt x="1493" y="2344"/>
                  </a:lnTo>
                  <a:lnTo>
                    <a:pt x="1491" y="2344"/>
                  </a:lnTo>
                  <a:lnTo>
                    <a:pt x="1489" y="2344"/>
                  </a:lnTo>
                  <a:lnTo>
                    <a:pt x="1489" y="2344"/>
                  </a:lnTo>
                  <a:lnTo>
                    <a:pt x="1489" y="2346"/>
                  </a:lnTo>
                  <a:lnTo>
                    <a:pt x="1489" y="2346"/>
                  </a:lnTo>
                  <a:lnTo>
                    <a:pt x="1489" y="2348"/>
                  </a:lnTo>
                  <a:lnTo>
                    <a:pt x="1487" y="2354"/>
                  </a:lnTo>
                  <a:close/>
                  <a:moveTo>
                    <a:pt x="1441" y="2100"/>
                  </a:moveTo>
                  <a:lnTo>
                    <a:pt x="1441" y="2100"/>
                  </a:lnTo>
                  <a:lnTo>
                    <a:pt x="1441" y="2100"/>
                  </a:lnTo>
                  <a:lnTo>
                    <a:pt x="1441" y="2100"/>
                  </a:lnTo>
                  <a:lnTo>
                    <a:pt x="1441" y="2100"/>
                  </a:lnTo>
                  <a:lnTo>
                    <a:pt x="1439" y="2100"/>
                  </a:lnTo>
                  <a:lnTo>
                    <a:pt x="1439" y="2100"/>
                  </a:lnTo>
                  <a:lnTo>
                    <a:pt x="1439" y="2100"/>
                  </a:lnTo>
                  <a:lnTo>
                    <a:pt x="1443" y="2100"/>
                  </a:lnTo>
                  <a:lnTo>
                    <a:pt x="1443" y="2100"/>
                  </a:lnTo>
                  <a:lnTo>
                    <a:pt x="1443" y="2100"/>
                  </a:lnTo>
                  <a:lnTo>
                    <a:pt x="1443" y="2100"/>
                  </a:lnTo>
                  <a:lnTo>
                    <a:pt x="1441" y="2100"/>
                  </a:lnTo>
                  <a:close/>
                  <a:moveTo>
                    <a:pt x="1497" y="2338"/>
                  </a:moveTo>
                  <a:lnTo>
                    <a:pt x="1495" y="2338"/>
                  </a:lnTo>
                  <a:lnTo>
                    <a:pt x="1495" y="2338"/>
                  </a:lnTo>
                  <a:lnTo>
                    <a:pt x="1493" y="2338"/>
                  </a:lnTo>
                  <a:lnTo>
                    <a:pt x="1495" y="2340"/>
                  </a:lnTo>
                  <a:lnTo>
                    <a:pt x="1495" y="2340"/>
                  </a:lnTo>
                  <a:lnTo>
                    <a:pt x="1495" y="2340"/>
                  </a:lnTo>
                  <a:lnTo>
                    <a:pt x="1495" y="2340"/>
                  </a:lnTo>
                  <a:lnTo>
                    <a:pt x="1497" y="2340"/>
                  </a:lnTo>
                  <a:lnTo>
                    <a:pt x="1499" y="2338"/>
                  </a:lnTo>
                  <a:lnTo>
                    <a:pt x="1497" y="2338"/>
                  </a:lnTo>
                  <a:lnTo>
                    <a:pt x="1497" y="2338"/>
                  </a:lnTo>
                  <a:close/>
                  <a:moveTo>
                    <a:pt x="1293" y="1617"/>
                  </a:moveTo>
                  <a:lnTo>
                    <a:pt x="1293" y="1617"/>
                  </a:lnTo>
                  <a:lnTo>
                    <a:pt x="1291" y="1617"/>
                  </a:lnTo>
                  <a:lnTo>
                    <a:pt x="1291" y="1617"/>
                  </a:lnTo>
                  <a:lnTo>
                    <a:pt x="1289" y="1619"/>
                  </a:lnTo>
                  <a:lnTo>
                    <a:pt x="1289" y="1619"/>
                  </a:lnTo>
                  <a:lnTo>
                    <a:pt x="1289" y="1619"/>
                  </a:lnTo>
                  <a:lnTo>
                    <a:pt x="1289" y="1619"/>
                  </a:lnTo>
                  <a:lnTo>
                    <a:pt x="1289" y="1619"/>
                  </a:lnTo>
                  <a:lnTo>
                    <a:pt x="1291" y="1619"/>
                  </a:lnTo>
                  <a:lnTo>
                    <a:pt x="1293" y="1619"/>
                  </a:lnTo>
                  <a:lnTo>
                    <a:pt x="1293" y="1617"/>
                  </a:lnTo>
                  <a:lnTo>
                    <a:pt x="1293" y="1617"/>
                  </a:lnTo>
                  <a:lnTo>
                    <a:pt x="1293" y="1617"/>
                  </a:lnTo>
                  <a:lnTo>
                    <a:pt x="1293" y="1617"/>
                  </a:lnTo>
                  <a:close/>
                  <a:moveTo>
                    <a:pt x="1276" y="1623"/>
                  </a:moveTo>
                  <a:lnTo>
                    <a:pt x="1276" y="1623"/>
                  </a:lnTo>
                  <a:lnTo>
                    <a:pt x="1276" y="1625"/>
                  </a:lnTo>
                  <a:lnTo>
                    <a:pt x="1276" y="1625"/>
                  </a:lnTo>
                  <a:lnTo>
                    <a:pt x="1276" y="1625"/>
                  </a:lnTo>
                  <a:lnTo>
                    <a:pt x="1278" y="1625"/>
                  </a:lnTo>
                  <a:lnTo>
                    <a:pt x="1278" y="1625"/>
                  </a:lnTo>
                  <a:lnTo>
                    <a:pt x="1276" y="1623"/>
                  </a:lnTo>
                  <a:close/>
                  <a:moveTo>
                    <a:pt x="878" y="1125"/>
                  </a:moveTo>
                  <a:lnTo>
                    <a:pt x="876" y="1123"/>
                  </a:lnTo>
                  <a:lnTo>
                    <a:pt x="876" y="1121"/>
                  </a:lnTo>
                  <a:lnTo>
                    <a:pt x="876" y="1121"/>
                  </a:lnTo>
                  <a:lnTo>
                    <a:pt x="876" y="1123"/>
                  </a:lnTo>
                  <a:lnTo>
                    <a:pt x="876" y="1125"/>
                  </a:lnTo>
                  <a:lnTo>
                    <a:pt x="878" y="1125"/>
                  </a:lnTo>
                  <a:lnTo>
                    <a:pt x="878" y="1125"/>
                  </a:lnTo>
                  <a:lnTo>
                    <a:pt x="878" y="1125"/>
                  </a:lnTo>
                  <a:close/>
                  <a:moveTo>
                    <a:pt x="1272" y="1609"/>
                  </a:moveTo>
                  <a:lnTo>
                    <a:pt x="1272" y="1609"/>
                  </a:lnTo>
                  <a:lnTo>
                    <a:pt x="1270" y="1611"/>
                  </a:lnTo>
                  <a:lnTo>
                    <a:pt x="1272" y="1611"/>
                  </a:lnTo>
                  <a:lnTo>
                    <a:pt x="1274" y="1611"/>
                  </a:lnTo>
                  <a:lnTo>
                    <a:pt x="1274" y="1611"/>
                  </a:lnTo>
                  <a:lnTo>
                    <a:pt x="1274" y="1611"/>
                  </a:lnTo>
                  <a:lnTo>
                    <a:pt x="1274" y="1609"/>
                  </a:lnTo>
                  <a:lnTo>
                    <a:pt x="1272" y="1609"/>
                  </a:lnTo>
                  <a:close/>
                  <a:moveTo>
                    <a:pt x="1402" y="1501"/>
                  </a:moveTo>
                  <a:lnTo>
                    <a:pt x="1402" y="1501"/>
                  </a:lnTo>
                  <a:lnTo>
                    <a:pt x="1402" y="1499"/>
                  </a:lnTo>
                  <a:lnTo>
                    <a:pt x="1400" y="1499"/>
                  </a:lnTo>
                  <a:lnTo>
                    <a:pt x="1400" y="1499"/>
                  </a:lnTo>
                  <a:lnTo>
                    <a:pt x="1400" y="1499"/>
                  </a:lnTo>
                  <a:lnTo>
                    <a:pt x="1400" y="1499"/>
                  </a:lnTo>
                  <a:lnTo>
                    <a:pt x="1400" y="1501"/>
                  </a:lnTo>
                  <a:lnTo>
                    <a:pt x="1400" y="1501"/>
                  </a:lnTo>
                  <a:lnTo>
                    <a:pt x="1400" y="1501"/>
                  </a:lnTo>
                  <a:lnTo>
                    <a:pt x="1402" y="1503"/>
                  </a:lnTo>
                  <a:lnTo>
                    <a:pt x="1402" y="1503"/>
                  </a:lnTo>
                  <a:lnTo>
                    <a:pt x="1402" y="1501"/>
                  </a:lnTo>
                  <a:lnTo>
                    <a:pt x="1402" y="1501"/>
                  </a:lnTo>
                  <a:close/>
                  <a:moveTo>
                    <a:pt x="1441" y="1588"/>
                  </a:moveTo>
                  <a:lnTo>
                    <a:pt x="1441" y="1588"/>
                  </a:lnTo>
                  <a:lnTo>
                    <a:pt x="1439" y="1588"/>
                  </a:lnTo>
                  <a:lnTo>
                    <a:pt x="1441" y="1588"/>
                  </a:lnTo>
                  <a:lnTo>
                    <a:pt x="1441" y="1588"/>
                  </a:lnTo>
                  <a:lnTo>
                    <a:pt x="1441" y="1588"/>
                  </a:lnTo>
                  <a:close/>
                  <a:moveTo>
                    <a:pt x="1299" y="1173"/>
                  </a:moveTo>
                  <a:lnTo>
                    <a:pt x="1299" y="1171"/>
                  </a:lnTo>
                  <a:lnTo>
                    <a:pt x="1299" y="1169"/>
                  </a:lnTo>
                  <a:lnTo>
                    <a:pt x="1299" y="1169"/>
                  </a:lnTo>
                  <a:lnTo>
                    <a:pt x="1299" y="1171"/>
                  </a:lnTo>
                  <a:lnTo>
                    <a:pt x="1299" y="1173"/>
                  </a:lnTo>
                  <a:lnTo>
                    <a:pt x="1299" y="1173"/>
                  </a:lnTo>
                  <a:close/>
                  <a:moveTo>
                    <a:pt x="1874" y="1617"/>
                  </a:moveTo>
                  <a:lnTo>
                    <a:pt x="1874" y="1615"/>
                  </a:lnTo>
                  <a:lnTo>
                    <a:pt x="1876" y="1613"/>
                  </a:lnTo>
                  <a:lnTo>
                    <a:pt x="1876" y="1611"/>
                  </a:lnTo>
                  <a:lnTo>
                    <a:pt x="1876" y="1611"/>
                  </a:lnTo>
                  <a:lnTo>
                    <a:pt x="1876" y="1611"/>
                  </a:lnTo>
                  <a:lnTo>
                    <a:pt x="1874" y="1611"/>
                  </a:lnTo>
                  <a:lnTo>
                    <a:pt x="1874" y="1611"/>
                  </a:lnTo>
                  <a:lnTo>
                    <a:pt x="1870" y="1609"/>
                  </a:lnTo>
                  <a:lnTo>
                    <a:pt x="1866" y="1609"/>
                  </a:lnTo>
                  <a:lnTo>
                    <a:pt x="1864" y="1609"/>
                  </a:lnTo>
                  <a:lnTo>
                    <a:pt x="1864" y="1609"/>
                  </a:lnTo>
                  <a:lnTo>
                    <a:pt x="1862" y="1609"/>
                  </a:lnTo>
                  <a:lnTo>
                    <a:pt x="1860" y="1611"/>
                  </a:lnTo>
                  <a:lnTo>
                    <a:pt x="1858" y="1611"/>
                  </a:lnTo>
                  <a:lnTo>
                    <a:pt x="1850" y="1609"/>
                  </a:lnTo>
                  <a:lnTo>
                    <a:pt x="1848" y="1609"/>
                  </a:lnTo>
                  <a:lnTo>
                    <a:pt x="1843" y="1611"/>
                  </a:lnTo>
                  <a:lnTo>
                    <a:pt x="1843" y="1611"/>
                  </a:lnTo>
                  <a:lnTo>
                    <a:pt x="1843" y="1613"/>
                  </a:lnTo>
                  <a:lnTo>
                    <a:pt x="1843" y="1615"/>
                  </a:lnTo>
                  <a:lnTo>
                    <a:pt x="1843" y="1615"/>
                  </a:lnTo>
                  <a:lnTo>
                    <a:pt x="1843" y="1615"/>
                  </a:lnTo>
                  <a:lnTo>
                    <a:pt x="1841" y="1617"/>
                  </a:lnTo>
                  <a:lnTo>
                    <a:pt x="1841" y="1619"/>
                  </a:lnTo>
                  <a:lnTo>
                    <a:pt x="1841" y="1621"/>
                  </a:lnTo>
                  <a:lnTo>
                    <a:pt x="1843" y="1621"/>
                  </a:lnTo>
                  <a:lnTo>
                    <a:pt x="1846" y="1621"/>
                  </a:lnTo>
                  <a:lnTo>
                    <a:pt x="1846" y="1623"/>
                  </a:lnTo>
                  <a:lnTo>
                    <a:pt x="1846" y="1623"/>
                  </a:lnTo>
                  <a:lnTo>
                    <a:pt x="1846" y="1623"/>
                  </a:lnTo>
                  <a:lnTo>
                    <a:pt x="1843" y="1623"/>
                  </a:lnTo>
                  <a:lnTo>
                    <a:pt x="1843" y="1623"/>
                  </a:lnTo>
                  <a:lnTo>
                    <a:pt x="1843" y="1623"/>
                  </a:lnTo>
                  <a:lnTo>
                    <a:pt x="1843" y="1625"/>
                  </a:lnTo>
                  <a:lnTo>
                    <a:pt x="1843" y="1627"/>
                  </a:lnTo>
                  <a:lnTo>
                    <a:pt x="1846" y="1629"/>
                  </a:lnTo>
                  <a:lnTo>
                    <a:pt x="1846" y="1631"/>
                  </a:lnTo>
                  <a:lnTo>
                    <a:pt x="1846" y="1631"/>
                  </a:lnTo>
                  <a:lnTo>
                    <a:pt x="1848" y="1631"/>
                  </a:lnTo>
                  <a:lnTo>
                    <a:pt x="1848" y="1631"/>
                  </a:lnTo>
                  <a:lnTo>
                    <a:pt x="1852" y="1631"/>
                  </a:lnTo>
                  <a:lnTo>
                    <a:pt x="1852" y="1631"/>
                  </a:lnTo>
                  <a:lnTo>
                    <a:pt x="1854" y="1631"/>
                  </a:lnTo>
                  <a:lnTo>
                    <a:pt x="1854" y="1631"/>
                  </a:lnTo>
                  <a:lnTo>
                    <a:pt x="1856" y="1631"/>
                  </a:lnTo>
                  <a:lnTo>
                    <a:pt x="1858" y="1631"/>
                  </a:lnTo>
                  <a:lnTo>
                    <a:pt x="1858" y="1631"/>
                  </a:lnTo>
                  <a:lnTo>
                    <a:pt x="1860" y="1631"/>
                  </a:lnTo>
                  <a:lnTo>
                    <a:pt x="1860" y="1629"/>
                  </a:lnTo>
                  <a:lnTo>
                    <a:pt x="1860" y="1627"/>
                  </a:lnTo>
                  <a:lnTo>
                    <a:pt x="1862" y="1629"/>
                  </a:lnTo>
                  <a:lnTo>
                    <a:pt x="1862" y="1629"/>
                  </a:lnTo>
                  <a:lnTo>
                    <a:pt x="1864" y="1629"/>
                  </a:lnTo>
                  <a:lnTo>
                    <a:pt x="1864" y="1629"/>
                  </a:lnTo>
                  <a:lnTo>
                    <a:pt x="1864" y="1627"/>
                  </a:lnTo>
                  <a:lnTo>
                    <a:pt x="1866" y="1627"/>
                  </a:lnTo>
                  <a:lnTo>
                    <a:pt x="1866" y="1627"/>
                  </a:lnTo>
                  <a:lnTo>
                    <a:pt x="1866" y="1627"/>
                  </a:lnTo>
                  <a:lnTo>
                    <a:pt x="1868" y="1627"/>
                  </a:lnTo>
                  <a:lnTo>
                    <a:pt x="1868" y="1627"/>
                  </a:lnTo>
                  <a:lnTo>
                    <a:pt x="1870" y="1625"/>
                  </a:lnTo>
                  <a:lnTo>
                    <a:pt x="1870" y="1625"/>
                  </a:lnTo>
                  <a:lnTo>
                    <a:pt x="1870" y="1625"/>
                  </a:lnTo>
                  <a:lnTo>
                    <a:pt x="1870" y="1623"/>
                  </a:lnTo>
                  <a:lnTo>
                    <a:pt x="1870" y="1623"/>
                  </a:lnTo>
                  <a:lnTo>
                    <a:pt x="1872" y="1623"/>
                  </a:lnTo>
                  <a:lnTo>
                    <a:pt x="1872" y="1623"/>
                  </a:lnTo>
                  <a:lnTo>
                    <a:pt x="1872" y="1621"/>
                  </a:lnTo>
                  <a:lnTo>
                    <a:pt x="1874" y="1619"/>
                  </a:lnTo>
                  <a:lnTo>
                    <a:pt x="1874" y="1619"/>
                  </a:lnTo>
                  <a:lnTo>
                    <a:pt x="1874" y="1617"/>
                  </a:lnTo>
                  <a:lnTo>
                    <a:pt x="1874" y="1617"/>
                  </a:lnTo>
                  <a:lnTo>
                    <a:pt x="1874" y="1617"/>
                  </a:lnTo>
                  <a:lnTo>
                    <a:pt x="1874" y="1617"/>
                  </a:lnTo>
                  <a:close/>
                  <a:moveTo>
                    <a:pt x="1301" y="1165"/>
                  </a:moveTo>
                  <a:lnTo>
                    <a:pt x="1303" y="1167"/>
                  </a:lnTo>
                  <a:lnTo>
                    <a:pt x="1303" y="1167"/>
                  </a:lnTo>
                  <a:lnTo>
                    <a:pt x="1303" y="1167"/>
                  </a:lnTo>
                  <a:lnTo>
                    <a:pt x="1303" y="1167"/>
                  </a:lnTo>
                  <a:lnTo>
                    <a:pt x="1301" y="1165"/>
                  </a:lnTo>
                  <a:lnTo>
                    <a:pt x="1301" y="1165"/>
                  </a:lnTo>
                  <a:close/>
                  <a:moveTo>
                    <a:pt x="1299" y="1175"/>
                  </a:moveTo>
                  <a:lnTo>
                    <a:pt x="1299" y="1173"/>
                  </a:lnTo>
                  <a:lnTo>
                    <a:pt x="1299" y="1173"/>
                  </a:lnTo>
                  <a:lnTo>
                    <a:pt x="1299" y="1173"/>
                  </a:lnTo>
                  <a:lnTo>
                    <a:pt x="1299" y="1175"/>
                  </a:lnTo>
                  <a:lnTo>
                    <a:pt x="1299" y="1175"/>
                  </a:lnTo>
                  <a:close/>
                  <a:moveTo>
                    <a:pt x="1295" y="1167"/>
                  </a:moveTo>
                  <a:lnTo>
                    <a:pt x="1293" y="1167"/>
                  </a:lnTo>
                  <a:lnTo>
                    <a:pt x="1293" y="1169"/>
                  </a:lnTo>
                  <a:lnTo>
                    <a:pt x="1293" y="1169"/>
                  </a:lnTo>
                  <a:lnTo>
                    <a:pt x="1293" y="1169"/>
                  </a:lnTo>
                  <a:lnTo>
                    <a:pt x="1293" y="1169"/>
                  </a:lnTo>
                  <a:lnTo>
                    <a:pt x="1295" y="1169"/>
                  </a:lnTo>
                  <a:lnTo>
                    <a:pt x="1295" y="1169"/>
                  </a:lnTo>
                  <a:lnTo>
                    <a:pt x="1295" y="1167"/>
                  </a:lnTo>
                  <a:lnTo>
                    <a:pt x="1295" y="1167"/>
                  </a:lnTo>
                  <a:close/>
                  <a:moveTo>
                    <a:pt x="1328" y="1311"/>
                  </a:moveTo>
                  <a:lnTo>
                    <a:pt x="1326" y="1313"/>
                  </a:lnTo>
                  <a:lnTo>
                    <a:pt x="1326" y="1313"/>
                  </a:lnTo>
                  <a:lnTo>
                    <a:pt x="1326" y="1315"/>
                  </a:lnTo>
                  <a:lnTo>
                    <a:pt x="1326" y="1315"/>
                  </a:lnTo>
                  <a:lnTo>
                    <a:pt x="1328" y="1313"/>
                  </a:lnTo>
                  <a:lnTo>
                    <a:pt x="1330" y="1311"/>
                  </a:lnTo>
                  <a:lnTo>
                    <a:pt x="1330" y="1311"/>
                  </a:lnTo>
                  <a:lnTo>
                    <a:pt x="1328" y="1311"/>
                  </a:lnTo>
                  <a:lnTo>
                    <a:pt x="1328" y="1311"/>
                  </a:lnTo>
                  <a:close/>
                  <a:moveTo>
                    <a:pt x="1340" y="1371"/>
                  </a:moveTo>
                  <a:lnTo>
                    <a:pt x="1340" y="1371"/>
                  </a:lnTo>
                  <a:lnTo>
                    <a:pt x="1340" y="1373"/>
                  </a:lnTo>
                  <a:lnTo>
                    <a:pt x="1342" y="1371"/>
                  </a:lnTo>
                  <a:lnTo>
                    <a:pt x="1342" y="1371"/>
                  </a:lnTo>
                  <a:lnTo>
                    <a:pt x="1342" y="1371"/>
                  </a:lnTo>
                  <a:lnTo>
                    <a:pt x="1342" y="1371"/>
                  </a:lnTo>
                  <a:lnTo>
                    <a:pt x="1340" y="1371"/>
                  </a:lnTo>
                  <a:close/>
                  <a:moveTo>
                    <a:pt x="1260" y="1340"/>
                  </a:moveTo>
                  <a:lnTo>
                    <a:pt x="1260" y="1338"/>
                  </a:lnTo>
                  <a:lnTo>
                    <a:pt x="1262" y="1338"/>
                  </a:lnTo>
                  <a:lnTo>
                    <a:pt x="1262" y="1338"/>
                  </a:lnTo>
                  <a:lnTo>
                    <a:pt x="1260" y="1338"/>
                  </a:lnTo>
                  <a:lnTo>
                    <a:pt x="1258" y="1340"/>
                  </a:lnTo>
                  <a:lnTo>
                    <a:pt x="1258" y="1340"/>
                  </a:lnTo>
                  <a:lnTo>
                    <a:pt x="1260" y="1340"/>
                  </a:lnTo>
                  <a:close/>
                  <a:moveTo>
                    <a:pt x="1332" y="1373"/>
                  </a:moveTo>
                  <a:lnTo>
                    <a:pt x="1332" y="1373"/>
                  </a:lnTo>
                  <a:lnTo>
                    <a:pt x="1332" y="1373"/>
                  </a:lnTo>
                  <a:lnTo>
                    <a:pt x="1334" y="1373"/>
                  </a:lnTo>
                  <a:lnTo>
                    <a:pt x="1336" y="1371"/>
                  </a:lnTo>
                  <a:lnTo>
                    <a:pt x="1336" y="1371"/>
                  </a:lnTo>
                  <a:lnTo>
                    <a:pt x="1334" y="1373"/>
                  </a:lnTo>
                  <a:lnTo>
                    <a:pt x="1332" y="1373"/>
                  </a:lnTo>
                  <a:close/>
                  <a:moveTo>
                    <a:pt x="1330" y="1301"/>
                  </a:moveTo>
                  <a:lnTo>
                    <a:pt x="1330" y="1301"/>
                  </a:lnTo>
                  <a:lnTo>
                    <a:pt x="1330" y="1301"/>
                  </a:lnTo>
                  <a:lnTo>
                    <a:pt x="1330" y="1303"/>
                  </a:lnTo>
                  <a:lnTo>
                    <a:pt x="1330" y="1303"/>
                  </a:lnTo>
                  <a:lnTo>
                    <a:pt x="1330" y="1301"/>
                  </a:lnTo>
                  <a:lnTo>
                    <a:pt x="1330" y="1301"/>
                  </a:lnTo>
                  <a:lnTo>
                    <a:pt x="1330" y="1301"/>
                  </a:lnTo>
                  <a:close/>
                  <a:moveTo>
                    <a:pt x="1404" y="1156"/>
                  </a:moveTo>
                  <a:lnTo>
                    <a:pt x="1404" y="1156"/>
                  </a:lnTo>
                  <a:lnTo>
                    <a:pt x="1404" y="1159"/>
                  </a:lnTo>
                  <a:lnTo>
                    <a:pt x="1406" y="1154"/>
                  </a:lnTo>
                  <a:lnTo>
                    <a:pt x="1404" y="1154"/>
                  </a:lnTo>
                  <a:lnTo>
                    <a:pt x="1404" y="1156"/>
                  </a:lnTo>
                  <a:close/>
                  <a:moveTo>
                    <a:pt x="1314" y="1357"/>
                  </a:moveTo>
                  <a:lnTo>
                    <a:pt x="1314" y="1357"/>
                  </a:lnTo>
                  <a:lnTo>
                    <a:pt x="1316" y="1357"/>
                  </a:lnTo>
                  <a:lnTo>
                    <a:pt x="1314" y="1357"/>
                  </a:lnTo>
                  <a:lnTo>
                    <a:pt x="1314" y="1357"/>
                  </a:lnTo>
                  <a:lnTo>
                    <a:pt x="1314" y="1357"/>
                  </a:lnTo>
                  <a:lnTo>
                    <a:pt x="1314" y="1357"/>
                  </a:lnTo>
                  <a:lnTo>
                    <a:pt x="1314" y="1359"/>
                  </a:lnTo>
                  <a:lnTo>
                    <a:pt x="1314" y="1359"/>
                  </a:lnTo>
                  <a:lnTo>
                    <a:pt x="1314" y="1357"/>
                  </a:lnTo>
                  <a:close/>
                  <a:moveTo>
                    <a:pt x="1314" y="1346"/>
                  </a:moveTo>
                  <a:lnTo>
                    <a:pt x="1314" y="1346"/>
                  </a:lnTo>
                  <a:lnTo>
                    <a:pt x="1311" y="1348"/>
                  </a:lnTo>
                  <a:lnTo>
                    <a:pt x="1311" y="1351"/>
                  </a:lnTo>
                  <a:lnTo>
                    <a:pt x="1311" y="1351"/>
                  </a:lnTo>
                  <a:lnTo>
                    <a:pt x="1311" y="1351"/>
                  </a:lnTo>
                  <a:lnTo>
                    <a:pt x="1314" y="1346"/>
                  </a:lnTo>
                  <a:lnTo>
                    <a:pt x="1314" y="1346"/>
                  </a:lnTo>
                  <a:close/>
                  <a:moveTo>
                    <a:pt x="1177" y="1212"/>
                  </a:moveTo>
                  <a:lnTo>
                    <a:pt x="1177" y="1214"/>
                  </a:lnTo>
                  <a:lnTo>
                    <a:pt x="1177" y="1218"/>
                  </a:lnTo>
                  <a:lnTo>
                    <a:pt x="1179" y="1225"/>
                  </a:lnTo>
                  <a:lnTo>
                    <a:pt x="1182" y="1229"/>
                  </a:lnTo>
                  <a:lnTo>
                    <a:pt x="1182" y="1229"/>
                  </a:lnTo>
                  <a:lnTo>
                    <a:pt x="1179" y="1227"/>
                  </a:lnTo>
                  <a:lnTo>
                    <a:pt x="1177" y="1218"/>
                  </a:lnTo>
                  <a:lnTo>
                    <a:pt x="1177" y="1212"/>
                  </a:lnTo>
                  <a:close/>
                  <a:moveTo>
                    <a:pt x="1848" y="1580"/>
                  </a:moveTo>
                  <a:lnTo>
                    <a:pt x="1850" y="1580"/>
                  </a:lnTo>
                  <a:lnTo>
                    <a:pt x="1850" y="1578"/>
                  </a:lnTo>
                  <a:lnTo>
                    <a:pt x="1848" y="1576"/>
                  </a:lnTo>
                  <a:lnTo>
                    <a:pt x="1848" y="1576"/>
                  </a:lnTo>
                  <a:lnTo>
                    <a:pt x="1848" y="1576"/>
                  </a:lnTo>
                  <a:lnTo>
                    <a:pt x="1846" y="1576"/>
                  </a:lnTo>
                  <a:lnTo>
                    <a:pt x="1846" y="1578"/>
                  </a:lnTo>
                  <a:lnTo>
                    <a:pt x="1848" y="1580"/>
                  </a:lnTo>
                  <a:lnTo>
                    <a:pt x="1848" y="1580"/>
                  </a:lnTo>
                  <a:close/>
                  <a:moveTo>
                    <a:pt x="1190" y="1196"/>
                  </a:moveTo>
                  <a:lnTo>
                    <a:pt x="1188" y="1196"/>
                  </a:lnTo>
                  <a:lnTo>
                    <a:pt x="1188" y="1198"/>
                  </a:lnTo>
                  <a:lnTo>
                    <a:pt x="1186" y="1198"/>
                  </a:lnTo>
                  <a:lnTo>
                    <a:pt x="1188" y="1198"/>
                  </a:lnTo>
                  <a:lnTo>
                    <a:pt x="1190" y="1196"/>
                  </a:lnTo>
                  <a:lnTo>
                    <a:pt x="1192" y="1196"/>
                  </a:lnTo>
                  <a:lnTo>
                    <a:pt x="1192" y="1194"/>
                  </a:lnTo>
                  <a:lnTo>
                    <a:pt x="1192" y="1194"/>
                  </a:lnTo>
                  <a:lnTo>
                    <a:pt x="1192" y="1196"/>
                  </a:lnTo>
                  <a:lnTo>
                    <a:pt x="1190" y="1196"/>
                  </a:lnTo>
                  <a:close/>
                  <a:moveTo>
                    <a:pt x="1182" y="1204"/>
                  </a:moveTo>
                  <a:lnTo>
                    <a:pt x="1179" y="1208"/>
                  </a:lnTo>
                  <a:lnTo>
                    <a:pt x="1177" y="1210"/>
                  </a:lnTo>
                  <a:lnTo>
                    <a:pt x="1177" y="1212"/>
                  </a:lnTo>
                  <a:lnTo>
                    <a:pt x="1177" y="1210"/>
                  </a:lnTo>
                  <a:lnTo>
                    <a:pt x="1179" y="1208"/>
                  </a:lnTo>
                  <a:lnTo>
                    <a:pt x="1182" y="1202"/>
                  </a:lnTo>
                  <a:lnTo>
                    <a:pt x="1182" y="1204"/>
                  </a:lnTo>
                  <a:close/>
                  <a:moveTo>
                    <a:pt x="1258" y="1177"/>
                  </a:moveTo>
                  <a:lnTo>
                    <a:pt x="1258" y="1175"/>
                  </a:lnTo>
                  <a:lnTo>
                    <a:pt x="1258" y="1175"/>
                  </a:lnTo>
                  <a:lnTo>
                    <a:pt x="1256" y="1175"/>
                  </a:lnTo>
                  <a:lnTo>
                    <a:pt x="1256" y="1175"/>
                  </a:lnTo>
                  <a:lnTo>
                    <a:pt x="1254" y="1175"/>
                  </a:lnTo>
                  <a:lnTo>
                    <a:pt x="1254" y="1175"/>
                  </a:lnTo>
                  <a:lnTo>
                    <a:pt x="1258" y="1177"/>
                  </a:lnTo>
                  <a:lnTo>
                    <a:pt x="1258" y="1177"/>
                  </a:lnTo>
                  <a:lnTo>
                    <a:pt x="1258" y="1177"/>
                  </a:lnTo>
                  <a:lnTo>
                    <a:pt x="1258" y="1177"/>
                  </a:lnTo>
                  <a:close/>
                  <a:moveTo>
                    <a:pt x="1215" y="1181"/>
                  </a:moveTo>
                  <a:lnTo>
                    <a:pt x="1210" y="1183"/>
                  </a:lnTo>
                  <a:lnTo>
                    <a:pt x="1210" y="1183"/>
                  </a:lnTo>
                  <a:lnTo>
                    <a:pt x="1215" y="1181"/>
                  </a:lnTo>
                  <a:lnTo>
                    <a:pt x="1215" y="1179"/>
                  </a:lnTo>
                  <a:lnTo>
                    <a:pt x="1215" y="1179"/>
                  </a:lnTo>
                  <a:lnTo>
                    <a:pt x="1215" y="1181"/>
                  </a:lnTo>
                  <a:close/>
                  <a:moveTo>
                    <a:pt x="1184" y="1200"/>
                  </a:moveTo>
                  <a:lnTo>
                    <a:pt x="1184" y="1200"/>
                  </a:lnTo>
                  <a:lnTo>
                    <a:pt x="1184" y="1202"/>
                  </a:lnTo>
                  <a:lnTo>
                    <a:pt x="1184" y="1202"/>
                  </a:lnTo>
                  <a:lnTo>
                    <a:pt x="1184" y="1200"/>
                  </a:lnTo>
                  <a:lnTo>
                    <a:pt x="1186" y="1200"/>
                  </a:lnTo>
                  <a:lnTo>
                    <a:pt x="1186" y="1198"/>
                  </a:lnTo>
                  <a:lnTo>
                    <a:pt x="1186" y="1198"/>
                  </a:lnTo>
                  <a:lnTo>
                    <a:pt x="1184" y="1200"/>
                  </a:lnTo>
                  <a:close/>
                  <a:moveTo>
                    <a:pt x="1307" y="1165"/>
                  </a:moveTo>
                  <a:lnTo>
                    <a:pt x="1307" y="1165"/>
                  </a:lnTo>
                  <a:lnTo>
                    <a:pt x="1307" y="1167"/>
                  </a:lnTo>
                  <a:lnTo>
                    <a:pt x="1309" y="1167"/>
                  </a:lnTo>
                  <a:lnTo>
                    <a:pt x="1311" y="1165"/>
                  </a:lnTo>
                  <a:lnTo>
                    <a:pt x="1309" y="1165"/>
                  </a:lnTo>
                  <a:lnTo>
                    <a:pt x="1307" y="1165"/>
                  </a:lnTo>
                  <a:close/>
                  <a:moveTo>
                    <a:pt x="1421" y="1206"/>
                  </a:moveTo>
                  <a:lnTo>
                    <a:pt x="1421" y="1204"/>
                  </a:lnTo>
                  <a:lnTo>
                    <a:pt x="1419" y="1202"/>
                  </a:lnTo>
                  <a:lnTo>
                    <a:pt x="1421" y="1206"/>
                  </a:lnTo>
                  <a:lnTo>
                    <a:pt x="1423" y="1210"/>
                  </a:lnTo>
                  <a:lnTo>
                    <a:pt x="1423" y="1212"/>
                  </a:lnTo>
                  <a:lnTo>
                    <a:pt x="1423" y="1212"/>
                  </a:lnTo>
                  <a:lnTo>
                    <a:pt x="1421" y="1206"/>
                  </a:lnTo>
                  <a:close/>
                  <a:moveTo>
                    <a:pt x="1516" y="1305"/>
                  </a:moveTo>
                  <a:lnTo>
                    <a:pt x="1516" y="1307"/>
                  </a:lnTo>
                  <a:lnTo>
                    <a:pt x="1520" y="1305"/>
                  </a:lnTo>
                  <a:lnTo>
                    <a:pt x="1524" y="1305"/>
                  </a:lnTo>
                  <a:lnTo>
                    <a:pt x="1524" y="1303"/>
                  </a:lnTo>
                  <a:lnTo>
                    <a:pt x="1526" y="1303"/>
                  </a:lnTo>
                  <a:lnTo>
                    <a:pt x="1526" y="1301"/>
                  </a:lnTo>
                  <a:lnTo>
                    <a:pt x="1524" y="1301"/>
                  </a:lnTo>
                  <a:lnTo>
                    <a:pt x="1524" y="1303"/>
                  </a:lnTo>
                  <a:lnTo>
                    <a:pt x="1522" y="1303"/>
                  </a:lnTo>
                  <a:lnTo>
                    <a:pt x="1522" y="1303"/>
                  </a:lnTo>
                  <a:lnTo>
                    <a:pt x="1520" y="1303"/>
                  </a:lnTo>
                  <a:lnTo>
                    <a:pt x="1518" y="1303"/>
                  </a:lnTo>
                  <a:lnTo>
                    <a:pt x="1518" y="1303"/>
                  </a:lnTo>
                  <a:lnTo>
                    <a:pt x="1516" y="1303"/>
                  </a:lnTo>
                  <a:lnTo>
                    <a:pt x="1516" y="1303"/>
                  </a:lnTo>
                  <a:lnTo>
                    <a:pt x="1516" y="1305"/>
                  </a:lnTo>
                  <a:lnTo>
                    <a:pt x="1516" y="1305"/>
                  </a:lnTo>
                  <a:lnTo>
                    <a:pt x="1516" y="1305"/>
                  </a:lnTo>
                  <a:close/>
                  <a:moveTo>
                    <a:pt x="1528" y="1338"/>
                  </a:moveTo>
                  <a:lnTo>
                    <a:pt x="1526" y="1336"/>
                  </a:lnTo>
                  <a:lnTo>
                    <a:pt x="1524" y="1336"/>
                  </a:lnTo>
                  <a:lnTo>
                    <a:pt x="1524" y="1336"/>
                  </a:lnTo>
                  <a:lnTo>
                    <a:pt x="1522" y="1336"/>
                  </a:lnTo>
                  <a:lnTo>
                    <a:pt x="1522" y="1336"/>
                  </a:lnTo>
                  <a:lnTo>
                    <a:pt x="1524" y="1338"/>
                  </a:lnTo>
                  <a:lnTo>
                    <a:pt x="1528" y="1338"/>
                  </a:lnTo>
                  <a:lnTo>
                    <a:pt x="1528" y="1338"/>
                  </a:lnTo>
                  <a:close/>
                  <a:moveTo>
                    <a:pt x="1526" y="1297"/>
                  </a:moveTo>
                  <a:lnTo>
                    <a:pt x="1524" y="1297"/>
                  </a:lnTo>
                  <a:lnTo>
                    <a:pt x="1524" y="1299"/>
                  </a:lnTo>
                  <a:lnTo>
                    <a:pt x="1526" y="1297"/>
                  </a:lnTo>
                  <a:lnTo>
                    <a:pt x="1526" y="1297"/>
                  </a:lnTo>
                  <a:close/>
                  <a:moveTo>
                    <a:pt x="1534" y="1293"/>
                  </a:moveTo>
                  <a:lnTo>
                    <a:pt x="1534" y="1293"/>
                  </a:lnTo>
                  <a:lnTo>
                    <a:pt x="1534" y="1295"/>
                  </a:lnTo>
                  <a:lnTo>
                    <a:pt x="1536" y="1295"/>
                  </a:lnTo>
                  <a:lnTo>
                    <a:pt x="1536" y="1295"/>
                  </a:lnTo>
                  <a:lnTo>
                    <a:pt x="1536" y="1293"/>
                  </a:lnTo>
                  <a:lnTo>
                    <a:pt x="1538" y="1293"/>
                  </a:lnTo>
                  <a:lnTo>
                    <a:pt x="1538" y="1293"/>
                  </a:lnTo>
                  <a:lnTo>
                    <a:pt x="1536" y="1293"/>
                  </a:lnTo>
                  <a:lnTo>
                    <a:pt x="1534" y="1293"/>
                  </a:lnTo>
                  <a:close/>
                  <a:moveTo>
                    <a:pt x="1528" y="1320"/>
                  </a:moveTo>
                  <a:lnTo>
                    <a:pt x="1528" y="1320"/>
                  </a:lnTo>
                  <a:lnTo>
                    <a:pt x="1530" y="1320"/>
                  </a:lnTo>
                  <a:lnTo>
                    <a:pt x="1530" y="1320"/>
                  </a:lnTo>
                  <a:lnTo>
                    <a:pt x="1530" y="1320"/>
                  </a:lnTo>
                  <a:lnTo>
                    <a:pt x="1530" y="1320"/>
                  </a:lnTo>
                  <a:lnTo>
                    <a:pt x="1528" y="1320"/>
                  </a:lnTo>
                  <a:lnTo>
                    <a:pt x="1528" y="1320"/>
                  </a:lnTo>
                  <a:lnTo>
                    <a:pt x="1526" y="1320"/>
                  </a:lnTo>
                  <a:lnTo>
                    <a:pt x="1526" y="1320"/>
                  </a:lnTo>
                  <a:lnTo>
                    <a:pt x="1528" y="1320"/>
                  </a:lnTo>
                  <a:lnTo>
                    <a:pt x="1528" y="1320"/>
                  </a:lnTo>
                  <a:close/>
                  <a:moveTo>
                    <a:pt x="1509" y="1014"/>
                  </a:moveTo>
                  <a:lnTo>
                    <a:pt x="1507" y="1016"/>
                  </a:lnTo>
                  <a:lnTo>
                    <a:pt x="1507" y="1016"/>
                  </a:lnTo>
                  <a:lnTo>
                    <a:pt x="1509" y="1014"/>
                  </a:lnTo>
                  <a:lnTo>
                    <a:pt x="1509" y="1014"/>
                  </a:lnTo>
                  <a:close/>
                  <a:moveTo>
                    <a:pt x="1511" y="1284"/>
                  </a:moveTo>
                  <a:lnTo>
                    <a:pt x="1511" y="1284"/>
                  </a:lnTo>
                  <a:lnTo>
                    <a:pt x="1511" y="1284"/>
                  </a:lnTo>
                  <a:lnTo>
                    <a:pt x="1509" y="1287"/>
                  </a:lnTo>
                  <a:lnTo>
                    <a:pt x="1507" y="1287"/>
                  </a:lnTo>
                  <a:lnTo>
                    <a:pt x="1507" y="1289"/>
                  </a:lnTo>
                  <a:lnTo>
                    <a:pt x="1507" y="1287"/>
                  </a:lnTo>
                  <a:lnTo>
                    <a:pt x="1509" y="1287"/>
                  </a:lnTo>
                  <a:lnTo>
                    <a:pt x="1511" y="1284"/>
                  </a:lnTo>
                  <a:lnTo>
                    <a:pt x="1514" y="1282"/>
                  </a:lnTo>
                  <a:lnTo>
                    <a:pt x="1514" y="1280"/>
                  </a:lnTo>
                  <a:lnTo>
                    <a:pt x="1514" y="1280"/>
                  </a:lnTo>
                  <a:lnTo>
                    <a:pt x="1511" y="1280"/>
                  </a:lnTo>
                  <a:lnTo>
                    <a:pt x="1511" y="1280"/>
                  </a:lnTo>
                  <a:lnTo>
                    <a:pt x="1511" y="1280"/>
                  </a:lnTo>
                  <a:lnTo>
                    <a:pt x="1511" y="1282"/>
                  </a:lnTo>
                  <a:lnTo>
                    <a:pt x="1514" y="1282"/>
                  </a:lnTo>
                  <a:lnTo>
                    <a:pt x="1511" y="1282"/>
                  </a:lnTo>
                  <a:lnTo>
                    <a:pt x="1511" y="1284"/>
                  </a:lnTo>
                  <a:close/>
                  <a:moveTo>
                    <a:pt x="1534" y="991"/>
                  </a:moveTo>
                  <a:lnTo>
                    <a:pt x="1536" y="989"/>
                  </a:lnTo>
                  <a:lnTo>
                    <a:pt x="1534" y="989"/>
                  </a:lnTo>
                  <a:lnTo>
                    <a:pt x="1532" y="991"/>
                  </a:lnTo>
                  <a:lnTo>
                    <a:pt x="1530" y="993"/>
                  </a:lnTo>
                  <a:lnTo>
                    <a:pt x="1528" y="993"/>
                  </a:lnTo>
                  <a:lnTo>
                    <a:pt x="1526" y="993"/>
                  </a:lnTo>
                  <a:lnTo>
                    <a:pt x="1524" y="993"/>
                  </a:lnTo>
                  <a:lnTo>
                    <a:pt x="1524" y="993"/>
                  </a:lnTo>
                  <a:lnTo>
                    <a:pt x="1522" y="993"/>
                  </a:lnTo>
                  <a:lnTo>
                    <a:pt x="1520" y="993"/>
                  </a:lnTo>
                  <a:lnTo>
                    <a:pt x="1520" y="993"/>
                  </a:lnTo>
                  <a:lnTo>
                    <a:pt x="1520" y="993"/>
                  </a:lnTo>
                  <a:lnTo>
                    <a:pt x="1518" y="993"/>
                  </a:lnTo>
                  <a:lnTo>
                    <a:pt x="1518" y="993"/>
                  </a:lnTo>
                  <a:lnTo>
                    <a:pt x="1518" y="993"/>
                  </a:lnTo>
                  <a:lnTo>
                    <a:pt x="1516" y="993"/>
                  </a:lnTo>
                  <a:lnTo>
                    <a:pt x="1516" y="995"/>
                  </a:lnTo>
                  <a:lnTo>
                    <a:pt x="1516" y="995"/>
                  </a:lnTo>
                  <a:lnTo>
                    <a:pt x="1516" y="995"/>
                  </a:lnTo>
                  <a:lnTo>
                    <a:pt x="1514" y="995"/>
                  </a:lnTo>
                  <a:lnTo>
                    <a:pt x="1511" y="997"/>
                  </a:lnTo>
                  <a:lnTo>
                    <a:pt x="1511" y="997"/>
                  </a:lnTo>
                  <a:lnTo>
                    <a:pt x="1511" y="997"/>
                  </a:lnTo>
                  <a:lnTo>
                    <a:pt x="1511" y="1000"/>
                  </a:lnTo>
                  <a:lnTo>
                    <a:pt x="1511" y="1000"/>
                  </a:lnTo>
                  <a:lnTo>
                    <a:pt x="1514" y="997"/>
                  </a:lnTo>
                  <a:lnTo>
                    <a:pt x="1514" y="997"/>
                  </a:lnTo>
                  <a:lnTo>
                    <a:pt x="1514" y="997"/>
                  </a:lnTo>
                  <a:lnTo>
                    <a:pt x="1514" y="1000"/>
                  </a:lnTo>
                  <a:lnTo>
                    <a:pt x="1514" y="1000"/>
                  </a:lnTo>
                  <a:lnTo>
                    <a:pt x="1516" y="1000"/>
                  </a:lnTo>
                  <a:lnTo>
                    <a:pt x="1518" y="1000"/>
                  </a:lnTo>
                  <a:lnTo>
                    <a:pt x="1522" y="997"/>
                  </a:lnTo>
                  <a:lnTo>
                    <a:pt x="1522" y="997"/>
                  </a:lnTo>
                  <a:lnTo>
                    <a:pt x="1522" y="997"/>
                  </a:lnTo>
                  <a:lnTo>
                    <a:pt x="1528" y="995"/>
                  </a:lnTo>
                  <a:lnTo>
                    <a:pt x="1530" y="995"/>
                  </a:lnTo>
                  <a:lnTo>
                    <a:pt x="1532" y="995"/>
                  </a:lnTo>
                  <a:lnTo>
                    <a:pt x="1534" y="995"/>
                  </a:lnTo>
                  <a:lnTo>
                    <a:pt x="1534" y="993"/>
                  </a:lnTo>
                  <a:lnTo>
                    <a:pt x="1540" y="991"/>
                  </a:lnTo>
                  <a:lnTo>
                    <a:pt x="1540" y="991"/>
                  </a:lnTo>
                  <a:lnTo>
                    <a:pt x="1538" y="991"/>
                  </a:lnTo>
                  <a:lnTo>
                    <a:pt x="1538" y="991"/>
                  </a:lnTo>
                  <a:lnTo>
                    <a:pt x="1536" y="991"/>
                  </a:lnTo>
                  <a:lnTo>
                    <a:pt x="1536" y="991"/>
                  </a:lnTo>
                  <a:lnTo>
                    <a:pt x="1534" y="993"/>
                  </a:lnTo>
                  <a:lnTo>
                    <a:pt x="1534" y="993"/>
                  </a:lnTo>
                  <a:lnTo>
                    <a:pt x="1532" y="993"/>
                  </a:lnTo>
                  <a:lnTo>
                    <a:pt x="1532" y="993"/>
                  </a:lnTo>
                  <a:lnTo>
                    <a:pt x="1532" y="993"/>
                  </a:lnTo>
                  <a:lnTo>
                    <a:pt x="1534" y="991"/>
                  </a:lnTo>
                  <a:close/>
                  <a:moveTo>
                    <a:pt x="1540" y="1291"/>
                  </a:moveTo>
                  <a:lnTo>
                    <a:pt x="1540" y="1293"/>
                  </a:lnTo>
                  <a:lnTo>
                    <a:pt x="1540" y="1293"/>
                  </a:lnTo>
                  <a:lnTo>
                    <a:pt x="1540" y="1293"/>
                  </a:lnTo>
                  <a:lnTo>
                    <a:pt x="1540" y="1293"/>
                  </a:lnTo>
                  <a:lnTo>
                    <a:pt x="1542" y="1293"/>
                  </a:lnTo>
                  <a:lnTo>
                    <a:pt x="1540" y="1293"/>
                  </a:lnTo>
                  <a:lnTo>
                    <a:pt x="1540" y="1291"/>
                  </a:lnTo>
                  <a:lnTo>
                    <a:pt x="1540" y="1291"/>
                  </a:lnTo>
                  <a:lnTo>
                    <a:pt x="1540" y="1291"/>
                  </a:lnTo>
                  <a:close/>
                  <a:moveTo>
                    <a:pt x="1526" y="1284"/>
                  </a:moveTo>
                  <a:lnTo>
                    <a:pt x="1528" y="1284"/>
                  </a:lnTo>
                  <a:lnTo>
                    <a:pt x="1528" y="1287"/>
                  </a:lnTo>
                  <a:lnTo>
                    <a:pt x="1530" y="1287"/>
                  </a:lnTo>
                  <a:lnTo>
                    <a:pt x="1528" y="1284"/>
                  </a:lnTo>
                  <a:lnTo>
                    <a:pt x="1528" y="1284"/>
                  </a:lnTo>
                  <a:lnTo>
                    <a:pt x="1526" y="1284"/>
                  </a:lnTo>
                  <a:lnTo>
                    <a:pt x="1526" y="1284"/>
                  </a:lnTo>
                  <a:lnTo>
                    <a:pt x="1526" y="1284"/>
                  </a:lnTo>
                  <a:lnTo>
                    <a:pt x="1524" y="1284"/>
                  </a:lnTo>
                  <a:lnTo>
                    <a:pt x="1524" y="1284"/>
                  </a:lnTo>
                  <a:lnTo>
                    <a:pt x="1524" y="1284"/>
                  </a:lnTo>
                  <a:lnTo>
                    <a:pt x="1526" y="1284"/>
                  </a:lnTo>
                  <a:close/>
                  <a:moveTo>
                    <a:pt x="1592" y="1433"/>
                  </a:moveTo>
                  <a:lnTo>
                    <a:pt x="1592" y="1433"/>
                  </a:lnTo>
                  <a:lnTo>
                    <a:pt x="1592" y="1435"/>
                  </a:lnTo>
                  <a:lnTo>
                    <a:pt x="1594" y="1435"/>
                  </a:lnTo>
                  <a:lnTo>
                    <a:pt x="1594" y="1433"/>
                  </a:lnTo>
                  <a:lnTo>
                    <a:pt x="1594" y="1433"/>
                  </a:lnTo>
                  <a:lnTo>
                    <a:pt x="1592" y="1431"/>
                  </a:lnTo>
                  <a:lnTo>
                    <a:pt x="1592" y="1433"/>
                  </a:lnTo>
                  <a:lnTo>
                    <a:pt x="1592" y="1433"/>
                  </a:lnTo>
                  <a:lnTo>
                    <a:pt x="1592" y="1433"/>
                  </a:lnTo>
                  <a:close/>
                  <a:moveTo>
                    <a:pt x="1594" y="936"/>
                  </a:moveTo>
                  <a:lnTo>
                    <a:pt x="1594" y="933"/>
                  </a:lnTo>
                  <a:lnTo>
                    <a:pt x="1592" y="933"/>
                  </a:lnTo>
                  <a:lnTo>
                    <a:pt x="1592" y="933"/>
                  </a:lnTo>
                  <a:lnTo>
                    <a:pt x="1592" y="936"/>
                  </a:lnTo>
                  <a:lnTo>
                    <a:pt x="1592" y="936"/>
                  </a:lnTo>
                  <a:lnTo>
                    <a:pt x="1592" y="936"/>
                  </a:lnTo>
                  <a:lnTo>
                    <a:pt x="1592" y="938"/>
                  </a:lnTo>
                  <a:lnTo>
                    <a:pt x="1592" y="936"/>
                  </a:lnTo>
                  <a:lnTo>
                    <a:pt x="1592" y="936"/>
                  </a:lnTo>
                  <a:lnTo>
                    <a:pt x="1594" y="936"/>
                  </a:lnTo>
                  <a:lnTo>
                    <a:pt x="1594" y="936"/>
                  </a:lnTo>
                  <a:lnTo>
                    <a:pt x="1594" y="936"/>
                  </a:lnTo>
                  <a:close/>
                  <a:moveTo>
                    <a:pt x="1588" y="938"/>
                  </a:moveTo>
                  <a:lnTo>
                    <a:pt x="1588" y="938"/>
                  </a:lnTo>
                  <a:lnTo>
                    <a:pt x="1588" y="938"/>
                  </a:lnTo>
                  <a:lnTo>
                    <a:pt x="1588" y="938"/>
                  </a:lnTo>
                  <a:lnTo>
                    <a:pt x="1588" y="938"/>
                  </a:lnTo>
                  <a:lnTo>
                    <a:pt x="1588" y="938"/>
                  </a:lnTo>
                  <a:lnTo>
                    <a:pt x="1588" y="938"/>
                  </a:lnTo>
                  <a:lnTo>
                    <a:pt x="1588" y="938"/>
                  </a:lnTo>
                  <a:close/>
                  <a:moveTo>
                    <a:pt x="1507" y="1278"/>
                  </a:moveTo>
                  <a:lnTo>
                    <a:pt x="1507" y="1278"/>
                  </a:lnTo>
                  <a:lnTo>
                    <a:pt x="1507" y="1280"/>
                  </a:lnTo>
                  <a:lnTo>
                    <a:pt x="1507" y="1280"/>
                  </a:lnTo>
                  <a:lnTo>
                    <a:pt x="1509" y="1280"/>
                  </a:lnTo>
                  <a:lnTo>
                    <a:pt x="1511" y="1280"/>
                  </a:lnTo>
                  <a:lnTo>
                    <a:pt x="1509" y="1280"/>
                  </a:lnTo>
                  <a:lnTo>
                    <a:pt x="1509" y="1278"/>
                  </a:lnTo>
                  <a:lnTo>
                    <a:pt x="1507" y="1278"/>
                  </a:lnTo>
                  <a:lnTo>
                    <a:pt x="1507" y="1278"/>
                  </a:lnTo>
                  <a:lnTo>
                    <a:pt x="1507" y="1278"/>
                  </a:lnTo>
                  <a:close/>
                  <a:moveTo>
                    <a:pt x="1561" y="985"/>
                  </a:moveTo>
                  <a:lnTo>
                    <a:pt x="1561" y="985"/>
                  </a:lnTo>
                  <a:lnTo>
                    <a:pt x="1559" y="985"/>
                  </a:lnTo>
                  <a:lnTo>
                    <a:pt x="1559" y="985"/>
                  </a:lnTo>
                  <a:lnTo>
                    <a:pt x="1557" y="985"/>
                  </a:lnTo>
                  <a:lnTo>
                    <a:pt x="1557" y="987"/>
                  </a:lnTo>
                  <a:lnTo>
                    <a:pt x="1557" y="987"/>
                  </a:lnTo>
                  <a:lnTo>
                    <a:pt x="1561" y="985"/>
                  </a:lnTo>
                  <a:close/>
                  <a:moveTo>
                    <a:pt x="1549" y="983"/>
                  </a:moveTo>
                  <a:lnTo>
                    <a:pt x="1549" y="983"/>
                  </a:lnTo>
                  <a:lnTo>
                    <a:pt x="1549" y="983"/>
                  </a:lnTo>
                  <a:lnTo>
                    <a:pt x="1549" y="983"/>
                  </a:lnTo>
                  <a:lnTo>
                    <a:pt x="1549" y="985"/>
                  </a:lnTo>
                  <a:lnTo>
                    <a:pt x="1549" y="985"/>
                  </a:lnTo>
                  <a:lnTo>
                    <a:pt x="1549" y="983"/>
                  </a:lnTo>
                  <a:close/>
                  <a:moveTo>
                    <a:pt x="1551" y="981"/>
                  </a:moveTo>
                  <a:lnTo>
                    <a:pt x="1551" y="981"/>
                  </a:lnTo>
                  <a:lnTo>
                    <a:pt x="1551" y="981"/>
                  </a:lnTo>
                  <a:lnTo>
                    <a:pt x="1551" y="983"/>
                  </a:lnTo>
                  <a:lnTo>
                    <a:pt x="1549" y="983"/>
                  </a:lnTo>
                  <a:lnTo>
                    <a:pt x="1549" y="985"/>
                  </a:lnTo>
                  <a:lnTo>
                    <a:pt x="1551" y="985"/>
                  </a:lnTo>
                  <a:lnTo>
                    <a:pt x="1551" y="985"/>
                  </a:lnTo>
                  <a:lnTo>
                    <a:pt x="1551" y="981"/>
                  </a:lnTo>
                  <a:close/>
                  <a:moveTo>
                    <a:pt x="1544" y="1293"/>
                  </a:moveTo>
                  <a:lnTo>
                    <a:pt x="1544" y="1295"/>
                  </a:lnTo>
                  <a:lnTo>
                    <a:pt x="1544" y="1295"/>
                  </a:lnTo>
                  <a:lnTo>
                    <a:pt x="1544" y="1293"/>
                  </a:lnTo>
                  <a:lnTo>
                    <a:pt x="1544" y="1293"/>
                  </a:lnTo>
                  <a:lnTo>
                    <a:pt x="1542" y="1293"/>
                  </a:lnTo>
                  <a:lnTo>
                    <a:pt x="1542" y="1293"/>
                  </a:lnTo>
                  <a:lnTo>
                    <a:pt x="1542" y="1293"/>
                  </a:lnTo>
                  <a:lnTo>
                    <a:pt x="1544" y="1293"/>
                  </a:lnTo>
                  <a:close/>
                  <a:moveTo>
                    <a:pt x="1569" y="987"/>
                  </a:moveTo>
                  <a:lnTo>
                    <a:pt x="1569" y="987"/>
                  </a:lnTo>
                  <a:lnTo>
                    <a:pt x="1567" y="985"/>
                  </a:lnTo>
                  <a:lnTo>
                    <a:pt x="1567" y="985"/>
                  </a:lnTo>
                  <a:lnTo>
                    <a:pt x="1567" y="987"/>
                  </a:lnTo>
                  <a:lnTo>
                    <a:pt x="1567" y="987"/>
                  </a:lnTo>
                  <a:lnTo>
                    <a:pt x="1565" y="987"/>
                  </a:lnTo>
                  <a:lnTo>
                    <a:pt x="1567" y="987"/>
                  </a:lnTo>
                  <a:lnTo>
                    <a:pt x="1569" y="987"/>
                  </a:lnTo>
                  <a:close/>
                  <a:moveTo>
                    <a:pt x="1509" y="1000"/>
                  </a:moveTo>
                  <a:lnTo>
                    <a:pt x="1507" y="1000"/>
                  </a:lnTo>
                  <a:lnTo>
                    <a:pt x="1509" y="1000"/>
                  </a:lnTo>
                  <a:lnTo>
                    <a:pt x="1509" y="1000"/>
                  </a:lnTo>
                  <a:lnTo>
                    <a:pt x="1509" y="1000"/>
                  </a:lnTo>
                  <a:lnTo>
                    <a:pt x="1509" y="1000"/>
                  </a:lnTo>
                  <a:lnTo>
                    <a:pt x="1509" y="997"/>
                  </a:lnTo>
                  <a:lnTo>
                    <a:pt x="1509" y="997"/>
                  </a:lnTo>
                  <a:lnTo>
                    <a:pt x="1509" y="1000"/>
                  </a:lnTo>
                  <a:close/>
                  <a:moveTo>
                    <a:pt x="2297" y="172"/>
                  </a:moveTo>
                  <a:lnTo>
                    <a:pt x="2295" y="172"/>
                  </a:lnTo>
                  <a:lnTo>
                    <a:pt x="2293" y="172"/>
                  </a:lnTo>
                  <a:lnTo>
                    <a:pt x="2291" y="174"/>
                  </a:lnTo>
                  <a:lnTo>
                    <a:pt x="2291" y="180"/>
                  </a:lnTo>
                  <a:lnTo>
                    <a:pt x="2293" y="184"/>
                  </a:lnTo>
                  <a:lnTo>
                    <a:pt x="2293" y="186"/>
                  </a:lnTo>
                  <a:lnTo>
                    <a:pt x="2295" y="186"/>
                  </a:lnTo>
                  <a:lnTo>
                    <a:pt x="2297" y="182"/>
                  </a:lnTo>
                  <a:lnTo>
                    <a:pt x="2297" y="178"/>
                  </a:lnTo>
                  <a:lnTo>
                    <a:pt x="2297" y="174"/>
                  </a:lnTo>
                  <a:lnTo>
                    <a:pt x="2297" y="172"/>
                  </a:lnTo>
                  <a:close/>
                  <a:moveTo>
                    <a:pt x="2305" y="273"/>
                  </a:moveTo>
                  <a:lnTo>
                    <a:pt x="2316" y="273"/>
                  </a:lnTo>
                  <a:lnTo>
                    <a:pt x="2318" y="273"/>
                  </a:lnTo>
                  <a:lnTo>
                    <a:pt x="2318" y="269"/>
                  </a:lnTo>
                  <a:lnTo>
                    <a:pt x="2314" y="269"/>
                  </a:lnTo>
                  <a:lnTo>
                    <a:pt x="2312" y="267"/>
                  </a:lnTo>
                  <a:lnTo>
                    <a:pt x="2312" y="264"/>
                  </a:lnTo>
                  <a:lnTo>
                    <a:pt x="2310" y="262"/>
                  </a:lnTo>
                  <a:lnTo>
                    <a:pt x="2307" y="262"/>
                  </a:lnTo>
                  <a:lnTo>
                    <a:pt x="2303" y="264"/>
                  </a:lnTo>
                  <a:lnTo>
                    <a:pt x="2301" y="262"/>
                  </a:lnTo>
                  <a:lnTo>
                    <a:pt x="2297" y="264"/>
                  </a:lnTo>
                  <a:lnTo>
                    <a:pt x="2297" y="267"/>
                  </a:lnTo>
                  <a:lnTo>
                    <a:pt x="2297" y="271"/>
                  </a:lnTo>
                  <a:lnTo>
                    <a:pt x="2299" y="273"/>
                  </a:lnTo>
                  <a:lnTo>
                    <a:pt x="2305" y="273"/>
                  </a:lnTo>
                  <a:close/>
                  <a:moveTo>
                    <a:pt x="2301" y="244"/>
                  </a:moveTo>
                  <a:lnTo>
                    <a:pt x="2301" y="233"/>
                  </a:lnTo>
                  <a:lnTo>
                    <a:pt x="2299" y="225"/>
                  </a:lnTo>
                  <a:lnTo>
                    <a:pt x="2297" y="223"/>
                  </a:lnTo>
                  <a:lnTo>
                    <a:pt x="2295" y="223"/>
                  </a:lnTo>
                  <a:lnTo>
                    <a:pt x="2295" y="227"/>
                  </a:lnTo>
                  <a:lnTo>
                    <a:pt x="2295" y="231"/>
                  </a:lnTo>
                  <a:lnTo>
                    <a:pt x="2299" y="244"/>
                  </a:lnTo>
                  <a:lnTo>
                    <a:pt x="2301" y="244"/>
                  </a:lnTo>
                  <a:close/>
                  <a:moveTo>
                    <a:pt x="2310" y="132"/>
                  </a:moveTo>
                  <a:lnTo>
                    <a:pt x="2316" y="128"/>
                  </a:lnTo>
                  <a:lnTo>
                    <a:pt x="2318" y="124"/>
                  </a:lnTo>
                  <a:lnTo>
                    <a:pt x="2318" y="122"/>
                  </a:lnTo>
                  <a:lnTo>
                    <a:pt x="2310" y="120"/>
                  </a:lnTo>
                  <a:lnTo>
                    <a:pt x="2301" y="122"/>
                  </a:lnTo>
                  <a:lnTo>
                    <a:pt x="2295" y="124"/>
                  </a:lnTo>
                  <a:lnTo>
                    <a:pt x="2293" y="126"/>
                  </a:lnTo>
                  <a:lnTo>
                    <a:pt x="2295" y="130"/>
                  </a:lnTo>
                  <a:lnTo>
                    <a:pt x="2301" y="130"/>
                  </a:lnTo>
                  <a:lnTo>
                    <a:pt x="2310" y="132"/>
                  </a:lnTo>
                  <a:close/>
                  <a:moveTo>
                    <a:pt x="2312" y="190"/>
                  </a:moveTo>
                  <a:lnTo>
                    <a:pt x="2307" y="194"/>
                  </a:lnTo>
                  <a:lnTo>
                    <a:pt x="2307" y="194"/>
                  </a:lnTo>
                  <a:lnTo>
                    <a:pt x="2307" y="196"/>
                  </a:lnTo>
                  <a:lnTo>
                    <a:pt x="2310" y="196"/>
                  </a:lnTo>
                  <a:lnTo>
                    <a:pt x="2314" y="194"/>
                  </a:lnTo>
                  <a:lnTo>
                    <a:pt x="2316" y="192"/>
                  </a:lnTo>
                  <a:lnTo>
                    <a:pt x="2314" y="190"/>
                  </a:lnTo>
                  <a:lnTo>
                    <a:pt x="2312" y="188"/>
                  </a:lnTo>
                  <a:lnTo>
                    <a:pt x="2312" y="190"/>
                  </a:lnTo>
                  <a:close/>
                  <a:moveTo>
                    <a:pt x="2167" y="390"/>
                  </a:moveTo>
                  <a:lnTo>
                    <a:pt x="2167" y="392"/>
                  </a:lnTo>
                  <a:lnTo>
                    <a:pt x="2167" y="395"/>
                  </a:lnTo>
                  <a:lnTo>
                    <a:pt x="2167" y="395"/>
                  </a:lnTo>
                  <a:lnTo>
                    <a:pt x="2167" y="395"/>
                  </a:lnTo>
                  <a:lnTo>
                    <a:pt x="2169" y="395"/>
                  </a:lnTo>
                  <a:lnTo>
                    <a:pt x="2171" y="395"/>
                  </a:lnTo>
                  <a:lnTo>
                    <a:pt x="2180" y="392"/>
                  </a:lnTo>
                  <a:lnTo>
                    <a:pt x="2188" y="392"/>
                  </a:lnTo>
                  <a:lnTo>
                    <a:pt x="2190" y="395"/>
                  </a:lnTo>
                  <a:lnTo>
                    <a:pt x="2192" y="395"/>
                  </a:lnTo>
                  <a:lnTo>
                    <a:pt x="2192" y="395"/>
                  </a:lnTo>
                  <a:lnTo>
                    <a:pt x="2194" y="395"/>
                  </a:lnTo>
                  <a:lnTo>
                    <a:pt x="2196" y="392"/>
                  </a:lnTo>
                  <a:lnTo>
                    <a:pt x="2198" y="390"/>
                  </a:lnTo>
                  <a:lnTo>
                    <a:pt x="2204" y="390"/>
                  </a:lnTo>
                  <a:lnTo>
                    <a:pt x="2204" y="388"/>
                  </a:lnTo>
                  <a:lnTo>
                    <a:pt x="2204" y="388"/>
                  </a:lnTo>
                  <a:lnTo>
                    <a:pt x="2204" y="388"/>
                  </a:lnTo>
                  <a:lnTo>
                    <a:pt x="2202" y="386"/>
                  </a:lnTo>
                  <a:lnTo>
                    <a:pt x="2204" y="386"/>
                  </a:lnTo>
                  <a:lnTo>
                    <a:pt x="2204" y="386"/>
                  </a:lnTo>
                  <a:lnTo>
                    <a:pt x="2204" y="386"/>
                  </a:lnTo>
                  <a:lnTo>
                    <a:pt x="2204" y="384"/>
                  </a:lnTo>
                  <a:lnTo>
                    <a:pt x="2204" y="382"/>
                  </a:lnTo>
                  <a:lnTo>
                    <a:pt x="2204" y="382"/>
                  </a:lnTo>
                  <a:lnTo>
                    <a:pt x="2200" y="382"/>
                  </a:lnTo>
                  <a:lnTo>
                    <a:pt x="2200" y="382"/>
                  </a:lnTo>
                  <a:lnTo>
                    <a:pt x="2200" y="380"/>
                  </a:lnTo>
                  <a:lnTo>
                    <a:pt x="2198" y="380"/>
                  </a:lnTo>
                  <a:lnTo>
                    <a:pt x="2190" y="382"/>
                  </a:lnTo>
                  <a:lnTo>
                    <a:pt x="2186" y="384"/>
                  </a:lnTo>
                  <a:lnTo>
                    <a:pt x="2182" y="384"/>
                  </a:lnTo>
                  <a:lnTo>
                    <a:pt x="2178" y="384"/>
                  </a:lnTo>
                  <a:lnTo>
                    <a:pt x="2175" y="384"/>
                  </a:lnTo>
                  <a:lnTo>
                    <a:pt x="2173" y="384"/>
                  </a:lnTo>
                  <a:lnTo>
                    <a:pt x="2171" y="384"/>
                  </a:lnTo>
                  <a:lnTo>
                    <a:pt x="2171" y="386"/>
                  </a:lnTo>
                  <a:lnTo>
                    <a:pt x="2171" y="388"/>
                  </a:lnTo>
                  <a:lnTo>
                    <a:pt x="2169" y="390"/>
                  </a:lnTo>
                  <a:lnTo>
                    <a:pt x="2167" y="390"/>
                  </a:lnTo>
                  <a:close/>
                  <a:moveTo>
                    <a:pt x="2367" y="1189"/>
                  </a:moveTo>
                  <a:lnTo>
                    <a:pt x="2367" y="1189"/>
                  </a:lnTo>
                  <a:lnTo>
                    <a:pt x="2367" y="1192"/>
                  </a:lnTo>
                  <a:lnTo>
                    <a:pt x="2365" y="1194"/>
                  </a:lnTo>
                  <a:lnTo>
                    <a:pt x="2363" y="1198"/>
                  </a:lnTo>
                  <a:lnTo>
                    <a:pt x="2361" y="1198"/>
                  </a:lnTo>
                  <a:lnTo>
                    <a:pt x="2359" y="1198"/>
                  </a:lnTo>
                  <a:lnTo>
                    <a:pt x="2361" y="1200"/>
                  </a:lnTo>
                  <a:lnTo>
                    <a:pt x="2361" y="1200"/>
                  </a:lnTo>
                  <a:lnTo>
                    <a:pt x="2363" y="1198"/>
                  </a:lnTo>
                  <a:lnTo>
                    <a:pt x="2367" y="1196"/>
                  </a:lnTo>
                  <a:lnTo>
                    <a:pt x="2369" y="1194"/>
                  </a:lnTo>
                  <a:lnTo>
                    <a:pt x="2369" y="1192"/>
                  </a:lnTo>
                  <a:lnTo>
                    <a:pt x="2369" y="1189"/>
                  </a:lnTo>
                  <a:lnTo>
                    <a:pt x="2369" y="1189"/>
                  </a:lnTo>
                  <a:lnTo>
                    <a:pt x="2369" y="1189"/>
                  </a:lnTo>
                  <a:lnTo>
                    <a:pt x="2367" y="1189"/>
                  </a:lnTo>
                  <a:close/>
                  <a:moveTo>
                    <a:pt x="1827" y="384"/>
                  </a:moveTo>
                  <a:lnTo>
                    <a:pt x="1829" y="384"/>
                  </a:lnTo>
                  <a:lnTo>
                    <a:pt x="1831" y="384"/>
                  </a:lnTo>
                  <a:lnTo>
                    <a:pt x="1831" y="384"/>
                  </a:lnTo>
                  <a:lnTo>
                    <a:pt x="1827" y="382"/>
                  </a:lnTo>
                  <a:lnTo>
                    <a:pt x="1825" y="382"/>
                  </a:lnTo>
                  <a:lnTo>
                    <a:pt x="1823" y="382"/>
                  </a:lnTo>
                  <a:lnTo>
                    <a:pt x="1823" y="384"/>
                  </a:lnTo>
                  <a:lnTo>
                    <a:pt x="1823" y="384"/>
                  </a:lnTo>
                  <a:lnTo>
                    <a:pt x="1823" y="384"/>
                  </a:lnTo>
                  <a:lnTo>
                    <a:pt x="1827" y="384"/>
                  </a:lnTo>
                  <a:close/>
                  <a:moveTo>
                    <a:pt x="1802" y="380"/>
                  </a:moveTo>
                  <a:lnTo>
                    <a:pt x="1802" y="380"/>
                  </a:lnTo>
                  <a:lnTo>
                    <a:pt x="1804" y="380"/>
                  </a:lnTo>
                  <a:lnTo>
                    <a:pt x="1804" y="378"/>
                  </a:lnTo>
                  <a:lnTo>
                    <a:pt x="1804" y="378"/>
                  </a:lnTo>
                  <a:lnTo>
                    <a:pt x="1804" y="378"/>
                  </a:lnTo>
                  <a:lnTo>
                    <a:pt x="1804" y="376"/>
                  </a:lnTo>
                  <a:lnTo>
                    <a:pt x="1804" y="374"/>
                  </a:lnTo>
                  <a:lnTo>
                    <a:pt x="1802" y="374"/>
                  </a:lnTo>
                  <a:lnTo>
                    <a:pt x="1800" y="374"/>
                  </a:lnTo>
                  <a:lnTo>
                    <a:pt x="1798" y="376"/>
                  </a:lnTo>
                  <a:lnTo>
                    <a:pt x="1798" y="378"/>
                  </a:lnTo>
                  <a:lnTo>
                    <a:pt x="1796" y="378"/>
                  </a:lnTo>
                  <a:lnTo>
                    <a:pt x="1798" y="378"/>
                  </a:lnTo>
                  <a:lnTo>
                    <a:pt x="1798" y="378"/>
                  </a:lnTo>
                  <a:lnTo>
                    <a:pt x="1802" y="380"/>
                  </a:lnTo>
                  <a:close/>
                  <a:moveTo>
                    <a:pt x="2371" y="1185"/>
                  </a:moveTo>
                  <a:lnTo>
                    <a:pt x="2373" y="1185"/>
                  </a:lnTo>
                  <a:lnTo>
                    <a:pt x="2373" y="1185"/>
                  </a:lnTo>
                  <a:lnTo>
                    <a:pt x="2375" y="1183"/>
                  </a:lnTo>
                  <a:lnTo>
                    <a:pt x="2375" y="1181"/>
                  </a:lnTo>
                  <a:lnTo>
                    <a:pt x="2373" y="1181"/>
                  </a:lnTo>
                  <a:lnTo>
                    <a:pt x="2373" y="1181"/>
                  </a:lnTo>
                  <a:lnTo>
                    <a:pt x="2373" y="1183"/>
                  </a:lnTo>
                  <a:lnTo>
                    <a:pt x="2371" y="1183"/>
                  </a:lnTo>
                  <a:lnTo>
                    <a:pt x="2369" y="1183"/>
                  </a:lnTo>
                  <a:lnTo>
                    <a:pt x="2369" y="1185"/>
                  </a:lnTo>
                  <a:lnTo>
                    <a:pt x="2369" y="1187"/>
                  </a:lnTo>
                  <a:lnTo>
                    <a:pt x="2369" y="1187"/>
                  </a:lnTo>
                  <a:lnTo>
                    <a:pt x="2371" y="1185"/>
                  </a:lnTo>
                  <a:close/>
                  <a:moveTo>
                    <a:pt x="2223" y="1369"/>
                  </a:moveTo>
                  <a:lnTo>
                    <a:pt x="2221" y="1369"/>
                  </a:lnTo>
                  <a:lnTo>
                    <a:pt x="2219" y="1369"/>
                  </a:lnTo>
                  <a:lnTo>
                    <a:pt x="2219" y="1369"/>
                  </a:lnTo>
                  <a:lnTo>
                    <a:pt x="2219" y="1369"/>
                  </a:lnTo>
                  <a:lnTo>
                    <a:pt x="2219" y="1371"/>
                  </a:lnTo>
                  <a:lnTo>
                    <a:pt x="2221" y="1369"/>
                  </a:lnTo>
                  <a:lnTo>
                    <a:pt x="2221" y="1369"/>
                  </a:lnTo>
                  <a:lnTo>
                    <a:pt x="2223" y="1371"/>
                  </a:lnTo>
                  <a:lnTo>
                    <a:pt x="2223" y="1369"/>
                  </a:lnTo>
                  <a:lnTo>
                    <a:pt x="2223" y="1369"/>
                  </a:lnTo>
                  <a:lnTo>
                    <a:pt x="2223" y="1369"/>
                  </a:lnTo>
                  <a:close/>
                  <a:moveTo>
                    <a:pt x="2314" y="1187"/>
                  </a:moveTo>
                  <a:lnTo>
                    <a:pt x="2312" y="1187"/>
                  </a:lnTo>
                  <a:lnTo>
                    <a:pt x="2312" y="1187"/>
                  </a:lnTo>
                  <a:lnTo>
                    <a:pt x="2310" y="1189"/>
                  </a:lnTo>
                  <a:lnTo>
                    <a:pt x="2312" y="1192"/>
                  </a:lnTo>
                  <a:lnTo>
                    <a:pt x="2312" y="1194"/>
                  </a:lnTo>
                  <a:lnTo>
                    <a:pt x="2312" y="1194"/>
                  </a:lnTo>
                  <a:lnTo>
                    <a:pt x="2314" y="1192"/>
                  </a:lnTo>
                  <a:lnTo>
                    <a:pt x="2314" y="1192"/>
                  </a:lnTo>
                  <a:lnTo>
                    <a:pt x="2314" y="1189"/>
                  </a:lnTo>
                  <a:lnTo>
                    <a:pt x="2314" y="1189"/>
                  </a:lnTo>
                  <a:lnTo>
                    <a:pt x="2314" y="1187"/>
                  </a:lnTo>
                  <a:close/>
                  <a:moveTo>
                    <a:pt x="2310" y="1204"/>
                  </a:moveTo>
                  <a:lnTo>
                    <a:pt x="2307" y="1204"/>
                  </a:lnTo>
                  <a:lnTo>
                    <a:pt x="2307" y="1204"/>
                  </a:lnTo>
                  <a:lnTo>
                    <a:pt x="2307" y="1204"/>
                  </a:lnTo>
                  <a:lnTo>
                    <a:pt x="2310" y="1206"/>
                  </a:lnTo>
                  <a:lnTo>
                    <a:pt x="2312" y="1204"/>
                  </a:lnTo>
                  <a:lnTo>
                    <a:pt x="2312" y="1202"/>
                  </a:lnTo>
                  <a:lnTo>
                    <a:pt x="2310" y="1204"/>
                  </a:lnTo>
                  <a:close/>
                  <a:moveTo>
                    <a:pt x="2324" y="554"/>
                  </a:moveTo>
                  <a:lnTo>
                    <a:pt x="2328" y="554"/>
                  </a:lnTo>
                  <a:lnTo>
                    <a:pt x="2328" y="554"/>
                  </a:lnTo>
                  <a:lnTo>
                    <a:pt x="2332" y="551"/>
                  </a:lnTo>
                  <a:lnTo>
                    <a:pt x="2334" y="549"/>
                  </a:lnTo>
                  <a:lnTo>
                    <a:pt x="2338" y="547"/>
                  </a:lnTo>
                  <a:lnTo>
                    <a:pt x="2340" y="545"/>
                  </a:lnTo>
                  <a:lnTo>
                    <a:pt x="2345" y="543"/>
                  </a:lnTo>
                  <a:lnTo>
                    <a:pt x="2349" y="543"/>
                  </a:lnTo>
                  <a:lnTo>
                    <a:pt x="2353" y="543"/>
                  </a:lnTo>
                  <a:lnTo>
                    <a:pt x="2353" y="543"/>
                  </a:lnTo>
                  <a:lnTo>
                    <a:pt x="2355" y="541"/>
                  </a:lnTo>
                  <a:lnTo>
                    <a:pt x="2357" y="541"/>
                  </a:lnTo>
                  <a:lnTo>
                    <a:pt x="2359" y="539"/>
                  </a:lnTo>
                  <a:lnTo>
                    <a:pt x="2359" y="539"/>
                  </a:lnTo>
                  <a:lnTo>
                    <a:pt x="2361" y="537"/>
                  </a:lnTo>
                  <a:lnTo>
                    <a:pt x="2361" y="537"/>
                  </a:lnTo>
                  <a:lnTo>
                    <a:pt x="2361" y="537"/>
                  </a:lnTo>
                  <a:lnTo>
                    <a:pt x="2361" y="535"/>
                  </a:lnTo>
                  <a:lnTo>
                    <a:pt x="2361" y="535"/>
                  </a:lnTo>
                  <a:lnTo>
                    <a:pt x="2361" y="533"/>
                  </a:lnTo>
                  <a:lnTo>
                    <a:pt x="2363" y="533"/>
                  </a:lnTo>
                  <a:lnTo>
                    <a:pt x="2365" y="533"/>
                  </a:lnTo>
                  <a:lnTo>
                    <a:pt x="2365" y="533"/>
                  </a:lnTo>
                  <a:lnTo>
                    <a:pt x="2367" y="533"/>
                  </a:lnTo>
                  <a:lnTo>
                    <a:pt x="2369" y="531"/>
                  </a:lnTo>
                  <a:lnTo>
                    <a:pt x="2369" y="529"/>
                  </a:lnTo>
                  <a:lnTo>
                    <a:pt x="2369" y="529"/>
                  </a:lnTo>
                  <a:lnTo>
                    <a:pt x="2369" y="527"/>
                  </a:lnTo>
                  <a:lnTo>
                    <a:pt x="2369" y="527"/>
                  </a:lnTo>
                  <a:lnTo>
                    <a:pt x="2371" y="527"/>
                  </a:lnTo>
                  <a:lnTo>
                    <a:pt x="2373" y="527"/>
                  </a:lnTo>
                  <a:lnTo>
                    <a:pt x="2373" y="525"/>
                  </a:lnTo>
                  <a:lnTo>
                    <a:pt x="2373" y="525"/>
                  </a:lnTo>
                  <a:lnTo>
                    <a:pt x="2373" y="525"/>
                  </a:lnTo>
                  <a:lnTo>
                    <a:pt x="2373" y="525"/>
                  </a:lnTo>
                  <a:lnTo>
                    <a:pt x="2369" y="523"/>
                  </a:lnTo>
                  <a:lnTo>
                    <a:pt x="2371" y="523"/>
                  </a:lnTo>
                  <a:lnTo>
                    <a:pt x="2371" y="523"/>
                  </a:lnTo>
                  <a:lnTo>
                    <a:pt x="2371" y="523"/>
                  </a:lnTo>
                  <a:lnTo>
                    <a:pt x="2371" y="520"/>
                  </a:lnTo>
                  <a:lnTo>
                    <a:pt x="2371" y="520"/>
                  </a:lnTo>
                  <a:lnTo>
                    <a:pt x="2371" y="520"/>
                  </a:lnTo>
                  <a:lnTo>
                    <a:pt x="2371" y="520"/>
                  </a:lnTo>
                  <a:lnTo>
                    <a:pt x="2369" y="520"/>
                  </a:lnTo>
                  <a:lnTo>
                    <a:pt x="2369" y="518"/>
                  </a:lnTo>
                  <a:lnTo>
                    <a:pt x="2369" y="518"/>
                  </a:lnTo>
                  <a:lnTo>
                    <a:pt x="2371" y="518"/>
                  </a:lnTo>
                  <a:lnTo>
                    <a:pt x="2371" y="518"/>
                  </a:lnTo>
                  <a:lnTo>
                    <a:pt x="2371" y="516"/>
                  </a:lnTo>
                  <a:lnTo>
                    <a:pt x="2371" y="516"/>
                  </a:lnTo>
                  <a:lnTo>
                    <a:pt x="2371" y="514"/>
                  </a:lnTo>
                  <a:lnTo>
                    <a:pt x="2371" y="514"/>
                  </a:lnTo>
                  <a:lnTo>
                    <a:pt x="2371" y="514"/>
                  </a:lnTo>
                  <a:lnTo>
                    <a:pt x="2369" y="514"/>
                  </a:lnTo>
                  <a:lnTo>
                    <a:pt x="2369" y="514"/>
                  </a:lnTo>
                  <a:lnTo>
                    <a:pt x="2367" y="512"/>
                  </a:lnTo>
                  <a:lnTo>
                    <a:pt x="2365" y="512"/>
                  </a:lnTo>
                  <a:lnTo>
                    <a:pt x="2363" y="512"/>
                  </a:lnTo>
                  <a:lnTo>
                    <a:pt x="2359" y="514"/>
                  </a:lnTo>
                  <a:lnTo>
                    <a:pt x="2361" y="512"/>
                  </a:lnTo>
                  <a:lnTo>
                    <a:pt x="2363" y="510"/>
                  </a:lnTo>
                  <a:lnTo>
                    <a:pt x="2361" y="510"/>
                  </a:lnTo>
                  <a:lnTo>
                    <a:pt x="2361" y="510"/>
                  </a:lnTo>
                  <a:lnTo>
                    <a:pt x="2361" y="510"/>
                  </a:lnTo>
                  <a:lnTo>
                    <a:pt x="2361" y="508"/>
                  </a:lnTo>
                  <a:lnTo>
                    <a:pt x="2361" y="508"/>
                  </a:lnTo>
                  <a:lnTo>
                    <a:pt x="2357" y="510"/>
                  </a:lnTo>
                  <a:lnTo>
                    <a:pt x="2355" y="510"/>
                  </a:lnTo>
                  <a:lnTo>
                    <a:pt x="2355" y="508"/>
                  </a:lnTo>
                  <a:lnTo>
                    <a:pt x="2357" y="508"/>
                  </a:lnTo>
                  <a:lnTo>
                    <a:pt x="2357" y="506"/>
                  </a:lnTo>
                  <a:lnTo>
                    <a:pt x="2357" y="504"/>
                  </a:lnTo>
                  <a:lnTo>
                    <a:pt x="2357" y="504"/>
                  </a:lnTo>
                  <a:lnTo>
                    <a:pt x="2357" y="504"/>
                  </a:lnTo>
                  <a:lnTo>
                    <a:pt x="2357" y="502"/>
                  </a:lnTo>
                  <a:lnTo>
                    <a:pt x="2355" y="502"/>
                  </a:lnTo>
                  <a:lnTo>
                    <a:pt x="2355" y="504"/>
                  </a:lnTo>
                  <a:lnTo>
                    <a:pt x="2353" y="502"/>
                  </a:lnTo>
                  <a:lnTo>
                    <a:pt x="2351" y="502"/>
                  </a:lnTo>
                  <a:lnTo>
                    <a:pt x="2351" y="502"/>
                  </a:lnTo>
                  <a:lnTo>
                    <a:pt x="2353" y="500"/>
                  </a:lnTo>
                  <a:lnTo>
                    <a:pt x="2353" y="498"/>
                  </a:lnTo>
                  <a:lnTo>
                    <a:pt x="2355" y="496"/>
                  </a:lnTo>
                  <a:lnTo>
                    <a:pt x="2357" y="496"/>
                  </a:lnTo>
                  <a:lnTo>
                    <a:pt x="2359" y="496"/>
                  </a:lnTo>
                  <a:lnTo>
                    <a:pt x="2359" y="496"/>
                  </a:lnTo>
                  <a:lnTo>
                    <a:pt x="2357" y="496"/>
                  </a:lnTo>
                  <a:lnTo>
                    <a:pt x="2355" y="496"/>
                  </a:lnTo>
                  <a:lnTo>
                    <a:pt x="2353" y="496"/>
                  </a:lnTo>
                  <a:lnTo>
                    <a:pt x="2351" y="498"/>
                  </a:lnTo>
                  <a:lnTo>
                    <a:pt x="2349" y="498"/>
                  </a:lnTo>
                  <a:lnTo>
                    <a:pt x="2347" y="498"/>
                  </a:lnTo>
                  <a:lnTo>
                    <a:pt x="2345" y="498"/>
                  </a:lnTo>
                  <a:lnTo>
                    <a:pt x="2342" y="498"/>
                  </a:lnTo>
                  <a:lnTo>
                    <a:pt x="2342" y="498"/>
                  </a:lnTo>
                  <a:lnTo>
                    <a:pt x="2342" y="496"/>
                  </a:lnTo>
                  <a:lnTo>
                    <a:pt x="2342" y="494"/>
                  </a:lnTo>
                  <a:lnTo>
                    <a:pt x="2340" y="494"/>
                  </a:lnTo>
                  <a:lnTo>
                    <a:pt x="2338" y="492"/>
                  </a:lnTo>
                  <a:lnTo>
                    <a:pt x="2338" y="492"/>
                  </a:lnTo>
                  <a:lnTo>
                    <a:pt x="2334" y="492"/>
                  </a:lnTo>
                  <a:lnTo>
                    <a:pt x="2332" y="492"/>
                  </a:lnTo>
                  <a:lnTo>
                    <a:pt x="2330" y="494"/>
                  </a:lnTo>
                  <a:lnTo>
                    <a:pt x="2332" y="498"/>
                  </a:lnTo>
                  <a:lnTo>
                    <a:pt x="2332" y="498"/>
                  </a:lnTo>
                  <a:lnTo>
                    <a:pt x="2332" y="500"/>
                  </a:lnTo>
                  <a:lnTo>
                    <a:pt x="2330" y="500"/>
                  </a:lnTo>
                  <a:lnTo>
                    <a:pt x="2328" y="500"/>
                  </a:lnTo>
                  <a:lnTo>
                    <a:pt x="2326" y="502"/>
                  </a:lnTo>
                  <a:lnTo>
                    <a:pt x="2326" y="500"/>
                  </a:lnTo>
                  <a:lnTo>
                    <a:pt x="2324" y="500"/>
                  </a:lnTo>
                  <a:lnTo>
                    <a:pt x="2324" y="500"/>
                  </a:lnTo>
                  <a:lnTo>
                    <a:pt x="2322" y="500"/>
                  </a:lnTo>
                  <a:lnTo>
                    <a:pt x="2322" y="500"/>
                  </a:lnTo>
                  <a:lnTo>
                    <a:pt x="2320" y="502"/>
                  </a:lnTo>
                  <a:lnTo>
                    <a:pt x="2318" y="504"/>
                  </a:lnTo>
                  <a:lnTo>
                    <a:pt x="2318" y="504"/>
                  </a:lnTo>
                  <a:lnTo>
                    <a:pt x="2316" y="504"/>
                  </a:lnTo>
                  <a:lnTo>
                    <a:pt x="2316" y="504"/>
                  </a:lnTo>
                  <a:lnTo>
                    <a:pt x="2316" y="504"/>
                  </a:lnTo>
                  <a:lnTo>
                    <a:pt x="2316" y="504"/>
                  </a:lnTo>
                  <a:lnTo>
                    <a:pt x="2312" y="502"/>
                  </a:lnTo>
                  <a:lnTo>
                    <a:pt x="2312" y="500"/>
                  </a:lnTo>
                  <a:lnTo>
                    <a:pt x="2307" y="500"/>
                  </a:lnTo>
                  <a:lnTo>
                    <a:pt x="2305" y="500"/>
                  </a:lnTo>
                  <a:lnTo>
                    <a:pt x="2305" y="500"/>
                  </a:lnTo>
                  <a:lnTo>
                    <a:pt x="2305" y="502"/>
                  </a:lnTo>
                  <a:lnTo>
                    <a:pt x="2307" y="506"/>
                  </a:lnTo>
                  <a:lnTo>
                    <a:pt x="2307" y="508"/>
                  </a:lnTo>
                  <a:lnTo>
                    <a:pt x="2307" y="508"/>
                  </a:lnTo>
                  <a:lnTo>
                    <a:pt x="2307" y="510"/>
                  </a:lnTo>
                  <a:lnTo>
                    <a:pt x="2307" y="510"/>
                  </a:lnTo>
                  <a:lnTo>
                    <a:pt x="2307" y="510"/>
                  </a:lnTo>
                  <a:lnTo>
                    <a:pt x="2307" y="510"/>
                  </a:lnTo>
                  <a:lnTo>
                    <a:pt x="2305" y="506"/>
                  </a:lnTo>
                  <a:lnTo>
                    <a:pt x="2303" y="504"/>
                  </a:lnTo>
                  <a:lnTo>
                    <a:pt x="2301" y="502"/>
                  </a:lnTo>
                  <a:lnTo>
                    <a:pt x="2299" y="500"/>
                  </a:lnTo>
                  <a:lnTo>
                    <a:pt x="2299" y="500"/>
                  </a:lnTo>
                  <a:lnTo>
                    <a:pt x="2297" y="500"/>
                  </a:lnTo>
                  <a:lnTo>
                    <a:pt x="2297" y="500"/>
                  </a:lnTo>
                  <a:lnTo>
                    <a:pt x="2295" y="500"/>
                  </a:lnTo>
                  <a:lnTo>
                    <a:pt x="2295" y="502"/>
                  </a:lnTo>
                  <a:lnTo>
                    <a:pt x="2293" y="502"/>
                  </a:lnTo>
                  <a:lnTo>
                    <a:pt x="2291" y="502"/>
                  </a:lnTo>
                  <a:lnTo>
                    <a:pt x="2289" y="504"/>
                  </a:lnTo>
                  <a:lnTo>
                    <a:pt x="2289" y="504"/>
                  </a:lnTo>
                  <a:lnTo>
                    <a:pt x="2289" y="508"/>
                  </a:lnTo>
                  <a:lnTo>
                    <a:pt x="2289" y="508"/>
                  </a:lnTo>
                  <a:lnTo>
                    <a:pt x="2289" y="510"/>
                  </a:lnTo>
                  <a:lnTo>
                    <a:pt x="2289" y="510"/>
                  </a:lnTo>
                  <a:lnTo>
                    <a:pt x="2287" y="508"/>
                  </a:lnTo>
                  <a:lnTo>
                    <a:pt x="2287" y="508"/>
                  </a:lnTo>
                  <a:lnTo>
                    <a:pt x="2285" y="506"/>
                  </a:lnTo>
                  <a:lnTo>
                    <a:pt x="2283" y="506"/>
                  </a:lnTo>
                  <a:lnTo>
                    <a:pt x="2281" y="502"/>
                  </a:lnTo>
                  <a:lnTo>
                    <a:pt x="2281" y="502"/>
                  </a:lnTo>
                  <a:lnTo>
                    <a:pt x="2279" y="502"/>
                  </a:lnTo>
                  <a:lnTo>
                    <a:pt x="2277" y="502"/>
                  </a:lnTo>
                  <a:lnTo>
                    <a:pt x="2277" y="504"/>
                  </a:lnTo>
                  <a:lnTo>
                    <a:pt x="2277" y="506"/>
                  </a:lnTo>
                  <a:lnTo>
                    <a:pt x="2277" y="508"/>
                  </a:lnTo>
                  <a:lnTo>
                    <a:pt x="2277" y="510"/>
                  </a:lnTo>
                  <a:lnTo>
                    <a:pt x="2274" y="512"/>
                  </a:lnTo>
                  <a:lnTo>
                    <a:pt x="2274" y="514"/>
                  </a:lnTo>
                  <a:lnTo>
                    <a:pt x="2274" y="514"/>
                  </a:lnTo>
                  <a:lnTo>
                    <a:pt x="2272" y="514"/>
                  </a:lnTo>
                  <a:lnTo>
                    <a:pt x="2272" y="512"/>
                  </a:lnTo>
                  <a:lnTo>
                    <a:pt x="2272" y="512"/>
                  </a:lnTo>
                  <a:lnTo>
                    <a:pt x="2270" y="512"/>
                  </a:lnTo>
                  <a:lnTo>
                    <a:pt x="2270" y="512"/>
                  </a:lnTo>
                  <a:lnTo>
                    <a:pt x="2268" y="514"/>
                  </a:lnTo>
                  <a:lnTo>
                    <a:pt x="2266" y="516"/>
                  </a:lnTo>
                  <a:lnTo>
                    <a:pt x="2266" y="516"/>
                  </a:lnTo>
                  <a:lnTo>
                    <a:pt x="2266" y="516"/>
                  </a:lnTo>
                  <a:lnTo>
                    <a:pt x="2266" y="516"/>
                  </a:lnTo>
                  <a:lnTo>
                    <a:pt x="2266" y="518"/>
                  </a:lnTo>
                  <a:lnTo>
                    <a:pt x="2266" y="520"/>
                  </a:lnTo>
                  <a:lnTo>
                    <a:pt x="2264" y="520"/>
                  </a:lnTo>
                  <a:lnTo>
                    <a:pt x="2264" y="520"/>
                  </a:lnTo>
                  <a:lnTo>
                    <a:pt x="2264" y="516"/>
                  </a:lnTo>
                  <a:lnTo>
                    <a:pt x="2262" y="516"/>
                  </a:lnTo>
                  <a:lnTo>
                    <a:pt x="2262" y="516"/>
                  </a:lnTo>
                  <a:lnTo>
                    <a:pt x="2260" y="516"/>
                  </a:lnTo>
                  <a:lnTo>
                    <a:pt x="2260" y="516"/>
                  </a:lnTo>
                  <a:lnTo>
                    <a:pt x="2262" y="516"/>
                  </a:lnTo>
                  <a:lnTo>
                    <a:pt x="2262" y="514"/>
                  </a:lnTo>
                  <a:lnTo>
                    <a:pt x="2262" y="514"/>
                  </a:lnTo>
                  <a:lnTo>
                    <a:pt x="2262" y="514"/>
                  </a:lnTo>
                  <a:lnTo>
                    <a:pt x="2260" y="514"/>
                  </a:lnTo>
                  <a:lnTo>
                    <a:pt x="2260" y="514"/>
                  </a:lnTo>
                  <a:lnTo>
                    <a:pt x="2260" y="512"/>
                  </a:lnTo>
                  <a:lnTo>
                    <a:pt x="2260" y="512"/>
                  </a:lnTo>
                  <a:lnTo>
                    <a:pt x="2258" y="512"/>
                  </a:lnTo>
                  <a:lnTo>
                    <a:pt x="2258" y="510"/>
                  </a:lnTo>
                  <a:lnTo>
                    <a:pt x="2260" y="510"/>
                  </a:lnTo>
                  <a:lnTo>
                    <a:pt x="2260" y="510"/>
                  </a:lnTo>
                  <a:lnTo>
                    <a:pt x="2262" y="510"/>
                  </a:lnTo>
                  <a:lnTo>
                    <a:pt x="2262" y="506"/>
                  </a:lnTo>
                  <a:lnTo>
                    <a:pt x="2262" y="506"/>
                  </a:lnTo>
                  <a:lnTo>
                    <a:pt x="2262" y="506"/>
                  </a:lnTo>
                  <a:lnTo>
                    <a:pt x="2260" y="504"/>
                  </a:lnTo>
                  <a:lnTo>
                    <a:pt x="2260" y="504"/>
                  </a:lnTo>
                  <a:lnTo>
                    <a:pt x="2260" y="504"/>
                  </a:lnTo>
                  <a:lnTo>
                    <a:pt x="2262" y="504"/>
                  </a:lnTo>
                  <a:lnTo>
                    <a:pt x="2262" y="504"/>
                  </a:lnTo>
                  <a:lnTo>
                    <a:pt x="2258" y="502"/>
                  </a:lnTo>
                  <a:lnTo>
                    <a:pt x="2256" y="500"/>
                  </a:lnTo>
                  <a:lnTo>
                    <a:pt x="2254" y="498"/>
                  </a:lnTo>
                  <a:lnTo>
                    <a:pt x="2254" y="498"/>
                  </a:lnTo>
                  <a:lnTo>
                    <a:pt x="2250" y="496"/>
                  </a:lnTo>
                  <a:lnTo>
                    <a:pt x="2248" y="496"/>
                  </a:lnTo>
                  <a:lnTo>
                    <a:pt x="2246" y="494"/>
                  </a:lnTo>
                  <a:lnTo>
                    <a:pt x="2246" y="494"/>
                  </a:lnTo>
                  <a:lnTo>
                    <a:pt x="2241" y="494"/>
                  </a:lnTo>
                  <a:lnTo>
                    <a:pt x="2239" y="494"/>
                  </a:lnTo>
                  <a:lnTo>
                    <a:pt x="2239" y="494"/>
                  </a:lnTo>
                  <a:lnTo>
                    <a:pt x="2237" y="496"/>
                  </a:lnTo>
                  <a:lnTo>
                    <a:pt x="2237" y="496"/>
                  </a:lnTo>
                  <a:lnTo>
                    <a:pt x="2237" y="496"/>
                  </a:lnTo>
                  <a:lnTo>
                    <a:pt x="2239" y="496"/>
                  </a:lnTo>
                  <a:lnTo>
                    <a:pt x="2241" y="496"/>
                  </a:lnTo>
                  <a:lnTo>
                    <a:pt x="2244" y="496"/>
                  </a:lnTo>
                  <a:lnTo>
                    <a:pt x="2244" y="496"/>
                  </a:lnTo>
                  <a:lnTo>
                    <a:pt x="2244" y="498"/>
                  </a:lnTo>
                  <a:lnTo>
                    <a:pt x="2246" y="498"/>
                  </a:lnTo>
                  <a:lnTo>
                    <a:pt x="2246" y="498"/>
                  </a:lnTo>
                  <a:lnTo>
                    <a:pt x="2246" y="498"/>
                  </a:lnTo>
                  <a:lnTo>
                    <a:pt x="2241" y="498"/>
                  </a:lnTo>
                  <a:lnTo>
                    <a:pt x="2239" y="498"/>
                  </a:lnTo>
                  <a:lnTo>
                    <a:pt x="2239" y="498"/>
                  </a:lnTo>
                  <a:lnTo>
                    <a:pt x="2239" y="500"/>
                  </a:lnTo>
                  <a:lnTo>
                    <a:pt x="2239" y="500"/>
                  </a:lnTo>
                  <a:lnTo>
                    <a:pt x="2241" y="500"/>
                  </a:lnTo>
                  <a:lnTo>
                    <a:pt x="2246" y="502"/>
                  </a:lnTo>
                  <a:lnTo>
                    <a:pt x="2246" y="502"/>
                  </a:lnTo>
                  <a:lnTo>
                    <a:pt x="2248" y="504"/>
                  </a:lnTo>
                  <a:lnTo>
                    <a:pt x="2246" y="506"/>
                  </a:lnTo>
                  <a:lnTo>
                    <a:pt x="2246" y="506"/>
                  </a:lnTo>
                  <a:lnTo>
                    <a:pt x="2246" y="506"/>
                  </a:lnTo>
                  <a:lnTo>
                    <a:pt x="2244" y="506"/>
                  </a:lnTo>
                  <a:lnTo>
                    <a:pt x="2244" y="506"/>
                  </a:lnTo>
                  <a:lnTo>
                    <a:pt x="2244" y="506"/>
                  </a:lnTo>
                  <a:lnTo>
                    <a:pt x="2244" y="504"/>
                  </a:lnTo>
                  <a:lnTo>
                    <a:pt x="2244" y="504"/>
                  </a:lnTo>
                  <a:lnTo>
                    <a:pt x="2244" y="504"/>
                  </a:lnTo>
                  <a:lnTo>
                    <a:pt x="2241" y="502"/>
                  </a:lnTo>
                  <a:lnTo>
                    <a:pt x="2241" y="504"/>
                  </a:lnTo>
                  <a:lnTo>
                    <a:pt x="2241" y="504"/>
                  </a:lnTo>
                  <a:lnTo>
                    <a:pt x="2239" y="504"/>
                  </a:lnTo>
                  <a:lnTo>
                    <a:pt x="2237" y="504"/>
                  </a:lnTo>
                  <a:lnTo>
                    <a:pt x="2237" y="504"/>
                  </a:lnTo>
                  <a:lnTo>
                    <a:pt x="2237" y="504"/>
                  </a:lnTo>
                  <a:lnTo>
                    <a:pt x="2237" y="502"/>
                  </a:lnTo>
                  <a:lnTo>
                    <a:pt x="2237" y="502"/>
                  </a:lnTo>
                  <a:lnTo>
                    <a:pt x="2233" y="500"/>
                  </a:lnTo>
                  <a:lnTo>
                    <a:pt x="2233" y="500"/>
                  </a:lnTo>
                  <a:lnTo>
                    <a:pt x="2231" y="500"/>
                  </a:lnTo>
                  <a:lnTo>
                    <a:pt x="2231" y="500"/>
                  </a:lnTo>
                  <a:lnTo>
                    <a:pt x="2231" y="500"/>
                  </a:lnTo>
                  <a:lnTo>
                    <a:pt x="2231" y="502"/>
                  </a:lnTo>
                  <a:lnTo>
                    <a:pt x="2229" y="502"/>
                  </a:lnTo>
                  <a:lnTo>
                    <a:pt x="2229" y="502"/>
                  </a:lnTo>
                  <a:lnTo>
                    <a:pt x="2231" y="502"/>
                  </a:lnTo>
                  <a:lnTo>
                    <a:pt x="2233" y="504"/>
                  </a:lnTo>
                  <a:lnTo>
                    <a:pt x="2231" y="504"/>
                  </a:lnTo>
                  <a:lnTo>
                    <a:pt x="2227" y="502"/>
                  </a:lnTo>
                  <a:lnTo>
                    <a:pt x="2227" y="502"/>
                  </a:lnTo>
                  <a:lnTo>
                    <a:pt x="2227" y="502"/>
                  </a:lnTo>
                  <a:lnTo>
                    <a:pt x="2227" y="504"/>
                  </a:lnTo>
                  <a:lnTo>
                    <a:pt x="2227" y="504"/>
                  </a:lnTo>
                  <a:lnTo>
                    <a:pt x="2229" y="504"/>
                  </a:lnTo>
                  <a:lnTo>
                    <a:pt x="2231" y="506"/>
                  </a:lnTo>
                  <a:lnTo>
                    <a:pt x="2227" y="506"/>
                  </a:lnTo>
                  <a:lnTo>
                    <a:pt x="2227" y="506"/>
                  </a:lnTo>
                  <a:lnTo>
                    <a:pt x="2227" y="508"/>
                  </a:lnTo>
                  <a:lnTo>
                    <a:pt x="2227" y="508"/>
                  </a:lnTo>
                  <a:lnTo>
                    <a:pt x="2229" y="508"/>
                  </a:lnTo>
                  <a:lnTo>
                    <a:pt x="2231" y="510"/>
                  </a:lnTo>
                  <a:lnTo>
                    <a:pt x="2233" y="510"/>
                  </a:lnTo>
                  <a:lnTo>
                    <a:pt x="2235" y="510"/>
                  </a:lnTo>
                  <a:lnTo>
                    <a:pt x="2233" y="510"/>
                  </a:lnTo>
                  <a:lnTo>
                    <a:pt x="2231" y="510"/>
                  </a:lnTo>
                  <a:lnTo>
                    <a:pt x="2229" y="512"/>
                  </a:lnTo>
                  <a:lnTo>
                    <a:pt x="2225" y="510"/>
                  </a:lnTo>
                  <a:lnTo>
                    <a:pt x="2223" y="508"/>
                  </a:lnTo>
                  <a:lnTo>
                    <a:pt x="2223" y="508"/>
                  </a:lnTo>
                  <a:lnTo>
                    <a:pt x="2223" y="510"/>
                  </a:lnTo>
                  <a:lnTo>
                    <a:pt x="2223" y="510"/>
                  </a:lnTo>
                  <a:lnTo>
                    <a:pt x="2223" y="510"/>
                  </a:lnTo>
                  <a:lnTo>
                    <a:pt x="2225" y="512"/>
                  </a:lnTo>
                  <a:lnTo>
                    <a:pt x="2225" y="512"/>
                  </a:lnTo>
                  <a:lnTo>
                    <a:pt x="2227" y="514"/>
                  </a:lnTo>
                  <a:lnTo>
                    <a:pt x="2225" y="514"/>
                  </a:lnTo>
                  <a:lnTo>
                    <a:pt x="2223" y="512"/>
                  </a:lnTo>
                  <a:lnTo>
                    <a:pt x="2221" y="512"/>
                  </a:lnTo>
                  <a:lnTo>
                    <a:pt x="2219" y="512"/>
                  </a:lnTo>
                  <a:lnTo>
                    <a:pt x="2217" y="514"/>
                  </a:lnTo>
                  <a:lnTo>
                    <a:pt x="2217" y="516"/>
                  </a:lnTo>
                  <a:lnTo>
                    <a:pt x="2221" y="516"/>
                  </a:lnTo>
                  <a:lnTo>
                    <a:pt x="2223" y="516"/>
                  </a:lnTo>
                  <a:lnTo>
                    <a:pt x="2225" y="518"/>
                  </a:lnTo>
                  <a:lnTo>
                    <a:pt x="2227" y="516"/>
                  </a:lnTo>
                  <a:lnTo>
                    <a:pt x="2229" y="516"/>
                  </a:lnTo>
                  <a:lnTo>
                    <a:pt x="2237" y="514"/>
                  </a:lnTo>
                  <a:lnTo>
                    <a:pt x="2239" y="514"/>
                  </a:lnTo>
                  <a:lnTo>
                    <a:pt x="2241" y="514"/>
                  </a:lnTo>
                  <a:lnTo>
                    <a:pt x="2244" y="514"/>
                  </a:lnTo>
                  <a:lnTo>
                    <a:pt x="2248" y="514"/>
                  </a:lnTo>
                  <a:lnTo>
                    <a:pt x="2248" y="516"/>
                  </a:lnTo>
                  <a:lnTo>
                    <a:pt x="2252" y="516"/>
                  </a:lnTo>
                  <a:lnTo>
                    <a:pt x="2256" y="516"/>
                  </a:lnTo>
                  <a:lnTo>
                    <a:pt x="2254" y="516"/>
                  </a:lnTo>
                  <a:lnTo>
                    <a:pt x="2254" y="518"/>
                  </a:lnTo>
                  <a:lnTo>
                    <a:pt x="2250" y="518"/>
                  </a:lnTo>
                  <a:lnTo>
                    <a:pt x="2248" y="520"/>
                  </a:lnTo>
                  <a:lnTo>
                    <a:pt x="2246" y="523"/>
                  </a:lnTo>
                  <a:lnTo>
                    <a:pt x="2246" y="523"/>
                  </a:lnTo>
                  <a:lnTo>
                    <a:pt x="2248" y="523"/>
                  </a:lnTo>
                  <a:lnTo>
                    <a:pt x="2252" y="525"/>
                  </a:lnTo>
                  <a:lnTo>
                    <a:pt x="2252" y="525"/>
                  </a:lnTo>
                  <a:lnTo>
                    <a:pt x="2256" y="523"/>
                  </a:lnTo>
                  <a:lnTo>
                    <a:pt x="2256" y="523"/>
                  </a:lnTo>
                  <a:lnTo>
                    <a:pt x="2256" y="525"/>
                  </a:lnTo>
                  <a:lnTo>
                    <a:pt x="2256" y="525"/>
                  </a:lnTo>
                  <a:lnTo>
                    <a:pt x="2254" y="527"/>
                  </a:lnTo>
                  <a:lnTo>
                    <a:pt x="2248" y="527"/>
                  </a:lnTo>
                  <a:lnTo>
                    <a:pt x="2246" y="527"/>
                  </a:lnTo>
                  <a:lnTo>
                    <a:pt x="2244" y="527"/>
                  </a:lnTo>
                  <a:lnTo>
                    <a:pt x="2244" y="527"/>
                  </a:lnTo>
                  <a:lnTo>
                    <a:pt x="2241" y="527"/>
                  </a:lnTo>
                  <a:lnTo>
                    <a:pt x="2241" y="527"/>
                  </a:lnTo>
                  <a:lnTo>
                    <a:pt x="2241" y="527"/>
                  </a:lnTo>
                  <a:lnTo>
                    <a:pt x="2239" y="527"/>
                  </a:lnTo>
                  <a:lnTo>
                    <a:pt x="2237" y="529"/>
                  </a:lnTo>
                  <a:lnTo>
                    <a:pt x="2237" y="527"/>
                  </a:lnTo>
                  <a:lnTo>
                    <a:pt x="2235" y="527"/>
                  </a:lnTo>
                  <a:lnTo>
                    <a:pt x="2235" y="527"/>
                  </a:lnTo>
                  <a:lnTo>
                    <a:pt x="2233" y="529"/>
                  </a:lnTo>
                  <a:lnTo>
                    <a:pt x="2233" y="529"/>
                  </a:lnTo>
                  <a:lnTo>
                    <a:pt x="2231" y="529"/>
                  </a:lnTo>
                  <a:lnTo>
                    <a:pt x="2229" y="529"/>
                  </a:lnTo>
                  <a:lnTo>
                    <a:pt x="2227" y="529"/>
                  </a:lnTo>
                  <a:lnTo>
                    <a:pt x="2225" y="529"/>
                  </a:lnTo>
                  <a:lnTo>
                    <a:pt x="2225" y="529"/>
                  </a:lnTo>
                  <a:lnTo>
                    <a:pt x="2223" y="531"/>
                  </a:lnTo>
                  <a:lnTo>
                    <a:pt x="2225" y="531"/>
                  </a:lnTo>
                  <a:lnTo>
                    <a:pt x="2225" y="533"/>
                  </a:lnTo>
                  <a:lnTo>
                    <a:pt x="2225" y="533"/>
                  </a:lnTo>
                  <a:lnTo>
                    <a:pt x="2227" y="533"/>
                  </a:lnTo>
                  <a:lnTo>
                    <a:pt x="2229" y="533"/>
                  </a:lnTo>
                  <a:lnTo>
                    <a:pt x="2231" y="531"/>
                  </a:lnTo>
                  <a:lnTo>
                    <a:pt x="2233" y="531"/>
                  </a:lnTo>
                  <a:lnTo>
                    <a:pt x="2241" y="533"/>
                  </a:lnTo>
                  <a:lnTo>
                    <a:pt x="2246" y="531"/>
                  </a:lnTo>
                  <a:lnTo>
                    <a:pt x="2248" y="533"/>
                  </a:lnTo>
                  <a:lnTo>
                    <a:pt x="2250" y="533"/>
                  </a:lnTo>
                  <a:lnTo>
                    <a:pt x="2250" y="533"/>
                  </a:lnTo>
                  <a:lnTo>
                    <a:pt x="2248" y="535"/>
                  </a:lnTo>
                  <a:lnTo>
                    <a:pt x="2248" y="535"/>
                  </a:lnTo>
                  <a:lnTo>
                    <a:pt x="2248" y="537"/>
                  </a:lnTo>
                  <a:lnTo>
                    <a:pt x="2250" y="537"/>
                  </a:lnTo>
                  <a:lnTo>
                    <a:pt x="2250" y="537"/>
                  </a:lnTo>
                  <a:lnTo>
                    <a:pt x="2252" y="537"/>
                  </a:lnTo>
                  <a:lnTo>
                    <a:pt x="2254" y="537"/>
                  </a:lnTo>
                  <a:lnTo>
                    <a:pt x="2258" y="535"/>
                  </a:lnTo>
                  <a:lnTo>
                    <a:pt x="2258" y="535"/>
                  </a:lnTo>
                  <a:lnTo>
                    <a:pt x="2258" y="535"/>
                  </a:lnTo>
                  <a:lnTo>
                    <a:pt x="2258" y="535"/>
                  </a:lnTo>
                  <a:lnTo>
                    <a:pt x="2256" y="537"/>
                  </a:lnTo>
                  <a:lnTo>
                    <a:pt x="2254" y="539"/>
                  </a:lnTo>
                  <a:lnTo>
                    <a:pt x="2252" y="539"/>
                  </a:lnTo>
                  <a:lnTo>
                    <a:pt x="2252" y="541"/>
                  </a:lnTo>
                  <a:lnTo>
                    <a:pt x="2254" y="541"/>
                  </a:lnTo>
                  <a:lnTo>
                    <a:pt x="2254" y="541"/>
                  </a:lnTo>
                  <a:lnTo>
                    <a:pt x="2252" y="541"/>
                  </a:lnTo>
                  <a:lnTo>
                    <a:pt x="2252" y="543"/>
                  </a:lnTo>
                  <a:lnTo>
                    <a:pt x="2252" y="543"/>
                  </a:lnTo>
                  <a:lnTo>
                    <a:pt x="2254" y="543"/>
                  </a:lnTo>
                  <a:lnTo>
                    <a:pt x="2258" y="541"/>
                  </a:lnTo>
                  <a:lnTo>
                    <a:pt x="2258" y="541"/>
                  </a:lnTo>
                  <a:lnTo>
                    <a:pt x="2260" y="541"/>
                  </a:lnTo>
                  <a:lnTo>
                    <a:pt x="2258" y="541"/>
                  </a:lnTo>
                  <a:lnTo>
                    <a:pt x="2258" y="541"/>
                  </a:lnTo>
                  <a:lnTo>
                    <a:pt x="2256" y="543"/>
                  </a:lnTo>
                  <a:lnTo>
                    <a:pt x="2256" y="543"/>
                  </a:lnTo>
                  <a:lnTo>
                    <a:pt x="2256" y="545"/>
                  </a:lnTo>
                  <a:lnTo>
                    <a:pt x="2254" y="545"/>
                  </a:lnTo>
                  <a:lnTo>
                    <a:pt x="2254" y="545"/>
                  </a:lnTo>
                  <a:lnTo>
                    <a:pt x="2252" y="547"/>
                  </a:lnTo>
                  <a:lnTo>
                    <a:pt x="2252" y="547"/>
                  </a:lnTo>
                  <a:lnTo>
                    <a:pt x="2250" y="549"/>
                  </a:lnTo>
                  <a:lnTo>
                    <a:pt x="2246" y="549"/>
                  </a:lnTo>
                  <a:lnTo>
                    <a:pt x="2246" y="549"/>
                  </a:lnTo>
                  <a:lnTo>
                    <a:pt x="2244" y="549"/>
                  </a:lnTo>
                  <a:lnTo>
                    <a:pt x="2244" y="547"/>
                  </a:lnTo>
                  <a:lnTo>
                    <a:pt x="2244" y="547"/>
                  </a:lnTo>
                  <a:lnTo>
                    <a:pt x="2241" y="549"/>
                  </a:lnTo>
                  <a:lnTo>
                    <a:pt x="2241" y="549"/>
                  </a:lnTo>
                  <a:lnTo>
                    <a:pt x="2241" y="551"/>
                  </a:lnTo>
                  <a:lnTo>
                    <a:pt x="2244" y="554"/>
                  </a:lnTo>
                  <a:lnTo>
                    <a:pt x="2244" y="554"/>
                  </a:lnTo>
                  <a:lnTo>
                    <a:pt x="2244" y="554"/>
                  </a:lnTo>
                  <a:lnTo>
                    <a:pt x="2248" y="554"/>
                  </a:lnTo>
                  <a:lnTo>
                    <a:pt x="2260" y="554"/>
                  </a:lnTo>
                  <a:lnTo>
                    <a:pt x="2262" y="554"/>
                  </a:lnTo>
                  <a:lnTo>
                    <a:pt x="2264" y="551"/>
                  </a:lnTo>
                  <a:lnTo>
                    <a:pt x="2264" y="551"/>
                  </a:lnTo>
                  <a:lnTo>
                    <a:pt x="2266" y="551"/>
                  </a:lnTo>
                  <a:lnTo>
                    <a:pt x="2266" y="551"/>
                  </a:lnTo>
                  <a:lnTo>
                    <a:pt x="2264" y="551"/>
                  </a:lnTo>
                  <a:lnTo>
                    <a:pt x="2264" y="551"/>
                  </a:lnTo>
                  <a:lnTo>
                    <a:pt x="2266" y="554"/>
                  </a:lnTo>
                  <a:lnTo>
                    <a:pt x="2268" y="554"/>
                  </a:lnTo>
                  <a:lnTo>
                    <a:pt x="2270" y="554"/>
                  </a:lnTo>
                  <a:lnTo>
                    <a:pt x="2270" y="556"/>
                  </a:lnTo>
                  <a:lnTo>
                    <a:pt x="2272" y="556"/>
                  </a:lnTo>
                  <a:lnTo>
                    <a:pt x="2272" y="556"/>
                  </a:lnTo>
                  <a:lnTo>
                    <a:pt x="2274" y="554"/>
                  </a:lnTo>
                  <a:lnTo>
                    <a:pt x="2274" y="554"/>
                  </a:lnTo>
                  <a:lnTo>
                    <a:pt x="2277" y="556"/>
                  </a:lnTo>
                  <a:lnTo>
                    <a:pt x="2277" y="556"/>
                  </a:lnTo>
                  <a:lnTo>
                    <a:pt x="2274" y="556"/>
                  </a:lnTo>
                  <a:lnTo>
                    <a:pt x="2274" y="556"/>
                  </a:lnTo>
                  <a:lnTo>
                    <a:pt x="2274" y="556"/>
                  </a:lnTo>
                  <a:lnTo>
                    <a:pt x="2274" y="556"/>
                  </a:lnTo>
                  <a:lnTo>
                    <a:pt x="2274" y="558"/>
                  </a:lnTo>
                  <a:lnTo>
                    <a:pt x="2274" y="558"/>
                  </a:lnTo>
                  <a:lnTo>
                    <a:pt x="2279" y="560"/>
                  </a:lnTo>
                  <a:lnTo>
                    <a:pt x="2283" y="560"/>
                  </a:lnTo>
                  <a:lnTo>
                    <a:pt x="2285" y="560"/>
                  </a:lnTo>
                  <a:lnTo>
                    <a:pt x="2289" y="562"/>
                  </a:lnTo>
                  <a:lnTo>
                    <a:pt x="2291" y="562"/>
                  </a:lnTo>
                  <a:lnTo>
                    <a:pt x="2301" y="564"/>
                  </a:lnTo>
                  <a:lnTo>
                    <a:pt x="2305" y="562"/>
                  </a:lnTo>
                  <a:lnTo>
                    <a:pt x="2307" y="562"/>
                  </a:lnTo>
                  <a:lnTo>
                    <a:pt x="2305" y="560"/>
                  </a:lnTo>
                  <a:lnTo>
                    <a:pt x="2305" y="560"/>
                  </a:lnTo>
                  <a:lnTo>
                    <a:pt x="2305" y="560"/>
                  </a:lnTo>
                  <a:lnTo>
                    <a:pt x="2307" y="560"/>
                  </a:lnTo>
                  <a:lnTo>
                    <a:pt x="2307" y="562"/>
                  </a:lnTo>
                  <a:lnTo>
                    <a:pt x="2310" y="562"/>
                  </a:lnTo>
                  <a:lnTo>
                    <a:pt x="2310" y="560"/>
                  </a:lnTo>
                  <a:lnTo>
                    <a:pt x="2312" y="560"/>
                  </a:lnTo>
                  <a:lnTo>
                    <a:pt x="2312" y="558"/>
                  </a:lnTo>
                  <a:lnTo>
                    <a:pt x="2312" y="558"/>
                  </a:lnTo>
                  <a:lnTo>
                    <a:pt x="2312" y="558"/>
                  </a:lnTo>
                  <a:lnTo>
                    <a:pt x="2312" y="558"/>
                  </a:lnTo>
                  <a:lnTo>
                    <a:pt x="2312" y="556"/>
                  </a:lnTo>
                  <a:lnTo>
                    <a:pt x="2316" y="556"/>
                  </a:lnTo>
                  <a:lnTo>
                    <a:pt x="2322" y="554"/>
                  </a:lnTo>
                  <a:lnTo>
                    <a:pt x="2324" y="554"/>
                  </a:lnTo>
                  <a:close/>
                  <a:moveTo>
                    <a:pt x="1839" y="1611"/>
                  </a:moveTo>
                  <a:lnTo>
                    <a:pt x="1839" y="1611"/>
                  </a:lnTo>
                  <a:lnTo>
                    <a:pt x="1843" y="1609"/>
                  </a:lnTo>
                  <a:lnTo>
                    <a:pt x="1843" y="1609"/>
                  </a:lnTo>
                  <a:lnTo>
                    <a:pt x="1843" y="1607"/>
                  </a:lnTo>
                  <a:lnTo>
                    <a:pt x="1843" y="1607"/>
                  </a:lnTo>
                  <a:lnTo>
                    <a:pt x="1841" y="1607"/>
                  </a:lnTo>
                  <a:lnTo>
                    <a:pt x="1839" y="1609"/>
                  </a:lnTo>
                  <a:lnTo>
                    <a:pt x="1839" y="1609"/>
                  </a:lnTo>
                  <a:lnTo>
                    <a:pt x="1839" y="1609"/>
                  </a:lnTo>
                  <a:lnTo>
                    <a:pt x="1839" y="1611"/>
                  </a:lnTo>
                  <a:lnTo>
                    <a:pt x="1839" y="1611"/>
                  </a:lnTo>
                  <a:close/>
                  <a:moveTo>
                    <a:pt x="1841" y="413"/>
                  </a:moveTo>
                  <a:lnTo>
                    <a:pt x="1843" y="411"/>
                  </a:lnTo>
                  <a:lnTo>
                    <a:pt x="1843" y="411"/>
                  </a:lnTo>
                  <a:lnTo>
                    <a:pt x="1843" y="411"/>
                  </a:lnTo>
                  <a:lnTo>
                    <a:pt x="1839" y="409"/>
                  </a:lnTo>
                  <a:lnTo>
                    <a:pt x="1837" y="409"/>
                  </a:lnTo>
                  <a:lnTo>
                    <a:pt x="1835" y="409"/>
                  </a:lnTo>
                  <a:lnTo>
                    <a:pt x="1835" y="411"/>
                  </a:lnTo>
                  <a:lnTo>
                    <a:pt x="1835" y="411"/>
                  </a:lnTo>
                  <a:lnTo>
                    <a:pt x="1835" y="413"/>
                  </a:lnTo>
                  <a:lnTo>
                    <a:pt x="1835" y="415"/>
                  </a:lnTo>
                  <a:lnTo>
                    <a:pt x="1835" y="417"/>
                  </a:lnTo>
                  <a:lnTo>
                    <a:pt x="1837" y="419"/>
                  </a:lnTo>
                  <a:lnTo>
                    <a:pt x="1837" y="419"/>
                  </a:lnTo>
                  <a:lnTo>
                    <a:pt x="1839" y="417"/>
                  </a:lnTo>
                  <a:lnTo>
                    <a:pt x="1839" y="417"/>
                  </a:lnTo>
                  <a:lnTo>
                    <a:pt x="1839" y="417"/>
                  </a:lnTo>
                  <a:lnTo>
                    <a:pt x="1839" y="415"/>
                  </a:lnTo>
                  <a:lnTo>
                    <a:pt x="1841" y="413"/>
                  </a:lnTo>
                  <a:close/>
                  <a:moveTo>
                    <a:pt x="2219" y="1392"/>
                  </a:moveTo>
                  <a:lnTo>
                    <a:pt x="2217" y="1394"/>
                  </a:lnTo>
                  <a:lnTo>
                    <a:pt x="2217" y="1394"/>
                  </a:lnTo>
                  <a:lnTo>
                    <a:pt x="2217" y="1394"/>
                  </a:lnTo>
                  <a:lnTo>
                    <a:pt x="2219" y="1396"/>
                  </a:lnTo>
                  <a:lnTo>
                    <a:pt x="2219" y="1396"/>
                  </a:lnTo>
                  <a:lnTo>
                    <a:pt x="2219" y="1396"/>
                  </a:lnTo>
                  <a:lnTo>
                    <a:pt x="2221" y="1394"/>
                  </a:lnTo>
                  <a:lnTo>
                    <a:pt x="2219" y="1392"/>
                  </a:lnTo>
                  <a:lnTo>
                    <a:pt x="2219" y="1392"/>
                  </a:lnTo>
                  <a:close/>
                  <a:moveTo>
                    <a:pt x="2231" y="1390"/>
                  </a:moveTo>
                  <a:lnTo>
                    <a:pt x="2229" y="1390"/>
                  </a:lnTo>
                  <a:lnTo>
                    <a:pt x="2229" y="1388"/>
                  </a:lnTo>
                  <a:lnTo>
                    <a:pt x="2227" y="1388"/>
                  </a:lnTo>
                  <a:lnTo>
                    <a:pt x="2227" y="1388"/>
                  </a:lnTo>
                  <a:lnTo>
                    <a:pt x="2227" y="1390"/>
                  </a:lnTo>
                  <a:lnTo>
                    <a:pt x="2227" y="1390"/>
                  </a:lnTo>
                  <a:lnTo>
                    <a:pt x="2227" y="1392"/>
                  </a:lnTo>
                  <a:lnTo>
                    <a:pt x="2229" y="1394"/>
                  </a:lnTo>
                  <a:lnTo>
                    <a:pt x="2229" y="1394"/>
                  </a:lnTo>
                  <a:lnTo>
                    <a:pt x="2231" y="1394"/>
                  </a:lnTo>
                  <a:lnTo>
                    <a:pt x="2231" y="1392"/>
                  </a:lnTo>
                  <a:lnTo>
                    <a:pt x="2231" y="1392"/>
                  </a:lnTo>
                  <a:lnTo>
                    <a:pt x="2231" y="1390"/>
                  </a:lnTo>
                  <a:close/>
                  <a:moveTo>
                    <a:pt x="2239" y="1369"/>
                  </a:moveTo>
                  <a:lnTo>
                    <a:pt x="2239" y="1369"/>
                  </a:lnTo>
                  <a:lnTo>
                    <a:pt x="2239" y="1367"/>
                  </a:lnTo>
                  <a:lnTo>
                    <a:pt x="2239" y="1367"/>
                  </a:lnTo>
                  <a:lnTo>
                    <a:pt x="2239" y="1367"/>
                  </a:lnTo>
                  <a:lnTo>
                    <a:pt x="2239" y="1367"/>
                  </a:lnTo>
                  <a:lnTo>
                    <a:pt x="2239" y="1369"/>
                  </a:lnTo>
                  <a:lnTo>
                    <a:pt x="2239" y="1369"/>
                  </a:lnTo>
                  <a:lnTo>
                    <a:pt x="2239" y="1369"/>
                  </a:lnTo>
                  <a:close/>
                  <a:moveTo>
                    <a:pt x="2237" y="1388"/>
                  </a:moveTo>
                  <a:lnTo>
                    <a:pt x="2235" y="1388"/>
                  </a:lnTo>
                  <a:lnTo>
                    <a:pt x="2235" y="1390"/>
                  </a:lnTo>
                  <a:lnTo>
                    <a:pt x="2235" y="1390"/>
                  </a:lnTo>
                  <a:lnTo>
                    <a:pt x="2235" y="1390"/>
                  </a:lnTo>
                  <a:lnTo>
                    <a:pt x="2235" y="1392"/>
                  </a:lnTo>
                  <a:lnTo>
                    <a:pt x="2235" y="1392"/>
                  </a:lnTo>
                  <a:lnTo>
                    <a:pt x="2237" y="1390"/>
                  </a:lnTo>
                  <a:lnTo>
                    <a:pt x="2237" y="1390"/>
                  </a:lnTo>
                  <a:lnTo>
                    <a:pt x="2237" y="1388"/>
                  </a:lnTo>
                  <a:close/>
                  <a:moveTo>
                    <a:pt x="2241" y="1375"/>
                  </a:moveTo>
                  <a:lnTo>
                    <a:pt x="2241" y="1375"/>
                  </a:lnTo>
                  <a:lnTo>
                    <a:pt x="2241" y="1375"/>
                  </a:lnTo>
                  <a:lnTo>
                    <a:pt x="2239" y="1375"/>
                  </a:lnTo>
                  <a:lnTo>
                    <a:pt x="2239" y="1375"/>
                  </a:lnTo>
                  <a:lnTo>
                    <a:pt x="2239" y="1377"/>
                  </a:lnTo>
                  <a:lnTo>
                    <a:pt x="2239" y="1379"/>
                  </a:lnTo>
                  <a:lnTo>
                    <a:pt x="2241" y="1379"/>
                  </a:lnTo>
                  <a:lnTo>
                    <a:pt x="2244" y="1377"/>
                  </a:lnTo>
                  <a:lnTo>
                    <a:pt x="2244" y="1377"/>
                  </a:lnTo>
                  <a:lnTo>
                    <a:pt x="2244" y="1375"/>
                  </a:lnTo>
                  <a:lnTo>
                    <a:pt x="2241" y="1375"/>
                  </a:lnTo>
                  <a:close/>
                  <a:moveTo>
                    <a:pt x="1903" y="622"/>
                  </a:moveTo>
                  <a:lnTo>
                    <a:pt x="1903" y="622"/>
                  </a:lnTo>
                  <a:lnTo>
                    <a:pt x="1905" y="624"/>
                  </a:lnTo>
                  <a:lnTo>
                    <a:pt x="1907" y="620"/>
                  </a:lnTo>
                  <a:lnTo>
                    <a:pt x="1907" y="620"/>
                  </a:lnTo>
                  <a:lnTo>
                    <a:pt x="1907" y="618"/>
                  </a:lnTo>
                  <a:lnTo>
                    <a:pt x="1907" y="618"/>
                  </a:lnTo>
                  <a:lnTo>
                    <a:pt x="1905" y="618"/>
                  </a:lnTo>
                  <a:lnTo>
                    <a:pt x="1899" y="620"/>
                  </a:lnTo>
                  <a:lnTo>
                    <a:pt x="1899" y="622"/>
                  </a:lnTo>
                  <a:lnTo>
                    <a:pt x="1901" y="622"/>
                  </a:lnTo>
                  <a:lnTo>
                    <a:pt x="1903" y="622"/>
                  </a:lnTo>
                  <a:close/>
                  <a:moveTo>
                    <a:pt x="1926" y="1625"/>
                  </a:moveTo>
                  <a:lnTo>
                    <a:pt x="1926" y="1625"/>
                  </a:lnTo>
                  <a:lnTo>
                    <a:pt x="1926" y="1625"/>
                  </a:lnTo>
                  <a:lnTo>
                    <a:pt x="1924" y="1625"/>
                  </a:lnTo>
                  <a:lnTo>
                    <a:pt x="1924" y="1625"/>
                  </a:lnTo>
                  <a:lnTo>
                    <a:pt x="1924" y="1625"/>
                  </a:lnTo>
                  <a:lnTo>
                    <a:pt x="1926" y="1625"/>
                  </a:lnTo>
                  <a:lnTo>
                    <a:pt x="1926" y="1625"/>
                  </a:lnTo>
                  <a:lnTo>
                    <a:pt x="1926" y="1625"/>
                  </a:lnTo>
                  <a:close/>
                  <a:moveTo>
                    <a:pt x="2039" y="514"/>
                  </a:moveTo>
                  <a:lnTo>
                    <a:pt x="2039" y="512"/>
                  </a:lnTo>
                  <a:lnTo>
                    <a:pt x="2037" y="510"/>
                  </a:lnTo>
                  <a:lnTo>
                    <a:pt x="2035" y="510"/>
                  </a:lnTo>
                  <a:lnTo>
                    <a:pt x="2035" y="512"/>
                  </a:lnTo>
                  <a:lnTo>
                    <a:pt x="2035" y="514"/>
                  </a:lnTo>
                  <a:lnTo>
                    <a:pt x="2039" y="514"/>
                  </a:lnTo>
                  <a:lnTo>
                    <a:pt x="2039" y="514"/>
                  </a:lnTo>
                  <a:close/>
                  <a:moveTo>
                    <a:pt x="1831" y="1615"/>
                  </a:moveTo>
                  <a:lnTo>
                    <a:pt x="1829" y="1619"/>
                  </a:lnTo>
                  <a:lnTo>
                    <a:pt x="1829" y="1621"/>
                  </a:lnTo>
                  <a:lnTo>
                    <a:pt x="1827" y="1623"/>
                  </a:lnTo>
                  <a:lnTo>
                    <a:pt x="1825" y="1627"/>
                  </a:lnTo>
                  <a:lnTo>
                    <a:pt x="1827" y="1627"/>
                  </a:lnTo>
                  <a:lnTo>
                    <a:pt x="1831" y="1625"/>
                  </a:lnTo>
                  <a:lnTo>
                    <a:pt x="1833" y="1623"/>
                  </a:lnTo>
                  <a:lnTo>
                    <a:pt x="1835" y="1621"/>
                  </a:lnTo>
                  <a:lnTo>
                    <a:pt x="1835" y="1621"/>
                  </a:lnTo>
                  <a:lnTo>
                    <a:pt x="1837" y="1617"/>
                  </a:lnTo>
                  <a:lnTo>
                    <a:pt x="1835" y="1615"/>
                  </a:lnTo>
                  <a:lnTo>
                    <a:pt x="1833" y="1615"/>
                  </a:lnTo>
                  <a:lnTo>
                    <a:pt x="1831" y="1615"/>
                  </a:lnTo>
                  <a:close/>
                  <a:moveTo>
                    <a:pt x="2221" y="421"/>
                  </a:moveTo>
                  <a:lnTo>
                    <a:pt x="2221" y="419"/>
                  </a:lnTo>
                  <a:lnTo>
                    <a:pt x="2221" y="419"/>
                  </a:lnTo>
                  <a:lnTo>
                    <a:pt x="2221" y="417"/>
                  </a:lnTo>
                  <a:lnTo>
                    <a:pt x="2221" y="417"/>
                  </a:lnTo>
                  <a:lnTo>
                    <a:pt x="2221" y="417"/>
                  </a:lnTo>
                  <a:lnTo>
                    <a:pt x="2225" y="417"/>
                  </a:lnTo>
                  <a:lnTo>
                    <a:pt x="2227" y="417"/>
                  </a:lnTo>
                  <a:lnTo>
                    <a:pt x="2227" y="417"/>
                  </a:lnTo>
                  <a:lnTo>
                    <a:pt x="2229" y="415"/>
                  </a:lnTo>
                  <a:lnTo>
                    <a:pt x="2227" y="415"/>
                  </a:lnTo>
                  <a:lnTo>
                    <a:pt x="2227" y="413"/>
                  </a:lnTo>
                  <a:lnTo>
                    <a:pt x="2227" y="413"/>
                  </a:lnTo>
                  <a:lnTo>
                    <a:pt x="2227" y="413"/>
                  </a:lnTo>
                  <a:lnTo>
                    <a:pt x="2231" y="413"/>
                  </a:lnTo>
                  <a:lnTo>
                    <a:pt x="2235" y="411"/>
                  </a:lnTo>
                  <a:lnTo>
                    <a:pt x="2237" y="411"/>
                  </a:lnTo>
                  <a:lnTo>
                    <a:pt x="2237" y="411"/>
                  </a:lnTo>
                  <a:lnTo>
                    <a:pt x="2237" y="409"/>
                  </a:lnTo>
                  <a:lnTo>
                    <a:pt x="2237" y="409"/>
                  </a:lnTo>
                  <a:lnTo>
                    <a:pt x="2241" y="409"/>
                  </a:lnTo>
                  <a:lnTo>
                    <a:pt x="2241" y="409"/>
                  </a:lnTo>
                  <a:lnTo>
                    <a:pt x="2244" y="407"/>
                  </a:lnTo>
                  <a:lnTo>
                    <a:pt x="2246" y="407"/>
                  </a:lnTo>
                  <a:lnTo>
                    <a:pt x="2248" y="405"/>
                  </a:lnTo>
                  <a:lnTo>
                    <a:pt x="2250" y="405"/>
                  </a:lnTo>
                  <a:lnTo>
                    <a:pt x="2250" y="405"/>
                  </a:lnTo>
                  <a:lnTo>
                    <a:pt x="2248" y="403"/>
                  </a:lnTo>
                  <a:lnTo>
                    <a:pt x="2235" y="403"/>
                  </a:lnTo>
                  <a:lnTo>
                    <a:pt x="2229" y="403"/>
                  </a:lnTo>
                  <a:lnTo>
                    <a:pt x="2223" y="403"/>
                  </a:lnTo>
                  <a:lnTo>
                    <a:pt x="2213" y="399"/>
                  </a:lnTo>
                  <a:lnTo>
                    <a:pt x="2202" y="399"/>
                  </a:lnTo>
                  <a:lnTo>
                    <a:pt x="2200" y="399"/>
                  </a:lnTo>
                  <a:lnTo>
                    <a:pt x="2194" y="401"/>
                  </a:lnTo>
                  <a:lnTo>
                    <a:pt x="2190" y="401"/>
                  </a:lnTo>
                  <a:lnTo>
                    <a:pt x="2186" y="401"/>
                  </a:lnTo>
                  <a:lnTo>
                    <a:pt x="2182" y="401"/>
                  </a:lnTo>
                  <a:lnTo>
                    <a:pt x="2180" y="403"/>
                  </a:lnTo>
                  <a:lnTo>
                    <a:pt x="2178" y="405"/>
                  </a:lnTo>
                  <a:lnTo>
                    <a:pt x="2175" y="407"/>
                  </a:lnTo>
                  <a:lnTo>
                    <a:pt x="2173" y="407"/>
                  </a:lnTo>
                  <a:lnTo>
                    <a:pt x="2173" y="403"/>
                  </a:lnTo>
                  <a:lnTo>
                    <a:pt x="2178" y="401"/>
                  </a:lnTo>
                  <a:lnTo>
                    <a:pt x="2178" y="401"/>
                  </a:lnTo>
                  <a:lnTo>
                    <a:pt x="2180" y="399"/>
                  </a:lnTo>
                  <a:lnTo>
                    <a:pt x="2184" y="399"/>
                  </a:lnTo>
                  <a:lnTo>
                    <a:pt x="2188" y="397"/>
                  </a:lnTo>
                  <a:lnTo>
                    <a:pt x="2188" y="397"/>
                  </a:lnTo>
                  <a:lnTo>
                    <a:pt x="2188" y="395"/>
                  </a:lnTo>
                  <a:lnTo>
                    <a:pt x="2186" y="395"/>
                  </a:lnTo>
                  <a:lnTo>
                    <a:pt x="2186" y="395"/>
                  </a:lnTo>
                  <a:lnTo>
                    <a:pt x="2186" y="395"/>
                  </a:lnTo>
                  <a:lnTo>
                    <a:pt x="2173" y="397"/>
                  </a:lnTo>
                  <a:lnTo>
                    <a:pt x="2167" y="397"/>
                  </a:lnTo>
                  <a:lnTo>
                    <a:pt x="2159" y="395"/>
                  </a:lnTo>
                  <a:lnTo>
                    <a:pt x="2159" y="395"/>
                  </a:lnTo>
                  <a:lnTo>
                    <a:pt x="2153" y="395"/>
                  </a:lnTo>
                  <a:lnTo>
                    <a:pt x="2153" y="395"/>
                  </a:lnTo>
                  <a:lnTo>
                    <a:pt x="2153" y="395"/>
                  </a:lnTo>
                  <a:lnTo>
                    <a:pt x="2159" y="392"/>
                  </a:lnTo>
                  <a:lnTo>
                    <a:pt x="2161" y="392"/>
                  </a:lnTo>
                  <a:lnTo>
                    <a:pt x="2165" y="390"/>
                  </a:lnTo>
                  <a:lnTo>
                    <a:pt x="2165" y="388"/>
                  </a:lnTo>
                  <a:lnTo>
                    <a:pt x="2167" y="388"/>
                  </a:lnTo>
                  <a:lnTo>
                    <a:pt x="2167" y="384"/>
                  </a:lnTo>
                  <a:lnTo>
                    <a:pt x="2167" y="384"/>
                  </a:lnTo>
                  <a:lnTo>
                    <a:pt x="2165" y="382"/>
                  </a:lnTo>
                  <a:lnTo>
                    <a:pt x="2163" y="382"/>
                  </a:lnTo>
                  <a:lnTo>
                    <a:pt x="2161" y="382"/>
                  </a:lnTo>
                  <a:lnTo>
                    <a:pt x="2163" y="380"/>
                  </a:lnTo>
                  <a:lnTo>
                    <a:pt x="2169" y="380"/>
                  </a:lnTo>
                  <a:lnTo>
                    <a:pt x="2171" y="382"/>
                  </a:lnTo>
                  <a:lnTo>
                    <a:pt x="2178" y="382"/>
                  </a:lnTo>
                  <a:lnTo>
                    <a:pt x="2180" y="382"/>
                  </a:lnTo>
                  <a:lnTo>
                    <a:pt x="2186" y="382"/>
                  </a:lnTo>
                  <a:lnTo>
                    <a:pt x="2188" y="382"/>
                  </a:lnTo>
                  <a:lnTo>
                    <a:pt x="2194" y="380"/>
                  </a:lnTo>
                  <a:lnTo>
                    <a:pt x="2196" y="378"/>
                  </a:lnTo>
                  <a:lnTo>
                    <a:pt x="2200" y="376"/>
                  </a:lnTo>
                  <a:lnTo>
                    <a:pt x="2200" y="374"/>
                  </a:lnTo>
                  <a:lnTo>
                    <a:pt x="2200" y="372"/>
                  </a:lnTo>
                  <a:lnTo>
                    <a:pt x="2198" y="370"/>
                  </a:lnTo>
                  <a:lnTo>
                    <a:pt x="2198" y="368"/>
                  </a:lnTo>
                  <a:lnTo>
                    <a:pt x="2194" y="368"/>
                  </a:lnTo>
                  <a:lnTo>
                    <a:pt x="2190" y="368"/>
                  </a:lnTo>
                  <a:lnTo>
                    <a:pt x="2186" y="368"/>
                  </a:lnTo>
                  <a:lnTo>
                    <a:pt x="2180" y="368"/>
                  </a:lnTo>
                  <a:lnTo>
                    <a:pt x="2180" y="366"/>
                  </a:lnTo>
                  <a:lnTo>
                    <a:pt x="2180" y="366"/>
                  </a:lnTo>
                  <a:lnTo>
                    <a:pt x="2182" y="366"/>
                  </a:lnTo>
                  <a:lnTo>
                    <a:pt x="2186" y="366"/>
                  </a:lnTo>
                  <a:lnTo>
                    <a:pt x="2192" y="366"/>
                  </a:lnTo>
                  <a:lnTo>
                    <a:pt x="2198" y="366"/>
                  </a:lnTo>
                  <a:lnTo>
                    <a:pt x="2200" y="368"/>
                  </a:lnTo>
                  <a:lnTo>
                    <a:pt x="2204" y="370"/>
                  </a:lnTo>
                  <a:lnTo>
                    <a:pt x="2206" y="372"/>
                  </a:lnTo>
                  <a:lnTo>
                    <a:pt x="2208" y="372"/>
                  </a:lnTo>
                  <a:lnTo>
                    <a:pt x="2213" y="374"/>
                  </a:lnTo>
                  <a:lnTo>
                    <a:pt x="2217" y="376"/>
                  </a:lnTo>
                  <a:lnTo>
                    <a:pt x="2219" y="378"/>
                  </a:lnTo>
                  <a:lnTo>
                    <a:pt x="2221" y="380"/>
                  </a:lnTo>
                  <a:lnTo>
                    <a:pt x="2221" y="382"/>
                  </a:lnTo>
                  <a:lnTo>
                    <a:pt x="2223" y="386"/>
                  </a:lnTo>
                  <a:lnTo>
                    <a:pt x="2225" y="390"/>
                  </a:lnTo>
                  <a:lnTo>
                    <a:pt x="2227" y="392"/>
                  </a:lnTo>
                  <a:lnTo>
                    <a:pt x="2233" y="395"/>
                  </a:lnTo>
                  <a:lnTo>
                    <a:pt x="2235" y="395"/>
                  </a:lnTo>
                  <a:lnTo>
                    <a:pt x="2239" y="395"/>
                  </a:lnTo>
                  <a:lnTo>
                    <a:pt x="2244" y="395"/>
                  </a:lnTo>
                  <a:lnTo>
                    <a:pt x="2244" y="395"/>
                  </a:lnTo>
                  <a:lnTo>
                    <a:pt x="2246" y="388"/>
                  </a:lnTo>
                  <a:lnTo>
                    <a:pt x="2246" y="386"/>
                  </a:lnTo>
                  <a:lnTo>
                    <a:pt x="2246" y="386"/>
                  </a:lnTo>
                  <a:lnTo>
                    <a:pt x="2246" y="384"/>
                  </a:lnTo>
                  <a:lnTo>
                    <a:pt x="2248" y="390"/>
                  </a:lnTo>
                  <a:lnTo>
                    <a:pt x="2248" y="390"/>
                  </a:lnTo>
                  <a:lnTo>
                    <a:pt x="2248" y="392"/>
                  </a:lnTo>
                  <a:lnTo>
                    <a:pt x="2248" y="395"/>
                  </a:lnTo>
                  <a:lnTo>
                    <a:pt x="2248" y="395"/>
                  </a:lnTo>
                  <a:lnTo>
                    <a:pt x="2252" y="395"/>
                  </a:lnTo>
                  <a:lnTo>
                    <a:pt x="2254" y="395"/>
                  </a:lnTo>
                  <a:lnTo>
                    <a:pt x="2258" y="395"/>
                  </a:lnTo>
                  <a:lnTo>
                    <a:pt x="2260" y="392"/>
                  </a:lnTo>
                  <a:lnTo>
                    <a:pt x="2258" y="392"/>
                  </a:lnTo>
                  <a:lnTo>
                    <a:pt x="2258" y="386"/>
                  </a:lnTo>
                  <a:lnTo>
                    <a:pt x="2258" y="384"/>
                  </a:lnTo>
                  <a:lnTo>
                    <a:pt x="2258" y="384"/>
                  </a:lnTo>
                  <a:lnTo>
                    <a:pt x="2258" y="378"/>
                  </a:lnTo>
                  <a:lnTo>
                    <a:pt x="2258" y="376"/>
                  </a:lnTo>
                  <a:lnTo>
                    <a:pt x="2258" y="372"/>
                  </a:lnTo>
                  <a:lnTo>
                    <a:pt x="2256" y="368"/>
                  </a:lnTo>
                  <a:lnTo>
                    <a:pt x="2254" y="368"/>
                  </a:lnTo>
                  <a:lnTo>
                    <a:pt x="2250" y="370"/>
                  </a:lnTo>
                  <a:lnTo>
                    <a:pt x="2250" y="370"/>
                  </a:lnTo>
                  <a:lnTo>
                    <a:pt x="2248" y="370"/>
                  </a:lnTo>
                  <a:lnTo>
                    <a:pt x="2248" y="372"/>
                  </a:lnTo>
                  <a:lnTo>
                    <a:pt x="2248" y="374"/>
                  </a:lnTo>
                  <a:lnTo>
                    <a:pt x="2246" y="372"/>
                  </a:lnTo>
                  <a:lnTo>
                    <a:pt x="2246" y="370"/>
                  </a:lnTo>
                  <a:lnTo>
                    <a:pt x="2246" y="368"/>
                  </a:lnTo>
                  <a:lnTo>
                    <a:pt x="2246" y="368"/>
                  </a:lnTo>
                  <a:lnTo>
                    <a:pt x="2248" y="366"/>
                  </a:lnTo>
                  <a:lnTo>
                    <a:pt x="2252" y="364"/>
                  </a:lnTo>
                  <a:lnTo>
                    <a:pt x="2254" y="361"/>
                  </a:lnTo>
                  <a:lnTo>
                    <a:pt x="2250" y="361"/>
                  </a:lnTo>
                  <a:lnTo>
                    <a:pt x="2248" y="361"/>
                  </a:lnTo>
                  <a:lnTo>
                    <a:pt x="2246" y="357"/>
                  </a:lnTo>
                  <a:lnTo>
                    <a:pt x="2246" y="357"/>
                  </a:lnTo>
                  <a:lnTo>
                    <a:pt x="2239" y="355"/>
                  </a:lnTo>
                  <a:lnTo>
                    <a:pt x="2239" y="355"/>
                  </a:lnTo>
                  <a:lnTo>
                    <a:pt x="2235" y="353"/>
                  </a:lnTo>
                  <a:lnTo>
                    <a:pt x="2229" y="351"/>
                  </a:lnTo>
                  <a:lnTo>
                    <a:pt x="2227" y="349"/>
                  </a:lnTo>
                  <a:lnTo>
                    <a:pt x="2221" y="347"/>
                  </a:lnTo>
                  <a:lnTo>
                    <a:pt x="2219" y="345"/>
                  </a:lnTo>
                  <a:lnTo>
                    <a:pt x="2217" y="343"/>
                  </a:lnTo>
                  <a:lnTo>
                    <a:pt x="2215" y="343"/>
                  </a:lnTo>
                  <a:lnTo>
                    <a:pt x="2213" y="345"/>
                  </a:lnTo>
                  <a:lnTo>
                    <a:pt x="2208" y="345"/>
                  </a:lnTo>
                  <a:lnTo>
                    <a:pt x="2206" y="345"/>
                  </a:lnTo>
                  <a:lnTo>
                    <a:pt x="2208" y="343"/>
                  </a:lnTo>
                  <a:lnTo>
                    <a:pt x="2213" y="343"/>
                  </a:lnTo>
                  <a:lnTo>
                    <a:pt x="2215" y="341"/>
                  </a:lnTo>
                  <a:lnTo>
                    <a:pt x="2215" y="339"/>
                  </a:lnTo>
                  <a:lnTo>
                    <a:pt x="2213" y="333"/>
                  </a:lnTo>
                  <a:lnTo>
                    <a:pt x="2213" y="331"/>
                  </a:lnTo>
                  <a:lnTo>
                    <a:pt x="2213" y="331"/>
                  </a:lnTo>
                  <a:lnTo>
                    <a:pt x="2211" y="331"/>
                  </a:lnTo>
                  <a:lnTo>
                    <a:pt x="2206" y="333"/>
                  </a:lnTo>
                  <a:lnTo>
                    <a:pt x="2204" y="333"/>
                  </a:lnTo>
                  <a:lnTo>
                    <a:pt x="2200" y="335"/>
                  </a:lnTo>
                  <a:lnTo>
                    <a:pt x="2194" y="337"/>
                  </a:lnTo>
                  <a:lnTo>
                    <a:pt x="2192" y="337"/>
                  </a:lnTo>
                  <a:lnTo>
                    <a:pt x="2190" y="337"/>
                  </a:lnTo>
                  <a:lnTo>
                    <a:pt x="2188" y="337"/>
                  </a:lnTo>
                  <a:lnTo>
                    <a:pt x="2186" y="337"/>
                  </a:lnTo>
                  <a:lnTo>
                    <a:pt x="2192" y="335"/>
                  </a:lnTo>
                  <a:lnTo>
                    <a:pt x="2194" y="335"/>
                  </a:lnTo>
                  <a:lnTo>
                    <a:pt x="2198" y="333"/>
                  </a:lnTo>
                  <a:lnTo>
                    <a:pt x="2206" y="331"/>
                  </a:lnTo>
                  <a:lnTo>
                    <a:pt x="2208" y="328"/>
                  </a:lnTo>
                  <a:lnTo>
                    <a:pt x="2211" y="328"/>
                  </a:lnTo>
                  <a:lnTo>
                    <a:pt x="2213" y="326"/>
                  </a:lnTo>
                  <a:lnTo>
                    <a:pt x="2215" y="326"/>
                  </a:lnTo>
                  <a:lnTo>
                    <a:pt x="2217" y="331"/>
                  </a:lnTo>
                  <a:lnTo>
                    <a:pt x="2219" y="337"/>
                  </a:lnTo>
                  <a:lnTo>
                    <a:pt x="2223" y="341"/>
                  </a:lnTo>
                  <a:lnTo>
                    <a:pt x="2227" y="343"/>
                  </a:lnTo>
                  <a:lnTo>
                    <a:pt x="2229" y="345"/>
                  </a:lnTo>
                  <a:lnTo>
                    <a:pt x="2235" y="347"/>
                  </a:lnTo>
                  <a:lnTo>
                    <a:pt x="2244" y="349"/>
                  </a:lnTo>
                  <a:lnTo>
                    <a:pt x="2246" y="351"/>
                  </a:lnTo>
                  <a:lnTo>
                    <a:pt x="2248" y="351"/>
                  </a:lnTo>
                  <a:lnTo>
                    <a:pt x="2250" y="349"/>
                  </a:lnTo>
                  <a:lnTo>
                    <a:pt x="2248" y="345"/>
                  </a:lnTo>
                  <a:lnTo>
                    <a:pt x="2252" y="345"/>
                  </a:lnTo>
                  <a:lnTo>
                    <a:pt x="2252" y="339"/>
                  </a:lnTo>
                  <a:lnTo>
                    <a:pt x="2252" y="337"/>
                  </a:lnTo>
                  <a:lnTo>
                    <a:pt x="2252" y="331"/>
                  </a:lnTo>
                  <a:lnTo>
                    <a:pt x="2250" y="328"/>
                  </a:lnTo>
                  <a:lnTo>
                    <a:pt x="2246" y="328"/>
                  </a:lnTo>
                  <a:lnTo>
                    <a:pt x="2241" y="326"/>
                  </a:lnTo>
                  <a:lnTo>
                    <a:pt x="2239" y="324"/>
                  </a:lnTo>
                  <a:lnTo>
                    <a:pt x="2235" y="322"/>
                  </a:lnTo>
                  <a:lnTo>
                    <a:pt x="2231" y="322"/>
                  </a:lnTo>
                  <a:lnTo>
                    <a:pt x="2229" y="320"/>
                  </a:lnTo>
                  <a:lnTo>
                    <a:pt x="2225" y="318"/>
                  </a:lnTo>
                  <a:lnTo>
                    <a:pt x="2223" y="318"/>
                  </a:lnTo>
                  <a:lnTo>
                    <a:pt x="2217" y="316"/>
                  </a:lnTo>
                  <a:lnTo>
                    <a:pt x="2208" y="318"/>
                  </a:lnTo>
                  <a:lnTo>
                    <a:pt x="2206" y="318"/>
                  </a:lnTo>
                  <a:lnTo>
                    <a:pt x="2204" y="320"/>
                  </a:lnTo>
                  <a:lnTo>
                    <a:pt x="2196" y="322"/>
                  </a:lnTo>
                  <a:lnTo>
                    <a:pt x="2192" y="322"/>
                  </a:lnTo>
                  <a:lnTo>
                    <a:pt x="2190" y="324"/>
                  </a:lnTo>
                  <a:lnTo>
                    <a:pt x="2186" y="324"/>
                  </a:lnTo>
                  <a:lnTo>
                    <a:pt x="2180" y="324"/>
                  </a:lnTo>
                  <a:lnTo>
                    <a:pt x="2180" y="324"/>
                  </a:lnTo>
                  <a:lnTo>
                    <a:pt x="2175" y="326"/>
                  </a:lnTo>
                  <a:lnTo>
                    <a:pt x="2175" y="326"/>
                  </a:lnTo>
                  <a:lnTo>
                    <a:pt x="2175" y="326"/>
                  </a:lnTo>
                  <a:lnTo>
                    <a:pt x="2173" y="324"/>
                  </a:lnTo>
                  <a:lnTo>
                    <a:pt x="2173" y="324"/>
                  </a:lnTo>
                  <a:lnTo>
                    <a:pt x="2175" y="324"/>
                  </a:lnTo>
                  <a:lnTo>
                    <a:pt x="2178" y="324"/>
                  </a:lnTo>
                  <a:lnTo>
                    <a:pt x="2180" y="324"/>
                  </a:lnTo>
                  <a:lnTo>
                    <a:pt x="2184" y="324"/>
                  </a:lnTo>
                  <a:lnTo>
                    <a:pt x="2186" y="324"/>
                  </a:lnTo>
                  <a:lnTo>
                    <a:pt x="2186" y="322"/>
                  </a:lnTo>
                  <a:lnTo>
                    <a:pt x="2188" y="322"/>
                  </a:lnTo>
                  <a:lnTo>
                    <a:pt x="2188" y="320"/>
                  </a:lnTo>
                  <a:lnTo>
                    <a:pt x="2180" y="318"/>
                  </a:lnTo>
                  <a:lnTo>
                    <a:pt x="2178" y="316"/>
                  </a:lnTo>
                  <a:lnTo>
                    <a:pt x="2182" y="318"/>
                  </a:lnTo>
                  <a:lnTo>
                    <a:pt x="2184" y="318"/>
                  </a:lnTo>
                  <a:lnTo>
                    <a:pt x="2190" y="320"/>
                  </a:lnTo>
                  <a:lnTo>
                    <a:pt x="2194" y="322"/>
                  </a:lnTo>
                  <a:lnTo>
                    <a:pt x="2194" y="322"/>
                  </a:lnTo>
                  <a:lnTo>
                    <a:pt x="2200" y="320"/>
                  </a:lnTo>
                  <a:lnTo>
                    <a:pt x="2200" y="320"/>
                  </a:lnTo>
                  <a:lnTo>
                    <a:pt x="2204" y="318"/>
                  </a:lnTo>
                  <a:lnTo>
                    <a:pt x="2206" y="316"/>
                  </a:lnTo>
                  <a:lnTo>
                    <a:pt x="2211" y="316"/>
                  </a:lnTo>
                  <a:lnTo>
                    <a:pt x="2213" y="314"/>
                  </a:lnTo>
                  <a:lnTo>
                    <a:pt x="2213" y="314"/>
                  </a:lnTo>
                  <a:lnTo>
                    <a:pt x="2211" y="312"/>
                  </a:lnTo>
                  <a:lnTo>
                    <a:pt x="2206" y="308"/>
                  </a:lnTo>
                  <a:lnTo>
                    <a:pt x="2204" y="306"/>
                  </a:lnTo>
                  <a:lnTo>
                    <a:pt x="2202" y="306"/>
                  </a:lnTo>
                  <a:lnTo>
                    <a:pt x="2202" y="306"/>
                  </a:lnTo>
                  <a:lnTo>
                    <a:pt x="2204" y="306"/>
                  </a:lnTo>
                  <a:lnTo>
                    <a:pt x="2208" y="308"/>
                  </a:lnTo>
                  <a:lnTo>
                    <a:pt x="2211" y="310"/>
                  </a:lnTo>
                  <a:lnTo>
                    <a:pt x="2213" y="312"/>
                  </a:lnTo>
                  <a:lnTo>
                    <a:pt x="2215" y="312"/>
                  </a:lnTo>
                  <a:lnTo>
                    <a:pt x="2217" y="312"/>
                  </a:lnTo>
                  <a:lnTo>
                    <a:pt x="2217" y="312"/>
                  </a:lnTo>
                  <a:lnTo>
                    <a:pt x="2219" y="310"/>
                  </a:lnTo>
                  <a:lnTo>
                    <a:pt x="2223" y="308"/>
                  </a:lnTo>
                  <a:lnTo>
                    <a:pt x="2227" y="314"/>
                  </a:lnTo>
                  <a:lnTo>
                    <a:pt x="2235" y="318"/>
                  </a:lnTo>
                  <a:lnTo>
                    <a:pt x="2239" y="318"/>
                  </a:lnTo>
                  <a:lnTo>
                    <a:pt x="2248" y="320"/>
                  </a:lnTo>
                  <a:lnTo>
                    <a:pt x="2250" y="320"/>
                  </a:lnTo>
                  <a:lnTo>
                    <a:pt x="2254" y="318"/>
                  </a:lnTo>
                  <a:lnTo>
                    <a:pt x="2260" y="316"/>
                  </a:lnTo>
                  <a:lnTo>
                    <a:pt x="2262" y="316"/>
                  </a:lnTo>
                  <a:lnTo>
                    <a:pt x="2272" y="316"/>
                  </a:lnTo>
                  <a:lnTo>
                    <a:pt x="2274" y="314"/>
                  </a:lnTo>
                  <a:lnTo>
                    <a:pt x="2274" y="310"/>
                  </a:lnTo>
                  <a:lnTo>
                    <a:pt x="2277" y="306"/>
                  </a:lnTo>
                  <a:lnTo>
                    <a:pt x="2277" y="306"/>
                  </a:lnTo>
                  <a:lnTo>
                    <a:pt x="2266" y="302"/>
                  </a:lnTo>
                  <a:lnTo>
                    <a:pt x="2262" y="302"/>
                  </a:lnTo>
                  <a:lnTo>
                    <a:pt x="2254" y="302"/>
                  </a:lnTo>
                  <a:lnTo>
                    <a:pt x="2252" y="302"/>
                  </a:lnTo>
                  <a:lnTo>
                    <a:pt x="2250" y="300"/>
                  </a:lnTo>
                  <a:lnTo>
                    <a:pt x="2248" y="300"/>
                  </a:lnTo>
                  <a:lnTo>
                    <a:pt x="2248" y="297"/>
                  </a:lnTo>
                  <a:lnTo>
                    <a:pt x="2248" y="297"/>
                  </a:lnTo>
                  <a:lnTo>
                    <a:pt x="2250" y="295"/>
                  </a:lnTo>
                  <a:lnTo>
                    <a:pt x="2250" y="295"/>
                  </a:lnTo>
                  <a:lnTo>
                    <a:pt x="2250" y="293"/>
                  </a:lnTo>
                  <a:lnTo>
                    <a:pt x="2250" y="293"/>
                  </a:lnTo>
                  <a:lnTo>
                    <a:pt x="2248" y="293"/>
                  </a:lnTo>
                  <a:lnTo>
                    <a:pt x="2248" y="293"/>
                  </a:lnTo>
                  <a:lnTo>
                    <a:pt x="2250" y="291"/>
                  </a:lnTo>
                  <a:lnTo>
                    <a:pt x="2254" y="289"/>
                  </a:lnTo>
                  <a:lnTo>
                    <a:pt x="2254" y="289"/>
                  </a:lnTo>
                  <a:lnTo>
                    <a:pt x="2254" y="285"/>
                  </a:lnTo>
                  <a:lnTo>
                    <a:pt x="2254" y="285"/>
                  </a:lnTo>
                  <a:lnTo>
                    <a:pt x="2256" y="287"/>
                  </a:lnTo>
                  <a:lnTo>
                    <a:pt x="2256" y="291"/>
                  </a:lnTo>
                  <a:lnTo>
                    <a:pt x="2254" y="293"/>
                  </a:lnTo>
                  <a:lnTo>
                    <a:pt x="2258" y="297"/>
                  </a:lnTo>
                  <a:lnTo>
                    <a:pt x="2264" y="297"/>
                  </a:lnTo>
                  <a:lnTo>
                    <a:pt x="2272" y="297"/>
                  </a:lnTo>
                  <a:lnTo>
                    <a:pt x="2279" y="295"/>
                  </a:lnTo>
                  <a:lnTo>
                    <a:pt x="2277" y="293"/>
                  </a:lnTo>
                  <a:lnTo>
                    <a:pt x="2281" y="293"/>
                  </a:lnTo>
                  <a:lnTo>
                    <a:pt x="2287" y="293"/>
                  </a:lnTo>
                  <a:lnTo>
                    <a:pt x="2289" y="293"/>
                  </a:lnTo>
                  <a:lnTo>
                    <a:pt x="2291" y="293"/>
                  </a:lnTo>
                  <a:lnTo>
                    <a:pt x="2291" y="293"/>
                  </a:lnTo>
                  <a:lnTo>
                    <a:pt x="2291" y="291"/>
                  </a:lnTo>
                  <a:lnTo>
                    <a:pt x="2293" y="289"/>
                  </a:lnTo>
                  <a:lnTo>
                    <a:pt x="2293" y="287"/>
                  </a:lnTo>
                  <a:lnTo>
                    <a:pt x="2291" y="285"/>
                  </a:lnTo>
                  <a:lnTo>
                    <a:pt x="2289" y="285"/>
                  </a:lnTo>
                  <a:lnTo>
                    <a:pt x="2287" y="283"/>
                  </a:lnTo>
                  <a:lnTo>
                    <a:pt x="2285" y="277"/>
                  </a:lnTo>
                  <a:lnTo>
                    <a:pt x="2281" y="275"/>
                  </a:lnTo>
                  <a:lnTo>
                    <a:pt x="2279" y="273"/>
                  </a:lnTo>
                  <a:lnTo>
                    <a:pt x="2274" y="275"/>
                  </a:lnTo>
                  <a:lnTo>
                    <a:pt x="2274" y="277"/>
                  </a:lnTo>
                  <a:lnTo>
                    <a:pt x="2272" y="281"/>
                  </a:lnTo>
                  <a:lnTo>
                    <a:pt x="2268" y="283"/>
                  </a:lnTo>
                  <a:lnTo>
                    <a:pt x="2266" y="283"/>
                  </a:lnTo>
                  <a:lnTo>
                    <a:pt x="2266" y="283"/>
                  </a:lnTo>
                  <a:lnTo>
                    <a:pt x="2268" y="281"/>
                  </a:lnTo>
                  <a:lnTo>
                    <a:pt x="2268" y="281"/>
                  </a:lnTo>
                  <a:lnTo>
                    <a:pt x="2270" y="279"/>
                  </a:lnTo>
                  <a:lnTo>
                    <a:pt x="2270" y="277"/>
                  </a:lnTo>
                  <a:lnTo>
                    <a:pt x="2268" y="273"/>
                  </a:lnTo>
                  <a:lnTo>
                    <a:pt x="2268" y="271"/>
                  </a:lnTo>
                  <a:lnTo>
                    <a:pt x="2266" y="271"/>
                  </a:lnTo>
                  <a:lnTo>
                    <a:pt x="2266" y="271"/>
                  </a:lnTo>
                  <a:lnTo>
                    <a:pt x="2264" y="271"/>
                  </a:lnTo>
                  <a:lnTo>
                    <a:pt x="2260" y="273"/>
                  </a:lnTo>
                  <a:lnTo>
                    <a:pt x="2258" y="275"/>
                  </a:lnTo>
                  <a:lnTo>
                    <a:pt x="2258" y="275"/>
                  </a:lnTo>
                  <a:lnTo>
                    <a:pt x="2256" y="275"/>
                  </a:lnTo>
                  <a:lnTo>
                    <a:pt x="2254" y="273"/>
                  </a:lnTo>
                  <a:lnTo>
                    <a:pt x="2252" y="271"/>
                  </a:lnTo>
                  <a:lnTo>
                    <a:pt x="2250" y="271"/>
                  </a:lnTo>
                  <a:lnTo>
                    <a:pt x="2254" y="273"/>
                  </a:lnTo>
                  <a:lnTo>
                    <a:pt x="2258" y="273"/>
                  </a:lnTo>
                  <a:lnTo>
                    <a:pt x="2262" y="271"/>
                  </a:lnTo>
                  <a:lnTo>
                    <a:pt x="2264" y="269"/>
                  </a:lnTo>
                  <a:lnTo>
                    <a:pt x="2266" y="269"/>
                  </a:lnTo>
                  <a:lnTo>
                    <a:pt x="2268" y="269"/>
                  </a:lnTo>
                  <a:lnTo>
                    <a:pt x="2274" y="264"/>
                  </a:lnTo>
                  <a:lnTo>
                    <a:pt x="2279" y="264"/>
                  </a:lnTo>
                  <a:lnTo>
                    <a:pt x="2281" y="267"/>
                  </a:lnTo>
                  <a:lnTo>
                    <a:pt x="2283" y="267"/>
                  </a:lnTo>
                  <a:lnTo>
                    <a:pt x="2285" y="269"/>
                  </a:lnTo>
                  <a:lnTo>
                    <a:pt x="2287" y="269"/>
                  </a:lnTo>
                  <a:lnTo>
                    <a:pt x="2289" y="269"/>
                  </a:lnTo>
                  <a:lnTo>
                    <a:pt x="2289" y="267"/>
                  </a:lnTo>
                  <a:lnTo>
                    <a:pt x="2291" y="264"/>
                  </a:lnTo>
                  <a:lnTo>
                    <a:pt x="2291" y="262"/>
                  </a:lnTo>
                  <a:lnTo>
                    <a:pt x="2289" y="258"/>
                  </a:lnTo>
                  <a:lnTo>
                    <a:pt x="2289" y="256"/>
                  </a:lnTo>
                  <a:lnTo>
                    <a:pt x="2289" y="256"/>
                  </a:lnTo>
                  <a:lnTo>
                    <a:pt x="2289" y="254"/>
                  </a:lnTo>
                  <a:lnTo>
                    <a:pt x="2289" y="254"/>
                  </a:lnTo>
                  <a:lnTo>
                    <a:pt x="2289" y="252"/>
                  </a:lnTo>
                  <a:lnTo>
                    <a:pt x="2287" y="250"/>
                  </a:lnTo>
                  <a:lnTo>
                    <a:pt x="2285" y="248"/>
                  </a:lnTo>
                  <a:lnTo>
                    <a:pt x="2283" y="244"/>
                  </a:lnTo>
                  <a:lnTo>
                    <a:pt x="2283" y="242"/>
                  </a:lnTo>
                  <a:lnTo>
                    <a:pt x="2281" y="238"/>
                  </a:lnTo>
                  <a:lnTo>
                    <a:pt x="2277" y="238"/>
                  </a:lnTo>
                  <a:lnTo>
                    <a:pt x="2274" y="238"/>
                  </a:lnTo>
                  <a:lnTo>
                    <a:pt x="2272" y="238"/>
                  </a:lnTo>
                  <a:lnTo>
                    <a:pt x="2270" y="236"/>
                  </a:lnTo>
                  <a:lnTo>
                    <a:pt x="2268" y="236"/>
                  </a:lnTo>
                  <a:lnTo>
                    <a:pt x="2264" y="238"/>
                  </a:lnTo>
                  <a:lnTo>
                    <a:pt x="2260" y="238"/>
                  </a:lnTo>
                  <a:lnTo>
                    <a:pt x="2260" y="236"/>
                  </a:lnTo>
                  <a:lnTo>
                    <a:pt x="2258" y="236"/>
                  </a:lnTo>
                  <a:lnTo>
                    <a:pt x="2256" y="233"/>
                  </a:lnTo>
                  <a:lnTo>
                    <a:pt x="2254" y="227"/>
                  </a:lnTo>
                  <a:lnTo>
                    <a:pt x="2252" y="227"/>
                  </a:lnTo>
                  <a:lnTo>
                    <a:pt x="2248" y="227"/>
                  </a:lnTo>
                  <a:lnTo>
                    <a:pt x="2248" y="227"/>
                  </a:lnTo>
                  <a:lnTo>
                    <a:pt x="2246" y="225"/>
                  </a:lnTo>
                  <a:lnTo>
                    <a:pt x="2244" y="225"/>
                  </a:lnTo>
                  <a:lnTo>
                    <a:pt x="2244" y="223"/>
                  </a:lnTo>
                  <a:lnTo>
                    <a:pt x="2246" y="223"/>
                  </a:lnTo>
                  <a:lnTo>
                    <a:pt x="2248" y="221"/>
                  </a:lnTo>
                  <a:lnTo>
                    <a:pt x="2250" y="221"/>
                  </a:lnTo>
                  <a:lnTo>
                    <a:pt x="2254" y="223"/>
                  </a:lnTo>
                  <a:lnTo>
                    <a:pt x="2256" y="225"/>
                  </a:lnTo>
                  <a:lnTo>
                    <a:pt x="2258" y="225"/>
                  </a:lnTo>
                  <a:lnTo>
                    <a:pt x="2268" y="219"/>
                  </a:lnTo>
                  <a:lnTo>
                    <a:pt x="2268" y="219"/>
                  </a:lnTo>
                  <a:lnTo>
                    <a:pt x="2274" y="217"/>
                  </a:lnTo>
                  <a:lnTo>
                    <a:pt x="2281" y="217"/>
                  </a:lnTo>
                  <a:lnTo>
                    <a:pt x="2283" y="217"/>
                  </a:lnTo>
                  <a:lnTo>
                    <a:pt x="2289" y="219"/>
                  </a:lnTo>
                  <a:lnTo>
                    <a:pt x="2293" y="219"/>
                  </a:lnTo>
                  <a:lnTo>
                    <a:pt x="2295" y="221"/>
                  </a:lnTo>
                  <a:lnTo>
                    <a:pt x="2297" y="221"/>
                  </a:lnTo>
                  <a:lnTo>
                    <a:pt x="2299" y="221"/>
                  </a:lnTo>
                  <a:lnTo>
                    <a:pt x="2301" y="221"/>
                  </a:lnTo>
                  <a:lnTo>
                    <a:pt x="2303" y="221"/>
                  </a:lnTo>
                  <a:lnTo>
                    <a:pt x="2303" y="219"/>
                  </a:lnTo>
                  <a:lnTo>
                    <a:pt x="2305" y="217"/>
                  </a:lnTo>
                  <a:lnTo>
                    <a:pt x="2305" y="215"/>
                  </a:lnTo>
                  <a:lnTo>
                    <a:pt x="2305" y="211"/>
                  </a:lnTo>
                  <a:lnTo>
                    <a:pt x="2305" y="209"/>
                  </a:lnTo>
                  <a:lnTo>
                    <a:pt x="2303" y="207"/>
                  </a:lnTo>
                  <a:lnTo>
                    <a:pt x="2301" y="207"/>
                  </a:lnTo>
                  <a:lnTo>
                    <a:pt x="2297" y="207"/>
                  </a:lnTo>
                  <a:lnTo>
                    <a:pt x="2293" y="209"/>
                  </a:lnTo>
                  <a:lnTo>
                    <a:pt x="2291" y="209"/>
                  </a:lnTo>
                  <a:lnTo>
                    <a:pt x="2289" y="209"/>
                  </a:lnTo>
                  <a:lnTo>
                    <a:pt x="2287" y="207"/>
                  </a:lnTo>
                  <a:lnTo>
                    <a:pt x="2285" y="205"/>
                  </a:lnTo>
                  <a:lnTo>
                    <a:pt x="2279" y="205"/>
                  </a:lnTo>
                  <a:lnTo>
                    <a:pt x="2274" y="203"/>
                  </a:lnTo>
                  <a:lnTo>
                    <a:pt x="2272" y="196"/>
                  </a:lnTo>
                  <a:lnTo>
                    <a:pt x="2274" y="194"/>
                  </a:lnTo>
                  <a:lnTo>
                    <a:pt x="2279" y="194"/>
                  </a:lnTo>
                  <a:lnTo>
                    <a:pt x="2283" y="194"/>
                  </a:lnTo>
                  <a:lnTo>
                    <a:pt x="2289" y="198"/>
                  </a:lnTo>
                  <a:lnTo>
                    <a:pt x="2289" y="198"/>
                  </a:lnTo>
                  <a:lnTo>
                    <a:pt x="2291" y="198"/>
                  </a:lnTo>
                  <a:lnTo>
                    <a:pt x="2291" y="196"/>
                  </a:lnTo>
                  <a:lnTo>
                    <a:pt x="2289" y="194"/>
                  </a:lnTo>
                  <a:lnTo>
                    <a:pt x="2289" y="194"/>
                  </a:lnTo>
                  <a:lnTo>
                    <a:pt x="2285" y="192"/>
                  </a:lnTo>
                  <a:lnTo>
                    <a:pt x="2281" y="190"/>
                  </a:lnTo>
                  <a:lnTo>
                    <a:pt x="2277" y="190"/>
                  </a:lnTo>
                  <a:lnTo>
                    <a:pt x="2272" y="188"/>
                  </a:lnTo>
                  <a:lnTo>
                    <a:pt x="2268" y="188"/>
                  </a:lnTo>
                  <a:lnTo>
                    <a:pt x="2264" y="190"/>
                  </a:lnTo>
                  <a:lnTo>
                    <a:pt x="2262" y="194"/>
                  </a:lnTo>
                  <a:lnTo>
                    <a:pt x="2258" y="196"/>
                  </a:lnTo>
                  <a:lnTo>
                    <a:pt x="2256" y="194"/>
                  </a:lnTo>
                  <a:lnTo>
                    <a:pt x="2256" y="192"/>
                  </a:lnTo>
                  <a:lnTo>
                    <a:pt x="2258" y="188"/>
                  </a:lnTo>
                  <a:lnTo>
                    <a:pt x="2260" y="186"/>
                  </a:lnTo>
                  <a:lnTo>
                    <a:pt x="2262" y="182"/>
                  </a:lnTo>
                  <a:lnTo>
                    <a:pt x="2262" y="180"/>
                  </a:lnTo>
                  <a:lnTo>
                    <a:pt x="2264" y="176"/>
                  </a:lnTo>
                  <a:lnTo>
                    <a:pt x="2264" y="174"/>
                  </a:lnTo>
                  <a:lnTo>
                    <a:pt x="2268" y="167"/>
                  </a:lnTo>
                  <a:lnTo>
                    <a:pt x="2268" y="167"/>
                  </a:lnTo>
                  <a:lnTo>
                    <a:pt x="2264" y="165"/>
                  </a:lnTo>
                  <a:lnTo>
                    <a:pt x="2264" y="165"/>
                  </a:lnTo>
                  <a:lnTo>
                    <a:pt x="2272" y="161"/>
                  </a:lnTo>
                  <a:lnTo>
                    <a:pt x="2277" y="159"/>
                  </a:lnTo>
                  <a:lnTo>
                    <a:pt x="2279" y="159"/>
                  </a:lnTo>
                  <a:lnTo>
                    <a:pt x="2281" y="159"/>
                  </a:lnTo>
                  <a:lnTo>
                    <a:pt x="2281" y="159"/>
                  </a:lnTo>
                  <a:lnTo>
                    <a:pt x="2283" y="157"/>
                  </a:lnTo>
                  <a:lnTo>
                    <a:pt x="2283" y="155"/>
                  </a:lnTo>
                  <a:lnTo>
                    <a:pt x="2285" y="153"/>
                  </a:lnTo>
                  <a:lnTo>
                    <a:pt x="2285" y="153"/>
                  </a:lnTo>
                  <a:lnTo>
                    <a:pt x="2285" y="153"/>
                  </a:lnTo>
                  <a:lnTo>
                    <a:pt x="2291" y="151"/>
                  </a:lnTo>
                  <a:lnTo>
                    <a:pt x="2295" y="149"/>
                  </a:lnTo>
                  <a:lnTo>
                    <a:pt x="2295" y="149"/>
                  </a:lnTo>
                  <a:lnTo>
                    <a:pt x="2295" y="147"/>
                  </a:lnTo>
                  <a:lnTo>
                    <a:pt x="2295" y="147"/>
                  </a:lnTo>
                  <a:lnTo>
                    <a:pt x="2295" y="145"/>
                  </a:lnTo>
                  <a:lnTo>
                    <a:pt x="2293" y="145"/>
                  </a:lnTo>
                  <a:lnTo>
                    <a:pt x="2293" y="143"/>
                  </a:lnTo>
                  <a:lnTo>
                    <a:pt x="2291" y="143"/>
                  </a:lnTo>
                  <a:lnTo>
                    <a:pt x="2289" y="143"/>
                  </a:lnTo>
                  <a:lnTo>
                    <a:pt x="2289" y="141"/>
                  </a:lnTo>
                  <a:lnTo>
                    <a:pt x="2289" y="138"/>
                  </a:lnTo>
                  <a:lnTo>
                    <a:pt x="2291" y="136"/>
                  </a:lnTo>
                  <a:lnTo>
                    <a:pt x="2291" y="134"/>
                  </a:lnTo>
                  <a:lnTo>
                    <a:pt x="2291" y="132"/>
                  </a:lnTo>
                  <a:lnTo>
                    <a:pt x="2291" y="130"/>
                  </a:lnTo>
                  <a:lnTo>
                    <a:pt x="2289" y="130"/>
                  </a:lnTo>
                  <a:lnTo>
                    <a:pt x="2289" y="130"/>
                  </a:lnTo>
                  <a:lnTo>
                    <a:pt x="2283" y="130"/>
                  </a:lnTo>
                  <a:lnTo>
                    <a:pt x="2281" y="130"/>
                  </a:lnTo>
                  <a:lnTo>
                    <a:pt x="2281" y="130"/>
                  </a:lnTo>
                  <a:lnTo>
                    <a:pt x="2279" y="128"/>
                  </a:lnTo>
                  <a:lnTo>
                    <a:pt x="2279" y="126"/>
                  </a:lnTo>
                  <a:lnTo>
                    <a:pt x="2279" y="124"/>
                  </a:lnTo>
                  <a:lnTo>
                    <a:pt x="2279" y="122"/>
                  </a:lnTo>
                  <a:lnTo>
                    <a:pt x="2281" y="120"/>
                  </a:lnTo>
                  <a:lnTo>
                    <a:pt x="2283" y="118"/>
                  </a:lnTo>
                  <a:lnTo>
                    <a:pt x="2289" y="114"/>
                  </a:lnTo>
                  <a:lnTo>
                    <a:pt x="2289" y="114"/>
                  </a:lnTo>
                  <a:lnTo>
                    <a:pt x="2293" y="114"/>
                  </a:lnTo>
                  <a:lnTo>
                    <a:pt x="2295" y="114"/>
                  </a:lnTo>
                  <a:lnTo>
                    <a:pt x="2299" y="116"/>
                  </a:lnTo>
                  <a:lnTo>
                    <a:pt x="2310" y="116"/>
                  </a:lnTo>
                  <a:lnTo>
                    <a:pt x="2314" y="116"/>
                  </a:lnTo>
                  <a:lnTo>
                    <a:pt x="2320" y="116"/>
                  </a:lnTo>
                  <a:lnTo>
                    <a:pt x="2322" y="116"/>
                  </a:lnTo>
                  <a:lnTo>
                    <a:pt x="2324" y="116"/>
                  </a:lnTo>
                  <a:lnTo>
                    <a:pt x="2326" y="116"/>
                  </a:lnTo>
                  <a:lnTo>
                    <a:pt x="2332" y="114"/>
                  </a:lnTo>
                  <a:lnTo>
                    <a:pt x="2336" y="112"/>
                  </a:lnTo>
                  <a:lnTo>
                    <a:pt x="2338" y="110"/>
                  </a:lnTo>
                  <a:lnTo>
                    <a:pt x="2338" y="108"/>
                  </a:lnTo>
                  <a:lnTo>
                    <a:pt x="2332" y="108"/>
                  </a:lnTo>
                  <a:lnTo>
                    <a:pt x="2330" y="105"/>
                  </a:lnTo>
                  <a:lnTo>
                    <a:pt x="2328" y="103"/>
                  </a:lnTo>
                  <a:lnTo>
                    <a:pt x="2334" y="101"/>
                  </a:lnTo>
                  <a:lnTo>
                    <a:pt x="2338" y="101"/>
                  </a:lnTo>
                  <a:lnTo>
                    <a:pt x="2345" y="101"/>
                  </a:lnTo>
                  <a:lnTo>
                    <a:pt x="2349" y="99"/>
                  </a:lnTo>
                  <a:lnTo>
                    <a:pt x="2359" y="97"/>
                  </a:lnTo>
                  <a:lnTo>
                    <a:pt x="2361" y="97"/>
                  </a:lnTo>
                  <a:lnTo>
                    <a:pt x="2363" y="95"/>
                  </a:lnTo>
                  <a:lnTo>
                    <a:pt x="2363" y="93"/>
                  </a:lnTo>
                  <a:lnTo>
                    <a:pt x="2363" y="93"/>
                  </a:lnTo>
                  <a:lnTo>
                    <a:pt x="2359" y="91"/>
                  </a:lnTo>
                  <a:lnTo>
                    <a:pt x="2361" y="89"/>
                  </a:lnTo>
                  <a:lnTo>
                    <a:pt x="2363" y="89"/>
                  </a:lnTo>
                  <a:lnTo>
                    <a:pt x="2369" y="89"/>
                  </a:lnTo>
                  <a:lnTo>
                    <a:pt x="2375" y="89"/>
                  </a:lnTo>
                  <a:lnTo>
                    <a:pt x="2380" y="87"/>
                  </a:lnTo>
                  <a:lnTo>
                    <a:pt x="2388" y="83"/>
                  </a:lnTo>
                  <a:lnTo>
                    <a:pt x="2392" y="79"/>
                  </a:lnTo>
                  <a:lnTo>
                    <a:pt x="2402" y="74"/>
                  </a:lnTo>
                  <a:lnTo>
                    <a:pt x="2404" y="74"/>
                  </a:lnTo>
                  <a:lnTo>
                    <a:pt x="2404" y="74"/>
                  </a:lnTo>
                  <a:lnTo>
                    <a:pt x="2402" y="72"/>
                  </a:lnTo>
                  <a:lnTo>
                    <a:pt x="2398" y="70"/>
                  </a:lnTo>
                  <a:lnTo>
                    <a:pt x="2392" y="68"/>
                  </a:lnTo>
                  <a:lnTo>
                    <a:pt x="2390" y="66"/>
                  </a:lnTo>
                  <a:lnTo>
                    <a:pt x="2382" y="66"/>
                  </a:lnTo>
                  <a:lnTo>
                    <a:pt x="2371" y="62"/>
                  </a:lnTo>
                  <a:lnTo>
                    <a:pt x="2363" y="62"/>
                  </a:lnTo>
                  <a:lnTo>
                    <a:pt x="2349" y="62"/>
                  </a:lnTo>
                  <a:lnTo>
                    <a:pt x="2347" y="62"/>
                  </a:lnTo>
                  <a:lnTo>
                    <a:pt x="2345" y="62"/>
                  </a:lnTo>
                  <a:lnTo>
                    <a:pt x="2338" y="64"/>
                  </a:lnTo>
                  <a:lnTo>
                    <a:pt x="2336" y="64"/>
                  </a:lnTo>
                  <a:lnTo>
                    <a:pt x="2334" y="64"/>
                  </a:lnTo>
                  <a:lnTo>
                    <a:pt x="2332" y="64"/>
                  </a:lnTo>
                  <a:lnTo>
                    <a:pt x="2330" y="68"/>
                  </a:lnTo>
                  <a:lnTo>
                    <a:pt x="2324" y="70"/>
                  </a:lnTo>
                  <a:lnTo>
                    <a:pt x="2322" y="74"/>
                  </a:lnTo>
                  <a:lnTo>
                    <a:pt x="2320" y="74"/>
                  </a:lnTo>
                  <a:lnTo>
                    <a:pt x="2318" y="77"/>
                  </a:lnTo>
                  <a:lnTo>
                    <a:pt x="2314" y="74"/>
                  </a:lnTo>
                  <a:lnTo>
                    <a:pt x="2310" y="74"/>
                  </a:lnTo>
                  <a:lnTo>
                    <a:pt x="2307" y="74"/>
                  </a:lnTo>
                  <a:lnTo>
                    <a:pt x="2303" y="72"/>
                  </a:lnTo>
                  <a:lnTo>
                    <a:pt x="2299" y="72"/>
                  </a:lnTo>
                  <a:lnTo>
                    <a:pt x="2293" y="72"/>
                  </a:lnTo>
                  <a:lnTo>
                    <a:pt x="2293" y="68"/>
                  </a:lnTo>
                  <a:lnTo>
                    <a:pt x="2287" y="68"/>
                  </a:lnTo>
                  <a:lnTo>
                    <a:pt x="2281" y="70"/>
                  </a:lnTo>
                  <a:lnTo>
                    <a:pt x="2270" y="79"/>
                  </a:lnTo>
                  <a:lnTo>
                    <a:pt x="2268" y="81"/>
                  </a:lnTo>
                  <a:lnTo>
                    <a:pt x="2264" y="83"/>
                  </a:lnTo>
                  <a:lnTo>
                    <a:pt x="2260" y="83"/>
                  </a:lnTo>
                  <a:lnTo>
                    <a:pt x="2254" y="87"/>
                  </a:lnTo>
                  <a:lnTo>
                    <a:pt x="2252" y="89"/>
                  </a:lnTo>
                  <a:lnTo>
                    <a:pt x="2241" y="93"/>
                  </a:lnTo>
                  <a:lnTo>
                    <a:pt x="2239" y="93"/>
                  </a:lnTo>
                  <a:lnTo>
                    <a:pt x="2239" y="95"/>
                  </a:lnTo>
                  <a:lnTo>
                    <a:pt x="2237" y="97"/>
                  </a:lnTo>
                  <a:lnTo>
                    <a:pt x="2235" y="97"/>
                  </a:lnTo>
                  <a:lnTo>
                    <a:pt x="2235" y="95"/>
                  </a:lnTo>
                  <a:lnTo>
                    <a:pt x="2237" y="91"/>
                  </a:lnTo>
                  <a:lnTo>
                    <a:pt x="2244" y="87"/>
                  </a:lnTo>
                  <a:lnTo>
                    <a:pt x="2248" y="85"/>
                  </a:lnTo>
                  <a:lnTo>
                    <a:pt x="2254" y="81"/>
                  </a:lnTo>
                  <a:lnTo>
                    <a:pt x="2256" y="79"/>
                  </a:lnTo>
                  <a:lnTo>
                    <a:pt x="2260" y="74"/>
                  </a:lnTo>
                  <a:lnTo>
                    <a:pt x="2264" y="70"/>
                  </a:lnTo>
                  <a:lnTo>
                    <a:pt x="2264" y="66"/>
                  </a:lnTo>
                  <a:lnTo>
                    <a:pt x="2264" y="62"/>
                  </a:lnTo>
                  <a:lnTo>
                    <a:pt x="2266" y="60"/>
                  </a:lnTo>
                  <a:lnTo>
                    <a:pt x="2264" y="58"/>
                  </a:lnTo>
                  <a:lnTo>
                    <a:pt x="2264" y="56"/>
                  </a:lnTo>
                  <a:lnTo>
                    <a:pt x="2262" y="54"/>
                  </a:lnTo>
                  <a:lnTo>
                    <a:pt x="2258" y="54"/>
                  </a:lnTo>
                  <a:lnTo>
                    <a:pt x="2246" y="54"/>
                  </a:lnTo>
                  <a:lnTo>
                    <a:pt x="2239" y="54"/>
                  </a:lnTo>
                  <a:lnTo>
                    <a:pt x="2237" y="56"/>
                  </a:lnTo>
                  <a:lnTo>
                    <a:pt x="2235" y="56"/>
                  </a:lnTo>
                  <a:lnTo>
                    <a:pt x="2235" y="58"/>
                  </a:lnTo>
                  <a:lnTo>
                    <a:pt x="2233" y="60"/>
                  </a:lnTo>
                  <a:lnTo>
                    <a:pt x="2233" y="62"/>
                  </a:lnTo>
                  <a:lnTo>
                    <a:pt x="2231" y="64"/>
                  </a:lnTo>
                  <a:lnTo>
                    <a:pt x="2229" y="64"/>
                  </a:lnTo>
                  <a:lnTo>
                    <a:pt x="2221" y="66"/>
                  </a:lnTo>
                  <a:lnTo>
                    <a:pt x="2217" y="60"/>
                  </a:lnTo>
                  <a:lnTo>
                    <a:pt x="2208" y="56"/>
                  </a:lnTo>
                  <a:lnTo>
                    <a:pt x="2182" y="54"/>
                  </a:lnTo>
                  <a:lnTo>
                    <a:pt x="2169" y="54"/>
                  </a:lnTo>
                  <a:lnTo>
                    <a:pt x="2155" y="56"/>
                  </a:lnTo>
                  <a:lnTo>
                    <a:pt x="2145" y="58"/>
                  </a:lnTo>
                  <a:lnTo>
                    <a:pt x="2140" y="58"/>
                  </a:lnTo>
                  <a:lnTo>
                    <a:pt x="2140" y="54"/>
                  </a:lnTo>
                  <a:lnTo>
                    <a:pt x="2142" y="52"/>
                  </a:lnTo>
                  <a:lnTo>
                    <a:pt x="2145" y="50"/>
                  </a:lnTo>
                  <a:lnTo>
                    <a:pt x="2227" y="46"/>
                  </a:lnTo>
                  <a:lnTo>
                    <a:pt x="2237" y="46"/>
                  </a:lnTo>
                  <a:lnTo>
                    <a:pt x="2246" y="44"/>
                  </a:lnTo>
                  <a:lnTo>
                    <a:pt x="2252" y="39"/>
                  </a:lnTo>
                  <a:lnTo>
                    <a:pt x="2258" y="37"/>
                  </a:lnTo>
                  <a:lnTo>
                    <a:pt x="2260" y="35"/>
                  </a:lnTo>
                  <a:lnTo>
                    <a:pt x="2258" y="33"/>
                  </a:lnTo>
                  <a:lnTo>
                    <a:pt x="2258" y="33"/>
                  </a:lnTo>
                  <a:lnTo>
                    <a:pt x="2254" y="31"/>
                  </a:lnTo>
                  <a:lnTo>
                    <a:pt x="2246" y="29"/>
                  </a:lnTo>
                  <a:lnTo>
                    <a:pt x="2233" y="27"/>
                  </a:lnTo>
                  <a:lnTo>
                    <a:pt x="2229" y="27"/>
                  </a:lnTo>
                  <a:lnTo>
                    <a:pt x="2227" y="27"/>
                  </a:lnTo>
                  <a:lnTo>
                    <a:pt x="2225" y="25"/>
                  </a:lnTo>
                  <a:lnTo>
                    <a:pt x="2221" y="25"/>
                  </a:lnTo>
                  <a:lnTo>
                    <a:pt x="2217" y="25"/>
                  </a:lnTo>
                  <a:lnTo>
                    <a:pt x="2213" y="21"/>
                  </a:lnTo>
                  <a:lnTo>
                    <a:pt x="2208" y="15"/>
                  </a:lnTo>
                  <a:lnTo>
                    <a:pt x="2194" y="17"/>
                  </a:lnTo>
                  <a:lnTo>
                    <a:pt x="2182" y="19"/>
                  </a:lnTo>
                  <a:lnTo>
                    <a:pt x="2171" y="19"/>
                  </a:lnTo>
                  <a:lnTo>
                    <a:pt x="2165" y="19"/>
                  </a:lnTo>
                  <a:lnTo>
                    <a:pt x="2151" y="17"/>
                  </a:lnTo>
                  <a:lnTo>
                    <a:pt x="2138" y="17"/>
                  </a:lnTo>
                  <a:lnTo>
                    <a:pt x="2132" y="19"/>
                  </a:lnTo>
                  <a:lnTo>
                    <a:pt x="2118" y="21"/>
                  </a:lnTo>
                  <a:lnTo>
                    <a:pt x="2112" y="23"/>
                  </a:lnTo>
                  <a:lnTo>
                    <a:pt x="2109" y="21"/>
                  </a:lnTo>
                  <a:lnTo>
                    <a:pt x="2109" y="19"/>
                  </a:lnTo>
                  <a:lnTo>
                    <a:pt x="2118" y="19"/>
                  </a:lnTo>
                  <a:lnTo>
                    <a:pt x="2136" y="15"/>
                  </a:lnTo>
                  <a:lnTo>
                    <a:pt x="2173" y="15"/>
                  </a:lnTo>
                  <a:lnTo>
                    <a:pt x="2194" y="13"/>
                  </a:lnTo>
                  <a:lnTo>
                    <a:pt x="2196" y="13"/>
                  </a:lnTo>
                  <a:lnTo>
                    <a:pt x="2198" y="13"/>
                  </a:lnTo>
                  <a:lnTo>
                    <a:pt x="2196" y="10"/>
                  </a:lnTo>
                  <a:lnTo>
                    <a:pt x="2182" y="8"/>
                  </a:lnTo>
                  <a:lnTo>
                    <a:pt x="2171" y="6"/>
                  </a:lnTo>
                  <a:lnTo>
                    <a:pt x="2161" y="6"/>
                  </a:lnTo>
                  <a:lnTo>
                    <a:pt x="2161" y="6"/>
                  </a:lnTo>
                  <a:lnTo>
                    <a:pt x="2153" y="2"/>
                  </a:lnTo>
                  <a:lnTo>
                    <a:pt x="2138" y="0"/>
                  </a:lnTo>
                  <a:lnTo>
                    <a:pt x="2128" y="0"/>
                  </a:lnTo>
                  <a:lnTo>
                    <a:pt x="2095" y="0"/>
                  </a:lnTo>
                  <a:lnTo>
                    <a:pt x="2091" y="0"/>
                  </a:lnTo>
                  <a:lnTo>
                    <a:pt x="2085" y="2"/>
                  </a:lnTo>
                  <a:lnTo>
                    <a:pt x="2081" y="2"/>
                  </a:lnTo>
                  <a:lnTo>
                    <a:pt x="2076" y="2"/>
                  </a:lnTo>
                  <a:lnTo>
                    <a:pt x="2072" y="0"/>
                  </a:lnTo>
                  <a:lnTo>
                    <a:pt x="2068" y="0"/>
                  </a:lnTo>
                  <a:lnTo>
                    <a:pt x="2064" y="2"/>
                  </a:lnTo>
                  <a:lnTo>
                    <a:pt x="2060" y="2"/>
                  </a:lnTo>
                  <a:lnTo>
                    <a:pt x="2043" y="2"/>
                  </a:lnTo>
                  <a:lnTo>
                    <a:pt x="2043" y="2"/>
                  </a:lnTo>
                  <a:lnTo>
                    <a:pt x="2043" y="2"/>
                  </a:lnTo>
                  <a:lnTo>
                    <a:pt x="2043" y="4"/>
                  </a:lnTo>
                  <a:lnTo>
                    <a:pt x="2041" y="4"/>
                  </a:lnTo>
                  <a:lnTo>
                    <a:pt x="2037" y="4"/>
                  </a:lnTo>
                  <a:lnTo>
                    <a:pt x="2031" y="4"/>
                  </a:lnTo>
                  <a:lnTo>
                    <a:pt x="2029" y="4"/>
                  </a:lnTo>
                  <a:lnTo>
                    <a:pt x="2027" y="4"/>
                  </a:lnTo>
                  <a:lnTo>
                    <a:pt x="2025" y="6"/>
                  </a:lnTo>
                  <a:lnTo>
                    <a:pt x="2023" y="6"/>
                  </a:lnTo>
                  <a:lnTo>
                    <a:pt x="2023" y="6"/>
                  </a:lnTo>
                  <a:lnTo>
                    <a:pt x="2017" y="6"/>
                  </a:lnTo>
                  <a:lnTo>
                    <a:pt x="2015" y="6"/>
                  </a:lnTo>
                  <a:lnTo>
                    <a:pt x="2015" y="8"/>
                  </a:lnTo>
                  <a:lnTo>
                    <a:pt x="2015" y="8"/>
                  </a:lnTo>
                  <a:lnTo>
                    <a:pt x="2015" y="10"/>
                  </a:lnTo>
                  <a:lnTo>
                    <a:pt x="2017" y="13"/>
                  </a:lnTo>
                  <a:lnTo>
                    <a:pt x="2025" y="15"/>
                  </a:lnTo>
                  <a:lnTo>
                    <a:pt x="2025" y="15"/>
                  </a:lnTo>
                  <a:lnTo>
                    <a:pt x="2025" y="19"/>
                  </a:lnTo>
                  <a:lnTo>
                    <a:pt x="2025" y="19"/>
                  </a:lnTo>
                  <a:lnTo>
                    <a:pt x="2023" y="21"/>
                  </a:lnTo>
                  <a:lnTo>
                    <a:pt x="2023" y="21"/>
                  </a:lnTo>
                  <a:lnTo>
                    <a:pt x="2021" y="21"/>
                  </a:lnTo>
                  <a:lnTo>
                    <a:pt x="2011" y="15"/>
                  </a:lnTo>
                  <a:lnTo>
                    <a:pt x="2006" y="15"/>
                  </a:lnTo>
                  <a:lnTo>
                    <a:pt x="2002" y="13"/>
                  </a:lnTo>
                  <a:lnTo>
                    <a:pt x="1998" y="10"/>
                  </a:lnTo>
                  <a:lnTo>
                    <a:pt x="1992" y="8"/>
                  </a:lnTo>
                  <a:lnTo>
                    <a:pt x="1986" y="10"/>
                  </a:lnTo>
                  <a:lnTo>
                    <a:pt x="1982" y="15"/>
                  </a:lnTo>
                  <a:lnTo>
                    <a:pt x="1978" y="17"/>
                  </a:lnTo>
                  <a:lnTo>
                    <a:pt x="1973" y="17"/>
                  </a:lnTo>
                  <a:lnTo>
                    <a:pt x="1971" y="17"/>
                  </a:lnTo>
                  <a:lnTo>
                    <a:pt x="1969" y="17"/>
                  </a:lnTo>
                  <a:lnTo>
                    <a:pt x="1967" y="15"/>
                  </a:lnTo>
                  <a:lnTo>
                    <a:pt x="1963" y="13"/>
                  </a:lnTo>
                  <a:lnTo>
                    <a:pt x="1957" y="13"/>
                  </a:lnTo>
                  <a:lnTo>
                    <a:pt x="1953" y="13"/>
                  </a:lnTo>
                  <a:lnTo>
                    <a:pt x="1951" y="13"/>
                  </a:lnTo>
                  <a:lnTo>
                    <a:pt x="1936" y="17"/>
                  </a:lnTo>
                  <a:lnTo>
                    <a:pt x="1930" y="17"/>
                  </a:lnTo>
                  <a:lnTo>
                    <a:pt x="1924" y="19"/>
                  </a:lnTo>
                  <a:lnTo>
                    <a:pt x="1920" y="21"/>
                  </a:lnTo>
                  <a:lnTo>
                    <a:pt x="1912" y="19"/>
                  </a:lnTo>
                  <a:lnTo>
                    <a:pt x="1907" y="19"/>
                  </a:lnTo>
                  <a:lnTo>
                    <a:pt x="1903" y="23"/>
                  </a:lnTo>
                  <a:lnTo>
                    <a:pt x="1909" y="27"/>
                  </a:lnTo>
                  <a:lnTo>
                    <a:pt x="1912" y="27"/>
                  </a:lnTo>
                  <a:lnTo>
                    <a:pt x="1920" y="25"/>
                  </a:lnTo>
                  <a:lnTo>
                    <a:pt x="1924" y="25"/>
                  </a:lnTo>
                  <a:lnTo>
                    <a:pt x="1928" y="25"/>
                  </a:lnTo>
                  <a:lnTo>
                    <a:pt x="1936" y="27"/>
                  </a:lnTo>
                  <a:lnTo>
                    <a:pt x="1975" y="29"/>
                  </a:lnTo>
                  <a:lnTo>
                    <a:pt x="1978" y="29"/>
                  </a:lnTo>
                  <a:lnTo>
                    <a:pt x="1978" y="31"/>
                  </a:lnTo>
                  <a:lnTo>
                    <a:pt x="1969" y="33"/>
                  </a:lnTo>
                  <a:lnTo>
                    <a:pt x="1967" y="31"/>
                  </a:lnTo>
                  <a:lnTo>
                    <a:pt x="1967" y="31"/>
                  </a:lnTo>
                  <a:lnTo>
                    <a:pt x="1965" y="31"/>
                  </a:lnTo>
                  <a:lnTo>
                    <a:pt x="1959" y="31"/>
                  </a:lnTo>
                  <a:lnTo>
                    <a:pt x="1924" y="29"/>
                  </a:lnTo>
                  <a:lnTo>
                    <a:pt x="1920" y="29"/>
                  </a:lnTo>
                  <a:lnTo>
                    <a:pt x="1918" y="29"/>
                  </a:lnTo>
                  <a:lnTo>
                    <a:pt x="1918" y="31"/>
                  </a:lnTo>
                  <a:lnTo>
                    <a:pt x="1930" y="37"/>
                  </a:lnTo>
                  <a:lnTo>
                    <a:pt x="1934" y="39"/>
                  </a:lnTo>
                  <a:lnTo>
                    <a:pt x="1936" y="44"/>
                  </a:lnTo>
                  <a:lnTo>
                    <a:pt x="1934" y="46"/>
                  </a:lnTo>
                  <a:lnTo>
                    <a:pt x="1932" y="48"/>
                  </a:lnTo>
                  <a:lnTo>
                    <a:pt x="1930" y="52"/>
                  </a:lnTo>
                  <a:lnTo>
                    <a:pt x="1930" y="56"/>
                  </a:lnTo>
                  <a:lnTo>
                    <a:pt x="1930" y="58"/>
                  </a:lnTo>
                  <a:lnTo>
                    <a:pt x="1932" y="60"/>
                  </a:lnTo>
                  <a:lnTo>
                    <a:pt x="1932" y="60"/>
                  </a:lnTo>
                  <a:lnTo>
                    <a:pt x="1930" y="62"/>
                  </a:lnTo>
                  <a:lnTo>
                    <a:pt x="1928" y="64"/>
                  </a:lnTo>
                  <a:lnTo>
                    <a:pt x="1926" y="62"/>
                  </a:lnTo>
                  <a:lnTo>
                    <a:pt x="1920" y="62"/>
                  </a:lnTo>
                  <a:lnTo>
                    <a:pt x="1901" y="52"/>
                  </a:lnTo>
                  <a:lnTo>
                    <a:pt x="1891" y="50"/>
                  </a:lnTo>
                  <a:lnTo>
                    <a:pt x="1870" y="41"/>
                  </a:lnTo>
                  <a:lnTo>
                    <a:pt x="1854" y="39"/>
                  </a:lnTo>
                  <a:lnTo>
                    <a:pt x="1841" y="39"/>
                  </a:lnTo>
                  <a:lnTo>
                    <a:pt x="1839" y="39"/>
                  </a:lnTo>
                  <a:lnTo>
                    <a:pt x="1839" y="44"/>
                  </a:lnTo>
                  <a:lnTo>
                    <a:pt x="1843" y="48"/>
                  </a:lnTo>
                  <a:lnTo>
                    <a:pt x="1848" y="52"/>
                  </a:lnTo>
                  <a:lnTo>
                    <a:pt x="1858" y="56"/>
                  </a:lnTo>
                  <a:lnTo>
                    <a:pt x="1860" y="58"/>
                  </a:lnTo>
                  <a:lnTo>
                    <a:pt x="1858" y="60"/>
                  </a:lnTo>
                  <a:lnTo>
                    <a:pt x="1856" y="60"/>
                  </a:lnTo>
                  <a:lnTo>
                    <a:pt x="1848" y="58"/>
                  </a:lnTo>
                  <a:lnTo>
                    <a:pt x="1841" y="60"/>
                  </a:lnTo>
                  <a:lnTo>
                    <a:pt x="1833" y="56"/>
                  </a:lnTo>
                  <a:lnTo>
                    <a:pt x="1829" y="54"/>
                  </a:lnTo>
                  <a:lnTo>
                    <a:pt x="1815" y="46"/>
                  </a:lnTo>
                  <a:lnTo>
                    <a:pt x="1810" y="46"/>
                  </a:lnTo>
                  <a:lnTo>
                    <a:pt x="1808" y="48"/>
                  </a:lnTo>
                  <a:lnTo>
                    <a:pt x="1808" y="52"/>
                  </a:lnTo>
                  <a:lnTo>
                    <a:pt x="1813" y="54"/>
                  </a:lnTo>
                  <a:lnTo>
                    <a:pt x="1810" y="58"/>
                  </a:lnTo>
                  <a:lnTo>
                    <a:pt x="1810" y="60"/>
                  </a:lnTo>
                  <a:lnTo>
                    <a:pt x="1808" y="62"/>
                  </a:lnTo>
                  <a:lnTo>
                    <a:pt x="1806" y="64"/>
                  </a:lnTo>
                  <a:lnTo>
                    <a:pt x="1804" y="66"/>
                  </a:lnTo>
                  <a:lnTo>
                    <a:pt x="1802" y="68"/>
                  </a:lnTo>
                  <a:lnTo>
                    <a:pt x="1802" y="66"/>
                  </a:lnTo>
                  <a:lnTo>
                    <a:pt x="1802" y="64"/>
                  </a:lnTo>
                  <a:lnTo>
                    <a:pt x="1802" y="54"/>
                  </a:lnTo>
                  <a:lnTo>
                    <a:pt x="1800" y="50"/>
                  </a:lnTo>
                  <a:lnTo>
                    <a:pt x="1798" y="48"/>
                  </a:lnTo>
                  <a:lnTo>
                    <a:pt x="1796" y="46"/>
                  </a:lnTo>
                  <a:lnTo>
                    <a:pt x="1792" y="46"/>
                  </a:lnTo>
                  <a:lnTo>
                    <a:pt x="1788" y="44"/>
                  </a:lnTo>
                  <a:lnTo>
                    <a:pt x="1786" y="44"/>
                  </a:lnTo>
                  <a:lnTo>
                    <a:pt x="1777" y="46"/>
                  </a:lnTo>
                  <a:lnTo>
                    <a:pt x="1775" y="46"/>
                  </a:lnTo>
                  <a:lnTo>
                    <a:pt x="1773" y="48"/>
                  </a:lnTo>
                  <a:lnTo>
                    <a:pt x="1765" y="48"/>
                  </a:lnTo>
                  <a:lnTo>
                    <a:pt x="1759" y="48"/>
                  </a:lnTo>
                  <a:lnTo>
                    <a:pt x="1742" y="50"/>
                  </a:lnTo>
                  <a:lnTo>
                    <a:pt x="1730" y="52"/>
                  </a:lnTo>
                  <a:lnTo>
                    <a:pt x="1722" y="56"/>
                  </a:lnTo>
                  <a:lnTo>
                    <a:pt x="1722" y="56"/>
                  </a:lnTo>
                  <a:lnTo>
                    <a:pt x="1728" y="58"/>
                  </a:lnTo>
                  <a:lnTo>
                    <a:pt x="1732" y="60"/>
                  </a:lnTo>
                  <a:lnTo>
                    <a:pt x="1736" y="64"/>
                  </a:lnTo>
                  <a:lnTo>
                    <a:pt x="1742" y="68"/>
                  </a:lnTo>
                  <a:lnTo>
                    <a:pt x="1751" y="72"/>
                  </a:lnTo>
                  <a:lnTo>
                    <a:pt x="1755" y="74"/>
                  </a:lnTo>
                  <a:lnTo>
                    <a:pt x="1759" y="77"/>
                  </a:lnTo>
                  <a:lnTo>
                    <a:pt x="1759" y="77"/>
                  </a:lnTo>
                  <a:lnTo>
                    <a:pt x="1757" y="77"/>
                  </a:lnTo>
                  <a:lnTo>
                    <a:pt x="1755" y="77"/>
                  </a:lnTo>
                  <a:lnTo>
                    <a:pt x="1753" y="74"/>
                  </a:lnTo>
                  <a:lnTo>
                    <a:pt x="1747" y="72"/>
                  </a:lnTo>
                  <a:lnTo>
                    <a:pt x="1742" y="70"/>
                  </a:lnTo>
                  <a:lnTo>
                    <a:pt x="1738" y="68"/>
                  </a:lnTo>
                  <a:lnTo>
                    <a:pt x="1734" y="66"/>
                  </a:lnTo>
                  <a:lnTo>
                    <a:pt x="1726" y="62"/>
                  </a:lnTo>
                  <a:lnTo>
                    <a:pt x="1722" y="60"/>
                  </a:lnTo>
                  <a:lnTo>
                    <a:pt x="1716" y="60"/>
                  </a:lnTo>
                  <a:lnTo>
                    <a:pt x="1712" y="58"/>
                  </a:lnTo>
                  <a:lnTo>
                    <a:pt x="1709" y="58"/>
                  </a:lnTo>
                  <a:lnTo>
                    <a:pt x="1705" y="58"/>
                  </a:lnTo>
                  <a:lnTo>
                    <a:pt x="1699" y="60"/>
                  </a:lnTo>
                  <a:lnTo>
                    <a:pt x="1697" y="62"/>
                  </a:lnTo>
                  <a:lnTo>
                    <a:pt x="1693" y="64"/>
                  </a:lnTo>
                  <a:lnTo>
                    <a:pt x="1693" y="66"/>
                  </a:lnTo>
                  <a:lnTo>
                    <a:pt x="1695" y="68"/>
                  </a:lnTo>
                  <a:lnTo>
                    <a:pt x="1695" y="72"/>
                  </a:lnTo>
                  <a:lnTo>
                    <a:pt x="1695" y="77"/>
                  </a:lnTo>
                  <a:lnTo>
                    <a:pt x="1695" y="81"/>
                  </a:lnTo>
                  <a:lnTo>
                    <a:pt x="1693" y="83"/>
                  </a:lnTo>
                  <a:lnTo>
                    <a:pt x="1691" y="85"/>
                  </a:lnTo>
                  <a:lnTo>
                    <a:pt x="1689" y="85"/>
                  </a:lnTo>
                  <a:lnTo>
                    <a:pt x="1687" y="85"/>
                  </a:lnTo>
                  <a:lnTo>
                    <a:pt x="1685" y="85"/>
                  </a:lnTo>
                  <a:lnTo>
                    <a:pt x="1683" y="85"/>
                  </a:lnTo>
                  <a:lnTo>
                    <a:pt x="1679" y="83"/>
                  </a:lnTo>
                  <a:lnTo>
                    <a:pt x="1672" y="83"/>
                  </a:lnTo>
                  <a:lnTo>
                    <a:pt x="1670" y="83"/>
                  </a:lnTo>
                  <a:lnTo>
                    <a:pt x="1668" y="83"/>
                  </a:lnTo>
                  <a:lnTo>
                    <a:pt x="1664" y="85"/>
                  </a:lnTo>
                  <a:lnTo>
                    <a:pt x="1664" y="87"/>
                  </a:lnTo>
                  <a:lnTo>
                    <a:pt x="1666" y="91"/>
                  </a:lnTo>
                  <a:lnTo>
                    <a:pt x="1668" y="93"/>
                  </a:lnTo>
                  <a:lnTo>
                    <a:pt x="1668" y="93"/>
                  </a:lnTo>
                  <a:lnTo>
                    <a:pt x="1662" y="89"/>
                  </a:lnTo>
                  <a:lnTo>
                    <a:pt x="1660" y="89"/>
                  </a:lnTo>
                  <a:lnTo>
                    <a:pt x="1658" y="87"/>
                  </a:lnTo>
                  <a:lnTo>
                    <a:pt x="1656" y="87"/>
                  </a:lnTo>
                  <a:lnTo>
                    <a:pt x="1646" y="89"/>
                  </a:lnTo>
                  <a:lnTo>
                    <a:pt x="1643" y="91"/>
                  </a:lnTo>
                  <a:lnTo>
                    <a:pt x="1639" y="95"/>
                  </a:lnTo>
                  <a:lnTo>
                    <a:pt x="1635" y="97"/>
                  </a:lnTo>
                  <a:lnTo>
                    <a:pt x="1631" y="99"/>
                  </a:lnTo>
                  <a:lnTo>
                    <a:pt x="1629" y="101"/>
                  </a:lnTo>
                  <a:lnTo>
                    <a:pt x="1625" y="101"/>
                  </a:lnTo>
                  <a:lnTo>
                    <a:pt x="1623" y="101"/>
                  </a:lnTo>
                  <a:lnTo>
                    <a:pt x="1621" y="103"/>
                  </a:lnTo>
                  <a:lnTo>
                    <a:pt x="1617" y="105"/>
                  </a:lnTo>
                  <a:lnTo>
                    <a:pt x="1610" y="110"/>
                  </a:lnTo>
                  <a:lnTo>
                    <a:pt x="1610" y="110"/>
                  </a:lnTo>
                  <a:lnTo>
                    <a:pt x="1608" y="114"/>
                  </a:lnTo>
                  <a:lnTo>
                    <a:pt x="1608" y="116"/>
                  </a:lnTo>
                  <a:lnTo>
                    <a:pt x="1608" y="118"/>
                  </a:lnTo>
                  <a:lnTo>
                    <a:pt x="1610" y="118"/>
                  </a:lnTo>
                  <a:lnTo>
                    <a:pt x="1613" y="120"/>
                  </a:lnTo>
                  <a:lnTo>
                    <a:pt x="1613" y="120"/>
                  </a:lnTo>
                  <a:lnTo>
                    <a:pt x="1619" y="120"/>
                  </a:lnTo>
                  <a:lnTo>
                    <a:pt x="1621" y="120"/>
                  </a:lnTo>
                  <a:lnTo>
                    <a:pt x="1625" y="122"/>
                  </a:lnTo>
                  <a:lnTo>
                    <a:pt x="1629" y="122"/>
                  </a:lnTo>
                  <a:lnTo>
                    <a:pt x="1631" y="120"/>
                  </a:lnTo>
                  <a:lnTo>
                    <a:pt x="1633" y="120"/>
                  </a:lnTo>
                  <a:lnTo>
                    <a:pt x="1637" y="120"/>
                  </a:lnTo>
                  <a:lnTo>
                    <a:pt x="1639" y="120"/>
                  </a:lnTo>
                  <a:lnTo>
                    <a:pt x="1643" y="120"/>
                  </a:lnTo>
                  <a:lnTo>
                    <a:pt x="1646" y="118"/>
                  </a:lnTo>
                  <a:lnTo>
                    <a:pt x="1648" y="118"/>
                  </a:lnTo>
                  <a:lnTo>
                    <a:pt x="1650" y="118"/>
                  </a:lnTo>
                  <a:lnTo>
                    <a:pt x="1652" y="118"/>
                  </a:lnTo>
                  <a:lnTo>
                    <a:pt x="1652" y="120"/>
                  </a:lnTo>
                  <a:lnTo>
                    <a:pt x="1648" y="120"/>
                  </a:lnTo>
                  <a:lnTo>
                    <a:pt x="1646" y="120"/>
                  </a:lnTo>
                  <a:lnTo>
                    <a:pt x="1643" y="122"/>
                  </a:lnTo>
                  <a:lnTo>
                    <a:pt x="1641" y="124"/>
                  </a:lnTo>
                  <a:lnTo>
                    <a:pt x="1641" y="126"/>
                  </a:lnTo>
                  <a:lnTo>
                    <a:pt x="1639" y="130"/>
                  </a:lnTo>
                  <a:lnTo>
                    <a:pt x="1637" y="136"/>
                  </a:lnTo>
                  <a:lnTo>
                    <a:pt x="1635" y="141"/>
                  </a:lnTo>
                  <a:lnTo>
                    <a:pt x="1633" y="143"/>
                  </a:lnTo>
                  <a:lnTo>
                    <a:pt x="1631" y="145"/>
                  </a:lnTo>
                  <a:lnTo>
                    <a:pt x="1627" y="149"/>
                  </a:lnTo>
                  <a:lnTo>
                    <a:pt x="1625" y="151"/>
                  </a:lnTo>
                  <a:lnTo>
                    <a:pt x="1625" y="151"/>
                  </a:lnTo>
                  <a:lnTo>
                    <a:pt x="1623" y="151"/>
                  </a:lnTo>
                  <a:lnTo>
                    <a:pt x="1617" y="149"/>
                  </a:lnTo>
                  <a:lnTo>
                    <a:pt x="1606" y="151"/>
                  </a:lnTo>
                  <a:lnTo>
                    <a:pt x="1604" y="151"/>
                  </a:lnTo>
                  <a:lnTo>
                    <a:pt x="1600" y="151"/>
                  </a:lnTo>
                  <a:lnTo>
                    <a:pt x="1598" y="153"/>
                  </a:lnTo>
                  <a:lnTo>
                    <a:pt x="1596" y="153"/>
                  </a:lnTo>
                  <a:lnTo>
                    <a:pt x="1592" y="153"/>
                  </a:lnTo>
                  <a:lnTo>
                    <a:pt x="1586" y="155"/>
                  </a:lnTo>
                  <a:lnTo>
                    <a:pt x="1582" y="155"/>
                  </a:lnTo>
                  <a:lnTo>
                    <a:pt x="1582" y="157"/>
                  </a:lnTo>
                  <a:lnTo>
                    <a:pt x="1584" y="157"/>
                  </a:lnTo>
                  <a:lnTo>
                    <a:pt x="1584" y="159"/>
                  </a:lnTo>
                  <a:lnTo>
                    <a:pt x="1584" y="159"/>
                  </a:lnTo>
                  <a:lnTo>
                    <a:pt x="1569" y="161"/>
                  </a:lnTo>
                  <a:lnTo>
                    <a:pt x="1563" y="163"/>
                  </a:lnTo>
                  <a:lnTo>
                    <a:pt x="1559" y="163"/>
                  </a:lnTo>
                  <a:lnTo>
                    <a:pt x="1557" y="165"/>
                  </a:lnTo>
                  <a:lnTo>
                    <a:pt x="1555" y="165"/>
                  </a:lnTo>
                  <a:lnTo>
                    <a:pt x="1549" y="165"/>
                  </a:lnTo>
                  <a:lnTo>
                    <a:pt x="1547" y="165"/>
                  </a:lnTo>
                  <a:lnTo>
                    <a:pt x="1544" y="165"/>
                  </a:lnTo>
                  <a:lnTo>
                    <a:pt x="1540" y="167"/>
                  </a:lnTo>
                  <a:lnTo>
                    <a:pt x="1534" y="169"/>
                  </a:lnTo>
                  <a:lnTo>
                    <a:pt x="1532" y="169"/>
                  </a:lnTo>
                  <a:lnTo>
                    <a:pt x="1530" y="174"/>
                  </a:lnTo>
                  <a:lnTo>
                    <a:pt x="1530" y="174"/>
                  </a:lnTo>
                  <a:lnTo>
                    <a:pt x="1530" y="176"/>
                  </a:lnTo>
                  <a:lnTo>
                    <a:pt x="1532" y="176"/>
                  </a:lnTo>
                  <a:lnTo>
                    <a:pt x="1532" y="176"/>
                  </a:lnTo>
                  <a:lnTo>
                    <a:pt x="1528" y="180"/>
                  </a:lnTo>
                  <a:lnTo>
                    <a:pt x="1528" y="180"/>
                  </a:lnTo>
                  <a:lnTo>
                    <a:pt x="1532" y="182"/>
                  </a:lnTo>
                  <a:lnTo>
                    <a:pt x="1536" y="186"/>
                  </a:lnTo>
                  <a:lnTo>
                    <a:pt x="1538" y="186"/>
                  </a:lnTo>
                  <a:lnTo>
                    <a:pt x="1538" y="186"/>
                  </a:lnTo>
                  <a:lnTo>
                    <a:pt x="1544" y="188"/>
                  </a:lnTo>
                  <a:lnTo>
                    <a:pt x="1547" y="188"/>
                  </a:lnTo>
                  <a:lnTo>
                    <a:pt x="1549" y="190"/>
                  </a:lnTo>
                  <a:lnTo>
                    <a:pt x="1551" y="190"/>
                  </a:lnTo>
                  <a:lnTo>
                    <a:pt x="1555" y="192"/>
                  </a:lnTo>
                  <a:lnTo>
                    <a:pt x="1559" y="192"/>
                  </a:lnTo>
                  <a:lnTo>
                    <a:pt x="1559" y="190"/>
                  </a:lnTo>
                  <a:lnTo>
                    <a:pt x="1563" y="190"/>
                  </a:lnTo>
                  <a:lnTo>
                    <a:pt x="1567" y="190"/>
                  </a:lnTo>
                  <a:lnTo>
                    <a:pt x="1567" y="190"/>
                  </a:lnTo>
                  <a:lnTo>
                    <a:pt x="1565" y="190"/>
                  </a:lnTo>
                  <a:lnTo>
                    <a:pt x="1561" y="194"/>
                  </a:lnTo>
                  <a:lnTo>
                    <a:pt x="1561" y="194"/>
                  </a:lnTo>
                  <a:lnTo>
                    <a:pt x="1563" y="194"/>
                  </a:lnTo>
                  <a:lnTo>
                    <a:pt x="1567" y="196"/>
                  </a:lnTo>
                  <a:lnTo>
                    <a:pt x="1567" y="198"/>
                  </a:lnTo>
                  <a:lnTo>
                    <a:pt x="1569" y="198"/>
                  </a:lnTo>
                  <a:lnTo>
                    <a:pt x="1577" y="200"/>
                  </a:lnTo>
                  <a:lnTo>
                    <a:pt x="1580" y="200"/>
                  </a:lnTo>
                  <a:lnTo>
                    <a:pt x="1582" y="200"/>
                  </a:lnTo>
                  <a:lnTo>
                    <a:pt x="1584" y="200"/>
                  </a:lnTo>
                  <a:lnTo>
                    <a:pt x="1584" y="198"/>
                  </a:lnTo>
                  <a:lnTo>
                    <a:pt x="1586" y="198"/>
                  </a:lnTo>
                  <a:lnTo>
                    <a:pt x="1588" y="196"/>
                  </a:lnTo>
                  <a:lnTo>
                    <a:pt x="1590" y="196"/>
                  </a:lnTo>
                  <a:lnTo>
                    <a:pt x="1592" y="198"/>
                  </a:lnTo>
                  <a:lnTo>
                    <a:pt x="1594" y="198"/>
                  </a:lnTo>
                  <a:lnTo>
                    <a:pt x="1598" y="200"/>
                  </a:lnTo>
                  <a:lnTo>
                    <a:pt x="1602" y="200"/>
                  </a:lnTo>
                  <a:lnTo>
                    <a:pt x="1604" y="198"/>
                  </a:lnTo>
                  <a:lnTo>
                    <a:pt x="1608" y="196"/>
                  </a:lnTo>
                  <a:lnTo>
                    <a:pt x="1613" y="194"/>
                  </a:lnTo>
                  <a:lnTo>
                    <a:pt x="1615" y="194"/>
                  </a:lnTo>
                  <a:lnTo>
                    <a:pt x="1615" y="194"/>
                  </a:lnTo>
                  <a:lnTo>
                    <a:pt x="1619" y="196"/>
                  </a:lnTo>
                  <a:lnTo>
                    <a:pt x="1621" y="198"/>
                  </a:lnTo>
                  <a:lnTo>
                    <a:pt x="1621" y="200"/>
                  </a:lnTo>
                  <a:lnTo>
                    <a:pt x="1621" y="200"/>
                  </a:lnTo>
                  <a:lnTo>
                    <a:pt x="1619" y="203"/>
                  </a:lnTo>
                  <a:lnTo>
                    <a:pt x="1619" y="205"/>
                  </a:lnTo>
                  <a:lnTo>
                    <a:pt x="1621" y="207"/>
                  </a:lnTo>
                  <a:lnTo>
                    <a:pt x="1621" y="207"/>
                  </a:lnTo>
                  <a:lnTo>
                    <a:pt x="1615" y="205"/>
                  </a:lnTo>
                  <a:lnTo>
                    <a:pt x="1613" y="205"/>
                  </a:lnTo>
                  <a:lnTo>
                    <a:pt x="1604" y="205"/>
                  </a:lnTo>
                  <a:lnTo>
                    <a:pt x="1594" y="205"/>
                  </a:lnTo>
                  <a:lnTo>
                    <a:pt x="1588" y="205"/>
                  </a:lnTo>
                  <a:lnTo>
                    <a:pt x="1586" y="207"/>
                  </a:lnTo>
                  <a:lnTo>
                    <a:pt x="1584" y="209"/>
                  </a:lnTo>
                  <a:lnTo>
                    <a:pt x="1573" y="209"/>
                  </a:lnTo>
                  <a:lnTo>
                    <a:pt x="1559" y="209"/>
                  </a:lnTo>
                  <a:lnTo>
                    <a:pt x="1557" y="211"/>
                  </a:lnTo>
                  <a:lnTo>
                    <a:pt x="1555" y="211"/>
                  </a:lnTo>
                  <a:lnTo>
                    <a:pt x="1553" y="211"/>
                  </a:lnTo>
                  <a:lnTo>
                    <a:pt x="1553" y="213"/>
                  </a:lnTo>
                  <a:lnTo>
                    <a:pt x="1553" y="215"/>
                  </a:lnTo>
                  <a:lnTo>
                    <a:pt x="1555" y="215"/>
                  </a:lnTo>
                  <a:lnTo>
                    <a:pt x="1557" y="217"/>
                  </a:lnTo>
                  <a:lnTo>
                    <a:pt x="1557" y="217"/>
                  </a:lnTo>
                  <a:lnTo>
                    <a:pt x="1557" y="219"/>
                  </a:lnTo>
                  <a:lnTo>
                    <a:pt x="1557" y="219"/>
                  </a:lnTo>
                  <a:lnTo>
                    <a:pt x="1557" y="219"/>
                  </a:lnTo>
                  <a:lnTo>
                    <a:pt x="1559" y="221"/>
                  </a:lnTo>
                  <a:lnTo>
                    <a:pt x="1563" y="221"/>
                  </a:lnTo>
                  <a:lnTo>
                    <a:pt x="1565" y="219"/>
                  </a:lnTo>
                  <a:lnTo>
                    <a:pt x="1573" y="215"/>
                  </a:lnTo>
                  <a:lnTo>
                    <a:pt x="1573" y="217"/>
                  </a:lnTo>
                  <a:lnTo>
                    <a:pt x="1571" y="217"/>
                  </a:lnTo>
                  <a:lnTo>
                    <a:pt x="1569" y="219"/>
                  </a:lnTo>
                  <a:lnTo>
                    <a:pt x="1569" y="221"/>
                  </a:lnTo>
                  <a:lnTo>
                    <a:pt x="1571" y="221"/>
                  </a:lnTo>
                  <a:lnTo>
                    <a:pt x="1571" y="223"/>
                  </a:lnTo>
                  <a:lnTo>
                    <a:pt x="1573" y="223"/>
                  </a:lnTo>
                  <a:lnTo>
                    <a:pt x="1580" y="225"/>
                  </a:lnTo>
                  <a:lnTo>
                    <a:pt x="1586" y="225"/>
                  </a:lnTo>
                  <a:lnTo>
                    <a:pt x="1594" y="225"/>
                  </a:lnTo>
                  <a:lnTo>
                    <a:pt x="1596" y="225"/>
                  </a:lnTo>
                  <a:lnTo>
                    <a:pt x="1594" y="225"/>
                  </a:lnTo>
                  <a:lnTo>
                    <a:pt x="1594" y="227"/>
                  </a:lnTo>
                  <a:lnTo>
                    <a:pt x="1588" y="227"/>
                  </a:lnTo>
                  <a:lnTo>
                    <a:pt x="1584" y="227"/>
                  </a:lnTo>
                  <a:lnTo>
                    <a:pt x="1577" y="231"/>
                  </a:lnTo>
                  <a:lnTo>
                    <a:pt x="1575" y="233"/>
                  </a:lnTo>
                  <a:lnTo>
                    <a:pt x="1575" y="233"/>
                  </a:lnTo>
                  <a:lnTo>
                    <a:pt x="1577" y="236"/>
                  </a:lnTo>
                  <a:lnTo>
                    <a:pt x="1582" y="236"/>
                  </a:lnTo>
                  <a:lnTo>
                    <a:pt x="1586" y="240"/>
                  </a:lnTo>
                  <a:lnTo>
                    <a:pt x="1590" y="240"/>
                  </a:lnTo>
                  <a:lnTo>
                    <a:pt x="1592" y="242"/>
                  </a:lnTo>
                  <a:lnTo>
                    <a:pt x="1594" y="242"/>
                  </a:lnTo>
                  <a:lnTo>
                    <a:pt x="1615" y="246"/>
                  </a:lnTo>
                  <a:lnTo>
                    <a:pt x="1617" y="246"/>
                  </a:lnTo>
                  <a:lnTo>
                    <a:pt x="1613" y="244"/>
                  </a:lnTo>
                  <a:lnTo>
                    <a:pt x="1610" y="240"/>
                  </a:lnTo>
                  <a:lnTo>
                    <a:pt x="1610" y="240"/>
                  </a:lnTo>
                  <a:lnTo>
                    <a:pt x="1610" y="238"/>
                  </a:lnTo>
                  <a:lnTo>
                    <a:pt x="1613" y="238"/>
                  </a:lnTo>
                  <a:lnTo>
                    <a:pt x="1617" y="240"/>
                  </a:lnTo>
                  <a:lnTo>
                    <a:pt x="1617" y="240"/>
                  </a:lnTo>
                  <a:lnTo>
                    <a:pt x="1619" y="240"/>
                  </a:lnTo>
                  <a:lnTo>
                    <a:pt x="1621" y="240"/>
                  </a:lnTo>
                  <a:lnTo>
                    <a:pt x="1623" y="238"/>
                  </a:lnTo>
                  <a:lnTo>
                    <a:pt x="1627" y="238"/>
                  </a:lnTo>
                  <a:lnTo>
                    <a:pt x="1627" y="238"/>
                  </a:lnTo>
                  <a:lnTo>
                    <a:pt x="1629" y="238"/>
                  </a:lnTo>
                  <a:lnTo>
                    <a:pt x="1629" y="240"/>
                  </a:lnTo>
                  <a:lnTo>
                    <a:pt x="1631" y="240"/>
                  </a:lnTo>
                  <a:lnTo>
                    <a:pt x="1633" y="240"/>
                  </a:lnTo>
                  <a:lnTo>
                    <a:pt x="1635" y="240"/>
                  </a:lnTo>
                  <a:lnTo>
                    <a:pt x="1635" y="240"/>
                  </a:lnTo>
                  <a:lnTo>
                    <a:pt x="1639" y="240"/>
                  </a:lnTo>
                  <a:lnTo>
                    <a:pt x="1641" y="240"/>
                  </a:lnTo>
                  <a:lnTo>
                    <a:pt x="1643" y="238"/>
                  </a:lnTo>
                  <a:lnTo>
                    <a:pt x="1646" y="238"/>
                  </a:lnTo>
                  <a:lnTo>
                    <a:pt x="1648" y="236"/>
                  </a:lnTo>
                  <a:lnTo>
                    <a:pt x="1650" y="236"/>
                  </a:lnTo>
                  <a:lnTo>
                    <a:pt x="1650" y="236"/>
                  </a:lnTo>
                  <a:lnTo>
                    <a:pt x="1652" y="238"/>
                  </a:lnTo>
                  <a:lnTo>
                    <a:pt x="1654" y="238"/>
                  </a:lnTo>
                  <a:lnTo>
                    <a:pt x="1656" y="238"/>
                  </a:lnTo>
                  <a:lnTo>
                    <a:pt x="1660" y="236"/>
                  </a:lnTo>
                  <a:lnTo>
                    <a:pt x="1662" y="236"/>
                  </a:lnTo>
                  <a:lnTo>
                    <a:pt x="1664" y="233"/>
                  </a:lnTo>
                  <a:lnTo>
                    <a:pt x="1668" y="236"/>
                  </a:lnTo>
                  <a:lnTo>
                    <a:pt x="1670" y="238"/>
                  </a:lnTo>
                  <a:lnTo>
                    <a:pt x="1672" y="238"/>
                  </a:lnTo>
                  <a:lnTo>
                    <a:pt x="1674" y="238"/>
                  </a:lnTo>
                  <a:lnTo>
                    <a:pt x="1681" y="238"/>
                  </a:lnTo>
                  <a:lnTo>
                    <a:pt x="1687" y="240"/>
                  </a:lnTo>
                  <a:lnTo>
                    <a:pt x="1691" y="240"/>
                  </a:lnTo>
                  <a:lnTo>
                    <a:pt x="1693" y="240"/>
                  </a:lnTo>
                  <a:lnTo>
                    <a:pt x="1699" y="242"/>
                  </a:lnTo>
                  <a:lnTo>
                    <a:pt x="1709" y="244"/>
                  </a:lnTo>
                  <a:lnTo>
                    <a:pt x="1716" y="248"/>
                  </a:lnTo>
                  <a:lnTo>
                    <a:pt x="1720" y="248"/>
                  </a:lnTo>
                  <a:lnTo>
                    <a:pt x="1722" y="250"/>
                  </a:lnTo>
                  <a:lnTo>
                    <a:pt x="1724" y="252"/>
                  </a:lnTo>
                  <a:lnTo>
                    <a:pt x="1726" y="252"/>
                  </a:lnTo>
                  <a:lnTo>
                    <a:pt x="1730" y="252"/>
                  </a:lnTo>
                  <a:lnTo>
                    <a:pt x="1732" y="254"/>
                  </a:lnTo>
                  <a:lnTo>
                    <a:pt x="1734" y="256"/>
                  </a:lnTo>
                  <a:lnTo>
                    <a:pt x="1736" y="258"/>
                  </a:lnTo>
                  <a:lnTo>
                    <a:pt x="1736" y="260"/>
                  </a:lnTo>
                  <a:lnTo>
                    <a:pt x="1730" y="262"/>
                  </a:lnTo>
                  <a:lnTo>
                    <a:pt x="1732" y="262"/>
                  </a:lnTo>
                  <a:lnTo>
                    <a:pt x="1736" y="264"/>
                  </a:lnTo>
                  <a:lnTo>
                    <a:pt x="1736" y="267"/>
                  </a:lnTo>
                  <a:lnTo>
                    <a:pt x="1738" y="267"/>
                  </a:lnTo>
                  <a:lnTo>
                    <a:pt x="1740" y="271"/>
                  </a:lnTo>
                  <a:lnTo>
                    <a:pt x="1742" y="273"/>
                  </a:lnTo>
                  <a:lnTo>
                    <a:pt x="1749" y="275"/>
                  </a:lnTo>
                  <a:lnTo>
                    <a:pt x="1751" y="277"/>
                  </a:lnTo>
                  <a:lnTo>
                    <a:pt x="1753" y="277"/>
                  </a:lnTo>
                  <a:lnTo>
                    <a:pt x="1755" y="279"/>
                  </a:lnTo>
                  <a:lnTo>
                    <a:pt x="1755" y="281"/>
                  </a:lnTo>
                  <a:lnTo>
                    <a:pt x="1755" y="281"/>
                  </a:lnTo>
                  <a:lnTo>
                    <a:pt x="1757" y="283"/>
                  </a:lnTo>
                  <a:lnTo>
                    <a:pt x="1761" y="283"/>
                  </a:lnTo>
                  <a:lnTo>
                    <a:pt x="1765" y="287"/>
                  </a:lnTo>
                  <a:lnTo>
                    <a:pt x="1763" y="287"/>
                  </a:lnTo>
                  <a:lnTo>
                    <a:pt x="1761" y="287"/>
                  </a:lnTo>
                  <a:lnTo>
                    <a:pt x="1759" y="289"/>
                  </a:lnTo>
                  <a:lnTo>
                    <a:pt x="1757" y="289"/>
                  </a:lnTo>
                  <a:lnTo>
                    <a:pt x="1759" y="291"/>
                  </a:lnTo>
                  <a:lnTo>
                    <a:pt x="1759" y="291"/>
                  </a:lnTo>
                  <a:lnTo>
                    <a:pt x="1759" y="293"/>
                  </a:lnTo>
                  <a:lnTo>
                    <a:pt x="1757" y="295"/>
                  </a:lnTo>
                  <a:lnTo>
                    <a:pt x="1755" y="295"/>
                  </a:lnTo>
                  <a:lnTo>
                    <a:pt x="1753" y="297"/>
                  </a:lnTo>
                  <a:lnTo>
                    <a:pt x="1751" y="297"/>
                  </a:lnTo>
                  <a:lnTo>
                    <a:pt x="1751" y="297"/>
                  </a:lnTo>
                  <a:lnTo>
                    <a:pt x="1755" y="297"/>
                  </a:lnTo>
                  <a:lnTo>
                    <a:pt x="1759" y="297"/>
                  </a:lnTo>
                  <a:lnTo>
                    <a:pt x="1761" y="295"/>
                  </a:lnTo>
                  <a:lnTo>
                    <a:pt x="1763" y="295"/>
                  </a:lnTo>
                  <a:lnTo>
                    <a:pt x="1763" y="297"/>
                  </a:lnTo>
                  <a:lnTo>
                    <a:pt x="1765" y="297"/>
                  </a:lnTo>
                  <a:lnTo>
                    <a:pt x="1765" y="300"/>
                  </a:lnTo>
                  <a:lnTo>
                    <a:pt x="1767" y="302"/>
                  </a:lnTo>
                  <a:lnTo>
                    <a:pt x="1767" y="302"/>
                  </a:lnTo>
                  <a:lnTo>
                    <a:pt x="1767" y="302"/>
                  </a:lnTo>
                  <a:lnTo>
                    <a:pt x="1767" y="304"/>
                  </a:lnTo>
                  <a:lnTo>
                    <a:pt x="1769" y="304"/>
                  </a:lnTo>
                  <a:lnTo>
                    <a:pt x="1769" y="306"/>
                  </a:lnTo>
                  <a:lnTo>
                    <a:pt x="1769" y="308"/>
                  </a:lnTo>
                  <a:lnTo>
                    <a:pt x="1769" y="308"/>
                  </a:lnTo>
                  <a:lnTo>
                    <a:pt x="1769" y="308"/>
                  </a:lnTo>
                  <a:lnTo>
                    <a:pt x="1767" y="310"/>
                  </a:lnTo>
                  <a:lnTo>
                    <a:pt x="1767" y="312"/>
                  </a:lnTo>
                  <a:lnTo>
                    <a:pt x="1767" y="312"/>
                  </a:lnTo>
                  <a:lnTo>
                    <a:pt x="1767" y="314"/>
                  </a:lnTo>
                  <a:lnTo>
                    <a:pt x="1767" y="314"/>
                  </a:lnTo>
                  <a:lnTo>
                    <a:pt x="1769" y="314"/>
                  </a:lnTo>
                  <a:lnTo>
                    <a:pt x="1771" y="316"/>
                  </a:lnTo>
                  <a:lnTo>
                    <a:pt x="1771" y="316"/>
                  </a:lnTo>
                  <a:lnTo>
                    <a:pt x="1771" y="318"/>
                  </a:lnTo>
                  <a:lnTo>
                    <a:pt x="1773" y="318"/>
                  </a:lnTo>
                  <a:lnTo>
                    <a:pt x="1775" y="316"/>
                  </a:lnTo>
                  <a:lnTo>
                    <a:pt x="1777" y="318"/>
                  </a:lnTo>
                  <a:lnTo>
                    <a:pt x="1777" y="320"/>
                  </a:lnTo>
                  <a:lnTo>
                    <a:pt x="1777" y="320"/>
                  </a:lnTo>
                  <a:lnTo>
                    <a:pt x="1777" y="322"/>
                  </a:lnTo>
                  <a:lnTo>
                    <a:pt x="1775" y="324"/>
                  </a:lnTo>
                  <a:lnTo>
                    <a:pt x="1773" y="324"/>
                  </a:lnTo>
                  <a:lnTo>
                    <a:pt x="1771" y="324"/>
                  </a:lnTo>
                  <a:lnTo>
                    <a:pt x="1771" y="326"/>
                  </a:lnTo>
                  <a:lnTo>
                    <a:pt x="1773" y="328"/>
                  </a:lnTo>
                  <a:lnTo>
                    <a:pt x="1773" y="328"/>
                  </a:lnTo>
                  <a:lnTo>
                    <a:pt x="1773" y="328"/>
                  </a:lnTo>
                  <a:lnTo>
                    <a:pt x="1775" y="328"/>
                  </a:lnTo>
                  <a:lnTo>
                    <a:pt x="1777" y="328"/>
                  </a:lnTo>
                  <a:lnTo>
                    <a:pt x="1777" y="331"/>
                  </a:lnTo>
                  <a:lnTo>
                    <a:pt x="1780" y="331"/>
                  </a:lnTo>
                  <a:lnTo>
                    <a:pt x="1780" y="328"/>
                  </a:lnTo>
                  <a:lnTo>
                    <a:pt x="1782" y="328"/>
                  </a:lnTo>
                  <a:lnTo>
                    <a:pt x="1784" y="328"/>
                  </a:lnTo>
                  <a:lnTo>
                    <a:pt x="1786" y="331"/>
                  </a:lnTo>
                  <a:lnTo>
                    <a:pt x="1786" y="333"/>
                  </a:lnTo>
                  <a:lnTo>
                    <a:pt x="1786" y="333"/>
                  </a:lnTo>
                  <a:lnTo>
                    <a:pt x="1786" y="335"/>
                  </a:lnTo>
                  <a:lnTo>
                    <a:pt x="1786" y="335"/>
                  </a:lnTo>
                  <a:lnTo>
                    <a:pt x="1786" y="337"/>
                  </a:lnTo>
                  <a:lnTo>
                    <a:pt x="1786" y="339"/>
                  </a:lnTo>
                  <a:lnTo>
                    <a:pt x="1784" y="339"/>
                  </a:lnTo>
                  <a:lnTo>
                    <a:pt x="1782" y="341"/>
                  </a:lnTo>
                  <a:lnTo>
                    <a:pt x="1780" y="341"/>
                  </a:lnTo>
                  <a:lnTo>
                    <a:pt x="1775" y="341"/>
                  </a:lnTo>
                  <a:lnTo>
                    <a:pt x="1773" y="343"/>
                  </a:lnTo>
                  <a:lnTo>
                    <a:pt x="1773" y="343"/>
                  </a:lnTo>
                  <a:lnTo>
                    <a:pt x="1775" y="343"/>
                  </a:lnTo>
                  <a:lnTo>
                    <a:pt x="1777" y="345"/>
                  </a:lnTo>
                  <a:lnTo>
                    <a:pt x="1777" y="347"/>
                  </a:lnTo>
                  <a:lnTo>
                    <a:pt x="1773" y="347"/>
                  </a:lnTo>
                  <a:lnTo>
                    <a:pt x="1773" y="347"/>
                  </a:lnTo>
                  <a:lnTo>
                    <a:pt x="1773" y="349"/>
                  </a:lnTo>
                  <a:lnTo>
                    <a:pt x="1773" y="351"/>
                  </a:lnTo>
                  <a:lnTo>
                    <a:pt x="1777" y="349"/>
                  </a:lnTo>
                  <a:lnTo>
                    <a:pt x="1784" y="345"/>
                  </a:lnTo>
                  <a:lnTo>
                    <a:pt x="1784" y="345"/>
                  </a:lnTo>
                  <a:lnTo>
                    <a:pt x="1784" y="345"/>
                  </a:lnTo>
                  <a:lnTo>
                    <a:pt x="1784" y="347"/>
                  </a:lnTo>
                  <a:lnTo>
                    <a:pt x="1782" y="347"/>
                  </a:lnTo>
                  <a:lnTo>
                    <a:pt x="1777" y="351"/>
                  </a:lnTo>
                  <a:lnTo>
                    <a:pt x="1775" y="355"/>
                  </a:lnTo>
                  <a:lnTo>
                    <a:pt x="1773" y="361"/>
                  </a:lnTo>
                  <a:lnTo>
                    <a:pt x="1773" y="361"/>
                  </a:lnTo>
                  <a:lnTo>
                    <a:pt x="1773" y="364"/>
                  </a:lnTo>
                  <a:lnTo>
                    <a:pt x="1773" y="366"/>
                  </a:lnTo>
                  <a:lnTo>
                    <a:pt x="1773" y="368"/>
                  </a:lnTo>
                  <a:lnTo>
                    <a:pt x="1775" y="370"/>
                  </a:lnTo>
                  <a:lnTo>
                    <a:pt x="1777" y="370"/>
                  </a:lnTo>
                  <a:lnTo>
                    <a:pt x="1782" y="370"/>
                  </a:lnTo>
                  <a:lnTo>
                    <a:pt x="1786" y="372"/>
                  </a:lnTo>
                  <a:lnTo>
                    <a:pt x="1786" y="372"/>
                  </a:lnTo>
                  <a:lnTo>
                    <a:pt x="1792" y="372"/>
                  </a:lnTo>
                  <a:lnTo>
                    <a:pt x="1794" y="370"/>
                  </a:lnTo>
                  <a:lnTo>
                    <a:pt x="1794" y="370"/>
                  </a:lnTo>
                  <a:lnTo>
                    <a:pt x="1796" y="370"/>
                  </a:lnTo>
                  <a:lnTo>
                    <a:pt x="1798" y="368"/>
                  </a:lnTo>
                  <a:lnTo>
                    <a:pt x="1796" y="366"/>
                  </a:lnTo>
                  <a:lnTo>
                    <a:pt x="1796" y="364"/>
                  </a:lnTo>
                  <a:lnTo>
                    <a:pt x="1796" y="364"/>
                  </a:lnTo>
                  <a:lnTo>
                    <a:pt x="1798" y="364"/>
                  </a:lnTo>
                  <a:lnTo>
                    <a:pt x="1800" y="364"/>
                  </a:lnTo>
                  <a:lnTo>
                    <a:pt x="1800" y="361"/>
                  </a:lnTo>
                  <a:lnTo>
                    <a:pt x="1800" y="361"/>
                  </a:lnTo>
                  <a:lnTo>
                    <a:pt x="1802" y="359"/>
                  </a:lnTo>
                  <a:lnTo>
                    <a:pt x="1804" y="359"/>
                  </a:lnTo>
                  <a:lnTo>
                    <a:pt x="1804" y="357"/>
                  </a:lnTo>
                  <a:lnTo>
                    <a:pt x="1804" y="355"/>
                  </a:lnTo>
                  <a:lnTo>
                    <a:pt x="1802" y="353"/>
                  </a:lnTo>
                  <a:lnTo>
                    <a:pt x="1800" y="353"/>
                  </a:lnTo>
                  <a:lnTo>
                    <a:pt x="1800" y="351"/>
                  </a:lnTo>
                  <a:lnTo>
                    <a:pt x="1798" y="349"/>
                  </a:lnTo>
                  <a:lnTo>
                    <a:pt x="1798" y="349"/>
                  </a:lnTo>
                  <a:lnTo>
                    <a:pt x="1798" y="347"/>
                  </a:lnTo>
                  <a:lnTo>
                    <a:pt x="1798" y="347"/>
                  </a:lnTo>
                  <a:lnTo>
                    <a:pt x="1798" y="345"/>
                  </a:lnTo>
                  <a:lnTo>
                    <a:pt x="1802" y="345"/>
                  </a:lnTo>
                  <a:lnTo>
                    <a:pt x="1800" y="345"/>
                  </a:lnTo>
                  <a:lnTo>
                    <a:pt x="1800" y="347"/>
                  </a:lnTo>
                  <a:lnTo>
                    <a:pt x="1798" y="347"/>
                  </a:lnTo>
                  <a:lnTo>
                    <a:pt x="1800" y="351"/>
                  </a:lnTo>
                  <a:lnTo>
                    <a:pt x="1802" y="351"/>
                  </a:lnTo>
                  <a:lnTo>
                    <a:pt x="1802" y="353"/>
                  </a:lnTo>
                  <a:lnTo>
                    <a:pt x="1804" y="355"/>
                  </a:lnTo>
                  <a:lnTo>
                    <a:pt x="1806" y="357"/>
                  </a:lnTo>
                  <a:lnTo>
                    <a:pt x="1806" y="357"/>
                  </a:lnTo>
                  <a:lnTo>
                    <a:pt x="1806" y="359"/>
                  </a:lnTo>
                  <a:lnTo>
                    <a:pt x="1806" y="361"/>
                  </a:lnTo>
                  <a:lnTo>
                    <a:pt x="1808" y="359"/>
                  </a:lnTo>
                  <a:lnTo>
                    <a:pt x="1808" y="361"/>
                  </a:lnTo>
                  <a:lnTo>
                    <a:pt x="1806" y="364"/>
                  </a:lnTo>
                  <a:lnTo>
                    <a:pt x="1806" y="364"/>
                  </a:lnTo>
                  <a:lnTo>
                    <a:pt x="1804" y="364"/>
                  </a:lnTo>
                  <a:lnTo>
                    <a:pt x="1804" y="366"/>
                  </a:lnTo>
                  <a:lnTo>
                    <a:pt x="1804" y="366"/>
                  </a:lnTo>
                  <a:lnTo>
                    <a:pt x="1806" y="368"/>
                  </a:lnTo>
                  <a:lnTo>
                    <a:pt x="1808" y="368"/>
                  </a:lnTo>
                  <a:lnTo>
                    <a:pt x="1813" y="366"/>
                  </a:lnTo>
                  <a:lnTo>
                    <a:pt x="1815" y="364"/>
                  </a:lnTo>
                  <a:lnTo>
                    <a:pt x="1815" y="364"/>
                  </a:lnTo>
                  <a:lnTo>
                    <a:pt x="1823" y="366"/>
                  </a:lnTo>
                  <a:lnTo>
                    <a:pt x="1823" y="364"/>
                  </a:lnTo>
                  <a:lnTo>
                    <a:pt x="1827" y="364"/>
                  </a:lnTo>
                  <a:lnTo>
                    <a:pt x="1829" y="364"/>
                  </a:lnTo>
                  <a:lnTo>
                    <a:pt x="1829" y="364"/>
                  </a:lnTo>
                  <a:lnTo>
                    <a:pt x="1825" y="366"/>
                  </a:lnTo>
                  <a:lnTo>
                    <a:pt x="1815" y="368"/>
                  </a:lnTo>
                  <a:lnTo>
                    <a:pt x="1813" y="370"/>
                  </a:lnTo>
                  <a:lnTo>
                    <a:pt x="1813" y="370"/>
                  </a:lnTo>
                  <a:lnTo>
                    <a:pt x="1810" y="372"/>
                  </a:lnTo>
                  <a:lnTo>
                    <a:pt x="1808" y="372"/>
                  </a:lnTo>
                  <a:lnTo>
                    <a:pt x="1808" y="374"/>
                  </a:lnTo>
                  <a:lnTo>
                    <a:pt x="1810" y="376"/>
                  </a:lnTo>
                  <a:lnTo>
                    <a:pt x="1813" y="376"/>
                  </a:lnTo>
                  <a:lnTo>
                    <a:pt x="1815" y="376"/>
                  </a:lnTo>
                  <a:lnTo>
                    <a:pt x="1817" y="376"/>
                  </a:lnTo>
                  <a:lnTo>
                    <a:pt x="1819" y="376"/>
                  </a:lnTo>
                  <a:lnTo>
                    <a:pt x="1821" y="378"/>
                  </a:lnTo>
                  <a:lnTo>
                    <a:pt x="1825" y="378"/>
                  </a:lnTo>
                  <a:lnTo>
                    <a:pt x="1827" y="378"/>
                  </a:lnTo>
                  <a:lnTo>
                    <a:pt x="1833" y="378"/>
                  </a:lnTo>
                  <a:lnTo>
                    <a:pt x="1837" y="380"/>
                  </a:lnTo>
                  <a:lnTo>
                    <a:pt x="1839" y="380"/>
                  </a:lnTo>
                  <a:lnTo>
                    <a:pt x="1839" y="382"/>
                  </a:lnTo>
                  <a:lnTo>
                    <a:pt x="1837" y="382"/>
                  </a:lnTo>
                  <a:lnTo>
                    <a:pt x="1835" y="382"/>
                  </a:lnTo>
                  <a:lnTo>
                    <a:pt x="1831" y="380"/>
                  </a:lnTo>
                  <a:lnTo>
                    <a:pt x="1829" y="380"/>
                  </a:lnTo>
                  <a:lnTo>
                    <a:pt x="1829" y="380"/>
                  </a:lnTo>
                  <a:lnTo>
                    <a:pt x="1829" y="382"/>
                  </a:lnTo>
                  <a:lnTo>
                    <a:pt x="1833" y="382"/>
                  </a:lnTo>
                  <a:lnTo>
                    <a:pt x="1833" y="384"/>
                  </a:lnTo>
                  <a:lnTo>
                    <a:pt x="1835" y="384"/>
                  </a:lnTo>
                  <a:lnTo>
                    <a:pt x="1835" y="386"/>
                  </a:lnTo>
                  <a:lnTo>
                    <a:pt x="1835" y="388"/>
                  </a:lnTo>
                  <a:lnTo>
                    <a:pt x="1835" y="388"/>
                  </a:lnTo>
                  <a:lnTo>
                    <a:pt x="1835" y="392"/>
                  </a:lnTo>
                  <a:lnTo>
                    <a:pt x="1837" y="392"/>
                  </a:lnTo>
                  <a:lnTo>
                    <a:pt x="1839" y="395"/>
                  </a:lnTo>
                  <a:lnTo>
                    <a:pt x="1843" y="395"/>
                  </a:lnTo>
                  <a:lnTo>
                    <a:pt x="1843" y="397"/>
                  </a:lnTo>
                  <a:lnTo>
                    <a:pt x="1843" y="397"/>
                  </a:lnTo>
                  <a:lnTo>
                    <a:pt x="1841" y="397"/>
                  </a:lnTo>
                  <a:lnTo>
                    <a:pt x="1839" y="397"/>
                  </a:lnTo>
                  <a:lnTo>
                    <a:pt x="1833" y="397"/>
                  </a:lnTo>
                  <a:lnTo>
                    <a:pt x="1831" y="395"/>
                  </a:lnTo>
                  <a:lnTo>
                    <a:pt x="1829" y="395"/>
                  </a:lnTo>
                  <a:lnTo>
                    <a:pt x="1819" y="388"/>
                  </a:lnTo>
                  <a:lnTo>
                    <a:pt x="1817" y="388"/>
                  </a:lnTo>
                  <a:lnTo>
                    <a:pt x="1813" y="388"/>
                  </a:lnTo>
                  <a:lnTo>
                    <a:pt x="1808" y="386"/>
                  </a:lnTo>
                  <a:lnTo>
                    <a:pt x="1804" y="386"/>
                  </a:lnTo>
                  <a:lnTo>
                    <a:pt x="1804" y="386"/>
                  </a:lnTo>
                  <a:lnTo>
                    <a:pt x="1800" y="386"/>
                  </a:lnTo>
                  <a:lnTo>
                    <a:pt x="1798" y="386"/>
                  </a:lnTo>
                  <a:lnTo>
                    <a:pt x="1794" y="386"/>
                  </a:lnTo>
                  <a:lnTo>
                    <a:pt x="1792" y="386"/>
                  </a:lnTo>
                  <a:lnTo>
                    <a:pt x="1790" y="388"/>
                  </a:lnTo>
                  <a:lnTo>
                    <a:pt x="1790" y="388"/>
                  </a:lnTo>
                  <a:lnTo>
                    <a:pt x="1790" y="390"/>
                  </a:lnTo>
                  <a:lnTo>
                    <a:pt x="1792" y="392"/>
                  </a:lnTo>
                  <a:lnTo>
                    <a:pt x="1794" y="395"/>
                  </a:lnTo>
                  <a:lnTo>
                    <a:pt x="1796" y="397"/>
                  </a:lnTo>
                  <a:lnTo>
                    <a:pt x="1800" y="397"/>
                  </a:lnTo>
                  <a:lnTo>
                    <a:pt x="1806" y="399"/>
                  </a:lnTo>
                  <a:lnTo>
                    <a:pt x="1810" y="399"/>
                  </a:lnTo>
                  <a:lnTo>
                    <a:pt x="1815" y="401"/>
                  </a:lnTo>
                  <a:lnTo>
                    <a:pt x="1817" y="403"/>
                  </a:lnTo>
                  <a:lnTo>
                    <a:pt x="1821" y="405"/>
                  </a:lnTo>
                  <a:lnTo>
                    <a:pt x="1821" y="405"/>
                  </a:lnTo>
                  <a:lnTo>
                    <a:pt x="1831" y="407"/>
                  </a:lnTo>
                  <a:lnTo>
                    <a:pt x="1831" y="407"/>
                  </a:lnTo>
                  <a:lnTo>
                    <a:pt x="1833" y="407"/>
                  </a:lnTo>
                  <a:lnTo>
                    <a:pt x="1837" y="405"/>
                  </a:lnTo>
                  <a:lnTo>
                    <a:pt x="1837" y="405"/>
                  </a:lnTo>
                  <a:lnTo>
                    <a:pt x="1839" y="405"/>
                  </a:lnTo>
                  <a:lnTo>
                    <a:pt x="1841" y="407"/>
                  </a:lnTo>
                  <a:lnTo>
                    <a:pt x="1846" y="407"/>
                  </a:lnTo>
                  <a:lnTo>
                    <a:pt x="1848" y="405"/>
                  </a:lnTo>
                  <a:lnTo>
                    <a:pt x="1850" y="407"/>
                  </a:lnTo>
                  <a:lnTo>
                    <a:pt x="1850" y="407"/>
                  </a:lnTo>
                  <a:lnTo>
                    <a:pt x="1850" y="407"/>
                  </a:lnTo>
                  <a:lnTo>
                    <a:pt x="1848" y="407"/>
                  </a:lnTo>
                  <a:lnTo>
                    <a:pt x="1846" y="409"/>
                  </a:lnTo>
                  <a:lnTo>
                    <a:pt x="1848" y="411"/>
                  </a:lnTo>
                  <a:lnTo>
                    <a:pt x="1848" y="411"/>
                  </a:lnTo>
                  <a:lnTo>
                    <a:pt x="1848" y="413"/>
                  </a:lnTo>
                  <a:lnTo>
                    <a:pt x="1843" y="413"/>
                  </a:lnTo>
                  <a:lnTo>
                    <a:pt x="1841" y="415"/>
                  </a:lnTo>
                  <a:lnTo>
                    <a:pt x="1841" y="417"/>
                  </a:lnTo>
                  <a:lnTo>
                    <a:pt x="1841" y="419"/>
                  </a:lnTo>
                  <a:lnTo>
                    <a:pt x="1841" y="421"/>
                  </a:lnTo>
                  <a:lnTo>
                    <a:pt x="1839" y="426"/>
                  </a:lnTo>
                  <a:lnTo>
                    <a:pt x="1837" y="426"/>
                  </a:lnTo>
                  <a:lnTo>
                    <a:pt x="1841" y="426"/>
                  </a:lnTo>
                  <a:lnTo>
                    <a:pt x="1843" y="426"/>
                  </a:lnTo>
                  <a:lnTo>
                    <a:pt x="1846" y="426"/>
                  </a:lnTo>
                  <a:lnTo>
                    <a:pt x="1848" y="428"/>
                  </a:lnTo>
                  <a:lnTo>
                    <a:pt x="1850" y="428"/>
                  </a:lnTo>
                  <a:lnTo>
                    <a:pt x="1850" y="428"/>
                  </a:lnTo>
                  <a:lnTo>
                    <a:pt x="1848" y="428"/>
                  </a:lnTo>
                  <a:lnTo>
                    <a:pt x="1841" y="430"/>
                  </a:lnTo>
                  <a:lnTo>
                    <a:pt x="1837" y="428"/>
                  </a:lnTo>
                  <a:lnTo>
                    <a:pt x="1837" y="430"/>
                  </a:lnTo>
                  <a:lnTo>
                    <a:pt x="1837" y="434"/>
                  </a:lnTo>
                  <a:lnTo>
                    <a:pt x="1835" y="438"/>
                  </a:lnTo>
                  <a:lnTo>
                    <a:pt x="1837" y="438"/>
                  </a:lnTo>
                  <a:lnTo>
                    <a:pt x="1839" y="438"/>
                  </a:lnTo>
                  <a:lnTo>
                    <a:pt x="1841" y="436"/>
                  </a:lnTo>
                  <a:lnTo>
                    <a:pt x="1841" y="436"/>
                  </a:lnTo>
                  <a:lnTo>
                    <a:pt x="1839" y="440"/>
                  </a:lnTo>
                  <a:lnTo>
                    <a:pt x="1837" y="442"/>
                  </a:lnTo>
                  <a:lnTo>
                    <a:pt x="1837" y="442"/>
                  </a:lnTo>
                  <a:lnTo>
                    <a:pt x="1833" y="442"/>
                  </a:lnTo>
                  <a:lnTo>
                    <a:pt x="1831" y="444"/>
                  </a:lnTo>
                  <a:lnTo>
                    <a:pt x="1829" y="442"/>
                  </a:lnTo>
                  <a:lnTo>
                    <a:pt x="1821" y="440"/>
                  </a:lnTo>
                  <a:lnTo>
                    <a:pt x="1817" y="438"/>
                  </a:lnTo>
                  <a:lnTo>
                    <a:pt x="1813" y="440"/>
                  </a:lnTo>
                  <a:lnTo>
                    <a:pt x="1810" y="442"/>
                  </a:lnTo>
                  <a:lnTo>
                    <a:pt x="1808" y="446"/>
                  </a:lnTo>
                  <a:lnTo>
                    <a:pt x="1806" y="448"/>
                  </a:lnTo>
                  <a:lnTo>
                    <a:pt x="1804" y="448"/>
                  </a:lnTo>
                  <a:lnTo>
                    <a:pt x="1806" y="448"/>
                  </a:lnTo>
                  <a:lnTo>
                    <a:pt x="1808" y="448"/>
                  </a:lnTo>
                  <a:lnTo>
                    <a:pt x="1815" y="448"/>
                  </a:lnTo>
                  <a:lnTo>
                    <a:pt x="1815" y="450"/>
                  </a:lnTo>
                  <a:lnTo>
                    <a:pt x="1815" y="450"/>
                  </a:lnTo>
                  <a:lnTo>
                    <a:pt x="1819" y="450"/>
                  </a:lnTo>
                  <a:lnTo>
                    <a:pt x="1823" y="450"/>
                  </a:lnTo>
                  <a:lnTo>
                    <a:pt x="1827" y="450"/>
                  </a:lnTo>
                  <a:lnTo>
                    <a:pt x="1831" y="450"/>
                  </a:lnTo>
                  <a:lnTo>
                    <a:pt x="1833" y="448"/>
                  </a:lnTo>
                  <a:lnTo>
                    <a:pt x="1833" y="446"/>
                  </a:lnTo>
                  <a:lnTo>
                    <a:pt x="1833" y="446"/>
                  </a:lnTo>
                  <a:lnTo>
                    <a:pt x="1835" y="446"/>
                  </a:lnTo>
                  <a:lnTo>
                    <a:pt x="1835" y="446"/>
                  </a:lnTo>
                  <a:lnTo>
                    <a:pt x="1837" y="446"/>
                  </a:lnTo>
                  <a:lnTo>
                    <a:pt x="1835" y="448"/>
                  </a:lnTo>
                  <a:lnTo>
                    <a:pt x="1835" y="450"/>
                  </a:lnTo>
                  <a:lnTo>
                    <a:pt x="1833" y="450"/>
                  </a:lnTo>
                  <a:lnTo>
                    <a:pt x="1833" y="452"/>
                  </a:lnTo>
                  <a:lnTo>
                    <a:pt x="1833" y="452"/>
                  </a:lnTo>
                  <a:lnTo>
                    <a:pt x="1833" y="452"/>
                  </a:lnTo>
                  <a:lnTo>
                    <a:pt x="1831" y="454"/>
                  </a:lnTo>
                  <a:lnTo>
                    <a:pt x="1831" y="454"/>
                  </a:lnTo>
                  <a:lnTo>
                    <a:pt x="1829" y="454"/>
                  </a:lnTo>
                  <a:lnTo>
                    <a:pt x="1825" y="454"/>
                  </a:lnTo>
                  <a:lnTo>
                    <a:pt x="1819" y="452"/>
                  </a:lnTo>
                  <a:lnTo>
                    <a:pt x="1813" y="450"/>
                  </a:lnTo>
                  <a:lnTo>
                    <a:pt x="1810" y="450"/>
                  </a:lnTo>
                  <a:lnTo>
                    <a:pt x="1808" y="450"/>
                  </a:lnTo>
                  <a:lnTo>
                    <a:pt x="1808" y="452"/>
                  </a:lnTo>
                  <a:lnTo>
                    <a:pt x="1806" y="456"/>
                  </a:lnTo>
                  <a:lnTo>
                    <a:pt x="1802" y="461"/>
                  </a:lnTo>
                  <a:lnTo>
                    <a:pt x="1802" y="463"/>
                  </a:lnTo>
                  <a:lnTo>
                    <a:pt x="1802" y="463"/>
                  </a:lnTo>
                  <a:lnTo>
                    <a:pt x="1802" y="465"/>
                  </a:lnTo>
                  <a:lnTo>
                    <a:pt x="1800" y="467"/>
                  </a:lnTo>
                  <a:lnTo>
                    <a:pt x="1802" y="467"/>
                  </a:lnTo>
                  <a:lnTo>
                    <a:pt x="1804" y="467"/>
                  </a:lnTo>
                  <a:lnTo>
                    <a:pt x="1810" y="463"/>
                  </a:lnTo>
                  <a:lnTo>
                    <a:pt x="1813" y="463"/>
                  </a:lnTo>
                  <a:lnTo>
                    <a:pt x="1815" y="461"/>
                  </a:lnTo>
                  <a:lnTo>
                    <a:pt x="1817" y="461"/>
                  </a:lnTo>
                  <a:lnTo>
                    <a:pt x="1821" y="461"/>
                  </a:lnTo>
                  <a:lnTo>
                    <a:pt x="1823" y="461"/>
                  </a:lnTo>
                  <a:lnTo>
                    <a:pt x="1825" y="463"/>
                  </a:lnTo>
                  <a:lnTo>
                    <a:pt x="1829" y="463"/>
                  </a:lnTo>
                  <a:lnTo>
                    <a:pt x="1833" y="463"/>
                  </a:lnTo>
                  <a:lnTo>
                    <a:pt x="1835" y="461"/>
                  </a:lnTo>
                  <a:lnTo>
                    <a:pt x="1839" y="461"/>
                  </a:lnTo>
                  <a:lnTo>
                    <a:pt x="1841" y="461"/>
                  </a:lnTo>
                  <a:lnTo>
                    <a:pt x="1839" y="463"/>
                  </a:lnTo>
                  <a:lnTo>
                    <a:pt x="1837" y="463"/>
                  </a:lnTo>
                  <a:lnTo>
                    <a:pt x="1837" y="463"/>
                  </a:lnTo>
                  <a:lnTo>
                    <a:pt x="1843" y="467"/>
                  </a:lnTo>
                  <a:lnTo>
                    <a:pt x="1846" y="467"/>
                  </a:lnTo>
                  <a:lnTo>
                    <a:pt x="1843" y="469"/>
                  </a:lnTo>
                  <a:lnTo>
                    <a:pt x="1837" y="465"/>
                  </a:lnTo>
                  <a:lnTo>
                    <a:pt x="1833" y="465"/>
                  </a:lnTo>
                  <a:lnTo>
                    <a:pt x="1829" y="465"/>
                  </a:lnTo>
                  <a:lnTo>
                    <a:pt x="1827" y="465"/>
                  </a:lnTo>
                  <a:lnTo>
                    <a:pt x="1819" y="463"/>
                  </a:lnTo>
                  <a:lnTo>
                    <a:pt x="1817" y="463"/>
                  </a:lnTo>
                  <a:lnTo>
                    <a:pt x="1815" y="463"/>
                  </a:lnTo>
                  <a:lnTo>
                    <a:pt x="1810" y="465"/>
                  </a:lnTo>
                  <a:lnTo>
                    <a:pt x="1808" y="467"/>
                  </a:lnTo>
                  <a:lnTo>
                    <a:pt x="1804" y="467"/>
                  </a:lnTo>
                  <a:lnTo>
                    <a:pt x="1802" y="469"/>
                  </a:lnTo>
                  <a:lnTo>
                    <a:pt x="1800" y="471"/>
                  </a:lnTo>
                  <a:lnTo>
                    <a:pt x="1800" y="473"/>
                  </a:lnTo>
                  <a:lnTo>
                    <a:pt x="1798" y="477"/>
                  </a:lnTo>
                  <a:lnTo>
                    <a:pt x="1800" y="481"/>
                  </a:lnTo>
                  <a:lnTo>
                    <a:pt x="1802" y="481"/>
                  </a:lnTo>
                  <a:lnTo>
                    <a:pt x="1804" y="481"/>
                  </a:lnTo>
                  <a:lnTo>
                    <a:pt x="1806" y="481"/>
                  </a:lnTo>
                  <a:lnTo>
                    <a:pt x="1808" y="481"/>
                  </a:lnTo>
                  <a:lnTo>
                    <a:pt x="1813" y="483"/>
                  </a:lnTo>
                  <a:lnTo>
                    <a:pt x="1817" y="483"/>
                  </a:lnTo>
                  <a:lnTo>
                    <a:pt x="1819" y="483"/>
                  </a:lnTo>
                  <a:lnTo>
                    <a:pt x="1819" y="483"/>
                  </a:lnTo>
                  <a:lnTo>
                    <a:pt x="1819" y="483"/>
                  </a:lnTo>
                  <a:lnTo>
                    <a:pt x="1819" y="483"/>
                  </a:lnTo>
                  <a:lnTo>
                    <a:pt x="1817" y="483"/>
                  </a:lnTo>
                  <a:lnTo>
                    <a:pt x="1810" y="483"/>
                  </a:lnTo>
                  <a:lnTo>
                    <a:pt x="1808" y="485"/>
                  </a:lnTo>
                  <a:lnTo>
                    <a:pt x="1808" y="487"/>
                  </a:lnTo>
                  <a:lnTo>
                    <a:pt x="1804" y="490"/>
                  </a:lnTo>
                  <a:lnTo>
                    <a:pt x="1804" y="490"/>
                  </a:lnTo>
                  <a:lnTo>
                    <a:pt x="1804" y="490"/>
                  </a:lnTo>
                  <a:lnTo>
                    <a:pt x="1802" y="492"/>
                  </a:lnTo>
                  <a:lnTo>
                    <a:pt x="1802" y="494"/>
                  </a:lnTo>
                  <a:lnTo>
                    <a:pt x="1802" y="496"/>
                  </a:lnTo>
                  <a:lnTo>
                    <a:pt x="1802" y="498"/>
                  </a:lnTo>
                  <a:lnTo>
                    <a:pt x="1802" y="500"/>
                  </a:lnTo>
                  <a:lnTo>
                    <a:pt x="1802" y="500"/>
                  </a:lnTo>
                  <a:lnTo>
                    <a:pt x="1804" y="500"/>
                  </a:lnTo>
                  <a:lnTo>
                    <a:pt x="1808" y="500"/>
                  </a:lnTo>
                  <a:lnTo>
                    <a:pt x="1810" y="500"/>
                  </a:lnTo>
                  <a:lnTo>
                    <a:pt x="1813" y="498"/>
                  </a:lnTo>
                  <a:lnTo>
                    <a:pt x="1813" y="498"/>
                  </a:lnTo>
                  <a:lnTo>
                    <a:pt x="1815" y="496"/>
                  </a:lnTo>
                  <a:lnTo>
                    <a:pt x="1819" y="494"/>
                  </a:lnTo>
                  <a:lnTo>
                    <a:pt x="1827" y="487"/>
                  </a:lnTo>
                  <a:lnTo>
                    <a:pt x="1829" y="485"/>
                  </a:lnTo>
                  <a:lnTo>
                    <a:pt x="1833" y="483"/>
                  </a:lnTo>
                  <a:lnTo>
                    <a:pt x="1835" y="483"/>
                  </a:lnTo>
                  <a:lnTo>
                    <a:pt x="1835" y="483"/>
                  </a:lnTo>
                  <a:lnTo>
                    <a:pt x="1835" y="483"/>
                  </a:lnTo>
                  <a:lnTo>
                    <a:pt x="1831" y="487"/>
                  </a:lnTo>
                  <a:lnTo>
                    <a:pt x="1829" y="487"/>
                  </a:lnTo>
                  <a:lnTo>
                    <a:pt x="1827" y="490"/>
                  </a:lnTo>
                  <a:lnTo>
                    <a:pt x="1827" y="490"/>
                  </a:lnTo>
                  <a:lnTo>
                    <a:pt x="1825" y="490"/>
                  </a:lnTo>
                  <a:lnTo>
                    <a:pt x="1825" y="492"/>
                  </a:lnTo>
                  <a:lnTo>
                    <a:pt x="1823" y="494"/>
                  </a:lnTo>
                  <a:lnTo>
                    <a:pt x="1821" y="494"/>
                  </a:lnTo>
                  <a:lnTo>
                    <a:pt x="1817" y="496"/>
                  </a:lnTo>
                  <a:lnTo>
                    <a:pt x="1810" y="500"/>
                  </a:lnTo>
                  <a:lnTo>
                    <a:pt x="1806" y="502"/>
                  </a:lnTo>
                  <a:lnTo>
                    <a:pt x="1804" y="502"/>
                  </a:lnTo>
                  <a:lnTo>
                    <a:pt x="1806" y="504"/>
                  </a:lnTo>
                  <a:lnTo>
                    <a:pt x="1806" y="504"/>
                  </a:lnTo>
                  <a:lnTo>
                    <a:pt x="1806" y="504"/>
                  </a:lnTo>
                  <a:lnTo>
                    <a:pt x="1808" y="504"/>
                  </a:lnTo>
                  <a:lnTo>
                    <a:pt x="1806" y="510"/>
                  </a:lnTo>
                  <a:lnTo>
                    <a:pt x="1808" y="514"/>
                  </a:lnTo>
                  <a:lnTo>
                    <a:pt x="1808" y="514"/>
                  </a:lnTo>
                  <a:lnTo>
                    <a:pt x="1810" y="514"/>
                  </a:lnTo>
                  <a:lnTo>
                    <a:pt x="1815" y="514"/>
                  </a:lnTo>
                  <a:lnTo>
                    <a:pt x="1817" y="516"/>
                  </a:lnTo>
                  <a:lnTo>
                    <a:pt x="1821" y="516"/>
                  </a:lnTo>
                  <a:lnTo>
                    <a:pt x="1825" y="514"/>
                  </a:lnTo>
                  <a:lnTo>
                    <a:pt x="1827" y="512"/>
                  </a:lnTo>
                  <a:lnTo>
                    <a:pt x="1829" y="510"/>
                  </a:lnTo>
                  <a:lnTo>
                    <a:pt x="1829" y="510"/>
                  </a:lnTo>
                  <a:lnTo>
                    <a:pt x="1833" y="508"/>
                  </a:lnTo>
                  <a:lnTo>
                    <a:pt x="1837" y="508"/>
                  </a:lnTo>
                  <a:lnTo>
                    <a:pt x="1837" y="508"/>
                  </a:lnTo>
                  <a:lnTo>
                    <a:pt x="1837" y="510"/>
                  </a:lnTo>
                  <a:lnTo>
                    <a:pt x="1835" y="510"/>
                  </a:lnTo>
                  <a:lnTo>
                    <a:pt x="1831" y="510"/>
                  </a:lnTo>
                  <a:lnTo>
                    <a:pt x="1829" y="512"/>
                  </a:lnTo>
                  <a:lnTo>
                    <a:pt x="1825" y="514"/>
                  </a:lnTo>
                  <a:lnTo>
                    <a:pt x="1823" y="516"/>
                  </a:lnTo>
                  <a:lnTo>
                    <a:pt x="1819" y="518"/>
                  </a:lnTo>
                  <a:lnTo>
                    <a:pt x="1819" y="518"/>
                  </a:lnTo>
                  <a:lnTo>
                    <a:pt x="1817" y="518"/>
                  </a:lnTo>
                  <a:lnTo>
                    <a:pt x="1819" y="520"/>
                  </a:lnTo>
                  <a:lnTo>
                    <a:pt x="1819" y="523"/>
                  </a:lnTo>
                  <a:lnTo>
                    <a:pt x="1819" y="523"/>
                  </a:lnTo>
                  <a:lnTo>
                    <a:pt x="1821" y="523"/>
                  </a:lnTo>
                  <a:lnTo>
                    <a:pt x="1821" y="525"/>
                  </a:lnTo>
                  <a:lnTo>
                    <a:pt x="1823" y="531"/>
                  </a:lnTo>
                  <a:lnTo>
                    <a:pt x="1823" y="535"/>
                  </a:lnTo>
                  <a:lnTo>
                    <a:pt x="1823" y="537"/>
                  </a:lnTo>
                  <a:lnTo>
                    <a:pt x="1823" y="541"/>
                  </a:lnTo>
                  <a:lnTo>
                    <a:pt x="1825" y="541"/>
                  </a:lnTo>
                  <a:lnTo>
                    <a:pt x="1825" y="543"/>
                  </a:lnTo>
                  <a:lnTo>
                    <a:pt x="1827" y="545"/>
                  </a:lnTo>
                  <a:lnTo>
                    <a:pt x="1827" y="545"/>
                  </a:lnTo>
                  <a:lnTo>
                    <a:pt x="1829" y="543"/>
                  </a:lnTo>
                  <a:lnTo>
                    <a:pt x="1829" y="541"/>
                  </a:lnTo>
                  <a:lnTo>
                    <a:pt x="1833" y="537"/>
                  </a:lnTo>
                  <a:lnTo>
                    <a:pt x="1833" y="535"/>
                  </a:lnTo>
                  <a:lnTo>
                    <a:pt x="1833" y="533"/>
                  </a:lnTo>
                  <a:lnTo>
                    <a:pt x="1835" y="533"/>
                  </a:lnTo>
                  <a:lnTo>
                    <a:pt x="1837" y="533"/>
                  </a:lnTo>
                  <a:lnTo>
                    <a:pt x="1837" y="533"/>
                  </a:lnTo>
                  <a:lnTo>
                    <a:pt x="1835" y="535"/>
                  </a:lnTo>
                  <a:lnTo>
                    <a:pt x="1839" y="535"/>
                  </a:lnTo>
                  <a:lnTo>
                    <a:pt x="1841" y="535"/>
                  </a:lnTo>
                  <a:lnTo>
                    <a:pt x="1841" y="533"/>
                  </a:lnTo>
                  <a:lnTo>
                    <a:pt x="1843" y="531"/>
                  </a:lnTo>
                  <a:lnTo>
                    <a:pt x="1843" y="531"/>
                  </a:lnTo>
                  <a:lnTo>
                    <a:pt x="1841" y="527"/>
                  </a:lnTo>
                  <a:lnTo>
                    <a:pt x="1841" y="525"/>
                  </a:lnTo>
                  <a:lnTo>
                    <a:pt x="1839" y="523"/>
                  </a:lnTo>
                  <a:lnTo>
                    <a:pt x="1839" y="523"/>
                  </a:lnTo>
                  <a:lnTo>
                    <a:pt x="1841" y="525"/>
                  </a:lnTo>
                  <a:lnTo>
                    <a:pt x="1841" y="527"/>
                  </a:lnTo>
                  <a:lnTo>
                    <a:pt x="1843" y="529"/>
                  </a:lnTo>
                  <a:lnTo>
                    <a:pt x="1843" y="529"/>
                  </a:lnTo>
                  <a:lnTo>
                    <a:pt x="1843" y="531"/>
                  </a:lnTo>
                  <a:lnTo>
                    <a:pt x="1846" y="533"/>
                  </a:lnTo>
                  <a:lnTo>
                    <a:pt x="1850" y="533"/>
                  </a:lnTo>
                  <a:lnTo>
                    <a:pt x="1850" y="533"/>
                  </a:lnTo>
                  <a:lnTo>
                    <a:pt x="1852" y="533"/>
                  </a:lnTo>
                  <a:lnTo>
                    <a:pt x="1852" y="537"/>
                  </a:lnTo>
                  <a:lnTo>
                    <a:pt x="1854" y="539"/>
                  </a:lnTo>
                  <a:lnTo>
                    <a:pt x="1854" y="539"/>
                  </a:lnTo>
                  <a:lnTo>
                    <a:pt x="1852" y="539"/>
                  </a:lnTo>
                  <a:lnTo>
                    <a:pt x="1850" y="535"/>
                  </a:lnTo>
                  <a:lnTo>
                    <a:pt x="1848" y="535"/>
                  </a:lnTo>
                  <a:lnTo>
                    <a:pt x="1846" y="535"/>
                  </a:lnTo>
                  <a:lnTo>
                    <a:pt x="1843" y="535"/>
                  </a:lnTo>
                  <a:lnTo>
                    <a:pt x="1841" y="535"/>
                  </a:lnTo>
                  <a:lnTo>
                    <a:pt x="1841" y="535"/>
                  </a:lnTo>
                  <a:lnTo>
                    <a:pt x="1841" y="537"/>
                  </a:lnTo>
                  <a:lnTo>
                    <a:pt x="1841" y="537"/>
                  </a:lnTo>
                  <a:lnTo>
                    <a:pt x="1837" y="537"/>
                  </a:lnTo>
                  <a:lnTo>
                    <a:pt x="1835" y="537"/>
                  </a:lnTo>
                  <a:lnTo>
                    <a:pt x="1833" y="539"/>
                  </a:lnTo>
                  <a:lnTo>
                    <a:pt x="1831" y="543"/>
                  </a:lnTo>
                  <a:lnTo>
                    <a:pt x="1829" y="545"/>
                  </a:lnTo>
                  <a:lnTo>
                    <a:pt x="1829" y="545"/>
                  </a:lnTo>
                  <a:lnTo>
                    <a:pt x="1831" y="547"/>
                  </a:lnTo>
                  <a:lnTo>
                    <a:pt x="1831" y="547"/>
                  </a:lnTo>
                  <a:lnTo>
                    <a:pt x="1833" y="547"/>
                  </a:lnTo>
                  <a:lnTo>
                    <a:pt x="1833" y="547"/>
                  </a:lnTo>
                  <a:lnTo>
                    <a:pt x="1835" y="547"/>
                  </a:lnTo>
                  <a:lnTo>
                    <a:pt x="1837" y="545"/>
                  </a:lnTo>
                  <a:lnTo>
                    <a:pt x="1843" y="545"/>
                  </a:lnTo>
                  <a:lnTo>
                    <a:pt x="1846" y="543"/>
                  </a:lnTo>
                  <a:lnTo>
                    <a:pt x="1848" y="543"/>
                  </a:lnTo>
                  <a:lnTo>
                    <a:pt x="1848" y="543"/>
                  </a:lnTo>
                  <a:lnTo>
                    <a:pt x="1846" y="545"/>
                  </a:lnTo>
                  <a:lnTo>
                    <a:pt x="1846" y="545"/>
                  </a:lnTo>
                  <a:lnTo>
                    <a:pt x="1848" y="545"/>
                  </a:lnTo>
                  <a:lnTo>
                    <a:pt x="1850" y="545"/>
                  </a:lnTo>
                  <a:lnTo>
                    <a:pt x="1848" y="545"/>
                  </a:lnTo>
                  <a:lnTo>
                    <a:pt x="1846" y="545"/>
                  </a:lnTo>
                  <a:lnTo>
                    <a:pt x="1843" y="547"/>
                  </a:lnTo>
                  <a:lnTo>
                    <a:pt x="1841" y="547"/>
                  </a:lnTo>
                  <a:lnTo>
                    <a:pt x="1835" y="549"/>
                  </a:lnTo>
                  <a:lnTo>
                    <a:pt x="1831" y="549"/>
                  </a:lnTo>
                  <a:lnTo>
                    <a:pt x="1833" y="551"/>
                  </a:lnTo>
                  <a:lnTo>
                    <a:pt x="1831" y="556"/>
                  </a:lnTo>
                  <a:lnTo>
                    <a:pt x="1833" y="558"/>
                  </a:lnTo>
                  <a:lnTo>
                    <a:pt x="1837" y="562"/>
                  </a:lnTo>
                  <a:lnTo>
                    <a:pt x="1839" y="566"/>
                  </a:lnTo>
                  <a:lnTo>
                    <a:pt x="1841" y="568"/>
                  </a:lnTo>
                  <a:lnTo>
                    <a:pt x="1841" y="570"/>
                  </a:lnTo>
                  <a:lnTo>
                    <a:pt x="1843" y="570"/>
                  </a:lnTo>
                  <a:lnTo>
                    <a:pt x="1846" y="572"/>
                  </a:lnTo>
                  <a:lnTo>
                    <a:pt x="1846" y="572"/>
                  </a:lnTo>
                  <a:lnTo>
                    <a:pt x="1846" y="574"/>
                  </a:lnTo>
                  <a:lnTo>
                    <a:pt x="1848" y="576"/>
                  </a:lnTo>
                  <a:lnTo>
                    <a:pt x="1848" y="576"/>
                  </a:lnTo>
                  <a:lnTo>
                    <a:pt x="1848" y="576"/>
                  </a:lnTo>
                  <a:lnTo>
                    <a:pt x="1852" y="572"/>
                  </a:lnTo>
                  <a:lnTo>
                    <a:pt x="1856" y="572"/>
                  </a:lnTo>
                  <a:lnTo>
                    <a:pt x="1852" y="574"/>
                  </a:lnTo>
                  <a:lnTo>
                    <a:pt x="1850" y="576"/>
                  </a:lnTo>
                  <a:lnTo>
                    <a:pt x="1850" y="578"/>
                  </a:lnTo>
                  <a:lnTo>
                    <a:pt x="1850" y="578"/>
                  </a:lnTo>
                  <a:lnTo>
                    <a:pt x="1850" y="582"/>
                  </a:lnTo>
                  <a:lnTo>
                    <a:pt x="1850" y="582"/>
                  </a:lnTo>
                  <a:lnTo>
                    <a:pt x="1850" y="584"/>
                  </a:lnTo>
                  <a:lnTo>
                    <a:pt x="1850" y="584"/>
                  </a:lnTo>
                  <a:lnTo>
                    <a:pt x="1852" y="584"/>
                  </a:lnTo>
                  <a:lnTo>
                    <a:pt x="1852" y="587"/>
                  </a:lnTo>
                  <a:lnTo>
                    <a:pt x="1854" y="587"/>
                  </a:lnTo>
                  <a:lnTo>
                    <a:pt x="1856" y="589"/>
                  </a:lnTo>
                  <a:lnTo>
                    <a:pt x="1858" y="589"/>
                  </a:lnTo>
                  <a:lnTo>
                    <a:pt x="1860" y="589"/>
                  </a:lnTo>
                  <a:lnTo>
                    <a:pt x="1858" y="591"/>
                  </a:lnTo>
                  <a:lnTo>
                    <a:pt x="1858" y="593"/>
                  </a:lnTo>
                  <a:lnTo>
                    <a:pt x="1858" y="593"/>
                  </a:lnTo>
                  <a:lnTo>
                    <a:pt x="1858" y="595"/>
                  </a:lnTo>
                  <a:lnTo>
                    <a:pt x="1862" y="595"/>
                  </a:lnTo>
                  <a:lnTo>
                    <a:pt x="1864" y="593"/>
                  </a:lnTo>
                  <a:lnTo>
                    <a:pt x="1864" y="593"/>
                  </a:lnTo>
                  <a:lnTo>
                    <a:pt x="1866" y="591"/>
                  </a:lnTo>
                  <a:lnTo>
                    <a:pt x="1868" y="593"/>
                  </a:lnTo>
                  <a:lnTo>
                    <a:pt x="1870" y="593"/>
                  </a:lnTo>
                  <a:lnTo>
                    <a:pt x="1866" y="593"/>
                  </a:lnTo>
                  <a:lnTo>
                    <a:pt x="1866" y="595"/>
                  </a:lnTo>
                  <a:lnTo>
                    <a:pt x="1866" y="595"/>
                  </a:lnTo>
                  <a:lnTo>
                    <a:pt x="1864" y="595"/>
                  </a:lnTo>
                  <a:lnTo>
                    <a:pt x="1862" y="597"/>
                  </a:lnTo>
                  <a:lnTo>
                    <a:pt x="1862" y="597"/>
                  </a:lnTo>
                  <a:lnTo>
                    <a:pt x="1864" y="599"/>
                  </a:lnTo>
                  <a:lnTo>
                    <a:pt x="1864" y="599"/>
                  </a:lnTo>
                  <a:lnTo>
                    <a:pt x="1864" y="601"/>
                  </a:lnTo>
                  <a:lnTo>
                    <a:pt x="1864" y="601"/>
                  </a:lnTo>
                  <a:lnTo>
                    <a:pt x="1864" y="603"/>
                  </a:lnTo>
                  <a:lnTo>
                    <a:pt x="1864" y="603"/>
                  </a:lnTo>
                  <a:lnTo>
                    <a:pt x="1864" y="603"/>
                  </a:lnTo>
                  <a:lnTo>
                    <a:pt x="1866" y="605"/>
                  </a:lnTo>
                  <a:lnTo>
                    <a:pt x="1868" y="607"/>
                  </a:lnTo>
                  <a:lnTo>
                    <a:pt x="1868" y="607"/>
                  </a:lnTo>
                  <a:lnTo>
                    <a:pt x="1868" y="609"/>
                  </a:lnTo>
                  <a:lnTo>
                    <a:pt x="1874" y="611"/>
                  </a:lnTo>
                  <a:lnTo>
                    <a:pt x="1874" y="611"/>
                  </a:lnTo>
                  <a:lnTo>
                    <a:pt x="1874" y="611"/>
                  </a:lnTo>
                  <a:lnTo>
                    <a:pt x="1876" y="611"/>
                  </a:lnTo>
                  <a:lnTo>
                    <a:pt x="1876" y="611"/>
                  </a:lnTo>
                  <a:lnTo>
                    <a:pt x="1876" y="613"/>
                  </a:lnTo>
                  <a:lnTo>
                    <a:pt x="1876" y="615"/>
                  </a:lnTo>
                  <a:lnTo>
                    <a:pt x="1879" y="615"/>
                  </a:lnTo>
                  <a:lnTo>
                    <a:pt x="1881" y="615"/>
                  </a:lnTo>
                  <a:lnTo>
                    <a:pt x="1885" y="615"/>
                  </a:lnTo>
                  <a:lnTo>
                    <a:pt x="1885" y="615"/>
                  </a:lnTo>
                  <a:lnTo>
                    <a:pt x="1883" y="618"/>
                  </a:lnTo>
                  <a:lnTo>
                    <a:pt x="1879" y="620"/>
                  </a:lnTo>
                  <a:lnTo>
                    <a:pt x="1879" y="620"/>
                  </a:lnTo>
                  <a:lnTo>
                    <a:pt x="1879" y="622"/>
                  </a:lnTo>
                  <a:lnTo>
                    <a:pt x="1881" y="622"/>
                  </a:lnTo>
                  <a:lnTo>
                    <a:pt x="1883" y="622"/>
                  </a:lnTo>
                  <a:lnTo>
                    <a:pt x="1885" y="622"/>
                  </a:lnTo>
                  <a:lnTo>
                    <a:pt x="1887" y="622"/>
                  </a:lnTo>
                  <a:lnTo>
                    <a:pt x="1885" y="620"/>
                  </a:lnTo>
                  <a:lnTo>
                    <a:pt x="1885" y="620"/>
                  </a:lnTo>
                  <a:lnTo>
                    <a:pt x="1887" y="620"/>
                  </a:lnTo>
                  <a:lnTo>
                    <a:pt x="1889" y="620"/>
                  </a:lnTo>
                  <a:lnTo>
                    <a:pt x="1889" y="620"/>
                  </a:lnTo>
                  <a:lnTo>
                    <a:pt x="1891" y="620"/>
                  </a:lnTo>
                  <a:lnTo>
                    <a:pt x="1893" y="620"/>
                  </a:lnTo>
                  <a:lnTo>
                    <a:pt x="1895" y="620"/>
                  </a:lnTo>
                  <a:lnTo>
                    <a:pt x="1897" y="620"/>
                  </a:lnTo>
                  <a:lnTo>
                    <a:pt x="1897" y="620"/>
                  </a:lnTo>
                  <a:lnTo>
                    <a:pt x="1899" y="620"/>
                  </a:lnTo>
                  <a:lnTo>
                    <a:pt x="1901" y="618"/>
                  </a:lnTo>
                  <a:lnTo>
                    <a:pt x="1901" y="618"/>
                  </a:lnTo>
                  <a:lnTo>
                    <a:pt x="1905" y="615"/>
                  </a:lnTo>
                  <a:lnTo>
                    <a:pt x="1909" y="613"/>
                  </a:lnTo>
                  <a:lnTo>
                    <a:pt x="1912" y="613"/>
                  </a:lnTo>
                  <a:lnTo>
                    <a:pt x="1912" y="611"/>
                  </a:lnTo>
                  <a:lnTo>
                    <a:pt x="1912" y="611"/>
                  </a:lnTo>
                  <a:lnTo>
                    <a:pt x="1912" y="611"/>
                  </a:lnTo>
                  <a:lnTo>
                    <a:pt x="1914" y="611"/>
                  </a:lnTo>
                  <a:lnTo>
                    <a:pt x="1912" y="613"/>
                  </a:lnTo>
                  <a:lnTo>
                    <a:pt x="1912" y="615"/>
                  </a:lnTo>
                  <a:lnTo>
                    <a:pt x="1909" y="615"/>
                  </a:lnTo>
                  <a:lnTo>
                    <a:pt x="1909" y="620"/>
                  </a:lnTo>
                  <a:lnTo>
                    <a:pt x="1909" y="624"/>
                  </a:lnTo>
                  <a:lnTo>
                    <a:pt x="1912" y="624"/>
                  </a:lnTo>
                  <a:lnTo>
                    <a:pt x="1912" y="624"/>
                  </a:lnTo>
                  <a:lnTo>
                    <a:pt x="1916" y="626"/>
                  </a:lnTo>
                  <a:lnTo>
                    <a:pt x="1916" y="626"/>
                  </a:lnTo>
                  <a:lnTo>
                    <a:pt x="1918" y="628"/>
                  </a:lnTo>
                  <a:lnTo>
                    <a:pt x="1920" y="628"/>
                  </a:lnTo>
                  <a:lnTo>
                    <a:pt x="1920" y="628"/>
                  </a:lnTo>
                  <a:lnTo>
                    <a:pt x="1924" y="626"/>
                  </a:lnTo>
                  <a:lnTo>
                    <a:pt x="1928" y="624"/>
                  </a:lnTo>
                  <a:lnTo>
                    <a:pt x="1928" y="624"/>
                  </a:lnTo>
                  <a:lnTo>
                    <a:pt x="1926" y="626"/>
                  </a:lnTo>
                  <a:lnTo>
                    <a:pt x="1926" y="628"/>
                  </a:lnTo>
                  <a:lnTo>
                    <a:pt x="1924" y="628"/>
                  </a:lnTo>
                  <a:lnTo>
                    <a:pt x="1922" y="630"/>
                  </a:lnTo>
                  <a:lnTo>
                    <a:pt x="1920" y="630"/>
                  </a:lnTo>
                  <a:lnTo>
                    <a:pt x="1920" y="630"/>
                  </a:lnTo>
                  <a:lnTo>
                    <a:pt x="1920" y="632"/>
                  </a:lnTo>
                  <a:lnTo>
                    <a:pt x="1928" y="636"/>
                  </a:lnTo>
                  <a:lnTo>
                    <a:pt x="1930" y="636"/>
                  </a:lnTo>
                  <a:lnTo>
                    <a:pt x="1932" y="636"/>
                  </a:lnTo>
                  <a:lnTo>
                    <a:pt x="1932" y="634"/>
                  </a:lnTo>
                  <a:lnTo>
                    <a:pt x="1934" y="632"/>
                  </a:lnTo>
                  <a:lnTo>
                    <a:pt x="1936" y="632"/>
                  </a:lnTo>
                  <a:lnTo>
                    <a:pt x="1936" y="632"/>
                  </a:lnTo>
                  <a:lnTo>
                    <a:pt x="1936" y="634"/>
                  </a:lnTo>
                  <a:lnTo>
                    <a:pt x="1934" y="636"/>
                  </a:lnTo>
                  <a:lnTo>
                    <a:pt x="1932" y="636"/>
                  </a:lnTo>
                  <a:lnTo>
                    <a:pt x="1932" y="638"/>
                  </a:lnTo>
                  <a:lnTo>
                    <a:pt x="1934" y="638"/>
                  </a:lnTo>
                  <a:lnTo>
                    <a:pt x="1934" y="638"/>
                  </a:lnTo>
                  <a:lnTo>
                    <a:pt x="1934" y="640"/>
                  </a:lnTo>
                  <a:lnTo>
                    <a:pt x="1936" y="638"/>
                  </a:lnTo>
                  <a:lnTo>
                    <a:pt x="1938" y="638"/>
                  </a:lnTo>
                  <a:lnTo>
                    <a:pt x="1938" y="640"/>
                  </a:lnTo>
                  <a:lnTo>
                    <a:pt x="1938" y="640"/>
                  </a:lnTo>
                  <a:lnTo>
                    <a:pt x="1940" y="640"/>
                  </a:lnTo>
                  <a:lnTo>
                    <a:pt x="1942" y="640"/>
                  </a:lnTo>
                  <a:lnTo>
                    <a:pt x="1942" y="640"/>
                  </a:lnTo>
                  <a:lnTo>
                    <a:pt x="1945" y="640"/>
                  </a:lnTo>
                  <a:lnTo>
                    <a:pt x="1942" y="638"/>
                  </a:lnTo>
                  <a:lnTo>
                    <a:pt x="1940" y="638"/>
                  </a:lnTo>
                  <a:lnTo>
                    <a:pt x="1940" y="636"/>
                  </a:lnTo>
                  <a:lnTo>
                    <a:pt x="1945" y="638"/>
                  </a:lnTo>
                  <a:lnTo>
                    <a:pt x="1945" y="638"/>
                  </a:lnTo>
                  <a:lnTo>
                    <a:pt x="1949" y="638"/>
                  </a:lnTo>
                  <a:lnTo>
                    <a:pt x="1951" y="638"/>
                  </a:lnTo>
                  <a:lnTo>
                    <a:pt x="1951" y="636"/>
                  </a:lnTo>
                  <a:lnTo>
                    <a:pt x="1951" y="632"/>
                  </a:lnTo>
                  <a:lnTo>
                    <a:pt x="1951" y="630"/>
                  </a:lnTo>
                  <a:lnTo>
                    <a:pt x="1951" y="630"/>
                  </a:lnTo>
                  <a:lnTo>
                    <a:pt x="1951" y="628"/>
                  </a:lnTo>
                  <a:lnTo>
                    <a:pt x="1949" y="628"/>
                  </a:lnTo>
                  <a:lnTo>
                    <a:pt x="1947" y="628"/>
                  </a:lnTo>
                  <a:lnTo>
                    <a:pt x="1945" y="626"/>
                  </a:lnTo>
                  <a:lnTo>
                    <a:pt x="1940" y="626"/>
                  </a:lnTo>
                  <a:lnTo>
                    <a:pt x="1940" y="626"/>
                  </a:lnTo>
                  <a:lnTo>
                    <a:pt x="1940" y="624"/>
                  </a:lnTo>
                  <a:lnTo>
                    <a:pt x="1942" y="624"/>
                  </a:lnTo>
                  <a:lnTo>
                    <a:pt x="1945" y="626"/>
                  </a:lnTo>
                  <a:lnTo>
                    <a:pt x="1949" y="626"/>
                  </a:lnTo>
                  <a:lnTo>
                    <a:pt x="1951" y="626"/>
                  </a:lnTo>
                  <a:lnTo>
                    <a:pt x="1951" y="626"/>
                  </a:lnTo>
                  <a:lnTo>
                    <a:pt x="1953" y="626"/>
                  </a:lnTo>
                  <a:lnTo>
                    <a:pt x="1957" y="622"/>
                  </a:lnTo>
                  <a:lnTo>
                    <a:pt x="1959" y="613"/>
                  </a:lnTo>
                  <a:lnTo>
                    <a:pt x="1961" y="607"/>
                  </a:lnTo>
                  <a:lnTo>
                    <a:pt x="1961" y="605"/>
                  </a:lnTo>
                  <a:lnTo>
                    <a:pt x="1963" y="603"/>
                  </a:lnTo>
                  <a:lnTo>
                    <a:pt x="1963" y="601"/>
                  </a:lnTo>
                  <a:lnTo>
                    <a:pt x="1959" y="601"/>
                  </a:lnTo>
                  <a:lnTo>
                    <a:pt x="1959" y="599"/>
                  </a:lnTo>
                  <a:lnTo>
                    <a:pt x="1963" y="599"/>
                  </a:lnTo>
                  <a:lnTo>
                    <a:pt x="1963" y="599"/>
                  </a:lnTo>
                  <a:lnTo>
                    <a:pt x="1965" y="597"/>
                  </a:lnTo>
                  <a:lnTo>
                    <a:pt x="1965" y="595"/>
                  </a:lnTo>
                  <a:lnTo>
                    <a:pt x="1965" y="595"/>
                  </a:lnTo>
                  <a:lnTo>
                    <a:pt x="1965" y="593"/>
                  </a:lnTo>
                  <a:lnTo>
                    <a:pt x="1963" y="591"/>
                  </a:lnTo>
                  <a:lnTo>
                    <a:pt x="1963" y="589"/>
                  </a:lnTo>
                  <a:lnTo>
                    <a:pt x="1965" y="587"/>
                  </a:lnTo>
                  <a:lnTo>
                    <a:pt x="1965" y="584"/>
                  </a:lnTo>
                  <a:lnTo>
                    <a:pt x="1963" y="584"/>
                  </a:lnTo>
                  <a:lnTo>
                    <a:pt x="1965" y="582"/>
                  </a:lnTo>
                  <a:lnTo>
                    <a:pt x="1965" y="582"/>
                  </a:lnTo>
                  <a:lnTo>
                    <a:pt x="1961" y="580"/>
                  </a:lnTo>
                  <a:lnTo>
                    <a:pt x="1957" y="580"/>
                  </a:lnTo>
                  <a:lnTo>
                    <a:pt x="1955" y="578"/>
                  </a:lnTo>
                  <a:lnTo>
                    <a:pt x="1955" y="578"/>
                  </a:lnTo>
                  <a:lnTo>
                    <a:pt x="1955" y="578"/>
                  </a:lnTo>
                  <a:lnTo>
                    <a:pt x="1957" y="578"/>
                  </a:lnTo>
                  <a:lnTo>
                    <a:pt x="1961" y="578"/>
                  </a:lnTo>
                  <a:lnTo>
                    <a:pt x="1963" y="578"/>
                  </a:lnTo>
                  <a:lnTo>
                    <a:pt x="1967" y="578"/>
                  </a:lnTo>
                  <a:lnTo>
                    <a:pt x="1967" y="578"/>
                  </a:lnTo>
                  <a:lnTo>
                    <a:pt x="1969" y="578"/>
                  </a:lnTo>
                  <a:lnTo>
                    <a:pt x="1971" y="574"/>
                  </a:lnTo>
                  <a:lnTo>
                    <a:pt x="1973" y="574"/>
                  </a:lnTo>
                  <a:lnTo>
                    <a:pt x="1973" y="572"/>
                  </a:lnTo>
                  <a:lnTo>
                    <a:pt x="1969" y="570"/>
                  </a:lnTo>
                  <a:lnTo>
                    <a:pt x="1967" y="570"/>
                  </a:lnTo>
                  <a:lnTo>
                    <a:pt x="1965" y="568"/>
                  </a:lnTo>
                  <a:lnTo>
                    <a:pt x="1965" y="568"/>
                  </a:lnTo>
                  <a:lnTo>
                    <a:pt x="1967" y="568"/>
                  </a:lnTo>
                  <a:lnTo>
                    <a:pt x="1967" y="568"/>
                  </a:lnTo>
                  <a:lnTo>
                    <a:pt x="1969" y="570"/>
                  </a:lnTo>
                  <a:lnTo>
                    <a:pt x="1973" y="570"/>
                  </a:lnTo>
                  <a:lnTo>
                    <a:pt x="1975" y="570"/>
                  </a:lnTo>
                  <a:lnTo>
                    <a:pt x="1975" y="570"/>
                  </a:lnTo>
                  <a:lnTo>
                    <a:pt x="1978" y="570"/>
                  </a:lnTo>
                  <a:lnTo>
                    <a:pt x="1980" y="568"/>
                  </a:lnTo>
                  <a:lnTo>
                    <a:pt x="1980" y="566"/>
                  </a:lnTo>
                  <a:lnTo>
                    <a:pt x="1980" y="566"/>
                  </a:lnTo>
                  <a:lnTo>
                    <a:pt x="1980" y="564"/>
                  </a:lnTo>
                  <a:lnTo>
                    <a:pt x="1982" y="564"/>
                  </a:lnTo>
                  <a:lnTo>
                    <a:pt x="1982" y="560"/>
                  </a:lnTo>
                  <a:lnTo>
                    <a:pt x="1984" y="562"/>
                  </a:lnTo>
                  <a:lnTo>
                    <a:pt x="1986" y="560"/>
                  </a:lnTo>
                  <a:lnTo>
                    <a:pt x="1986" y="558"/>
                  </a:lnTo>
                  <a:lnTo>
                    <a:pt x="1988" y="556"/>
                  </a:lnTo>
                  <a:lnTo>
                    <a:pt x="1988" y="556"/>
                  </a:lnTo>
                  <a:lnTo>
                    <a:pt x="1986" y="551"/>
                  </a:lnTo>
                  <a:lnTo>
                    <a:pt x="1988" y="547"/>
                  </a:lnTo>
                  <a:lnTo>
                    <a:pt x="1984" y="545"/>
                  </a:lnTo>
                  <a:lnTo>
                    <a:pt x="1982" y="545"/>
                  </a:lnTo>
                  <a:lnTo>
                    <a:pt x="1982" y="547"/>
                  </a:lnTo>
                  <a:lnTo>
                    <a:pt x="1980" y="545"/>
                  </a:lnTo>
                  <a:lnTo>
                    <a:pt x="1973" y="543"/>
                  </a:lnTo>
                  <a:lnTo>
                    <a:pt x="1980" y="543"/>
                  </a:lnTo>
                  <a:lnTo>
                    <a:pt x="1982" y="543"/>
                  </a:lnTo>
                  <a:lnTo>
                    <a:pt x="1982" y="545"/>
                  </a:lnTo>
                  <a:lnTo>
                    <a:pt x="1986" y="545"/>
                  </a:lnTo>
                  <a:lnTo>
                    <a:pt x="1986" y="543"/>
                  </a:lnTo>
                  <a:lnTo>
                    <a:pt x="1986" y="543"/>
                  </a:lnTo>
                  <a:lnTo>
                    <a:pt x="1990" y="541"/>
                  </a:lnTo>
                  <a:lnTo>
                    <a:pt x="1992" y="541"/>
                  </a:lnTo>
                  <a:lnTo>
                    <a:pt x="1994" y="539"/>
                  </a:lnTo>
                  <a:lnTo>
                    <a:pt x="1994" y="537"/>
                  </a:lnTo>
                  <a:lnTo>
                    <a:pt x="1992" y="537"/>
                  </a:lnTo>
                  <a:lnTo>
                    <a:pt x="1990" y="535"/>
                  </a:lnTo>
                  <a:lnTo>
                    <a:pt x="1988" y="531"/>
                  </a:lnTo>
                  <a:lnTo>
                    <a:pt x="1986" y="529"/>
                  </a:lnTo>
                  <a:lnTo>
                    <a:pt x="1984" y="531"/>
                  </a:lnTo>
                  <a:lnTo>
                    <a:pt x="1982" y="531"/>
                  </a:lnTo>
                  <a:lnTo>
                    <a:pt x="1982" y="527"/>
                  </a:lnTo>
                  <a:lnTo>
                    <a:pt x="1980" y="527"/>
                  </a:lnTo>
                  <a:lnTo>
                    <a:pt x="1980" y="525"/>
                  </a:lnTo>
                  <a:lnTo>
                    <a:pt x="1984" y="525"/>
                  </a:lnTo>
                  <a:lnTo>
                    <a:pt x="1986" y="525"/>
                  </a:lnTo>
                  <a:lnTo>
                    <a:pt x="1992" y="527"/>
                  </a:lnTo>
                  <a:lnTo>
                    <a:pt x="1996" y="525"/>
                  </a:lnTo>
                  <a:lnTo>
                    <a:pt x="1996" y="525"/>
                  </a:lnTo>
                  <a:lnTo>
                    <a:pt x="2000" y="520"/>
                  </a:lnTo>
                  <a:lnTo>
                    <a:pt x="2000" y="520"/>
                  </a:lnTo>
                  <a:lnTo>
                    <a:pt x="2002" y="518"/>
                  </a:lnTo>
                  <a:lnTo>
                    <a:pt x="2000" y="518"/>
                  </a:lnTo>
                  <a:lnTo>
                    <a:pt x="1994" y="514"/>
                  </a:lnTo>
                  <a:lnTo>
                    <a:pt x="1994" y="514"/>
                  </a:lnTo>
                  <a:lnTo>
                    <a:pt x="1996" y="514"/>
                  </a:lnTo>
                  <a:lnTo>
                    <a:pt x="2004" y="514"/>
                  </a:lnTo>
                  <a:lnTo>
                    <a:pt x="2008" y="512"/>
                  </a:lnTo>
                  <a:lnTo>
                    <a:pt x="2015" y="512"/>
                  </a:lnTo>
                  <a:lnTo>
                    <a:pt x="2021" y="510"/>
                  </a:lnTo>
                  <a:lnTo>
                    <a:pt x="2021" y="508"/>
                  </a:lnTo>
                  <a:lnTo>
                    <a:pt x="2021" y="508"/>
                  </a:lnTo>
                  <a:lnTo>
                    <a:pt x="2019" y="506"/>
                  </a:lnTo>
                  <a:lnTo>
                    <a:pt x="2017" y="504"/>
                  </a:lnTo>
                  <a:lnTo>
                    <a:pt x="2019" y="504"/>
                  </a:lnTo>
                  <a:lnTo>
                    <a:pt x="2023" y="506"/>
                  </a:lnTo>
                  <a:lnTo>
                    <a:pt x="2023" y="504"/>
                  </a:lnTo>
                  <a:lnTo>
                    <a:pt x="2025" y="500"/>
                  </a:lnTo>
                  <a:lnTo>
                    <a:pt x="2027" y="500"/>
                  </a:lnTo>
                  <a:lnTo>
                    <a:pt x="2029" y="498"/>
                  </a:lnTo>
                  <a:lnTo>
                    <a:pt x="2025" y="496"/>
                  </a:lnTo>
                  <a:lnTo>
                    <a:pt x="2023" y="496"/>
                  </a:lnTo>
                  <a:lnTo>
                    <a:pt x="2023" y="494"/>
                  </a:lnTo>
                  <a:lnTo>
                    <a:pt x="2027" y="496"/>
                  </a:lnTo>
                  <a:lnTo>
                    <a:pt x="2031" y="496"/>
                  </a:lnTo>
                  <a:lnTo>
                    <a:pt x="2035" y="496"/>
                  </a:lnTo>
                  <a:lnTo>
                    <a:pt x="2035" y="496"/>
                  </a:lnTo>
                  <a:lnTo>
                    <a:pt x="2031" y="500"/>
                  </a:lnTo>
                  <a:lnTo>
                    <a:pt x="2027" y="504"/>
                  </a:lnTo>
                  <a:lnTo>
                    <a:pt x="2027" y="506"/>
                  </a:lnTo>
                  <a:lnTo>
                    <a:pt x="2027" y="508"/>
                  </a:lnTo>
                  <a:lnTo>
                    <a:pt x="2027" y="508"/>
                  </a:lnTo>
                  <a:lnTo>
                    <a:pt x="2025" y="510"/>
                  </a:lnTo>
                  <a:lnTo>
                    <a:pt x="2025" y="512"/>
                  </a:lnTo>
                  <a:lnTo>
                    <a:pt x="2029" y="514"/>
                  </a:lnTo>
                  <a:lnTo>
                    <a:pt x="2029" y="512"/>
                  </a:lnTo>
                  <a:lnTo>
                    <a:pt x="2031" y="512"/>
                  </a:lnTo>
                  <a:lnTo>
                    <a:pt x="2033" y="512"/>
                  </a:lnTo>
                  <a:lnTo>
                    <a:pt x="2033" y="510"/>
                  </a:lnTo>
                  <a:lnTo>
                    <a:pt x="2035" y="508"/>
                  </a:lnTo>
                  <a:lnTo>
                    <a:pt x="2035" y="508"/>
                  </a:lnTo>
                  <a:lnTo>
                    <a:pt x="2037" y="506"/>
                  </a:lnTo>
                  <a:lnTo>
                    <a:pt x="2039" y="508"/>
                  </a:lnTo>
                  <a:lnTo>
                    <a:pt x="2039" y="508"/>
                  </a:lnTo>
                  <a:lnTo>
                    <a:pt x="2041" y="510"/>
                  </a:lnTo>
                  <a:lnTo>
                    <a:pt x="2043" y="508"/>
                  </a:lnTo>
                  <a:lnTo>
                    <a:pt x="2043" y="508"/>
                  </a:lnTo>
                  <a:lnTo>
                    <a:pt x="2043" y="508"/>
                  </a:lnTo>
                  <a:lnTo>
                    <a:pt x="2046" y="506"/>
                  </a:lnTo>
                  <a:lnTo>
                    <a:pt x="2046" y="504"/>
                  </a:lnTo>
                  <a:lnTo>
                    <a:pt x="2046" y="504"/>
                  </a:lnTo>
                  <a:lnTo>
                    <a:pt x="2048" y="504"/>
                  </a:lnTo>
                  <a:lnTo>
                    <a:pt x="2048" y="506"/>
                  </a:lnTo>
                  <a:lnTo>
                    <a:pt x="2048" y="508"/>
                  </a:lnTo>
                  <a:lnTo>
                    <a:pt x="2050" y="506"/>
                  </a:lnTo>
                  <a:lnTo>
                    <a:pt x="2052" y="504"/>
                  </a:lnTo>
                  <a:lnTo>
                    <a:pt x="2056" y="502"/>
                  </a:lnTo>
                  <a:lnTo>
                    <a:pt x="2058" y="502"/>
                  </a:lnTo>
                  <a:lnTo>
                    <a:pt x="2058" y="500"/>
                  </a:lnTo>
                  <a:lnTo>
                    <a:pt x="2056" y="496"/>
                  </a:lnTo>
                  <a:lnTo>
                    <a:pt x="2056" y="496"/>
                  </a:lnTo>
                  <a:lnTo>
                    <a:pt x="2056" y="496"/>
                  </a:lnTo>
                  <a:lnTo>
                    <a:pt x="2056" y="494"/>
                  </a:lnTo>
                  <a:lnTo>
                    <a:pt x="2056" y="494"/>
                  </a:lnTo>
                  <a:lnTo>
                    <a:pt x="2058" y="496"/>
                  </a:lnTo>
                  <a:lnTo>
                    <a:pt x="2058" y="496"/>
                  </a:lnTo>
                  <a:lnTo>
                    <a:pt x="2062" y="498"/>
                  </a:lnTo>
                  <a:lnTo>
                    <a:pt x="2064" y="498"/>
                  </a:lnTo>
                  <a:lnTo>
                    <a:pt x="2064" y="498"/>
                  </a:lnTo>
                  <a:lnTo>
                    <a:pt x="2066" y="498"/>
                  </a:lnTo>
                  <a:lnTo>
                    <a:pt x="2072" y="494"/>
                  </a:lnTo>
                  <a:lnTo>
                    <a:pt x="2072" y="494"/>
                  </a:lnTo>
                  <a:lnTo>
                    <a:pt x="2074" y="492"/>
                  </a:lnTo>
                  <a:lnTo>
                    <a:pt x="2074" y="490"/>
                  </a:lnTo>
                  <a:lnTo>
                    <a:pt x="2076" y="490"/>
                  </a:lnTo>
                  <a:lnTo>
                    <a:pt x="2076" y="490"/>
                  </a:lnTo>
                  <a:lnTo>
                    <a:pt x="2079" y="490"/>
                  </a:lnTo>
                  <a:lnTo>
                    <a:pt x="2079" y="487"/>
                  </a:lnTo>
                  <a:lnTo>
                    <a:pt x="2081" y="487"/>
                  </a:lnTo>
                  <a:lnTo>
                    <a:pt x="2083" y="481"/>
                  </a:lnTo>
                  <a:lnTo>
                    <a:pt x="2087" y="475"/>
                  </a:lnTo>
                  <a:lnTo>
                    <a:pt x="2089" y="475"/>
                  </a:lnTo>
                  <a:lnTo>
                    <a:pt x="2089" y="473"/>
                  </a:lnTo>
                  <a:lnTo>
                    <a:pt x="2089" y="471"/>
                  </a:lnTo>
                  <a:lnTo>
                    <a:pt x="2089" y="471"/>
                  </a:lnTo>
                  <a:lnTo>
                    <a:pt x="2089" y="471"/>
                  </a:lnTo>
                  <a:lnTo>
                    <a:pt x="2091" y="469"/>
                  </a:lnTo>
                  <a:lnTo>
                    <a:pt x="2091" y="469"/>
                  </a:lnTo>
                  <a:lnTo>
                    <a:pt x="2093" y="465"/>
                  </a:lnTo>
                  <a:lnTo>
                    <a:pt x="2095" y="465"/>
                  </a:lnTo>
                  <a:lnTo>
                    <a:pt x="2095" y="465"/>
                  </a:lnTo>
                  <a:lnTo>
                    <a:pt x="2097" y="463"/>
                  </a:lnTo>
                  <a:lnTo>
                    <a:pt x="2103" y="459"/>
                  </a:lnTo>
                  <a:lnTo>
                    <a:pt x="2105" y="459"/>
                  </a:lnTo>
                  <a:lnTo>
                    <a:pt x="2105" y="459"/>
                  </a:lnTo>
                  <a:lnTo>
                    <a:pt x="2107" y="456"/>
                  </a:lnTo>
                  <a:lnTo>
                    <a:pt x="2107" y="454"/>
                  </a:lnTo>
                  <a:lnTo>
                    <a:pt x="2107" y="452"/>
                  </a:lnTo>
                  <a:lnTo>
                    <a:pt x="2105" y="450"/>
                  </a:lnTo>
                  <a:lnTo>
                    <a:pt x="2105" y="450"/>
                  </a:lnTo>
                  <a:lnTo>
                    <a:pt x="2105" y="450"/>
                  </a:lnTo>
                  <a:lnTo>
                    <a:pt x="2107" y="450"/>
                  </a:lnTo>
                  <a:lnTo>
                    <a:pt x="2107" y="450"/>
                  </a:lnTo>
                  <a:lnTo>
                    <a:pt x="2107" y="448"/>
                  </a:lnTo>
                  <a:lnTo>
                    <a:pt x="2105" y="448"/>
                  </a:lnTo>
                  <a:lnTo>
                    <a:pt x="2105" y="446"/>
                  </a:lnTo>
                  <a:lnTo>
                    <a:pt x="2105" y="446"/>
                  </a:lnTo>
                  <a:lnTo>
                    <a:pt x="2107" y="446"/>
                  </a:lnTo>
                  <a:lnTo>
                    <a:pt x="2114" y="450"/>
                  </a:lnTo>
                  <a:lnTo>
                    <a:pt x="2118" y="452"/>
                  </a:lnTo>
                  <a:lnTo>
                    <a:pt x="2122" y="454"/>
                  </a:lnTo>
                  <a:lnTo>
                    <a:pt x="2124" y="454"/>
                  </a:lnTo>
                  <a:lnTo>
                    <a:pt x="2126" y="454"/>
                  </a:lnTo>
                  <a:lnTo>
                    <a:pt x="2130" y="452"/>
                  </a:lnTo>
                  <a:lnTo>
                    <a:pt x="2130" y="452"/>
                  </a:lnTo>
                  <a:lnTo>
                    <a:pt x="2128" y="450"/>
                  </a:lnTo>
                  <a:lnTo>
                    <a:pt x="2128" y="450"/>
                  </a:lnTo>
                  <a:lnTo>
                    <a:pt x="2134" y="452"/>
                  </a:lnTo>
                  <a:lnTo>
                    <a:pt x="2136" y="452"/>
                  </a:lnTo>
                  <a:lnTo>
                    <a:pt x="2138" y="450"/>
                  </a:lnTo>
                  <a:lnTo>
                    <a:pt x="2138" y="448"/>
                  </a:lnTo>
                  <a:lnTo>
                    <a:pt x="2140" y="448"/>
                  </a:lnTo>
                  <a:lnTo>
                    <a:pt x="2142" y="448"/>
                  </a:lnTo>
                  <a:lnTo>
                    <a:pt x="2147" y="448"/>
                  </a:lnTo>
                  <a:lnTo>
                    <a:pt x="2149" y="448"/>
                  </a:lnTo>
                  <a:lnTo>
                    <a:pt x="2151" y="448"/>
                  </a:lnTo>
                  <a:lnTo>
                    <a:pt x="2155" y="448"/>
                  </a:lnTo>
                  <a:lnTo>
                    <a:pt x="2161" y="446"/>
                  </a:lnTo>
                  <a:lnTo>
                    <a:pt x="2165" y="444"/>
                  </a:lnTo>
                  <a:lnTo>
                    <a:pt x="2169" y="444"/>
                  </a:lnTo>
                  <a:lnTo>
                    <a:pt x="2178" y="442"/>
                  </a:lnTo>
                  <a:lnTo>
                    <a:pt x="2180" y="442"/>
                  </a:lnTo>
                  <a:lnTo>
                    <a:pt x="2184" y="440"/>
                  </a:lnTo>
                  <a:lnTo>
                    <a:pt x="2186" y="440"/>
                  </a:lnTo>
                  <a:lnTo>
                    <a:pt x="2188" y="440"/>
                  </a:lnTo>
                  <a:lnTo>
                    <a:pt x="2190" y="440"/>
                  </a:lnTo>
                  <a:lnTo>
                    <a:pt x="2192" y="438"/>
                  </a:lnTo>
                  <a:lnTo>
                    <a:pt x="2194" y="438"/>
                  </a:lnTo>
                  <a:lnTo>
                    <a:pt x="2196" y="436"/>
                  </a:lnTo>
                  <a:lnTo>
                    <a:pt x="2200" y="434"/>
                  </a:lnTo>
                  <a:lnTo>
                    <a:pt x="2200" y="434"/>
                  </a:lnTo>
                  <a:lnTo>
                    <a:pt x="2200" y="434"/>
                  </a:lnTo>
                  <a:lnTo>
                    <a:pt x="2202" y="432"/>
                  </a:lnTo>
                  <a:lnTo>
                    <a:pt x="2202" y="430"/>
                  </a:lnTo>
                  <a:lnTo>
                    <a:pt x="2206" y="430"/>
                  </a:lnTo>
                  <a:lnTo>
                    <a:pt x="2208" y="428"/>
                  </a:lnTo>
                  <a:lnTo>
                    <a:pt x="2208" y="428"/>
                  </a:lnTo>
                  <a:lnTo>
                    <a:pt x="2206" y="426"/>
                  </a:lnTo>
                  <a:lnTo>
                    <a:pt x="2208" y="426"/>
                  </a:lnTo>
                  <a:lnTo>
                    <a:pt x="2213" y="423"/>
                  </a:lnTo>
                  <a:lnTo>
                    <a:pt x="2213" y="423"/>
                  </a:lnTo>
                  <a:lnTo>
                    <a:pt x="2217" y="421"/>
                  </a:lnTo>
                  <a:lnTo>
                    <a:pt x="2221" y="421"/>
                  </a:lnTo>
                  <a:close/>
                  <a:moveTo>
                    <a:pt x="1856" y="1602"/>
                  </a:moveTo>
                  <a:lnTo>
                    <a:pt x="1852" y="1602"/>
                  </a:lnTo>
                  <a:lnTo>
                    <a:pt x="1850" y="1602"/>
                  </a:lnTo>
                  <a:lnTo>
                    <a:pt x="1848" y="1605"/>
                  </a:lnTo>
                  <a:lnTo>
                    <a:pt x="1848" y="1607"/>
                  </a:lnTo>
                  <a:lnTo>
                    <a:pt x="1850" y="1607"/>
                  </a:lnTo>
                  <a:lnTo>
                    <a:pt x="1852" y="1607"/>
                  </a:lnTo>
                  <a:lnTo>
                    <a:pt x="1854" y="1607"/>
                  </a:lnTo>
                  <a:lnTo>
                    <a:pt x="1854" y="1607"/>
                  </a:lnTo>
                  <a:lnTo>
                    <a:pt x="1856" y="1607"/>
                  </a:lnTo>
                  <a:lnTo>
                    <a:pt x="1858" y="1602"/>
                  </a:lnTo>
                  <a:lnTo>
                    <a:pt x="1858" y="1602"/>
                  </a:lnTo>
                  <a:lnTo>
                    <a:pt x="1856" y="1602"/>
                  </a:lnTo>
                  <a:close/>
                  <a:moveTo>
                    <a:pt x="1852" y="1600"/>
                  </a:moveTo>
                  <a:lnTo>
                    <a:pt x="1854" y="1598"/>
                  </a:lnTo>
                  <a:lnTo>
                    <a:pt x="1854" y="1598"/>
                  </a:lnTo>
                  <a:lnTo>
                    <a:pt x="1852" y="1598"/>
                  </a:lnTo>
                  <a:lnTo>
                    <a:pt x="1852" y="1598"/>
                  </a:lnTo>
                  <a:lnTo>
                    <a:pt x="1852" y="1598"/>
                  </a:lnTo>
                  <a:lnTo>
                    <a:pt x="1850" y="1598"/>
                  </a:lnTo>
                  <a:lnTo>
                    <a:pt x="1850" y="1598"/>
                  </a:lnTo>
                  <a:lnTo>
                    <a:pt x="1850" y="1600"/>
                  </a:lnTo>
                  <a:lnTo>
                    <a:pt x="1850" y="1602"/>
                  </a:lnTo>
                  <a:lnTo>
                    <a:pt x="1852" y="1600"/>
                  </a:lnTo>
                  <a:close/>
                  <a:moveTo>
                    <a:pt x="1848" y="1605"/>
                  </a:moveTo>
                  <a:lnTo>
                    <a:pt x="1850" y="1602"/>
                  </a:lnTo>
                  <a:lnTo>
                    <a:pt x="1848" y="1600"/>
                  </a:lnTo>
                  <a:lnTo>
                    <a:pt x="1848" y="1598"/>
                  </a:lnTo>
                  <a:lnTo>
                    <a:pt x="1848" y="1598"/>
                  </a:lnTo>
                  <a:lnTo>
                    <a:pt x="1848" y="1598"/>
                  </a:lnTo>
                  <a:lnTo>
                    <a:pt x="1848" y="1598"/>
                  </a:lnTo>
                  <a:lnTo>
                    <a:pt x="1848" y="1600"/>
                  </a:lnTo>
                  <a:lnTo>
                    <a:pt x="1848" y="1602"/>
                  </a:lnTo>
                  <a:lnTo>
                    <a:pt x="1846" y="1602"/>
                  </a:lnTo>
                  <a:lnTo>
                    <a:pt x="1846" y="1605"/>
                  </a:lnTo>
                  <a:lnTo>
                    <a:pt x="1846" y="1607"/>
                  </a:lnTo>
                  <a:lnTo>
                    <a:pt x="1848" y="1607"/>
                  </a:lnTo>
                  <a:lnTo>
                    <a:pt x="1848" y="1605"/>
                  </a:lnTo>
                  <a:close/>
                  <a:moveTo>
                    <a:pt x="1860" y="1605"/>
                  </a:moveTo>
                  <a:lnTo>
                    <a:pt x="1860" y="1607"/>
                  </a:lnTo>
                  <a:lnTo>
                    <a:pt x="1858" y="1607"/>
                  </a:lnTo>
                  <a:lnTo>
                    <a:pt x="1856" y="1607"/>
                  </a:lnTo>
                  <a:lnTo>
                    <a:pt x="1856" y="1609"/>
                  </a:lnTo>
                  <a:lnTo>
                    <a:pt x="1858" y="1609"/>
                  </a:lnTo>
                  <a:lnTo>
                    <a:pt x="1862" y="1609"/>
                  </a:lnTo>
                  <a:lnTo>
                    <a:pt x="1862" y="1607"/>
                  </a:lnTo>
                  <a:lnTo>
                    <a:pt x="1862" y="1607"/>
                  </a:lnTo>
                  <a:lnTo>
                    <a:pt x="1862" y="1607"/>
                  </a:lnTo>
                  <a:lnTo>
                    <a:pt x="1860" y="1605"/>
                  </a:lnTo>
                  <a:close/>
                  <a:moveTo>
                    <a:pt x="2122" y="1016"/>
                  </a:moveTo>
                  <a:lnTo>
                    <a:pt x="2120" y="1018"/>
                  </a:lnTo>
                  <a:lnTo>
                    <a:pt x="2120" y="1020"/>
                  </a:lnTo>
                  <a:lnTo>
                    <a:pt x="2120" y="1020"/>
                  </a:lnTo>
                  <a:lnTo>
                    <a:pt x="2122" y="1020"/>
                  </a:lnTo>
                  <a:lnTo>
                    <a:pt x="2122" y="1018"/>
                  </a:lnTo>
                  <a:lnTo>
                    <a:pt x="2122" y="1018"/>
                  </a:lnTo>
                  <a:lnTo>
                    <a:pt x="2122" y="1016"/>
                  </a:lnTo>
                  <a:close/>
                  <a:moveTo>
                    <a:pt x="1932" y="1646"/>
                  </a:moveTo>
                  <a:lnTo>
                    <a:pt x="1930" y="1646"/>
                  </a:lnTo>
                  <a:lnTo>
                    <a:pt x="1930" y="1646"/>
                  </a:lnTo>
                  <a:lnTo>
                    <a:pt x="1930" y="1648"/>
                  </a:lnTo>
                  <a:lnTo>
                    <a:pt x="1930" y="1650"/>
                  </a:lnTo>
                  <a:lnTo>
                    <a:pt x="1932" y="1648"/>
                  </a:lnTo>
                  <a:lnTo>
                    <a:pt x="1932" y="1646"/>
                  </a:lnTo>
                  <a:lnTo>
                    <a:pt x="1932" y="1646"/>
                  </a:lnTo>
                  <a:lnTo>
                    <a:pt x="1932" y="1646"/>
                  </a:lnTo>
                  <a:lnTo>
                    <a:pt x="1932" y="1646"/>
                  </a:lnTo>
                  <a:close/>
                  <a:moveTo>
                    <a:pt x="2206" y="1047"/>
                  </a:moveTo>
                  <a:lnTo>
                    <a:pt x="2206" y="1045"/>
                  </a:lnTo>
                  <a:lnTo>
                    <a:pt x="2206" y="1045"/>
                  </a:lnTo>
                  <a:lnTo>
                    <a:pt x="2202" y="1045"/>
                  </a:lnTo>
                  <a:lnTo>
                    <a:pt x="2200" y="1045"/>
                  </a:lnTo>
                  <a:lnTo>
                    <a:pt x="2198" y="1043"/>
                  </a:lnTo>
                  <a:lnTo>
                    <a:pt x="2198" y="1043"/>
                  </a:lnTo>
                  <a:lnTo>
                    <a:pt x="2198" y="1045"/>
                  </a:lnTo>
                  <a:lnTo>
                    <a:pt x="2198" y="1045"/>
                  </a:lnTo>
                  <a:lnTo>
                    <a:pt x="2200" y="1047"/>
                  </a:lnTo>
                  <a:lnTo>
                    <a:pt x="2204" y="1047"/>
                  </a:lnTo>
                  <a:lnTo>
                    <a:pt x="2206" y="1047"/>
                  </a:lnTo>
                  <a:lnTo>
                    <a:pt x="2206" y="1047"/>
                  </a:lnTo>
                  <a:close/>
                  <a:moveTo>
                    <a:pt x="2211" y="1363"/>
                  </a:moveTo>
                  <a:lnTo>
                    <a:pt x="2208" y="1361"/>
                  </a:lnTo>
                  <a:lnTo>
                    <a:pt x="2208" y="1361"/>
                  </a:lnTo>
                  <a:lnTo>
                    <a:pt x="2204" y="1363"/>
                  </a:lnTo>
                  <a:lnTo>
                    <a:pt x="2204" y="1363"/>
                  </a:lnTo>
                  <a:lnTo>
                    <a:pt x="2204" y="1363"/>
                  </a:lnTo>
                  <a:lnTo>
                    <a:pt x="2206" y="1365"/>
                  </a:lnTo>
                  <a:lnTo>
                    <a:pt x="2206" y="1365"/>
                  </a:lnTo>
                  <a:lnTo>
                    <a:pt x="2208" y="1365"/>
                  </a:lnTo>
                  <a:lnTo>
                    <a:pt x="2211" y="1363"/>
                  </a:lnTo>
                  <a:lnTo>
                    <a:pt x="2211" y="1363"/>
                  </a:lnTo>
                  <a:close/>
                  <a:moveTo>
                    <a:pt x="2208" y="1059"/>
                  </a:moveTo>
                  <a:lnTo>
                    <a:pt x="2208" y="1059"/>
                  </a:lnTo>
                  <a:lnTo>
                    <a:pt x="2208" y="1059"/>
                  </a:lnTo>
                  <a:lnTo>
                    <a:pt x="2211" y="1059"/>
                  </a:lnTo>
                  <a:lnTo>
                    <a:pt x="2208" y="1059"/>
                  </a:lnTo>
                  <a:lnTo>
                    <a:pt x="2208" y="1057"/>
                  </a:lnTo>
                  <a:lnTo>
                    <a:pt x="2208" y="1057"/>
                  </a:lnTo>
                  <a:lnTo>
                    <a:pt x="2206" y="1059"/>
                  </a:lnTo>
                  <a:lnTo>
                    <a:pt x="2208" y="1059"/>
                  </a:lnTo>
                  <a:close/>
                  <a:moveTo>
                    <a:pt x="2211" y="1365"/>
                  </a:moveTo>
                  <a:lnTo>
                    <a:pt x="2211" y="1365"/>
                  </a:lnTo>
                  <a:lnTo>
                    <a:pt x="2208" y="1365"/>
                  </a:lnTo>
                  <a:lnTo>
                    <a:pt x="2208" y="1367"/>
                  </a:lnTo>
                  <a:lnTo>
                    <a:pt x="2211" y="1367"/>
                  </a:lnTo>
                  <a:lnTo>
                    <a:pt x="2211" y="1367"/>
                  </a:lnTo>
                  <a:lnTo>
                    <a:pt x="2211" y="1367"/>
                  </a:lnTo>
                  <a:lnTo>
                    <a:pt x="2211" y="1367"/>
                  </a:lnTo>
                  <a:lnTo>
                    <a:pt x="2211" y="1365"/>
                  </a:lnTo>
                  <a:close/>
                  <a:moveTo>
                    <a:pt x="2178" y="1028"/>
                  </a:moveTo>
                  <a:lnTo>
                    <a:pt x="2175" y="1028"/>
                  </a:lnTo>
                  <a:lnTo>
                    <a:pt x="2175" y="1031"/>
                  </a:lnTo>
                  <a:lnTo>
                    <a:pt x="2175" y="1031"/>
                  </a:lnTo>
                  <a:lnTo>
                    <a:pt x="2178" y="1031"/>
                  </a:lnTo>
                  <a:lnTo>
                    <a:pt x="2180" y="1033"/>
                  </a:lnTo>
                  <a:lnTo>
                    <a:pt x="2180" y="1033"/>
                  </a:lnTo>
                  <a:lnTo>
                    <a:pt x="2182" y="1031"/>
                  </a:lnTo>
                  <a:lnTo>
                    <a:pt x="2182" y="1031"/>
                  </a:lnTo>
                  <a:lnTo>
                    <a:pt x="2180" y="1028"/>
                  </a:lnTo>
                  <a:lnTo>
                    <a:pt x="2178" y="1028"/>
                  </a:lnTo>
                  <a:close/>
                  <a:moveTo>
                    <a:pt x="2192" y="2542"/>
                  </a:moveTo>
                  <a:lnTo>
                    <a:pt x="2192" y="2542"/>
                  </a:lnTo>
                  <a:lnTo>
                    <a:pt x="2190" y="2542"/>
                  </a:lnTo>
                  <a:lnTo>
                    <a:pt x="2190" y="2542"/>
                  </a:lnTo>
                  <a:lnTo>
                    <a:pt x="2190" y="2544"/>
                  </a:lnTo>
                  <a:lnTo>
                    <a:pt x="2192" y="2544"/>
                  </a:lnTo>
                  <a:lnTo>
                    <a:pt x="2192" y="2544"/>
                  </a:lnTo>
                  <a:lnTo>
                    <a:pt x="2192" y="2542"/>
                  </a:lnTo>
                  <a:close/>
                  <a:moveTo>
                    <a:pt x="2161" y="1033"/>
                  </a:moveTo>
                  <a:lnTo>
                    <a:pt x="2159" y="1033"/>
                  </a:lnTo>
                  <a:lnTo>
                    <a:pt x="2159" y="1035"/>
                  </a:lnTo>
                  <a:lnTo>
                    <a:pt x="2159" y="1035"/>
                  </a:lnTo>
                  <a:lnTo>
                    <a:pt x="2161" y="1035"/>
                  </a:lnTo>
                  <a:lnTo>
                    <a:pt x="2163" y="1035"/>
                  </a:lnTo>
                  <a:lnTo>
                    <a:pt x="2163" y="1037"/>
                  </a:lnTo>
                  <a:lnTo>
                    <a:pt x="2165" y="1035"/>
                  </a:lnTo>
                  <a:lnTo>
                    <a:pt x="2167" y="1035"/>
                  </a:lnTo>
                  <a:lnTo>
                    <a:pt x="2165" y="1035"/>
                  </a:lnTo>
                  <a:lnTo>
                    <a:pt x="2161" y="1033"/>
                  </a:lnTo>
                  <a:close/>
                  <a:moveTo>
                    <a:pt x="2163" y="1031"/>
                  </a:moveTo>
                  <a:lnTo>
                    <a:pt x="2165" y="1031"/>
                  </a:lnTo>
                  <a:lnTo>
                    <a:pt x="2165" y="1033"/>
                  </a:lnTo>
                  <a:lnTo>
                    <a:pt x="2169" y="1033"/>
                  </a:lnTo>
                  <a:lnTo>
                    <a:pt x="2169" y="1033"/>
                  </a:lnTo>
                  <a:lnTo>
                    <a:pt x="2167" y="1033"/>
                  </a:lnTo>
                  <a:lnTo>
                    <a:pt x="2163" y="1031"/>
                  </a:lnTo>
                  <a:close/>
                  <a:moveTo>
                    <a:pt x="2157" y="1033"/>
                  </a:moveTo>
                  <a:lnTo>
                    <a:pt x="2157" y="1033"/>
                  </a:lnTo>
                  <a:lnTo>
                    <a:pt x="2155" y="1033"/>
                  </a:lnTo>
                  <a:lnTo>
                    <a:pt x="2157" y="1033"/>
                  </a:lnTo>
                  <a:lnTo>
                    <a:pt x="2159" y="1033"/>
                  </a:lnTo>
                  <a:lnTo>
                    <a:pt x="2159" y="1033"/>
                  </a:lnTo>
                  <a:lnTo>
                    <a:pt x="2159" y="1033"/>
                  </a:lnTo>
                  <a:lnTo>
                    <a:pt x="2157" y="1033"/>
                  </a:lnTo>
                  <a:close/>
                  <a:moveTo>
                    <a:pt x="1693" y="1379"/>
                  </a:moveTo>
                  <a:lnTo>
                    <a:pt x="1693" y="1377"/>
                  </a:lnTo>
                  <a:lnTo>
                    <a:pt x="1693" y="1379"/>
                  </a:lnTo>
                  <a:lnTo>
                    <a:pt x="1693" y="1379"/>
                  </a:lnTo>
                  <a:lnTo>
                    <a:pt x="1693" y="1379"/>
                  </a:lnTo>
                  <a:lnTo>
                    <a:pt x="1693" y="1379"/>
                  </a:lnTo>
                  <a:lnTo>
                    <a:pt x="1693" y="1379"/>
                  </a:lnTo>
                  <a:lnTo>
                    <a:pt x="1693" y="1379"/>
                  </a:lnTo>
                  <a:lnTo>
                    <a:pt x="1693" y="1379"/>
                  </a:lnTo>
                  <a:close/>
                  <a:moveTo>
                    <a:pt x="1668" y="1346"/>
                  </a:moveTo>
                  <a:lnTo>
                    <a:pt x="1668" y="1344"/>
                  </a:lnTo>
                  <a:lnTo>
                    <a:pt x="1666" y="1346"/>
                  </a:lnTo>
                  <a:lnTo>
                    <a:pt x="1666" y="1346"/>
                  </a:lnTo>
                  <a:lnTo>
                    <a:pt x="1668" y="1346"/>
                  </a:lnTo>
                  <a:lnTo>
                    <a:pt x="1668" y="1346"/>
                  </a:lnTo>
                  <a:close/>
                  <a:moveTo>
                    <a:pt x="1648" y="869"/>
                  </a:moveTo>
                  <a:lnTo>
                    <a:pt x="1648" y="869"/>
                  </a:lnTo>
                  <a:lnTo>
                    <a:pt x="1646" y="869"/>
                  </a:lnTo>
                  <a:lnTo>
                    <a:pt x="1646" y="872"/>
                  </a:lnTo>
                  <a:lnTo>
                    <a:pt x="1646" y="872"/>
                  </a:lnTo>
                  <a:lnTo>
                    <a:pt x="1648" y="872"/>
                  </a:lnTo>
                  <a:lnTo>
                    <a:pt x="1648" y="869"/>
                  </a:lnTo>
                  <a:close/>
                  <a:moveTo>
                    <a:pt x="1643" y="876"/>
                  </a:moveTo>
                  <a:lnTo>
                    <a:pt x="1646" y="876"/>
                  </a:lnTo>
                  <a:lnTo>
                    <a:pt x="1646" y="874"/>
                  </a:lnTo>
                  <a:lnTo>
                    <a:pt x="1648" y="874"/>
                  </a:lnTo>
                  <a:lnTo>
                    <a:pt x="1646" y="874"/>
                  </a:lnTo>
                  <a:lnTo>
                    <a:pt x="1646" y="874"/>
                  </a:lnTo>
                  <a:lnTo>
                    <a:pt x="1643" y="874"/>
                  </a:lnTo>
                  <a:lnTo>
                    <a:pt x="1643" y="874"/>
                  </a:lnTo>
                  <a:lnTo>
                    <a:pt x="1643" y="876"/>
                  </a:lnTo>
                  <a:lnTo>
                    <a:pt x="1643" y="876"/>
                  </a:lnTo>
                  <a:close/>
                  <a:moveTo>
                    <a:pt x="1674" y="1361"/>
                  </a:moveTo>
                  <a:lnTo>
                    <a:pt x="1674" y="1363"/>
                  </a:lnTo>
                  <a:lnTo>
                    <a:pt x="1674" y="1363"/>
                  </a:lnTo>
                  <a:lnTo>
                    <a:pt x="1674" y="1363"/>
                  </a:lnTo>
                  <a:lnTo>
                    <a:pt x="1674" y="1361"/>
                  </a:lnTo>
                  <a:lnTo>
                    <a:pt x="1674" y="1361"/>
                  </a:lnTo>
                  <a:lnTo>
                    <a:pt x="1674" y="1361"/>
                  </a:lnTo>
                  <a:close/>
                  <a:moveTo>
                    <a:pt x="1687" y="851"/>
                  </a:moveTo>
                  <a:lnTo>
                    <a:pt x="1687" y="851"/>
                  </a:lnTo>
                  <a:lnTo>
                    <a:pt x="1687" y="849"/>
                  </a:lnTo>
                  <a:lnTo>
                    <a:pt x="1685" y="847"/>
                  </a:lnTo>
                  <a:lnTo>
                    <a:pt x="1683" y="845"/>
                  </a:lnTo>
                  <a:lnTo>
                    <a:pt x="1681" y="845"/>
                  </a:lnTo>
                  <a:lnTo>
                    <a:pt x="1672" y="841"/>
                  </a:lnTo>
                  <a:lnTo>
                    <a:pt x="1670" y="838"/>
                  </a:lnTo>
                  <a:lnTo>
                    <a:pt x="1666" y="838"/>
                  </a:lnTo>
                  <a:lnTo>
                    <a:pt x="1664" y="836"/>
                  </a:lnTo>
                  <a:lnTo>
                    <a:pt x="1658" y="836"/>
                  </a:lnTo>
                  <a:lnTo>
                    <a:pt x="1652" y="834"/>
                  </a:lnTo>
                  <a:lnTo>
                    <a:pt x="1650" y="834"/>
                  </a:lnTo>
                  <a:lnTo>
                    <a:pt x="1648" y="836"/>
                  </a:lnTo>
                  <a:lnTo>
                    <a:pt x="1648" y="836"/>
                  </a:lnTo>
                  <a:lnTo>
                    <a:pt x="1648" y="836"/>
                  </a:lnTo>
                  <a:lnTo>
                    <a:pt x="1656" y="841"/>
                  </a:lnTo>
                  <a:lnTo>
                    <a:pt x="1658" y="841"/>
                  </a:lnTo>
                  <a:lnTo>
                    <a:pt x="1658" y="843"/>
                  </a:lnTo>
                  <a:lnTo>
                    <a:pt x="1660" y="845"/>
                  </a:lnTo>
                  <a:lnTo>
                    <a:pt x="1660" y="845"/>
                  </a:lnTo>
                  <a:lnTo>
                    <a:pt x="1668" y="849"/>
                  </a:lnTo>
                  <a:lnTo>
                    <a:pt x="1670" y="849"/>
                  </a:lnTo>
                  <a:lnTo>
                    <a:pt x="1674" y="849"/>
                  </a:lnTo>
                  <a:lnTo>
                    <a:pt x="1679" y="851"/>
                  </a:lnTo>
                  <a:lnTo>
                    <a:pt x="1685" y="851"/>
                  </a:lnTo>
                  <a:lnTo>
                    <a:pt x="1687" y="851"/>
                  </a:lnTo>
                  <a:close/>
                  <a:moveTo>
                    <a:pt x="1679" y="1367"/>
                  </a:moveTo>
                  <a:lnTo>
                    <a:pt x="1679" y="1369"/>
                  </a:lnTo>
                  <a:lnTo>
                    <a:pt x="1681" y="1369"/>
                  </a:lnTo>
                  <a:lnTo>
                    <a:pt x="1681" y="1367"/>
                  </a:lnTo>
                  <a:lnTo>
                    <a:pt x="1681" y="1367"/>
                  </a:lnTo>
                  <a:lnTo>
                    <a:pt x="1681" y="1367"/>
                  </a:lnTo>
                  <a:lnTo>
                    <a:pt x="1679" y="1367"/>
                  </a:lnTo>
                  <a:close/>
                  <a:moveTo>
                    <a:pt x="1516" y="913"/>
                  </a:moveTo>
                  <a:lnTo>
                    <a:pt x="1518" y="911"/>
                  </a:lnTo>
                  <a:lnTo>
                    <a:pt x="1516" y="913"/>
                  </a:lnTo>
                  <a:lnTo>
                    <a:pt x="1514" y="913"/>
                  </a:lnTo>
                  <a:lnTo>
                    <a:pt x="1514" y="915"/>
                  </a:lnTo>
                  <a:lnTo>
                    <a:pt x="1516" y="913"/>
                  </a:lnTo>
                  <a:close/>
                  <a:moveTo>
                    <a:pt x="1553" y="890"/>
                  </a:moveTo>
                  <a:lnTo>
                    <a:pt x="1553" y="890"/>
                  </a:lnTo>
                  <a:lnTo>
                    <a:pt x="1553" y="890"/>
                  </a:lnTo>
                  <a:lnTo>
                    <a:pt x="1555" y="890"/>
                  </a:lnTo>
                  <a:lnTo>
                    <a:pt x="1557" y="888"/>
                  </a:lnTo>
                  <a:lnTo>
                    <a:pt x="1555" y="888"/>
                  </a:lnTo>
                  <a:lnTo>
                    <a:pt x="1555" y="890"/>
                  </a:lnTo>
                  <a:lnTo>
                    <a:pt x="1553" y="890"/>
                  </a:lnTo>
                  <a:close/>
                  <a:moveTo>
                    <a:pt x="1709" y="944"/>
                  </a:moveTo>
                  <a:lnTo>
                    <a:pt x="1712" y="944"/>
                  </a:lnTo>
                  <a:lnTo>
                    <a:pt x="1714" y="942"/>
                  </a:lnTo>
                  <a:lnTo>
                    <a:pt x="1716" y="942"/>
                  </a:lnTo>
                  <a:lnTo>
                    <a:pt x="1714" y="942"/>
                  </a:lnTo>
                  <a:lnTo>
                    <a:pt x="1712" y="942"/>
                  </a:lnTo>
                  <a:lnTo>
                    <a:pt x="1709" y="942"/>
                  </a:lnTo>
                  <a:lnTo>
                    <a:pt x="1709" y="942"/>
                  </a:lnTo>
                  <a:lnTo>
                    <a:pt x="1709" y="944"/>
                  </a:lnTo>
                  <a:close/>
                  <a:moveTo>
                    <a:pt x="1511" y="917"/>
                  </a:moveTo>
                  <a:lnTo>
                    <a:pt x="1514" y="915"/>
                  </a:lnTo>
                  <a:lnTo>
                    <a:pt x="1516" y="917"/>
                  </a:lnTo>
                  <a:lnTo>
                    <a:pt x="1518" y="915"/>
                  </a:lnTo>
                  <a:lnTo>
                    <a:pt x="1518" y="915"/>
                  </a:lnTo>
                  <a:lnTo>
                    <a:pt x="1518" y="915"/>
                  </a:lnTo>
                  <a:lnTo>
                    <a:pt x="1520" y="911"/>
                  </a:lnTo>
                  <a:lnTo>
                    <a:pt x="1518" y="911"/>
                  </a:lnTo>
                  <a:lnTo>
                    <a:pt x="1516" y="915"/>
                  </a:lnTo>
                  <a:lnTo>
                    <a:pt x="1514" y="915"/>
                  </a:lnTo>
                  <a:lnTo>
                    <a:pt x="1511" y="917"/>
                  </a:lnTo>
                  <a:lnTo>
                    <a:pt x="1511" y="917"/>
                  </a:lnTo>
                  <a:close/>
                  <a:moveTo>
                    <a:pt x="1672" y="1359"/>
                  </a:moveTo>
                  <a:lnTo>
                    <a:pt x="1670" y="1359"/>
                  </a:lnTo>
                  <a:lnTo>
                    <a:pt x="1670" y="1359"/>
                  </a:lnTo>
                  <a:lnTo>
                    <a:pt x="1670" y="1359"/>
                  </a:lnTo>
                  <a:lnTo>
                    <a:pt x="1670" y="1359"/>
                  </a:lnTo>
                  <a:lnTo>
                    <a:pt x="1670" y="1359"/>
                  </a:lnTo>
                  <a:lnTo>
                    <a:pt x="1672" y="1359"/>
                  </a:lnTo>
                  <a:lnTo>
                    <a:pt x="1672" y="1359"/>
                  </a:lnTo>
                  <a:lnTo>
                    <a:pt x="1672" y="1361"/>
                  </a:lnTo>
                  <a:lnTo>
                    <a:pt x="1674" y="1361"/>
                  </a:lnTo>
                  <a:lnTo>
                    <a:pt x="1672" y="1361"/>
                  </a:lnTo>
                  <a:lnTo>
                    <a:pt x="1672" y="1359"/>
                  </a:lnTo>
                  <a:lnTo>
                    <a:pt x="1672" y="1359"/>
                  </a:lnTo>
                  <a:close/>
                  <a:moveTo>
                    <a:pt x="1646" y="1353"/>
                  </a:moveTo>
                  <a:lnTo>
                    <a:pt x="1643" y="1353"/>
                  </a:lnTo>
                  <a:lnTo>
                    <a:pt x="1643" y="1353"/>
                  </a:lnTo>
                  <a:lnTo>
                    <a:pt x="1641" y="1353"/>
                  </a:lnTo>
                  <a:lnTo>
                    <a:pt x="1641" y="1355"/>
                  </a:lnTo>
                  <a:lnTo>
                    <a:pt x="1643" y="1353"/>
                  </a:lnTo>
                  <a:lnTo>
                    <a:pt x="1646" y="1353"/>
                  </a:lnTo>
                  <a:close/>
                  <a:moveTo>
                    <a:pt x="1646" y="1342"/>
                  </a:moveTo>
                  <a:lnTo>
                    <a:pt x="1646" y="1342"/>
                  </a:lnTo>
                  <a:lnTo>
                    <a:pt x="1643" y="1342"/>
                  </a:lnTo>
                  <a:lnTo>
                    <a:pt x="1643" y="1344"/>
                  </a:lnTo>
                  <a:lnTo>
                    <a:pt x="1646" y="1344"/>
                  </a:lnTo>
                  <a:lnTo>
                    <a:pt x="1646" y="1342"/>
                  </a:lnTo>
                  <a:lnTo>
                    <a:pt x="1646" y="1342"/>
                  </a:lnTo>
                  <a:close/>
                  <a:moveTo>
                    <a:pt x="1641" y="1344"/>
                  </a:moveTo>
                  <a:lnTo>
                    <a:pt x="1639" y="1344"/>
                  </a:lnTo>
                  <a:lnTo>
                    <a:pt x="1641" y="1344"/>
                  </a:lnTo>
                  <a:lnTo>
                    <a:pt x="1641" y="1344"/>
                  </a:lnTo>
                  <a:lnTo>
                    <a:pt x="1641" y="1344"/>
                  </a:lnTo>
                  <a:lnTo>
                    <a:pt x="1641" y="1344"/>
                  </a:lnTo>
                  <a:close/>
                  <a:moveTo>
                    <a:pt x="1635" y="1452"/>
                  </a:moveTo>
                  <a:lnTo>
                    <a:pt x="1637" y="1452"/>
                  </a:lnTo>
                  <a:lnTo>
                    <a:pt x="1637" y="1452"/>
                  </a:lnTo>
                  <a:lnTo>
                    <a:pt x="1635" y="1452"/>
                  </a:lnTo>
                  <a:lnTo>
                    <a:pt x="1633" y="1452"/>
                  </a:lnTo>
                  <a:lnTo>
                    <a:pt x="1633" y="1452"/>
                  </a:lnTo>
                  <a:lnTo>
                    <a:pt x="1635" y="1452"/>
                  </a:lnTo>
                  <a:lnTo>
                    <a:pt x="1635" y="1452"/>
                  </a:lnTo>
                  <a:close/>
                  <a:moveTo>
                    <a:pt x="1666" y="1348"/>
                  </a:moveTo>
                  <a:lnTo>
                    <a:pt x="1666" y="1348"/>
                  </a:lnTo>
                  <a:lnTo>
                    <a:pt x="1666" y="1348"/>
                  </a:lnTo>
                  <a:lnTo>
                    <a:pt x="1668" y="1348"/>
                  </a:lnTo>
                  <a:lnTo>
                    <a:pt x="1668" y="1348"/>
                  </a:lnTo>
                  <a:lnTo>
                    <a:pt x="1668" y="1348"/>
                  </a:lnTo>
                  <a:lnTo>
                    <a:pt x="1668" y="1348"/>
                  </a:lnTo>
                  <a:lnTo>
                    <a:pt x="1668" y="1348"/>
                  </a:lnTo>
                  <a:lnTo>
                    <a:pt x="1666" y="1348"/>
                  </a:lnTo>
                  <a:close/>
                  <a:moveTo>
                    <a:pt x="1652" y="1452"/>
                  </a:moveTo>
                  <a:lnTo>
                    <a:pt x="1652" y="1452"/>
                  </a:lnTo>
                  <a:lnTo>
                    <a:pt x="1652" y="1452"/>
                  </a:lnTo>
                  <a:lnTo>
                    <a:pt x="1654" y="1452"/>
                  </a:lnTo>
                  <a:lnTo>
                    <a:pt x="1654" y="1452"/>
                  </a:lnTo>
                  <a:lnTo>
                    <a:pt x="1656" y="1452"/>
                  </a:lnTo>
                  <a:lnTo>
                    <a:pt x="1656" y="1452"/>
                  </a:lnTo>
                  <a:lnTo>
                    <a:pt x="1656" y="1450"/>
                  </a:lnTo>
                  <a:lnTo>
                    <a:pt x="1656" y="1448"/>
                  </a:lnTo>
                  <a:lnTo>
                    <a:pt x="1656" y="1448"/>
                  </a:lnTo>
                  <a:lnTo>
                    <a:pt x="1654" y="1450"/>
                  </a:lnTo>
                  <a:lnTo>
                    <a:pt x="1654" y="1450"/>
                  </a:lnTo>
                  <a:lnTo>
                    <a:pt x="1652" y="1450"/>
                  </a:lnTo>
                  <a:lnTo>
                    <a:pt x="1652" y="1450"/>
                  </a:lnTo>
                  <a:lnTo>
                    <a:pt x="1652" y="1450"/>
                  </a:lnTo>
                  <a:lnTo>
                    <a:pt x="1650" y="1450"/>
                  </a:lnTo>
                  <a:lnTo>
                    <a:pt x="1650" y="1450"/>
                  </a:lnTo>
                  <a:lnTo>
                    <a:pt x="1648" y="1450"/>
                  </a:lnTo>
                  <a:lnTo>
                    <a:pt x="1650" y="1452"/>
                  </a:lnTo>
                  <a:lnTo>
                    <a:pt x="1652" y="1452"/>
                  </a:lnTo>
                  <a:close/>
                  <a:moveTo>
                    <a:pt x="1648" y="1342"/>
                  </a:moveTo>
                  <a:lnTo>
                    <a:pt x="1648" y="1342"/>
                  </a:lnTo>
                  <a:lnTo>
                    <a:pt x="1648" y="1342"/>
                  </a:lnTo>
                  <a:lnTo>
                    <a:pt x="1648" y="1342"/>
                  </a:lnTo>
                  <a:lnTo>
                    <a:pt x="1648" y="1342"/>
                  </a:lnTo>
                  <a:lnTo>
                    <a:pt x="1650" y="1342"/>
                  </a:lnTo>
                  <a:lnTo>
                    <a:pt x="1648" y="1342"/>
                  </a:lnTo>
                  <a:close/>
                  <a:moveTo>
                    <a:pt x="1643" y="1344"/>
                  </a:moveTo>
                  <a:lnTo>
                    <a:pt x="1643" y="1344"/>
                  </a:lnTo>
                  <a:lnTo>
                    <a:pt x="1643" y="1344"/>
                  </a:lnTo>
                  <a:lnTo>
                    <a:pt x="1643" y="1344"/>
                  </a:lnTo>
                  <a:lnTo>
                    <a:pt x="1643" y="1344"/>
                  </a:lnTo>
                  <a:lnTo>
                    <a:pt x="1643" y="1344"/>
                  </a:lnTo>
                  <a:close/>
                  <a:moveTo>
                    <a:pt x="1635" y="1346"/>
                  </a:moveTo>
                  <a:lnTo>
                    <a:pt x="1635" y="1346"/>
                  </a:lnTo>
                  <a:lnTo>
                    <a:pt x="1633" y="1346"/>
                  </a:lnTo>
                  <a:lnTo>
                    <a:pt x="1631" y="1346"/>
                  </a:lnTo>
                  <a:lnTo>
                    <a:pt x="1631" y="1348"/>
                  </a:lnTo>
                  <a:lnTo>
                    <a:pt x="1633" y="1348"/>
                  </a:lnTo>
                  <a:lnTo>
                    <a:pt x="1633" y="1348"/>
                  </a:lnTo>
                  <a:lnTo>
                    <a:pt x="1635" y="1346"/>
                  </a:lnTo>
                  <a:lnTo>
                    <a:pt x="1635" y="1346"/>
                  </a:lnTo>
                  <a:close/>
                  <a:moveTo>
                    <a:pt x="1643" y="1132"/>
                  </a:moveTo>
                  <a:lnTo>
                    <a:pt x="1643" y="1134"/>
                  </a:lnTo>
                  <a:lnTo>
                    <a:pt x="1641" y="1134"/>
                  </a:lnTo>
                  <a:lnTo>
                    <a:pt x="1641" y="1134"/>
                  </a:lnTo>
                  <a:lnTo>
                    <a:pt x="1641" y="1134"/>
                  </a:lnTo>
                  <a:lnTo>
                    <a:pt x="1643" y="1134"/>
                  </a:lnTo>
                  <a:lnTo>
                    <a:pt x="1643" y="1132"/>
                  </a:lnTo>
                  <a:lnTo>
                    <a:pt x="1643" y="1132"/>
                  </a:lnTo>
                  <a:close/>
                  <a:moveTo>
                    <a:pt x="1707" y="911"/>
                  </a:moveTo>
                  <a:lnTo>
                    <a:pt x="1709" y="909"/>
                  </a:lnTo>
                  <a:lnTo>
                    <a:pt x="1712" y="909"/>
                  </a:lnTo>
                  <a:lnTo>
                    <a:pt x="1714" y="907"/>
                  </a:lnTo>
                  <a:lnTo>
                    <a:pt x="1714" y="907"/>
                  </a:lnTo>
                  <a:lnTo>
                    <a:pt x="1712" y="907"/>
                  </a:lnTo>
                  <a:lnTo>
                    <a:pt x="1714" y="905"/>
                  </a:lnTo>
                  <a:lnTo>
                    <a:pt x="1714" y="905"/>
                  </a:lnTo>
                  <a:lnTo>
                    <a:pt x="1714" y="905"/>
                  </a:lnTo>
                  <a:lnTo>
                    <a:pt x="1714" y="902"/>
                  </a:lnTo>
                  <a:lnTo>
                    <a:pt x="1712" y="902"/>
                  </a:lnTo>
                  <a:lnTo>
                    <a:pt x="1709" y="902"/>
                  </a:lnTo>
                  <a:lnTo>
                    <a:pt x="1707" y="902"/>
                  </a:lnTo>
                  <a:lnTo>
                    <a:pt x="1707" y="902"/>
                  </a:lnTo>
                  <a:lnTo>
                    <a:pt x="1707" y="900"/>
                  </a:lnTo>
                  <a:lnTo>
                    <a:pt x="1705" y="900"/>
                  </a:lnTo>
                  <a:lnTo>
                    <a:pt x="1705" y="902"/>
                  </a:lnTo>
                  <a:lnTo>
                    <a:pt x="1703" y="902"/>
                  </a:lnTo>
                  <a:lnTo>
                    <a:pt x="1703" y="905"/>
                  </a:lnTo>
                  <a:lnTo>
                    <a:pt x="1703" y="905"/>
                  </a:lnTo>
                  <a:lnTo>
                    <a:pt x="1701" y="907"/>
                  </a:lnTo>
                  <a:lnTo>
                    <a:pt x="1701" y="907"/>
                  </a:lnTo>
                  <a:lnTo>
                    <a:pt x="1705" y="907"/>
                  </a:lnTo>
                  <a:lnTo>
                    <a:pt x="1703" y="907"/>
                  </a:lnTo>
                  <a:lnTo>
                    <a:pt x="1701" y="911"/>
                  </a:lnTo>
                  <a:lnTo>
                    <a:pt x="1701" y="911"/>
                  </a:lnTo>
                  <a:lnTo>
                    <a:pt x="1699" y="911"/>
                  </a:lnTo>
                  <a:lnTo>
                    <a:pt x="1699" y="911"/>
                  </a:lnTo>
                  <a:lnTo>
                    <a:pt x="1697" y="911"/>
                  </a:lnTo>
                  <a:lnTo>
                    <a:pt x="1695" y="911"/>
                  </a:lnTo>
                  <a:lnTo>
                    <a:pt x="1695" y="911"/>
                  </a:lnTo>
                  <a:lnTo>
                    <a:pt x="1695" y="911"/>
                  </a:lnTo>
                  <a:lnTo>
                    <a:pt x="1697" y="909"/>
                  </a:lnTo>
                  <a:lnTo>
                    <a:pt x="1697" y="909"/>
                  </a:lnTo>
                  <a:lnTo>
                    <a:pt x="1697" y="909"/>
                  </a:lnTo>
                  <a:lnTo>
                    <a:pt x="1697" y="909"/>
                  </a:lnTo>
                  <a:lnTo>
                    <a:pt x="1699" y="907"/>
                  </a:lnTo>
                  <a:lnTo>
                    <a:pt x="1699" y="907"/>
                  </a:lnTo>
                  <a:lnTo>
                    <a:pt x="1697" y="907"/>
                  </a:lnTo>
                  <a:lnTo>
                    <a:pt x="1695" y="907"/>
                  </a:lnTo>
                  <a:lnTo>
                    <a:pt x="1695" y="907"/>
                  </a:lnTo>
                  <a:lnTo>
                    <a:pt x="1697" y="905"/>
                  </a:lnTo>
                  <a:lnTo>
                    <a:pt x="1699" y="905"/>
                  </a:lnTo>
                  <a:lnTo>
                    <a:pt x="1701" y="905"/>
                  </a:lnTo>
                  <a:lnTo>
                    <a:pt x="1703" y="902"/>
                  </a:lnTo>
                  <a:lnTo>
                    <a:pt x="1703" y="902"/>
                  </a:lnTo>
                  <a:lnTo>
                    <a:pt x="1703" y="902"/>
                  </a:lnTo>
                  <a:lnTo>
                    <a:pt x="1703" y="900"/>
                  </a:lnTo>
                  <a:lnTo>
                    <a:pt x="1703" y="898"/>
                  </a:lnTo>
                  <a:lnTo>
                    <a:pt x="1705" y="896"/>
                  </a:lnTo>
                  <a:lnTo>
                    <a:pt x="1705" y="892"/>
                  </a:lnTo>
                  <a:lnTo>
                    <a:pt x="1705" y="892"/>
                  </a:lnTo>
                  <a:lnTo>
                    <a:pt x="1705" y="890"/>
                  </a:lnTo>
                  <a:lnTo>
                    <a:pt x="1705" y="890"/>
                  </a:lnTo>
                  <a:lnTo>
                    <a:pt x="1705" y="888"/>
                  </a:lnTo>
                  <a:lnTo>
                    <a:pt x="1703" y="888"/>
                  </a:lnTo>
                  <a:lnTo>
                    <a:pt x="1703" y="888"/>
                  </a:lnTo>
                  <a:lnTo>
                    <a:pt x="1701" y="888"/>
                  </a:lnTo>
                  <a:lnTo>
                    <a:pt x="1699" y="890"/>
                  </a:lnTo>
                  <a:lnTo>
                    <a:pt x="1699" y="892"/>
                  </a:lnTo>
                  <a:lnTo>
                    <a:pt x="1697" y="894"/>
                  </a:lnTo>
                  <a:lnTo>
                    <a:pt x="1697" y="894"/>
                  </a:lnTo>
                  <a:lnTo>
                    <a:pt x="1693" y="900"/>
                  </a:lnTo>
                  <a:lnTo>
                    <a:pt x="1693" y="902"/>
                  </a:lnTo>
                  <a:lnTo>
                    <a:pt x="1691" y="902"/>
                  </a:lnTo>
                  <a:lnTo>
                    <a:pt x="1689" y="905"/>
                  </a:lnTo>
                  <a:lnTo>
                    <a:pt x="1689" y="907"/>
                  </a:lnTo>
                  <a:lnTo>
                    <a:pt x="1691" y="911"/>
                  </a:lnTo>
                  <a:lnTo>
                    <a:pt x="1691" y="913"/>
                  </a:lnTo>
                  <a:lnTo>
                    <a:pt x="1693" y="913"/>
                  </a:lnTo>
                  <a:lnTo>
                    <a:pt x="1693" y="913"/>
                  </a:lnTo>
                  <a:lnTo>
                    <a:pt x="1693" y="913"/>
                  </a:lnTo>
                  <a:lnTo>
                    <a:pt x="1693" y="913"/>
                  </a:lnTo>
                  <a:lnTo>
                    <a:pt x="1695" y="913"/>
                  </a:lnTo>
                  <a:lnTo>
                    <a:pt x="1697" y="913"/>
                  </a:lnTo>
                  <a:lnTo>
                    <a:pt x="1699" y="913"/>
                  </a:lnTo>
                  <a:lnTo>
                    <a:pt x="1699" y="913"/>
                  </a:lnTo>
                  <a:lnTo>
                    <a:pt x="1701" y="913"/>
                  </a:lnTo>
                  <a:lnTo>
                    <a:pt x="1705" y="913"/>
                  </a:lnTo>
                  <a:lnTo>
                    <a:pt x="1707" y="911"/>
                  </a:lnTo>
                  <a:close/>
                  <a:moveTo>
                    <a:pt x="1697" y="1452"/>
                  </a:moveTo>
                  <a:lnTo>
                    <a:pt x="1695" y="1454"/>
                  </a:lnTo>
                  <a:lnTo>
                    <a:pt x="1695" y="1454"/>
                  </a:lnTo>
                  <a:lnTo>
                    <a:pt x="1691" y="1454"/>
                  </a:lnTo>
                  <a:lnTo>
                    <a:pt x="1691" y="1454"/>
                  </a:lnTo>
                  <a:lnTo>
                    <a:pt x="1689" y="1454"/>
                  </a:lnTo>
                  <a:lnTo>
                    <a:pt x="1687" y="1454"/>
                  </a:lnTo>
                  <a:lnTo>
                    <a:pt x="1687" y="1454"/>
                  </a:lnTo>
                  <a:lnTo>
                    <a:pt x="1689" y="1456"/>
                  </a:lnTo>
                  <a:lnTo>
                    <a:pt x="1689" y="1456"/>
                  </a:lnTo>
                  <a:lnTo>
                    <a:pt x="1689" y="1456"/>
                  </a:lnTo>
                  <a:lnTo>
                    <a:pt x="1691" y="1458"/>
                  </a:lnTo>
                  <a:lnTo>
                    <a:pt x="1689" y="1460"/>
                  </a:lnTo>
                  <a:lnTo>
                    <a:pt x="1689" y="1462"/>
                  </a:lnTo>
                  <a:lnTo>
                    <a:pt x="1687" y="1462"/>
                  </a:lnTo>
                  <a:lnTo>
                    <a:pt x="1687" y="1462"/>
                  </a:lnTo>
                  <a:lnTo>
                    <a:pt x="1685" y="1464"/>
                  </a:lnTo>
                  <a:lnTo>
                    <a:pt x="1685" y="1464"/>
                  </a:lnTo>
                  <a:lnTo>
                    <a:pt x="1689" y="1464"/>
                  </a:lnTo>
                  <a:lnTo>
                    <a:pt x="1695" y="1464"/>
                  </a:lnTo>
                  <a:lnTo>
                    <a:pt x="1697" y="1462"/>
                  </a:lnTo>
                  <a:lnTo>
                    <a:pt x="1697" y="1462"/>
                  </a:lnTo>
                  <a:lnTo>
                    <a:pt x="1697" y="1460"/>
                  </a:lnTo>
                  <a:lnTo>
                    <a:pt x="1697" y="1460"/>
                  </a:lnTo>
                  <a:lnTo>
                    <a:pt x="1697" y="1460"/>
                  </a:lnTo>
                  <a:lnTo>
                    <a:pt x="1697" y="1458"/>
                  </a:lnTo>
                  <a:lnTo>
                    <a:pt x="1697" y="1456"/>
                  </a:lnTo>
                  <a:lnTo>
                    <a:pt x="1697" y="1456"/>
                  </a:lnTo>
                  <a:lnTo>
                    <a:pt x="1697" y="1454"/>
                  </a:lnTo>
                  <a:lnTo>
                    <a:pt x="1697" y="1452"/>
                  </a:lnTo>
                  <a:close/>
                  <a:moveTo>
                    <a:pt x="1685" y="1363"/>
                  </a:moveTo>
                  <a:lnTo>
                    <a:pt x="1685" y="1363"/>
                  </a:lnTo>
                  <a:lnTo>
                    <a:pt x="1687" y="1363"/>
                  </a:lnTo>
                  <a:lnTo>
                    <a:pt x="1687" y="1363"/>
                  </a:lnTo>
                  <a:lnTo>
                    <a:pt x="1687" y="1363"/>
                  </a:lnTo>
                  <a:lnTo>
                    <a:pt x="1687" y="1363"/>
                  </a:lnTo>
                  <a:lnTo>
                    <a:pt x="1687" y="1363"/>
                  </a:lnTo>
                  <a:lnTo>
                    <a:pt x="1687" y="1363"/>
                  </a:lnTo>
                  <a:lnTo>
                    <a:pt x="1687" y="1361"/>
                  </a:lnTo>
                  <a:lnTo>
                    <a:pt x="1685" y="1361"/>
                  </a:lnTo>
                  <a:lnTo>
                    <a:pt x="1685" y="1363"/>
                  </a:lnTo>
                  <a:lnTo>
                    <a:pt x="1685" y="1363"/>
                  </a:lnTo>
                  <a:close/>
                  <a:moveTo>
                    <a:pt x="1687" y="1355"/>
                  </a:moveTo>
                  <a:lnTo>
                    <a:pt x="1687" y="1355"/>
                  </a:lnTo>
                  <a:lnTo>
                    <a:pt x="1685" y="1355"/>
                  </a:lnTo>
                  <a:lnTo>
                    <a:pt x="1685" y="1355"/>
                  </a:lnTo>
                  <a:lnTo>
                    <a:pt x="1685" y="1353"/>
                  </a:lnTo>
                  <a:lnTo>
                    <a:pt x="1685" y="1353"/>
                  </a:lnTo>
                  <a:lnTo>
                    <a:pt x="1685" y="1355"/>
                  </a:lnTo>
                  <a:lnTo>
                    <a:pt x="1685" y="1355"/>
                  </a:lnTo>
                  <a:lnTo>
                    <a:pt x="1687" y="1357"/>
                  </a:lnTo>
                  <a:lnTo>
                    <a:pt x="1687" y="1355"/>
                  </a:lnTo>
                  <a:close/>
                  <a:moveTo>
                    <a:pt x="1703" y="1446"/>
                  </a:moveTo>
                  <a:lnTo>
                    <a:pt x="1703" y="1446"/>
                  </a:lnTo>
                  <a:lnTo>
                    <a:pt x="1701" y="1446"/>
                  </a:lnTo>
                  <a:lnTo>
                    <a:pt x="1699" y="1448"/>
                  </a:lnTo>
                  <a:lnTo>
                    <a:pt x="1699" y="1448"/>
                  </a:lnTo>
                  <a:lnTo>
                    <a:pt x="1699" y="1448"/>
                  </a:lnTo>
                  <a:lnTo>
                    <a:pt x="1703" y="1448"/>
                  </a:lnTo>
                  <a:lnTo>
                    <a:pt x="1703" y="1446"/>
                  </a:lnTo>
                  <a:close/>
                  <a:moveTo>
                    <a:pt x="1763" y="892"/>
                  </a:moveTo>
                  <a:lnTo>
                    <a:pt x="1763" y="892"/>
                  </a:lnTo>
                  <a:lnTo>
                    <a:pt x="1765" y="892"/>
                  </a:lnTo>
                  <a:lnTo>
                    <a:pt x="1765" y="890"/>
                  </a:lnTo>
                  <a:lnTo>
                    <a:pt x="1763" y="890"/>
                  </a:lnTo>
                  <a:lnTo>
                    <a:pt x="1763" y="890"/>
                  </a:lnTo>
                  <a:lnTo>
                    <a:pt x="1763" y="888"/>
                  </a:lnTo>
                  <a:lnTo>
                    <a:pt x="1763" y="888"/>
                  </a:lnTo>
                  <a:lnTo>
                    <a:pt x="1763" y="886"/>
                  </a:lnTo>
                  <a:lnTo>
                    <a:pt x="1763" y="886"/>
                  </a:lnTo>
                  <a:lnTo>
                    <a:pt x="1763" y="888"/>
                  </a:lnTo>
                  <a:lnTo>
                    <a:pt x="1763" y="890"/>
                  </a:lnTo>
                  <a:lnTo>
                    <a:pt x="1763" y="890"/>
                  </a:lnTo>
                  <a:lnTo>
                    <a:pt x="1763" y="892"/>
                  </a:lnTo>
                  <a:lnTo>
                    <a:pt x="1763" y="892"/>
                  </a:lnTo>
                  <a:close/>
                  <a:moveTo>
                    <a:pt x="1689" y="1373"/>
                  </a:moveTo>
                  <a:lnTo>
                    <a:pt x="1687" y="1373"/>
                  </a:lnTo>
                  <a:lnTo>
                    <a:pt x="1687" y="1373"/>
                  </a:lnTo>
                  <a:lnTo>
                    <a:pt x="1685" y="1373"/>
                  </a:lnTo>
                  <a:lnTo>
                    <a:pt x="1685" y="1373"/>
                  </a:lnTo>
                  <a:lnTo>
                    <a:pt x="1687" y="1377"/>
                  </a:lnTo>
                  <a:lnTo>
                    <a:pt x="1687" y="1379"/>
                  </a:lnTo>
                  <a:lnTo>
                    <a:pt x="1687" y="1379"/>
                  </a:lnTo>
                  <a:lnTo>
                    <a:pt x="1689" y="1377"/>
                  </a:lnTo>
                  <a:lnTo>
                    <a:pt x="1689" y="1377"/>
                  </a:lnTo>
                  <a:lnTo>
                    <a:pt x="1689" y="1375"/>
                  </a:lnTo>
                  <a:lnTo>
                    <a:pt x="1689" y="1375"/>
                  </a:lnTo>
                  <a:lnTo>
                    <a:pt x="1689" y="1373"/>
                  </a:lnTo>
                  <a:close/>
                  <a:moveTo>
                    <a:pt x="1716" y="1417"/>
                  </a:moveTo>
                  <a:lnTo>
                    <a:pt x="1716" y="1419"/>
                  </a:lnTo>
                  <a:lnTo>
                    <a:pt x="1716" y="1421"/>
                  </a:lnTo>
                  <a:lnTo>
                    <a:pt x="1718" y="1421"/>
                  </a:lnTo>
                  <a:lnTo>
                    <a:pt x="1718" y="1421"/>
                  </a:lnTo>
                  <a:lnTo>
                    <a:pt x="1720" y="1419"/>
                  </a:lnTo>
                  <a:lnTo>
                    <a:pt x="1718" y="1419"/>
                  </a:lnTo>
                  <a:lnTo>
                    <a:pt x="1718" y="1417"/>
                  </a:lnTo>
                  <a:lnTo>
                    <a:pt x="1716" y="1417"/>
                  </a:lnTo>
                  <a:close/>
                  <a:moveTo>
                    <a:pt x="1697" y="1479"/>
                  </a:moveTo>
                  <a:lnTo>
                    <a:pt x="1697" y="1479"/>
                  </a:lnTo>
                  <a:lnTo>
                    <a:pt x="1695" y="1479"/>
                  </a:lnTo>
                  <a:lnTo>
                    <a:pt x="1695" y="1481"/>
                  </a:lnTo>
                  <a:lnTo>
                    <a:pt x="1695" y="1481"/>
                  </a:lnTo>
                  <a:lnTo>
                    <a:pt x="1697" y="1481"/>
                  </a:lnTo>
                  <a:lnTo>
                    <a:pt x="1697" y="1481"/>
                  </a:lnTo>
                  <a:lnTo>
                    <a:pt x="1699" y="1481"/>
                  </a:lnTo>
                  <a:lnTo>
                    <a:pt x="1699" y="1479"/>
                  </a:lnTo>
                  <a:lnTo>
                    <a:pt x="1697" y="1479"/>
                  </a:lnTo>
                  <a:lnTo>
                    <a:pt x="1699" y="1479"/>
                  </a:lnTo>
                  <a:lnTo>
                    <a:pt x="1697" y="1479"/>
                  </a:lnTo>
                  <a:close/>
                  <a:moveTo>
                    <a:pt x="1699" y="1477"/>
                  </a:moveTo>
                  <a:lnTo>
                    <a:pt x="1701" y="1477"/>
                  </a:lnTo>
                  <a:lnTo>
                    <a:pt x="1699" y="1477"/>
                  </a:lnTo>
                  <a:lnTo>
                    <a:pt x="1699" y="1477"/>
                  </a:lnTo>
                  <a:lnTo>
                    <a:pt x="1699" y="1477"/>
                  </a:lnTo>
                  <a:lnTo>
                    <a:pt x="1699" y="1477"/>
                  </a:lnTo>
                  <a:lnTo>
                    <a:pt x="1697" y="1477"/>
                  </a:lnTo>
                  <a:lnTo>
                    <a:pt x="1697" y="1477"/>
                  </a:lnTo>
                  <a:lnTo>
                    <a:pt x="1697" y="1477"/>
                  </a:lnTo>
                  <a:lnTo>
                    <a:pt x="1699" y="1477"/>
                  </a:lnTo>
                  <a:lnTo>
                    <a:pt x="1699" y="1477"/>
                  </a:lnTo>
                  <a:close/>
                  <a:moveTo>
                    <a:pt x="1687" y="1435"/>
                  </a:moveTo>
                  <a:lnTo>
                    <a:pt x="1687" y="1435"/>
                  </a:lnTo>
                  <a:lnTo>
                    <a:pt x="1685" y="1435"/>
                  </a:lnTo>
                  <a:lnTo>
                    <a:pt x="1687" y="1435"/>
                  </a:lnTo>
                  <a:lnTo>
                    <a:pt x="1687" y="1435"/>
                  </a:lnTo>
                  <a:lnTo>
                    <a:pt x="1689" y="1433"/>
                  </a:lnTo>
                  <a:lnTo>
                    <a:pt x="1687" y="1433"/>
                  </a:lnTo>
                  <a:lnTo>
                    <a:pt x="1687" y="1433"/>
                  </a:lnTo>
                  <a:lnTo>
                    <a:pt x="1687" y="1435"/>
                  </a:lnTo>
                  <a:close/>
                  <a:moveTo>
                    <a:pt x="1697" y="915"/>
                  </a:moveTo>
                  <a:lnTo>
                    <a:pt x="1697" y="915"/>
                  </a:lnTo>
                  <a:lnTo>
                    <a:pt x="1697" y="915"/>
                  </a:lnTo>
                  <a:lnTo>
                    <a:pt x="1697" y="913"/>
                  </a:lnTo>
                  <a:lnTo>
                    <a:pt x="1695" y="915"/>
                  </a:lnTo>
                  <a:lnTo>
                    <a:pt x="1695" y="915"/>
                  </a:lnTo>
                  <a:lnTo>
                    <a:pt x="1697" y="915"/>
                  </a:lnTo>
                  <a:lnTo>
                    <a:pt x="1697" y="915"/>
                  </a:lnTo>
                  <a:lnTo>
                    <a:pt x="1697" y="915"/>
                  </a:lnTo>
                  <a:close/>
                  <a:moveTo>
                    <a:pt x="1699" y="1400"/>
                  </a:moveTo>
                  <a:lnTo>
                    <a:pt x="1699" y="1400"/>
                  </a:lnTo>
                  <a:lnTo>
                    <a:pt x="1699" y="1398"/>
                  </a:lnTo>
                  <a:lnTo>
                    <a:pt x="1699" y="1398"/>
                  </a:lnTo>
                  <a:lnTo>
                    <a:pt x="1697" y="1398"/>
                  </a:lnTo>
                  <a:lnTo>
                    <a:pt x="1697" y="1396"/>
                  </a:lnTo>
                  <a:lnTo>
                    <a:pt x="1697" y="1396"/>
                  </a:lnTo>
                  <a:lnTo>
                    <a:pt x="1697" y="1396"/>
                  </a:lnTo>
                  <a:lnTo>
                    <a:pt x="1697" y="1396"/>
                  </a:lnTo>
                  <a:lnTo>
                    <a:pt x="1695" y="1394"/>
                  </a:lnTo>
                  <a:lnTo>
                    <a:pt x="1695" y="1394"/>
                  </a:lnTo>
                  <a:lnTo>
                    <a:pt x="1693" y="1396"/>
                  </a:lnTo>
                  <a:lnTo>
                    <a:pt x="1693" y="1396"/>
                  </a:lnTo>
                  <a:lnTo>
                    <a:pt x="1695" y="1398"/>
                  </a:lnTo>
                  <a:lnTo>
                    <a:pt x="1695" y="1398"/>
                  </a:lnTo>
                  <a:lnTo>
                    <a:pt x="1697" y="1398"/>
                  </a:lnTo>
                  <a:lnTo>
                    <a:pt x="1695" y="1400"/>
                  </a:lnTo>
                  <a:lnTo>
                    <a:pt x="1695" y="1400"/>
                  </a:lnTo>
                  <a:lnTo>
                    <a:pt x="1695" y="1400"/>
                  </a:lnTo>
                  <a:lnTo>
                    <a:pt x="1697" y="1400"/>
                  </a:lnTo>
                  <a:lnTo>
                    <a:pt x="1699" y="1402"/>
                  </a:lnTo>
                  <a:lnTo>
                    <a:pt x="1699" y="1400"/>
                  </a:lnTo>
                  <a:close/>
                  <a:moveTo>
                    <a:pt x="1679" y="900"/>
                  </a:moveTo>
                  <a:lnTo>
                    <a:pt x="1681" y="900"/>
                  </a:lnTo>
                  <a:lnTo>
                    <a:pt x="1683" y="898"/>
                  </a:lnTo>
                  <a:lnTo>
                    <a:pt x="1683" y="898"/>
                  </a:lnTo>
                  <a:lnTo>
                    <a:pt x="1681" y="898"/>
                  </a:lnTo>
                  <a:lnTo>
                    <a:pt x="1681" y="898"/>
                  </a:lnTo>
                  <a:lnTo>
                    <a:pt x="1676" y="898"/>
                  </a:lnTo>
                  <a:lnTo>
                    <a:pt x="1672" y="898"/>
                  </a:lnTo>
                  <a:lnTo>
                    <a:pt x="1672" y="898"/>
                  </a:lnTo>
                  <a:lnTo>
                    <a:pt x="1668" y="898"/>
                  </a:lnTo>
                  <a:lnTo>
                    <a:pt x="1666" y="898"/>
                  </a:lnTo>
                  <a:lnTo>
                    <a:pt x="1664" y="898"/>
                  </a:lnTo>
                  <a:lnTo>
                    <a:pt x="1662" y="896"/>
                  </a:lnTo>
                  <a:lnTo>
                    <a:pt x="1662" y="896"/>
                  </a:lnTo>
                  <a:lnTo>
                    <a:pt x="1662" y="896"/>
                  </a:lnTo>
                  <a:lnTo>
                    <a:pt x="1660" y="896"/>
                  </a:lnTo>
                  <a:lnTo>
                    <a:pt x="1658" y="896"/>
                  </a:lnTo>
                  <a:lnTo>
                    <a:pt x="1658" y="898"/>
                  </a:lnTo>
                  <a:lnTo>
                    <a:pt x="1658" y="898"/>
                  </a:lnTo>
                  <a:lnTo>
                    <a:pt x="1656" y="898"/>
                  </a:lnTo>
                  <a:lnTo>
                    <a:pt x="1656" y="898"/>
                  </a:lnTo>
                  <a:lnTo>
                    <a:pt x="1656" y="896"/>
                  </a:lnTo>
                  <a:lnTo>
                    <a:pt x="1656" y="896"/>
                  </a:lnTo>
                  <a:lnTo>
                    <a:pt x="1656" y="896"/>
                  </a:lnTo>
                  <a:lnTo>
                    <a:pt x="1656" y="896"/>
                  </a:lnTo>
                  <a:lnTo>
                    <a:pt x="1656" y="894"/>
                  </a:lnTo>
                  <a:lnTo>
                    <a:pt x="1652" y="892"/>
                  </a:lnTo>
                  <a:lnTo>
                    <a:pt x="1654" y="890"/>
                  </a:lnTo>
                  <a:lnTo>
                    <a:pt x="1654" y="888"/>
                  </a:lnTo>
                  <a:lnTo>
                    <a:pt x="1654" y="888"/>
                  </a:lnTo>
                  <a:lnTo>
                    <a:pt x="1652" y="890"/>
                  </a:lnTo>
                  <a:lnTo>
                    <a:pt x="1650" y="890"/>
                  </a:lnTo>
                  <a:lnTo>
                    <a:pt x="1650" y="892"/>
                  </a:lnTo>
                  <a:lnTo>
                    <a:pt x="1650" y="892"/>
                  </a:lnTo>
                  <a:lnTo>
                    <a:pt x="1648" y="894"/>
                  </a:lnTo>
                  <a:lnTo>
                    <a:pt x="1648" y="894"/>
                  </a:lnTo>
                  <a:lnTo>
                    <a:pt x="1650" y="894"/>
                  </a:lnTo>
                  <a:lnTo>
                    <a:pt x="1652" y="896"/>
                  </a:lnTo>
                  <a:lnTo>
                    <a:pt x="1652" y="896"/>
                  </a:lnTo>
                  <a:lnTo>
                    <a:pt x="1652" y="898"/>
                  </a:lnTo>
                  <a:lnTo>
                    <a:pt x="1654" y="898"/>
                  </a:lnTo>
                  <a:lnTo>
                    <a:pt x="1656" y="898"/>
                  </a:lnTo>
                  <a:lnTo>
                    <a:pt x="1658" y="898"/>
                  </a:lnTo>
                  <a:lnTo>
                    <a:pt x="1658" y="900"/>
                  </a:lnTo>
                  <a:lnTo>
                    <a:pt x="1658" y="900"/>
                  </a:lnTo>
                  <a:lnTo>
                    <a:pt x="1656" y="900"/>
                  </a:lnTo>
                  <a:lnTo>
                    <a:pt x="1658" y="900"/>
                  </a:lnTo>
                  <a:lnTo>
                    <a:pt x="1660" y="902"/>
                  </a:lnTo>
                  <a:lnTo>
                    <a:pt x="1660" y="902"/>
                  </a:lnTo>
                  <a:lnTo>
                    <a:pt x="1664" y="905"/>
                  </a:lnTo>
                  <a:lnTo>
                    <a:pt x="1664" y="902"/>
                  </a:lnTo>
                  <a:lnTo>
                    <a:pt x="1666" y="902"/>
                  </a:lnTo>
                  <a:lnTo>
                    <a:pt x="1664" y="902"/>
                  </a:lnTo>
                  <a:lnTo>
                    <a:pt x="1666" y="902"/>
                  </a:lnTo>
                  <a:lnTo>
                    <a:pt x="1666" y="902"/>
                  </a:lnTo>
                  <a:lnTo>
                    <a:pt x="1668" y="900"/>
                  </a:lnTo>
                  <a:lnTo>
                    <a:pt x="1668" y="900"/>
                  </a:lnTo>
                  <a:lnTo>
                    <a:pt x="1668" y="900"/>
                  </a:lnTo>
                  <a:lnTo>
                    <a:pt x="1668" y="902"/>
                  </a:lnTo>
                  <a:lnTo>
                    <a:pt x="1668" y="902"/>
                  </a:lnTo>
                  <a:lnTo>
                    <a:pt x="1668" y="902"/>
                  </a:lnTo>
                  <a:lnTo>
                    <a:pt x="1668" y="902"/>
                  </a:lnTo>
                  <a:lnTo>
                    <a:pt x="1670" y="905"/>
                  </a:lnTo>
                  <a:lnTo>
                    <a:pt x="1668" y="905"/>
                  </a:lnTo>
                  <a:lnTo>
                    <a:pt x="1668" y="905"/>
                  </a:lnTo>
                  <a:lnTo>
                    <a:pt x="1670" y="905"/>
                  </a:lnTo>
                  <a:lnTo>
                    <a:pt x="1670" y="907"/>
                  </a:lnTo>
                  <a:lnTo>
                    <a:pt x="1670" y="907"/>
                  </a:lnTo>
                  <a:lnTo>
                    <a:pt x="1672" y="907"/>
                  </a:lnTo>
                  <a:lnTo>
                    <a:pt x="1674" y="907"/>
                  </a:lnTo>
                  <a:lnTo>
                    <a:pt x="1676" y="907"/>
                  </a:lnTo>
                  <a:lnTo>
                    <a:pt x="1674" y="907"/>
                  </a:lnTo>
                  <a:lnTo>
                    <a:pt x="1674" y="907"/>
                  </a:lnTo>
                  <a:lnTo>
                    <a:pt x="1674" y="905"/>
                  </a:lnTo>
                  <a:lnTo>
                    <a:pt x="1674" y="902"/>
                  </a:lnTo>
                  <a:lnTo>
                    <a:pt x="1674" y="902"/>
                  </a:lnTo>
                  <a:lnTo>
                    <a:pt x="1679" y="900"/>
                  </a:lnTo>
                  <a:close/>
                  <a:moveTo>
                    <a:pt x="1685" y="882"/>
                  </a:moveTo>
                  <a:lnTo>
                    <a:pt x="1687" y="880"/>
                  </a:lnTo>
                  <a:lnTo>
                    <a:pt x="1687" y="880"/>
                  </a:lnTo>
                  <a:lnTo>
                    <a:pt x="1689" y="878"/>
                  </a:lnTo>
                  <a:lnTo>
                    <a:pt x="1689" y="878"/>
                  </a:lnTo>
                  <a:lnTo>
                    <a:pt x="1691" y="878"/>
                  </a:lnTo>
                  <a:lnTo>
                    <a:pt x="1691" y="878"/>
                  </a:lnTo>
                  <a:lnTo>
                    <a:pt x="1689" y="878"/>
                  </a:lnTo>
                  <a:lnTo>
                    <a:pt x="1687" y="878"/>
                  </a:lnTo>
                  <a:lnTo>
                    <a:pt x="1685" y="880"/>
                  </a:lnTo>
                  <a:lnTo>
                    <a:pt x="1683" y="882"/>
                  </a:lnTo>
                  <a:lnTo>
                    <a:pt x="1683" y="884"/>
                  </a:lnTo>
                  <a:lnTo>
                    <a:pt x="1683" y="884"/>
                  </a:lnTo>
                  <a:lnTo>
                    <a:pt x="1685" y="884"/>
                  </a:lnTo>
                  <a:lnTo>
                    <a:pt x="1685" y="884"/>
                  </a:lnTo>
                  <a:lnTo>
                    <a:pt x="1685" y="884"/>
                  </a:lnTo>
                  <a:lnTo>
                    <a:pt x="1685" y="884"/>
                  </a:lnTo>
                  <a:lnTo>
                    <a:pt x="1683" y="884"/>
                  </a:lnTo>
                  <a:lnTo>
                    <a:pt x="1685" y="882"/>
                  </a:lnTo>
                  <a:lnTo>
                    <a:pt x="1685" y="882"/>
                  </a:lnTo>
                  <a:close/>
                  <a:moveTo>
                    <a:pt x="1699" y="1406"/>
                  </a:moveTo>
                  <a:lnTo>
                    <a:pt x="1697" y="1406"/>
                  </a:lnTo>
                  <a:lnTo>
                    <a:pt x="1697" y="1406"/>
                  </a:lnTo>
                  <a:lnTo>
                    <a:pt x="1697" y="1406"/>
                  </a:lnTo>
                  <a:lnTo>
                    <a:pt x="1695" y="1408"/>
                  </a:lnTo>
                  <a:lnTo>
                    <a:pt x="1695" y="1408"/>
                  </a:lnTo>
                  <a:lnTo>
                    <a:pt x="1695" y="1410"/>
                  </a:lnTo>
                  <a:lnTo>
                    <a:pt x="1697" y="1410"/>
                  </a:lnTo>
                  <a:lnTo>
                    <a:pt x="1699" y="1410"/>
                  </a:lnTo>
                  <a:lnTo>
                    <a:pt x="1699" y="1406"/>
                  </a:lnTo>
                  <a:close/>
                  <a:moveTo>
                    <a:pt x="1689" y="1375"/>
                  </a:moveTo>
                  <a:lnTo>
                    <a:pt x="1691" y="1375"/>
                  </a:lnTo>
                  <a:lnTo>
                    <a:pt x="1693" y="1375"/>
                  </a:lnTo>
                  <a:lnTo>
                    <a:pt x="1695" y="1375"/>
                  </a:lnTo>
                  <a:lnTo>
                    <a:pt x="1691" y="1373"/>
                  </a:lnTo>
                  <a:lnTo>
                    <a:pt x="1691" y="1373"/>
                  </a:lnTo>
                  <a:lnTo>
                    <a:pt x="1691" y="1371"/>
                  </a:lnTo>
                  <a:lnTo>
                    <a:pt x="1691" y="1371"/>
                  </a:lnTo>
                  <a:lnTo>
                    <a:pt x="1689" y="1371"/>
                  </a:lnTo>
                  <a:lnTo>
                    <a:pt x="1689" y="1371"/>
                  </a:lnTo>
                  <a:lnTo>
                    <a:pt x="1689" y="1373"/>
                  </a:lnTo>
                  <a:lnTo>
                    <a:pt x="1689" y="1373"/>
                  </a:lnTo>
                  <a:lnTo>
                    <a:pt x="1689" y="1375"/>
                  </a:lnTo>
                  <a:close/>
                  <a:moveTo>
                    <a:pt x="1695" y="1419"/>
                  </a:moveTo>
                  <a:lnTo>
                    <a:pt x="1695" y="1419"/>
                  </a:lnTo>
                  <a:lnTo>
                    <a:pt x="1695" y="1417"/>
                  </a:lnTo>
                  <a:lnTo>
                    <a:pt x="1695" y="1417"/>
                  </a:lnTo>
                  <a:lnTo>
                    <a:pt x="1695" y="1417"/>
                  </a:lnTo>
                  <a:lnTo>
                    <a:pt x="1693" y="1417"/>
                  </a:lnTo>
                  <a:lnTo>
                    <a:pt x="1693" y="1417"/>
                  </a:lnTo>
                  <a:lnTo>
                    <a:pt x="1693" y="1419"/>
                  </a:lnTo>
                  <a:lnTo>
                    <a:pt x="1693" y="1419"/>
                  </a:lnTo>
                  <a:lnTo>
                    <a:pt x="1695" y="1419"/>
                  </a:lnTo>
                  <a:close/>
                  <a:moveTo>
                    <a:pt x="1765" y="892"/>
                  </a:moveTo>
                  <a:lnTo>
                    <a:pt x="1765" y="892"/>
                  </a:lnTo>
                  <a:lnTo>
                    <a:pt x="1765" y="892"/>
                  </a:lnTo>
                  <a:lnTo>
                    <a:pt x="1765" y="892"/>
                  </a:lnTo>
                  <a:lnTo>
                    <a:pt x="1765" y="892"/>
                  </a:lnTo>
                  <a:lnTo>
                    <a:pt x="1765" y="892"/>
                  </a:lnTo>
                  <a:lnTo>
                    <a:pt x="1765" y="892"/>
                  </a:lnTo>
                  <a:lnTo>
                    <a:pt x="1765" y="892"/>
                  </a:lnTo>
                  <a:lnTo>
                    <a:pt x="1765" y="892"/>
                  </a:lnTo>
                  <a:close/>
                  <a:moveTo>
                    <a:pt x="1693" y="1386"/>
                  </a:moveTo>
                  <a:lnTo>
                    <a:pt x="1693" y="1384"/>
                  </a:lnTo>
                  <a:lnTo>
                    <a:pt x="1691" y="1384"/>
                  </a:lnTo>
                  <a:lnTo>
                    <a:pt x="1691" y="1384"/>
                  </a:lnTo>
                  <a:lnTo>
                    <a:pt x="1689" y="1386"/>
                  </a:lnTo>
                  <a:lnTo>
                    <a:pt x="1691" y="1388"/>
                  </a:lnTo>
                  <a:lnTo>
                    <a:pt x="1691" y="1390"/>
                  </a:lnTo>
                  <a:lnTo>
                    <a:pt x="1693" y="1390"/>
                  </a:lnTo>
                  <a:lnTo>
                    <a:pt x="1693" y="1388"/>
                  </a:lnTo>
                  <a:lnTo>
                    <a:pt x="1693" y="1386"/>
                  </a:lnTo>
                  <a:close/>
                  <a:moveTo>
                    <a:pt x="1483" y="1266"/>
                  </a:moveTo>
                  <a:lnTo>
                    <a:pt x="1483" y="1266"/>
                  </a:lnTo>
                  <a:lnTo>
                    <a:pt x="1487" y="1268"/>
                  </a:lnTo>
                  <a:lnTo>
                    <a:pt x="1487" y="1268"/>
                  </a:lnTo>
                  <a:lnTo>
                    <a:pt x="1487" y="1268"/>
                  </a:lnTo>
                  <a:lnTo>
                    <a:pt x="1487" y="1268"/>
                  </a:lnTo>
                  <a:lnTo>
                    <a:pt x="1485" y="1268"/>
                  </a:lnTo>
                  <a:lnTo>
                    <a:pt x="1483" y="1266"/>
                  </a:lnTo>
                  <a:lnTo>
                    <a:pt x="1483" y="1266"/>
                  </a:lnTo>
                  <a:lnTo>
                    <a:pt x="1483" y="1266"/>
                  </a:lnTo>
                  <a:close/>
                  <a:moveTo>
                    <a:pt x="1608" y="1348"/>
                  </a:moveTo>
                  <a:lnTo>
                    <a:pt x="1608" y="1351"/>
                  </a:lnTo>
                  <a:lnTo>
                    <a:pt x="1610" y="1351"/>
                  </a:lnTo>
                  <a:lnTo>
                    <a:pt x="1613" y="1351"/>
                  </a:lnTo>
                  <a:lnTo>
                    <a:pt x="1613" y="1351"/>
                  </a:lnTo>
                  <a:lnTo>
                    <a:pt x="1613" y="1351"/>
                  </a:lnTo>
                  <a:lnTo>
                    <a:pt x="1615" y="1348"/>
                  </a:lnTo>
                  <a:lnTo>
                    <a:pt x="1617" y="1351"/>
                  </a:lnTo>
                  <a:lnTo>
                    <a:pt x="1619" y="1348"/>
                  </a:lnTo>
                  <a:lnTo>
                    <a:pt x="1619" y="1351"/>
                  </a:lnTo>
                  <a:lnTo>
                    <a:pt x="1621" y="1351"/>
                  </a:lnTo>
                  <a:lnTo>
                    <a:pt x="1621" y="1351"/>
                  </a:lnTo>
                  <a:lnTo>
                    <a:pt x="1623" y="1351"/>
                  </a:lnTo>
                  <a:lnTo>
                    <a:pt x="1623" y="1351"/>
                  </a:lnTo>
                  <a:lnTo>
                    <a:pt x="1625" y="1351"/>
                  </a:lnTo>
                  <a:lnTo>
                    <a:pt x="1627" y="1348"/>
                  </a:lnTo>
                  <a:lnTo>
                    <a:pt x="1629" y="1346"/>
                  </a:lnTo>
                  <a:lnTo>
                    <a:pt x="1629" y="1346"/>
                  </a:lnTo>
                  <a:lnTo>
                    <a:pt x="1631" y="1346"/>
                  </a:lnTo>
                  <a:lnTo>
                    <a:pt x="1631" y="1344"/>
                  </a:lnTo>
                  <a:lnTo>
                    <a:pt x="1629" y="1344"/>
                  </a:lnTo>
                  <a:lnTo>
                    <a:pt x="1627" y="1342"/>
                  </a:lnTo>
                  <a:lnTo>
                    <a:pt x="1625" y="1342"/>
                  </a:lnTo>
                  <a:lnTo>
                    <a:pt x="1625" y="1342"/>
                  </a:lnTo>
                  <a:lnTo>
                    <a:pt x="1625" y="1342"/>
                  </a:lnTo>
                  <a:lnTo>
                    <a:pt x="1625" y="1342"/>
                  </a:lnTo>
                  <a:lnTo>
                    <a:pt x="1623" y="1342"/>
                  </a:lnTo>
                  <a:lnTo>
                    <a:pt x="1623" y="1342"/>
                  </a:lnTo>
                  <a:lnTo>
                    <a:pt x="1623" y="1342"/>
                  </a:lnTo>
                  <a:lnTo>
                    <a:pt x="1615" y="1342"/>
                  </a:lnTo>
                  <a:lnTo>
                    <a:pt x="1610" y="1342"/>
                  </a:lnTo>
                  <a:lnTo>
                    <a:pt x="1610" y="1342"/>
                  </a:lnTo>
                  <a:lnTo>
                    <a:pt x="1608" y="1342"/>
                  </a:lnTo>
                  <a:lnTo>
                    <a:pt x="1608" y="1342"/>
                  </a:lnTo>
                  <a:lnTo>
                    <a:pt x="1608" y="1344"/>
                  </a:lnTo>
                  <a:lnTo>
                    <a:pt x="1606" y="1344"/>
                  </a:lnTo>
                  <a:lnTo>
                    <a:pt x="1608" y="1344"/>
                  </a:lnTo>
                  <a:lnTo>
                    <a:pt x="1608" y="1344"/>
                  </a:lnTo>
                  <a:lnTo>
                    <a:pt x="1608" y="1346"/>
                  </a:lnTo>
                  <a:lnTo>
                    <a:pt x="1608" y="1346"/>
                  </a:lnTo>
                  <a:lnTo>
                    <a:pt x="1608" y="1348"/>
                  </a:lnTo>
                  <a:close/>
                  <a:moveTo>
                    <a:pt x="1456" y="1289"/>
                  </a:moveTo>
                  <a:lnTo>
                    <a:pt x="1456" y="1289"/>
                  </a:lnTo>
                  <a:lnTo>
                    <a:pt x="1456" y="1289"/>
                  </a:lnTo>
                  <a:lnTo>
                    <a:pt x="1456" y="1287"/>
                  </a:lnTo>
                  <a:lnTo>
                    <a:pt x="1456" y="1287"/>
                  </a:lnTo>
                  <a:lnTo>
                    <a:pt x="1454" y="1287"/>
                  </a:lnTo>
                  <a:lnTo>
                    <a:pt x="1454" y="1287"/>
                  </a:lnTo>
                  <a:lnTo>
                    <a:pt x="1454" y="1287"/>
                  </a:lnTo>
                  <a:lnTo>
                    <a:pt x="1454" y="1287"/>
                  </a:lnTo>
                  <a:lnTo>
                    <a:pt x="1454" y="1287"/>
                  </a:lnTo>
                  <a:lnTo>
                    <a:pt x="1454" y="1289"/>
                  </a:lnTo>
                  <a:lnTo>
                    <a:pt x="1456" y="1289"/>
                  </a:lnTo>
                  <a:close/>
                  <a:moveTo>
                    <a:pt x="1462" y="1262"/>
                  </a:moveTo>
                  <a:lnTo>
                    <a:pt x="1462" y="1262"/>
                  </a:lnTo>
                  <a:lnTo>
                    <a:pt x="1460" y="1262"/>
                  </a:lnTo>
                  <a:lnTo>
                    <a:pt x="1460" y="1262"/>
                  </a:lnTo>
                  <a:lnTo>
                    <a:pt x="1460" y="1262"/>
                  </a:lnTo>
                  <a:lnTo>
                    <a:pt x="1460" y="1258"/>
                  </a:lnTo>
                  <a:lnTo>
                    <a:pt x="1460" y="1258"/>
                  </a:lnTo>
                  <a:lnTo>
                    <a:pt x="1458" y="1260"/>
                  </a:lnTo>
                  <a:lnTo>
                    <a:pt x="1458" y="1258"/>
                  </a:lnTo>
                  <a:lnTo>
                    <a:pt x="1460" y="1258"/>
                  </a:lnTo>
                  <a:lnTo>
                    <a:pt x="1460" y="1258"/>
                  </a:lnTo>
                  <a:lnTo>
                    <a:pt x="1458" y="1256"/>
                  </a:lnTo>
                  <a:lnTo>
                    <a:pt x="1458" y="1258"/>
                  </a:lnTo>
                  <a:lnTo>
                    <a:pt x="1456" y="1258"/>
                  </a:lnTo>
                  <a:lnTo>
                    <a:pt x="1456" y="1258"/>
                  </a:lnTo>
                  <a:lnTo>
                    <a:pt x="1456" y="1258"/>
                  </a:lnTo>
                  <a:lnTo>
                    <a:pt x="1454" y="1258"/>
                  </a:lnTo>
                  <a:lnTo>
                    <a:pt x="1456" y="1260"/>
                  </a:lnTo>
                  <a:lnTo>
                    <a:pt x="1456" y="1260"/>
                  </a:lnTo>
                  <a:lnTo>
                    <a:pt x="1458" y="1262"/>
                  </a:lnTo>
                  <a:lnTo>
                    <a:pt x="1458" y="1262"/>
                  </a:lnTo>
                  <a:lnTo>
                    <a:pt x="1458" y="1264"/>
                  </a:lnTo>
                  <a:lnTo>
                    <a:pt x="1460" y="1264"/>
                  </a:lnTo>
                  <a:lnTo>
                    <a:pt x="1462" y="1262"/>
                  </a:lnTo>
                  <a:close/>
                  <a:moveTo>
                    <a:pt x="1464" y="1245"/>
                  </a:moveTo>
                  <a:lnTo>
                    <a:pt x="1464" y="1245"/>
                  </a:lnTo>
                  <a:lnTo>
                    <a:pt x="1464" y="1245"/>
                  </a:lnTo>
                  <a:lnTo>
                    <a:pt x="1464" y="1245"/>
                  </a:lnTo>
                  <a:lnTo>
                    <a:pt x="1462" y="1245"/>
                  </a:lnTo>
                  <a:lnTo>
                    <a:pt x="1462" y="1245"/>
                  </a:lnTo>
                  <a:lnTo>
                    <a:pt x="1460" y="1245"/>
                  </a:lnTo>
                  <a:lnTo>
                    <a:pt x="1460" y="1245"/>
                  </a:lnTo>
                  <a:lnTo>
                    <a:pt x="1462" y="1245"/>
                  </a:lnTo>
                  <a:lnTo>
                    <a:pt x="1464" y="1245"/>
                  </a:lnTo>
                  <a:close/>
                  <a:moveTo>
                    <a:pt x="1452" y="1284"/>
                  </a:moveTo>
                  <a:lnTo>
                    <a:pt x="1452" y="1287"/>
                  </a:lnTo>
                  <a:lnTo>
                    <a:pt x="1454" y="1287"/>
                  </a:lnTo>
                  <a:lnTo>
                    <a:pt x="1454" y="1287"/>
                  </a:lnTo>
                  <a:lnTo>
                    <a:pt x="1454" y="1287"/>
                  </a:lnTo>
                  <a:lnTo>
                    <a:pt x="1454" y="1287"/>
                  </a:lnTo>
                  <a:lnTo>
                    <a:pt x="1454" y="1284"/>
                  </a:lnTo>
                  <a:lnTo>
                    <a:pt x="1452" y="1284"/>
                  </a:lnTo>
                  <a:lnTo>
                    <a:pt x="1452" y="1284"/>
                  </a:lnTo>
                  <a:lnTo>
                    <a:pt x="1450" y="1284"/>
                  </a:lnTo>
                  <a:lnTo>
                    <a:pt x="1450" y="1284"/>
                  </a:lnTo>
                  <a:lnTo>
                    <a:pt x="1452" y="1284"/>
                  </a:lnTo>
                  <a:close/>
                  <a:moveTo>
                    <a:pt x="1472" y="1237"/>
                  </a:moveTo>
                  <a:lnTo>
                    <a:pt x="1472" y="1239"/>
                  </a:lnTo>
                  <a:lnTo>
                    <a:pt x="1472" y="1239"/>
                  </a:lnTo>
                  <a:lnTo>
                    <a:pt x="1472" y="1239"/>
                  </a:lnTo>
                  <a:lnTo>
                    <a:pt x="1474" y="1239"/>
                  </a:lnTo>
                  <a:lnTo>
                    <a:pt x="1476" y="1241"/>
                  </a:lnTo>
                  <a:lnTo>
                    <a:pt x="1478" y="1241"/>
                  </a:lnTo>
                  <a:lnTo>
                    <a:pt x="1478" y="1243"/>
                  </a:lnTo>
                  <a:lnTo>
                    <a:pt x="1481" y="1243"/>
                  </a:lnTo>
                  <a:lnTo>
                    <a:pt x="1481" y="1245"/>
                  </a:lnTo>
                  <a:lnTo>
                    <a:pt x="1481" y="1247"/>
                  </a:lnTo>
                  <a:lnTo>
                    <a:pt x="1481" y="1247"/>
                  </a:lnTo>
                  <a:lnTo>
                    <a:pt x="1478" y="1249"/>
                  </a:lnTo>
                  <a:lnTo>
                    <a:pt x="1478" y="1249"/>
                  </a:lnTo>
                  <a:lnTo>
                    <a:pt x="1478" y="1249"/>
                  </a:lnTo>
                  <a:lnTo>
                    <a:pt x="1481" y="1251"/>
                  </a:lnTo>
                  <a:lnTo>
                    <a:pt x="1481" y="1251"/>
                  </a:lnTo>
                  <a:lnTo>
                    <a:pt x="1481" y="1249"/>
                  </a:lnTo>
                  <a:lnTo>
                    <a:pt x="1481" y="1247"/>
                  </a:lnTo>
                  <a:lnTo>
                    <a:pt x="1481" y="1245"/>
                  </a:lnTo>
                  <a:lnTo>
                    <a:pt x="1481" y="1243"/>
                  </a:lnTo>
                  <a:lnTo>
                    <a:pt x="1481" y="1243"/>
                  </a:lnTo>
                  <a:lnTo>
                    <a:pt x="1478" y="1241"/>
                  </a:lnTo>
                  <a:lnTo>
                    <a:pt x="1476" y="1239"/>
                  </a:lnTo>
                  <a:lnTo>
                    <a:pt x="1474" y="1239"/>
                  </a:lnTo>
                  <a:lnTo>
                    <a:pt x="1472" y="1237"/>
                  </a:lnTo>
                  <a:lnTo>
                    <a:pt x="1472" y="1237"/>
                  </a:lnTo>
                  <a:close/>
                  <a:moveTo>
                    <a:pt x="1443" y="1223"/>
                  </a:moveTo>
                  <a:lnTo>
                    <a:pt x="1443" y="1223"/>
                  </a:lnTo>
                  <a:lnTo>
                    <a:pt x="1441" y="1220"/>
                  </a:lnTo>
                  <a:lnTo>
                    <a:pt x="1439" y="1220"/>
                  </a:lnTo>
                  <a:lnTo>
                    <a:pt x="1443" y="1223"/>
                  </a:lnTo>
                  <a:lnTo>
                    <a:pt x="1443" y="1223"/>
                  </a:lnTo>
                  <a:lnTo>
                    <a:pt x="1445" y="1223"/>
                  </a:lnTo>
                  <a:lnTo>
                    <a:pt x="1448" y="1223"/>
                  </a:lnTo>
                  <a:lnTo>
                    <a:pt x="1452" y="1220"/>
                  </a:lnTo>
                  <a:lnTo>
                    <a:pt x="1456" y="1220"/>
                  </a:lnTo>
                  <a:lnTo>
                    <a:pt x="1456" y="1220"/>
                  </a:lnTo>
                  <a:lnTo>
                    <a:pt x="1456" y="1218"/>
                  </a:lnTo>
                  <a:lnTo>
                    <a:pt x="1454" y="1220"/>
                  </a:lnTo>
                  <a:lnTo>
                    <a:pt x="1450" y="1220"/>
                  </a:lnTo>
                  <a:lnTo>
                    <a:pt x="1450" y="1220"/>
                  </a:lnTo>
                  <a:lnTo>
                    <a:pt x="1450" y="1220"/>
                  </a:lnTo>
                  <a:lnTo>
                    <a:pt x="1448" y="1220"/>
                  </a:lnTo>
                  <a:lnTo>
                    <a:pt x="1445" y="1218"/>
                  </a:lnTo>
                  <a:lnTo>
                    <a:pt x="1445" y="1220"/>
                  </a:lnTo>
                  <a:lnTo>
                    <a:pt x="1445" y="1220"/>
                  </a:lnTo>
                  <a:lnTo>
                    <a:pt x="1445" y="1220"/>
                  </a:lnTo>
                  <a:lnTo>
                    <a:pt x="1443" y="1223"/>
                  </a:lnTo>
                  <a:close/>
                  <a:moveTo>
                    <a:pt x="1464" y="1220"/>
                  </a:moveTo>
                  <a:lnTo>
                    <a:pt x="1464" y="1218"/>
                  </a:lnTo>
                  <a:lnTo>
                    <a:pt x="1462" y="1218"/>
                  </a:lnTo>
                  <a:lnTo>
                    <a:pt x="1460" y="1216"/>
                  </a:lnTo>
                  <a:lnTo>
                    <a:pt x="1460" y="1216"/>
                  </a:lnTo>
                  <a:lnTo>
                    <a:pt x="1458" y="1216"/>
                  </a:lnTo>
                  <a:lnTo>
                    <a:pt x="1456" y="1216"/>
                  </a:lnTo>
                  <a:lnTo>
                    <a:pt x="1456" y="1216"/>
                  </a:lnTo>
                  <a:lnTo>
                    <a:pt x="1458" y="1216"/>
                  </a:lnTo>
                  <a:lnTo>
                    <a:pt x="1462" y="1218"/>
                  </a:lnTo>
                  <a:lnTo>
                    <a:pt x="1464" y="1220"/>
                  </a:lnTo>
                  <a:lnTo>
                    <a:pt x="1466" y="1223"/>
                  </a:lnTo>
                  <a:lnTo>
                    <a:pt x="1466" y="1223"/>
                  </a:lnTo>
                  <a:lnTo>
                    <a:pt x="1466" y="1225"/>
                  </a:lnTo>
                  <a:lnTo>
                    <a:pt x="1466" y="1225"/>
                  </a:lnTo>
                  <a:lnTo>
                    <a:pt x="1464" y="1227"/>
                  </a:lnTo>
                  <a:lnTo>
                    <a:pt x="1464" y="1229"/>
                  </a:lnTo>
                  <a:lnTo>
                    <a:pt x="1464" y="1229"/>
                  </a:lnTo>
                  <a:lnTo>
                    <a:pt x="1462" y="1231"/>
                  </a:lnTo>
                  <a:lnTo>
                    <a:pt x="1464" y="1231"/>
                  </a:lnTo>
                  <a:lnTo>
                    <a:pt x="1464" y="1233"/>
                  </a:lnTo>
                  <a:lnTo>
                    <a:pt x="1466" y="1233"/>
                  </a:lnTo>
                  <a:lnTo>
                    <a:pt x="1466" y="1231"/>
                  </a:lnTo>
                  <a:lnTo>
                    <a:pt x="1466" y="1227"/>
                  </a:lnTo>
                  <a:lnTo>
                    <a:pt x="1468" y="1225"/>
                  </a:lnTo>
                  <a:lnTo>
                    <a:pt x="1468" y="1223"/>
                  </a:lnTo>
                  <a:lnTo>
                    <a:pt x="1466" y="1223"/>
                  </a:lnTo>
                  <a:lnTo>
                    <a:pt x="1464" y="1220"/>
                  </a:lnTo>
                  <a:lnTo>
                    <a:pt x="1464" y="1220"/>
                  </a:lnTo>
                  <a:lnTo>
                    <a:pt x="1464" y="1220"/>
                  </a:lnTo>
                  <a:lnTo>
                    <a:pt x="1464" y="1220"/>
                  </a:lnTo>
                  <a:close/>
                  <a:moveTo>
                    <a:pt x="1452" y="1254"/>
                  </a:moveTo>
                  <a:lnTo>
                    <a:pt x="1452" y="1254"/>
                  </a:lnTo>
                  <a:lnTo>
                    <a:pt x="1452" y="1254"/>
                  </a:lnTo>
                  <a:lnTo>
                    <a:pt x="1454" y="1256"/>
                  </a:lnTo>
                  <a:lnTo>
                    <a:pt x="1454" y="1256"/>
                  </a:lnTo>
                  <a:lnTo>
                    <a:pt x="1454" y="1256"/>
                  </a:lnTo>
                  <a:lnTo>
                    <a:pt x="1456" y="1256"/>
                  </a:lnTo>
                  <a:lnTo>
                    <a:pt x="1456" y="1256"/>
                  </a:lnTo>
                  <a:lnTo>
                    <a:pt x="1458" y="1254"/>
                  </a:lnTo>
                  <a:lnTo>
                    <a:pt x="1458" y="1254"/>
                  </a:lnTo>
                  <a:lnTo>
                    <a:pt x="1458" y="1251"/>
                  </a:lnTo>
                  <a:lnTo>
                    <a:pt x="1458" y="1249"/>
                  </a:lnTo>
                  <a:lnTo>
                    <a:pt x="1456" y="1249"/>
                  </a:lnTo>
                  <a:lnTo>
                    <a:pt x="1456" y="1247"/>
                  </a:lnTo>
                  <a:lnTo>
                    <a:pt x="1454" y="1245"/>
                  </a:lnTo>
                  <a:lnTo>
                    <a:pt x="1454" y="1245"/>
                  </a:lnTo>
                  <a:lnTo>
                    <a:pt x="1454" y="1243"/>
                  </a:lnTo>
                  <a:lnTo>
                    <a:pt x="1452" y="1243"/>
                  </a:lnTo>
                  <a:lnTo>
                    <a:pt x="1452" y="1243"/>
                  </a:lnTo>
                  <a:lnTo>
                    <a:pt x="1452" y="1245"/>
                  </a:lnTo>
                  <a:lnTo>
                    <a:pt x="1452" y="1247"/>
                  </a:lnTo>
                  <a:lnTo>
                    <a:pt x="1450" y="1249"/>
                  </a:lnTo>
                  <a:lnTo>
                    <a:pt x="1450" y="1249"/>
                  </a:lnTo>
                  <a:lnTo>
                    <a:pt x="1450" y="1249"/>
                  </a:lnTo>
                  <a:lnTo>
                    <a:pt x="1452" y="1251"/>
                  </a:lnTo>
                  <a:lnTo>
                    <a:pt x="1450" y="1251"/>
                  </a:lnTo>
                  <a:lnTo>
                    <a:pt x="1450" y="1251"/>
                  </a:lnTo>
                  <a:lnTo>
                    <a:pt x="1448" y="1251"/>
                  </a:lnTo>
                  <a:lnTo>
                    <a:pt x="1450" y="1254"/>
                  </a:lnTo>
                  <a:lnTo>
                    <a:pt x="1450" y="1254"/>
                  </a:lnTo>
                  <a:lnTo>
                    <a:pt x="1452" y="1254"/>
                  </a:lnTo>
                  <a:close/>
                  <a:moveTo>
                    <a:pt x="1448" y="1282"/>
                  </a:moveTo>
                  <a:lnTo>
                    <a:pt x="1448" y="1282"/>
                  </a:lnTo>
                  <a:lnTo>
                    <a:pt x="1445" y="1282"/>
                  </a:lnTo>
                  <a:lnTo>
                    <a:pt x="1443" y="1282"/>
                  </a:lnTo>
                  <a:lnTo>
                    <a:pt x="1445" y="1282"/>
                  </a:lnTo>
                  <a:lnTo>
                    <a:pt x="1445" y="1282"/>
                  </a:lnTo>
                  <a:lnTo>
                    <a:pt x="1445" y="1284"/>
                  </a:lnTo>
                  <a:lnTo>
                    <a:pt x="1448" y="1284"/>
                  </a:lnTo>
                  <a:lnTo>
                    <a:pt x="1450" y="1284"/>
                  </a:lnTo>
                  <a:lnTo>
                    <a:pt x="1450" y="1284"/>
                  </a:lnTo>
                  <a:lnTo>
                    <a:pt x="1450" y="1284"/>
                  </a:lnTo>
                  <a:lnTo>
                    <a:pt x="1450" y="1282"/>
                  </a:lnTo>
                  <a:lnTo>
                    <a:pt x="1448" y="1282"/>
                  </a:lnTo>
                  <a:lnTo>
                    <a:pt x="1448" y="1282"/>
                  </a:lnTo>
                  <a:close/>
                  <a:moveTo>
                    <a:pt x="1485" y="1088"/>
                  </a:moveTo>
                  <a:lnTo>
                    <a:pt x="1483" y="1088"/>
                  </a:lnTo>
                  <a:lnTo>
                    <a:pt x="1483" y="1088"/>
                  </a:lnTo>
                  <a:lnTo>
                    <a:pt x="1487" y="1088"/>
                  </a:lnTo>
                  <a:lnTo>
                    <a:pt x="1485" y="1088"/>
                  </a:lnTo>
                  <a:close/>
                  <a:moveTo>
                    <a:pt x="1487" y="1251"/>
                  </a:moveTo>
                  <a:lnTo>
                    <a:pt x="1487" y="1251"/>
                  </a:lnTo>
                  <a:lnTo>
                    <a:pt x="1489" y="1254"/>
                  </a:lnTo>
                  <a:lnTo>
                    <a:pt x="1489" y="1254"/>
                  </a:lnTo>
                  <a:lnTo>
                    <a:pt x="1491" y="1256"/>
                  </a:lnTo>
                  <a:lnTo>
                    <a:pt x="1491" y="1258"/>
                  </a:lnTo>
                  <a:lnTo>
                    <a:pt x="1491" y="1258"/>
                  </a:lnTo>
                  <a:lnTo>
                    <a:pt x="1491" y="1258"/>
                  </a:lnTo>
                  <a:lnTo>
                    <a:pt x="1491" y="1258"/>
                  </a:lnTo>
                  <a:lnTo>
                    <a:pt x="1491" y="1258"/>
                  </a:lnTo>
                  <a:lnTo>
                    <a:pt x="1491" y="1258"/>
                  </a:lnTo>
                  <a:lnTo>
                    <a:pt x="1493" y="1258"/>
                  </a:lnTo>
                  <a:lnTo>
                    <a:pt x="1493" y="1258"/>
                  </a:lnTo>
                  <a:lnTo>
                    <a:pt x="1489" y="1254"/>
                  </a:lnTo>
                  <a:lnTo>
                    <a:pt x="1489" y="1254"/>
                  </a:lnTo>
                  <a:lnTo>
                    <a:pt x="1487" y="1251"/>
                  </a:lnTo>
                  <a:lnTo>
                    <a:pt x="1487" y="1249"/>
                  </a:lnTo>
                  <a:lnTo>
                    <a:pt x="1487" y="1249"/>
                  </a:lnTo>
                  <a:lnTo>
                    <a:pt x="1487" y="1251"/>
                  </a:lnTo>
                  <a:close/>
                  <a:moveTo>
                    <a:pt x="1495" y="1272"/>
                  </a:moveTo>
                  <a:lnTo>
                    <a:pt x="1493" y="1274"/>
                  </a:lnTo>
                  <a:lnTo>
                    <a:pt x="1495" y="1274"/>
                  </a:lnTo>
                  <a:lnTo>
                    <a:pt x="1497" y="1274"/>
                  </a:lnTo>
                  <a:lnTo>
                    <a:pt x="1499" y="1278"/>
                  </a:lnTo>
                  <a:lnTo>
                    <a:pt x="1499" y="1276"/>
                  </a:lnTo>
                  <a:lnTo>
                    <a:pt x="1499" y="1276"/>
                  </a:lnTo>
                  <a:lnTo>
                    <a:pt x="1497" y="1274"/>
                  </a:lnTo>
                  <a:lnTo>
                    <a:pt x="1497" y="1274"/>
                  </a:lnTo>
                  <a:lnTo>
                    <a:pt x="1495" y="1270"/>
                  </a:lnTo>
                  <a:lnTo>
                    <a:pt x="1495" y="1270"/>
                  </a:lnTo>
                  <a:lnTo>
                    <a:pt x="1493" y="1268"/>
                  </a:lnTo>
                  <a:lnTo>
                    <a:pt x="1493" y="1266"/>
                  </a:lnTo>
                  <a:lnTo>
                    <a:pt x="1493" y="1266"/>
                  </a:lnTo>
                  <a:lnTo>
                    <a:pt x="1493" y="1268"/>
                  </a:lnTo>
                  <a:lnTo>
                    <a:pt x="1493" y="1268"/>
                  </a:lnTo>
                  <a:lnTo>
                    <a:pt x="1495" y="1270"/>
                  </a:lnTo>
                  <a:lnTo>
                    <a:pt x="1495" y="1272"/>
                  </a:lnTo>
                  <a:lnTo>
                    <a:pt x="1495" y="1272"/>
                  </a:lnTo>
                  <a:lnTo>
                    <a:pt x="1495" y="1272"/>
                  </a:lnTo>
                  <a:close/>
                  <a:moveTo>
                    <a:pt x="1487" y="1076"/>
                  </a:moveTo>
                  <a:lnTo>
                    <a:pt x="1487" y="1076"/>
                  </a:lnTo>
                  <a:lnTo>
                    <a:pt x="1487" y="1078"/>
                  </a:lnTo>
                  <a:lnTo>
                    <a:pt x="1489" y="1078"/>
                  </a:lnTo>
                  <a:lnTo>
                    <a:pt x="1489" y="1076"/>
                  </a:lnTo>
                  <a:lnTo>
                    <a:pt x="1487" y="1076"/>
                  </a:lnTo>
                  <a:close/>
                  <a:moveTo>
                    <a:pt x="1493" y="1041"/>
                  </a:moveTo>
                  <a:lnTo>
                    <a:pt x="1491" y="1045"/>
                  </a:lnTo>
                  <a:lnTo>
                    <a:pt x="1493" y="1045"/>
                  </a:lnTo>
                  <a:lnTo>
                    <a:pt x="1495" y="1041"/>
                  </a:lnTo>
                  <a:lnTo>
                    <a:pt x="1495" y="1039"/>
                  </a:lnTo>
                  <a:lnTo>
                    <a:pt x="1495" y="1037"/>
                  </a:lnTo>
                  <a:lnTo>
                    <a:pt x="1495" y="1039"/>
                  </a:lnTo>
                  <a:lnTo>
                    <a:pt x="1493" y="1041"/>
                  </a:lnTo>
                  <a:close/>
                  <a:moveTo>
                    <a:pt x="1481" y="1092"/>
                  </a:moveTo>
                  <a:lnTo>
                    <a:pt x="1478" y="1092"/>
                  </a:lnTo>
                  <a:lnTo>
                    <a:pt x="1476" y="1095"/>
                  </a:lnTo>
                  <a:lnTo>
                    <a:pt x="1474" y="1097"/>
                  </a:lnTo>
                  <a:lnTo>
                    <a:pt x="1476" y="1097"/>
                  </a:lnTo>
                  <a:lnTo>
                    <a:pt x="1478" y="1095"/>
                  </a:lnTo>
                  <a:lnTo>
                    <a:pt x="1481" y="1092"/>
                  </a:lnTo>
                  <a:close/>
                  <a:moveTo>
                    <a:pt x="1489" y="1086"/>
                  </a:moveTo>
                  <a:lnTo>
                    <a:pt x="1487" y="1086"/>
                  </a:lnTo>
                  <a:lnTo>
                    <a:pt x="1487" y="1088"/>
                  </a:lnTo>
                  <a:lnTo>
                    <a:pt x="1489" y="1086"/>
                  </a:lnTo>
                  <a:lnTo>
                    <a:pt x="1489" y="1086"/>
                  </a:lnTo>
                  <a:lnTo>
                    <a:pt x="1491" y="1084"/>
                  </a:lnTo>
                  <a:lnTo>
                    <a:pt x="1491" y="1082"/>
                  </a:lnTo>
                  <a:lnTo>
                    <a:pt x="1491" y="1080"/>
                  </a:lnTo>
                  <a:lnTo>
                    <a:pt x="1491" y="1078"/>
                  </a:lnTo>
                  <a:lnTo>
                    <a:pt x="1489" y="1078"/>
                  </a:lnTo>
                  <a:lnTo>
                    <a:pt x="1491" y="1082"/>
                  </a:lnTo>
                  <a:lnTo>
                    <a:pt x="1491" y="1082"/>
                  </a:lnTo>
                  <a:lnTo>
                    <a:pt x="1489" y="1086"/>
                  </a:lnTo>
                  <a:close/>
                  <a:moveTo>
                    <a:pt x="1474" y="1097"/>
                  </a:moveTo>
                  <a:lnTo>
                    <a:pt x="1474" y="1097"/>
                  </a:lnTo>
                  <a:lnTo>
                    <a:pt x="1474" y="1097"/>
                  </a:lnTo>
                  <a:lnTo>
                    <a:pt x="1472" y="1095"/>
                  </a:lnTo>
                  <a:lnTo>
                    <a:pt x="1472" y="1097"/>
                  </a:lnTo>
                  <a:lnTo>
                    <a:pt x="1474" y="1097"/>
                  </a:lnTo>
                  <a:lnTo>
                    <a:pt x="1474" y="1097"/>
                  </a:lnTo>
                  <a:close/>
                  <a:moveTo>
                    <a:pt x="1505" y="1260"/>
                  </a:moveTo>
                  <a:lnTo>
                    <a:pt x="1505" y="1260"/>
                  </a:lnTo>
                  <a:lnTo>
                    <a:pt x="1505" y="1260"/>
                  </a:lnTo>
                  <a:lnTo>
                    <a:pt x="1503" y="1260"/>
                  </a:lnTo>
                  <a:lnTo>
                    <a:pt x="1503" y="1262"/>
                  </a:lnTo>
                  <a:lnTo>
                    <a:pt x="1503" y="1262"/>
                  </a:lnTo>
                  <a:lnTo>
                    <a:pt x="1505" y="1260"/>
                  </a:lnTo>
                  <a:close/>
                  <a:moveTo>
                    <a:pt x="1435" y="1280"/>
                  </a:moveTo>
                  <a:lnTo>
                    <a:pt x="1435" y="1280"/>
                  </a:lnTo>
                  <a:lnTo>
                    <a:pt x="1435" y="1280"/>
                  </a:lnTo>
                  <a:lnTo>
                    <a:pt x="1431" y="1278"/>
                  </a:lnTo>
                  <a:lnTo>
                    <a:pt x="1431" y="1278"/>
                  </a:lnTo>
                  <a:lnTo>
                    <a:pt x="1431" y="1278"/>
                  </a:lnTo>
                  <a:lnTo>
                    <a:pt x="1433" y="1280"/>
                  </a:lnTo>
                  <a:lnTo>
                    <a:pt x="1435" y="1280"/>
                  </a:lnTo>
                  <a:close/>
                  <a:moveTo>
                    <a:pt x="1456" y="1291"/>
                  </a:moveTo>
                  <a:lnTo>
                    <a:pt x="1458" y="1291"/>
                  </a:lnTo>
                  <a:lnTo>
                    <a:pt x="1458" y="1291"/>
                  </a:lnTo>
                  <a:lnTo>
                    <a:pt x="1458" y="1291"/>
                  </a:lnTo>
                  <a:lnTo>
                    <a:pt x="1460" y="1291"/>
                  </a:lnTo>
                  <a:lnTo>
                    <a:pt x="1460" y="1291"/>
                  </a:lnTo>
                  <a:lnTo>
                    <a:pt x="1460" y="1291"/>
                  </a:lnTo>
                  <a:lnTo>
                    <a:pt x="1458" y="1289"/>
                  </a:lnTo>
                  <a:lnTo>
                    <a:pt x="1456" y="1289"/>
                  </a:lnTo>
                  <a:lnTo>
                    <a:pt x="1456" y="1289"/>
                  </a:lnTo>
                  <a:lnTo>
                    <a:pt x="1456" y="1291"/>
                  </a:lnTo>
                  <a:lnTo>
                    <a:pt x="1456" y="1291"/>
                  </a:lnTo>
                  <a:close/>
                  <a:moveTo>
                    <a:pt x="1569" y="1429"/>
                  </a:moveTo>
                  <a:lnTo>
                    <a:pt x="1569" y="1427"/>
                  </a:lnTo>
                  <a:lnTo>
                    <a:pt x="1567" y="1427"/>
                  </a:lnTo>
                  <a:lnTo>
                    <a:pt x="1567" y="1427"/>
                  </a:lnTo>
                  <a:lnTo>
                    <a:pt x="1567" y="1429"/>
                  </a:lnTo>
                  <a:lnTo>
                    <a:pt x="1569" y="1429"/>
                  </a:lnTo>
                  <a:lnTo>
                    <a:pt x="1569" y="1429"/>
                  </a:lnTo>
                  <a:lnTo>
                    <a:pt x="1569" y="1429"/>
                  </a:lnTo>
                  <a:lnTo>
                    <a:pt x="1569" y="1429"/>
                  </a:lnTo>
                  <a:lnTo>
                    <a:pt x="1569" y="1429"/>
                  </a:lnTo>
                  <a:close/>
                  <a:moveTo>
                    <a:pt x="1472" y="1351"/>
                  </a:moveTo>
                  <a:lnTo>
                    <a:pt x="1474" y="1351"/>
                  </a:lnTo>
                  <a:lnTo>
                    <a:pt x="1474" y="1351"/>
                  </a:lnTo>
                  <a:lnTo>
                    <a:pt x="1476" y="1351"/>
                  </a:lnTo>
                  <a:lnTo>
                    <a:pt x="1478" y="1351"/>
                  </a:lnTo>
                  <a:lnTo>
                    <a:pt x="1481" y="1351"/>
                  </a:lnTo>
                  <a:lnTo>
                    <a:pt x="1478" y="1351"/>
                  </a:lnTo>
                  <a:lnTo>
                    <a:pt x="1478" y="1346"/>
                  </a:lnTo>
                  <a:lnTo>
                    <a:pt x="1472" y="1346"/>
                  </a:lnTo>
                  <a:lnTo>
                    <a:pt x="1472" y="1344"/>
                  </a:lnTo>
                  <a:lnTo>
                    <a:pt x="1470" y="1344"/>
                  </a:lnTo>
                  <a:lnTo>
                    <a:pt x="1468" y="1344"/>
                  </a:lnTo>
                  <a:lnTo>
                    <a:pt x="1468" y="1344"/>
                  </a:lnTo>
                  <a:lnTo>
                    <a:pt x="1466" y="1342"/>
                  </a:lnTo>
                  <a:lnTo>
                    <a:pt x="1464" y="1342"/>
                  </a:lnTo>
                  <a:lnTo>
                    <a:pt x="1464" y="1342"/>
                  </a:lnTo>
                  <a:lnTo>
                    <a:pt x="1462" y="1342"/>
                  </a:lnTo>
                  <a:lnTo>
                    <a:pt x="1456" y="1342"/>
                  </a:lnTo>
                  <a:lnTo>
                    <a:pt x="1456" y="1342"/>
                  </a:lnTo>
                  <a:lnTo>
                    <a:pt x="1454" y="1342"/>
                  </a:lnTo>
                  <a:lnTo>
                    <a:pt x="1454" y="1342"/>
                  </a:lnTo>
                  <a:lnTo>
                    <a:pt x="1452" y="1342"/>
                  </a:lnTo>
                  <a:lnTo>
                    <a:pt x="1450" y="1342"/>
                  </a:lnTo>
                  <a:lnTo>
                    <a:pt x="1450" y="1344"/>
                  </a:lnTo>
                  <a:lnTo>
                    <a:pt x="1450" y="1344"/>
                  </a:lnTo>
                  <a:lnTo>
                    <a:pt x="1450" y="1346"/>
                  </a:lnTo>
                  <a:lnTo>
                    <a:pt x="1454" y="1346"/>
                  </a:lnTo>
                  <a:lnTo>
                    <a:pt x="1454" y="1346"/>
                  </a:lnTo>
                  <a:lnTo>
                    <a:pt x="1454" y="1348"/>
                  </a:lnTo>
                  <a:lnTo>
                    <a:pt x="1456" y="1348"/>
                  </a:lnTo>
                  <a:lnTo>
                    <a:pt x="1456" y="1348"/>
                  </a:lnTo>
                  <a:lnTo>
                    <a:pt x="1458" y="1351"/>
                  </a:lnTo>
                  <a:lnTo>
                    <a:pt x="1460" y="1351"/>
                  </a:lnTo>
                  <a:lnTo>
                    <a:pt x="1462" y="1351"/>
                  </a:lnTo>
                  <a:lnTo>
                    <a:pt x="1464" y="1353"/>
                  </a:lnTo>
                  <a:lnTo>
                    <a:pt x="1464" y="1353"/>
                  </a:lnTo>
                  <a:lnTo>
                    <a:pt x="1466" y="1353"/>
                  </a:lnTo>
                  <a:lnTo>
                    <a:pt x="1466" y="1351"/>
                  </a:lnTo>
                  <a:lnTo>
                    <a:pt x="1466" y="1351"/>
                  </a:lnTo>
                  <a:lnTo>
                    <a:pt x="1468" y="1351"/>
                  </a:lnTo>
                  <a:lnTo>
                    <a:pt x="1468" y="1351"/>
                  </a:lnTo>
                  <a:lnTo>
                    <a:pt x="1470" y="1351"/>
                  </a:lnTo>
                  <a:lnTo>
                    <a:pt x="1470" y="1351"/>
                  </a:lnTo>
                  <a:lnTo>
                    <a:pt x="1470" y="1351"/>
                  </a:lnTo>
                  <a:lnTo>
                    <a:pt x="1472" y="1351"/>
                  </a:lnTo>
                  <a:lnTo>
                    <a:pt x="1472" y="1351"/>
                  </a:lnTo>
                  <a:lnTo>
                    <a:pt x="1472" y="1351"/>
                  </a:lnTo>
                  <a:lnTo>
                    <a:pt x="1472" y="1351"/>
                  </a:lnTo>
                  <a:close/>
                  <a:moveTo>
                    <a:pt x="1382" y="1297"/>
                  </a:moveTo>
                  <a:lnTo>
                    <a:pt x="1382" y="1297"/>
                  </a:lnTo>
                  <a:lnTo>
                    <a:pt x="1380" y="1297"/>
                  </a:lnTo>
                  <a:lnTo>
                    <a:pt x="1380" y="1297"/>
                  </a:lnTo>
                  <a:lnTo>
                    <a:pt x="1382" y="1297"/>
                  </a:lnTo>
                  <a:lnTo>
                    <a:pt x="1382" y="1299"/>
                  </a:lnTo>
                  <a:lnTo>
                    <a:pt x="1384" y="1299"/>
                  </a:lnTo>
                  <a:lnTo>
                    <a:pt x="1386" y="1299"/>
                  </a:lnTo>
                  <a:lnTo>
                    <a:pt x="1388" y="1297"/>
                  </a:lnTo>
                  <a:lnTo>
                    <a:pt x="1390" y="1297"/>
                  </a:lnTo>
                  <a:lnTo>
                    <a:pt x="1390" y="1297"/>
                  </a:lnTo>
                  <a:lnTo>
                    <a:pt x="1388" y="1295"/>
                  </a:lnTo>
                  <a:lnTo>
                    <a:pt x="1388" y="1293"/>
                  </a:lnTo>
                  <a:lnTo>
                    <a:pt x="1388" y="1293"/>
                  </a:lnTo>
                  <a:lnTo>
                    <a:pt x="1386" y="1293"/>
                  </a:lnTo>
                  <a:lnTo>
                    <a:pt x="1384" y="1291"/>
                  </a:lnTo>
                  <a:lnTo>
                    <a:pt x="1382" y="1293"/>
                  </a:lnTo>
                  <a:lnTo>
                    <a:pt x="1382" y="1293"/>
                  </a:lnTo>
                  <a:lnTo>
                    <a:pt x="1384" y="1297"/>
                  </a:lnTo>
                  <a:lnTo>
                    <a:pt x="1384" y="1297"/>
                  </a:lnTo>
                  <a:lnTo>
                    <a:pt x="1382" y="1297"/>
                  </a:lnTo>
                  <a:close/>
                  <a:moveTo>
                    <a:pt x="1392" y="1472"/>
                  </a:moveTo>
                  <a:lnTo>
                    <a:pt x="1394" y="1474"/>
                  </a:lnTo>
                  <a:lnTo>
                    <a:pt x="1394" y="1474"/>
                  </a:lnTo>
                  <a:lnTo>
                    <a:pt x="1394" y="1472"/>
                  </a:lnTo>
                  <a:lnTo>
                    <a:pt x="1394" y="1472"/>
                  </a:lnTo>
                  <a:lnTo>
                    <a:pt x="1392" y="1472"/>
                  </a:lnTo>
                  <a:close/>
                  <a:moveTo>
                    <a:pt x="1408" y="1330"/>
                  </a:moveTo>
                  <a:lnTo>
                    <a:pt x="1406" y="1330"/>
                  </a:lnTo>
                  <a:lnTo>
                    <a:pt x="1406" y="1330"/>
                  </a:lnTo>
                  <a:lnTo>
                    <a:pt x="1406" y="1330"/>
                  </a:lnTo>
                  <a:lnTo>
                    <a:pt x="1406" y="1330"/>
                  </a:lnTo>
                  <a:lnTo>
                    <a:pt x="1406" y="1330"/>
                  </a:lnTo>
                  <a:lnTo>
                    <a:pt x="1406" y="1330"/>
                  </a:lnTo>
                  <a:lnTo>
                    <a:pt x="1406" y="1330"/>
                  </a:lnTo>
                  <a:lnTo>
                    <a:pt x="1408" y="1330"/>
                  </a:lnTo>
                  <a:lnTo>
                    <a:pt x="1408" y="1330"/>
                  </a:lnTo>
                  <a:lnTo>
                    <a:pt x="1410" y="1330"/>
                  </a:lnTo>
                  <a:lnTo>
                    <a:pt x="1410" y="1330"/>
                  </a:lnTo>
                  <a:lnTo>
                    <a:pt x="1408" y="1330"/>
                  </a:lnTo>
                  <a:close/>
                  <a:moveTo>
                    <a:pt x="1495" y="1322"/>
                  </a:moveTo>
                  <a:lnTo>
                    <a:pt x="1497" y="1322"/>
                  </a:lnTo>
                  <a:lnTo>
                    <a:pt x="1497" y="1322"/>
                  </a:lnTo>
                  <a:lnTo>
                    <a:pt x="1499" y="1320"/>
                  </a:lnTo>
                  <a:lnTo>
                    <a:pt x="1503" y="1320"/>
                  </a:lnTo>
                  <a:lnTo>
                    <a:pt x="1505" y="1320"/>
                  </a:lnTo>
                  <a:lnTo>
                    <a:pt x="1507" y="1320"/>
                  </a:lnTo>
                  <a:lnTo>
                    <a:pt x="1507" y="1318"/>
                  </a:lnTo>
                  <a:lnTo>
                    <a:pt x="1509" y="1318"/>
                  </a:lnTo>
                  <a:lnTo>
                    <a:pt x="1509" y="1318"/>
                  </a:lnTo>
                  <a:lnTo>
                    <a:pt x="1509" y="1315"/>
                  </a:lnTo>
                  <a:lnTo>
                    <a:pt x="1509" y="1315"/>
                  </a:lnTo>
                  <a:lnTo>
                    <a:pt x="1507" y="1315"/>
                  </a:lnTo>
                  <a:lnTo>
                    <a:pt x="1507" y="1315"/>
                  </a:lnTo>
                  <a:lnTo>
                    <a:pt x="1505" y="1315"/>
                  </a:lnTo>
                  <a:lnTo>
                    <a:pt x="1503" y="1313"/>
                  </a:lnTo>
                  <a:lnTo>
                    <a:pt x="1501" y="1311"/>
                  </a:lnTo>
                  <a:lnTo>
                    <a:pt x="1501" y="1311"/>
                  </a:lnTo>
                  <a:lnTo>
                    <a:pt x="1499" y="1311"/>
                  </a:lnTo>
                  <a:lnTo>
                    <a:pt x="1497" y="1309"/>
                  </a:lnTo>
                  <a:lnTo>
                    <a:pt x="1495" y="1309"/>
                  </a:lnTo>
                  <a:lnTo>
                    <a:pt x="1493" y="1309"/>
                  </a:lnTo>
                  <a:lnTo>
                    <a:pt x="1489" y="1309"/>
                  </a:lnTo>
                  <a:lnTo>
                    <a:pt x="1489" y="1309"/>
                  </a:lnTo>
                  <a:lnTo>
                    <a:pt x="1487" y="1309"/>
                  </a:lnTo>
                  <a:lnTo>
                    <a:pt x="1487" y="1309"/>
                  </a:lnTo>
                  <a:lnTo>
                    <a:pt x="1487" y="1309"/>
                  </a:lnTo>
                  <a:lnTo>
                    <a:pt x="1487" y="1307"/>
                  </a:lnTo>
                  <a:lnTo>
                    <a:pt x="1489" y="1307"/>
                  </a:lnTo>
                  <a:lnTo>
                    <a:pt x="1487" y="1307"/>
                  </a:lnTo>
                  <a:lnTo>
                    <a:pt x="1489" y="1305"/>
                  </a:lnTo>
                  <a:lnTo>
                    <a:pt x="1489" y="1305"/>
                  </a:lnTo>
                  <a:lnTo>
                    <a:pt x="1489" y="1305"/>
                  </a:lnTo>
                  <a:lnTo>
                    <a:pt x="1487" y="1303"/>
                  </a:lnTo>
                  <a:lnTo>
                    <a:pt x="1485" y="1303"/>
                  </a:lnTo>
                  <a:lnTo>
                    <a:pt x="1483" y="1303"/>
                  </a:lnTo>
                  <a:lnTo>
                    <a:pt x="1478" y="1301"/>
                  </a:lnTo>
                  <a:lnTo>
                    <a:pt x="1476" y="1301"/>
                  </a:lnTo>
                  <a:lnTo>
                    <a:pt x="1474" y="1301"/>
                  </a:lnTo>
                  <a:lnTo>
                    <a:pt x="1474" y="1301"/>
                  </a:lnTo>
                  <a:lnTo>
                    <a:pt x="1472" y="1301"/>
                  </a:lnTo>
                  <a:lnTo>
                    <a:pt x="1472" y="1301"/>
                  </a:lnTo>
                  <a:lnTo>
                    <a:pt x="1472" y="1299"/>
                  </a:lnTo>
                  <a:lnTo>
                    <a:pt x="1470" y="1301"/>
                  </a:lnTo>
                  <a:lnTo>
                    <a:pt x="1470" y="1299"/>
                  </a:lnTo>
                  <a:lnTo>
                    <a:pt x="1470" y="1299"/>
                  </a:lnTo>
                  <a:lnTo>
                    <a:pt x="1470" y="1299"/>
                  </a:lnTo>
                  <a:lnTo>
                    <a:pt x="1466" y="1297"/>
                  </a:lnTo>
                  <a:lnTo>
                    <a:pt x="1466" y="1297"/>
                  </a:lnTo>
                  <a:lnTo>
                    <a:pt x="1466" y="1299"/>
                  </a:lnTo>
                  <a:lnTo>
                    <a:pt x="1464" y="1299"/>
                  </a:lnTo>
                  <a:lnTo>
                    <a:pt x="1464" y="1297"/>
                  </a:lnTo>
                  <a:lnTo>
                    <a:pt x="1464" y="1297"/>
                  </a:lnTo>
                  <a:lnTo>
                    <a:pt x="1464" y="1297"/>
                  </a:lnTo>
                  <a:lnTo>
                    <a:pt x="1466" y="1297"/>
                  </a:lnTo>
                  <a:lnTo>
                    <a:pt x="1466" y="1295"/>
                  </a:lnTo>
                  <a:lnTo>
                    <a:pt x="1466" y="1295"/>
                  </a:lnTo>
                  <a:lnTo>
                    <a:pt x="1464" y="1295"/>
                  </a:lnTo>
                  <a:lnTo>
                    <a:pt x="1464" y="1295"/>
                  </a:lnTo>
                  <a:lnTo>
                    <a:pt x="1462" y="1293"/>
                  </a:lnTo>
                  <a:lnTo>
                    <a:pt x="1460" y="1293"/>
                  </a:lnTo>
                  <a:lnTo>
                    <a:pt x="1460" y="1293"/>
                  </a:lnTo>
                  <a:lnTo>
                    <a:pt x="1462" y="1293"/>
                  </a:lnTo>
                  <a:lnTo>
                    <a:pt x="1462" y="1293"/>
                  </a:lnTo>
                  <a:lnTo>
                    <a:pt x="1460" y="1295"/>
                  </a:lnTo>
                  <a:lnTo>
                    <a:pt x="1460" y="1293"/>
                  </a:lnTo>
                  <a:lnTo>
                    <a:pt x="1456" y="1293"/>
                  </a:lnTo>
                  <a:lnTo>
                    <a:pt x="1454" y="1291"/>
                  </a:lnTo>
                  <a:lnTo>
                    <a:pt x="1452" y="1289"/>
                  </a:lnTo>
                  <a:lnTo>
                    <a:pt x="1443" y="1284"/>
                  </a:lnTo>
                  <a:lnTo>
                    <a:pt x="1443" y="1284"/>
                  </a:lnTo>
                  <a:lnTo>
                    <a:pt x="1443" y="1284"/>
                  </a:lnTo>
                  <a:lnTo>
                    <a:pt x="1441" y="1284"/>
                  </a:lnTo>
                  <a:lnTo>
                    <a:pt x="1441" y="1284"/>
                  </a:lnTo>
                  <a:lnTo>
                    <a:pt x="1437" y="1284"/>
                  </a:lnTo>
                  <a:lnTo>
                    <a:pt x="1435" y="1284"/>
                  </a:lnTo>
                  <a:lnTo>
                    <a:pt x="1435" y="1284"/>
                  </a:lnTo>
                  <a:lnTo>
                    <a:pt x="1433" y="1282"/>
                  </a:lnTo>
                  <a:lnTo>
                    <a:pt x="1433" y="1282"/>
                  </a:lnTo>
                  <a:lnTo>
                    <a:pt x="1431" y="1280"/>
                  </a:lnTo>
                  <a:lnTo>
                    <a:pt x="1427" y="1278"/>
                  </a:lnTo>
                  <a:lnTo>
                    <a:pt x="1429" y="1278"/>
                  </a:lnTo>
                  <a:lnTo>
                    <a:pt x="1427" y="1278"/>
                  </a:lnTo>
                  <a:lnTo>
                    <a:pt x="1427" y="1278"/>
                  </a:lnTo>
                  <a:lnTo>
                    <a:pt x="1425" y="1276"/>
                  </a:lnTo>
                  <a:lnTo>
                    <a:pt x="1423" y="1276"/>
                  </a:lnTo>
                  <a:lnTo>
                    <a:pt x="1423" y="1276"/>
                  </a:lnTo>
                  <a:lnTo>
                    <a:pt x="1421" y="1276"/>
                  </a:lnTo>
                  <a:lnTo>
                    <a:pt x="1419" y="1276"/>
                  </a:lnTo>
                  <a:lnTo>
                    <a:pt x="1419" y="1276"/>
                  </a:lnTo>
                  <a:lnTo>
                    <a:pt x="1417" y="1274"/>
                  </a:lnTo>
                  <a:lnTo>
                    <a:pt x="1417" y="1274"/>
                  </a:lnTo>
                  <a:lnTo>
                    <a:pt x="1410" y="1274"/>
                  </a:lnTo>
                  <a:lnTo>
                    <a:pt x="1410" y="1274"/>
                  </a:lnTo>
                  <a:lnTo>
                    <a:pt x="1408" y="1274"/>
                  </a:lnTo>
                  <a:lnTo>
                    <a:pt x="1408" y="1274"/>
                  </a:lnTo>
                  <a:lnTo>
                    <a:pt x="1408" y="1274"/>
                  </a:lnTo>
                  <a:lnTo>
                    <a:pt x="1406" y="1274"/>
                  </a:lnTo>
                  <a:lnTo>
                    <a:pt x="1404" y="1274"/>
                  </a:lnTo>
                  <a:lnTo>
                    <a:pt x="1400" y="1274"/>
                  </a:lnTo>
                  <a:lnTo>
                    <a:pt x="1396" y="1272"/>
                  </a:lnTo>
                  <a:lnTo>
                    <a:pt x="1392" y="1274"/>
                  </a:lnTo>
                  <a:lnTo>
                    <a:pt x="1390" y="1274"/>
                  </a:lnTo>
                  <a:lnTo>
                    <a:pt x="1388" y="1274"/>
                  </a:lnTo>
                  <a:lnTo>
                    <a:pt x="1380" y="1276"/>
                  </a:lnTo>
                  <a:lnTo>
                    <a:pt x="1380" y="1276"/>
                  </a:lnTo>
                  <a:lnTo>
                    <a:pt x="1367" y="1280"/>
                  </a:lnTo>
                  <a:lnTo>
                    <a:pt x="1367" y="1280"/>
                  </a:lnTo>
                  <a:lnTo>
                    <a:pt x="1365" y="1282"/>
                  </a:lnTo>
                  <a:lnTo>
                    <a:pt x="1363" y="1284"/>
                  </a:lnTo>
                  <a:lnTo>
                    <a:pt x="1363" y="1287"/>
                  </a:lnTo>
                  <a:lnTo>
                    <a:pt x="1365" y="1289"/>
                  </a:lnTo>
                  <a:lnTo>
                    <a:pt x="1363" y="1291"/>
                  </a:lnTo>
                  <a:lnTo>
                    <a:pt x="1363" y="1291"/>
                  </a:lnTo>
                  <a:lnTo>
                    <a:pt x="1361" y="1291"/>
                  </a:lnTo>
                  <a:lnTo>
                    <a:pt x="1361" y="1291"/>
                  </a:lnTo>
                  <a:lnTo>
                    <a:pt x="1357" y="1293"/>
                  </a:lnTo>
                  <a:lnTo>
                    <a:pt x="1357" y="1293"/>
                  </a:lnTo>
                  <a:lnTo>
                    <a:pt x="1357" y="1293"/>
                  </a:lnTo>
                  <a:lnTo>
                    <a:pt x="1357" y="1293"/>
                  </a:lnTo>
                  <a:lnTo>
                    <a:pt x="1359" y="1293"/>
                  </a:lnTo>
                  <a:lnTo>
                    <a:pt x="1359" y="1291"/>
                  </a:lnTo>
                  <a:lnTo>
                    <a:pt x="1361" y="1291"/>
                  </a:lnTo>
                  <a:lnTo>
                    <a:pt x="1361" y="1291"/>
                  </a:lnTo>
                  <a:lnTo>
                    <a:pt x="1361" y="1293"/>
                  </a:lnTo>
                  <a:lnTo>
                    <a:pt x="1361" y="1295"/>
                  </a:lnTo>
                  <a:lnTo>
                    <a:pt x="1363" y="1293"/>
                  </a:lnTo>
                  <a:lnTo>
                    <a:pt x="1365" y="1293"/>
                  </a:lnTo>
                  <a:lnTo>
                    <a:pt x="1367" y="1291"/>
                  </a:lnTo>
                  <a:lnTo>
                    <a:pt x="1369" y="1291"/>
                  </a:lnTo>
                  <a:lnTo>
                    <a:pt x="1369" y="1291"/>
                  </a:lnTo>
                  <a:lnTo>
                    <a:pt x="1369" y="1289"/>
                  </a:lnTo>
                  <a:lnTo>
                    <a:pt x="1369" y="1289"/>
                  </a:lnTo>
                  <a:lnTo>
                    <a:pt x="1369" y="1289"/>
                  </a:lnTo>
                  <a:lnTo>
                    <a:pt x="1373" y="1289"/>
                  </a:lnTo>
                  <a:lnTo>
                    <a:pt x="1373" y="1289"/>
                  </a:lnTo>
                  <a:lnTo>
                    <a:pt x="1375" y="1287"/>
                  </a:lnTo>
                  <a:lnTo>
                    <a:pt x="1375" y="1287"/>
                  </a:lnTo>
                  <a:lnTo>
                    <a:pt x="1375" y="1289"/>
                  </a:lnTo>
                  <a:lnTo>
                    <a:pt x="1377" y="1287"/>
                  </a:lnTo>
                  <a:lnTo>
                    <a:pt x="1380" y="1287"/>
                  </a:lnTo>
                  <a:lnTo>
                    <a:pt x="1380" y="1284"/>
                  </a:lnTo>
                  <a:lnTo>
                    <a:pt x="1382" y="1284"/>
                  </a:lnTo>
                  <a:lnTo>
                    <a:pt x="1382" y="1284"/>
                  </a:lnTo>
                  <a:lnTo>
                    <a:pt x="1384" y="1282"/>
                  </a:lnTo>
                  <a:lnTo>
                    <a:pt x="1386" y="1282"/>
                  </a:lnTo>
                  <a:lnTo>
                    <a:pt x="1386" y="1280"/>
                  </a:lnTo>
                  <a:lnTo>
                    <a:pt x="1386" y="1280"/>
                  </a:lnTo>
                  <a:lnTo>
                    <a:pt x="1398" y="1280"/>
                  </a:lnTo>
                  <a:lnTo>
                    <a:pt x="1400" y="1280"/>
                  </a:lnTo>
                  <a:lnTo>
                    <a:pt x="1400" y="1280"/>
                  </a:lnTo>
                  <a:lnTo>
                    <a:pt x="1400" y="1280"/>
                  </a:lnTo>
                  <a:lnTo>
                    <a:pt x="1402" y="1282"/>
                  </a:lnTo>
                  <a:lnTo>
                    <a:pt x="1402" y="1282"/>
                  </a:lnTo>
                  <a:lnTo>
                    <a:pt x="1402" y="1282"/>
                  </a:lnTo>
                  <a:lnTo>
                    <a:pt x="1400" y="1284"/>
                  </a:lnTo>
                  <a:lnTo>
                    <a:pt x="1398" y="1284"/>
                  </a:lnTo>
                  <a:lnTo>
                    <a:pt x="1396" y="1284"/>
                  </a:lnTo>
                  <a:lnTo>
                    <a:pt x="1398" y="1287"/>
                  </a:lnTo>
                  <a:lnTo>
                    <a:pt x="1400" y="1287"/>
                  </a:lnTo>
                  <a:lnTo>
                    <a:pt x="1400" y="1287"/>
                  </a:lnTo>
                  <a:lnTo>
                    <a:pt x="1404" y="1289"/>
                  </a:lnTo>
                  <a:lnTo>
                    <a:pt x="1406" y="1289"/>
                  </a:lnTo>
                  <a:lnTo>
                    <a:pt x="1408" y="1289"/>
                  </a:lnTo>
                  <a:lnTo>
                    <a:pt x="1408" y="1289"/>
                  </a:lnTo>
                  <a:lnTo>
                    <a:pt x="1408" y="1287"/>
                  </a:lnTo>
                  <a:lnTo>
                    <a:pt x="1408" y="1287"/>
                  </a:lnTo>
                  <a:lnTo>
                    <a:pt x="1410" y="1287"/>
                  </a:lnTo>
                  <a:lnTo>
                    <a:pt x="1410" y="1289"/>
                  </a:lnTo>
                  <a:lnTo>
                    <a:pt x="1410" y="1289"/>
                  </a:lnTo>
                  <a:lnTo>
                    <a:pt x="1410" y="1289"/>
                  </a:lnTo>
                  <a:lnTo>
                    <a:pt x="1413" y="1291"/>
                  </a:lnTo>
                  <a:lnTo>
                    <a:pt x="1419" y="1289"/>
                  </a:lnTo>
                  <a:lnTo>
                    <a:pt x="1419" y="1289"/>
                  </a:lnTo>
                  <a:lnTo>
                    <a:pt x="1419" y="1289"/>
                  </a:lnTo>
                  <a:lnTo>
                    <a:pt x="1421" y="1291"/>
                  </a:lnTo>
                  <a:lnTo>
                    <a:pt x="1421" y="1291"/>
                  </a:lnTo>
                  <a:lnTo>
                    <a:pt x="1423" y="1293"/>
                  </a:lnTo>
                  <a:lnTo>
                    <a:pt x="1423" y="1293"/>
                  </a:lnTo>
                  <a:lnTo>
                    <a:pt x="1427" y="1295"/>
                  </a:lnTo>
                  <a:lnTo>
                    <a:pt x="1435" y="1297"/>
                  </a:lnTo>
                  <a:lnTo>
                    <a:pt x="1435" y="1297"/>
                  </a:lnTo>
                  <a:lnTo>
                    <a:pt x="1437" y="1297"/>
                  </a:lnTo>
                  <a:lnTo>
                    <a:pt x="1443" y="1297"/>
                  </a:lnTo>
                  <a:lnTo>
                    <a:pt x="1443" y="1297"/>
                  </a:lnTo>
                  <a:lnTo>
                    <a:pt x="1445" y="1297"/>
                  </a:lnTo>
                  <a:lnTo>
                    <a:pt x="1445" y="1299"/>
                  </a:lnTo>
                  <a:lnTo>
                    <a:pt x="1448" y="1301"/>
                  </a:lnTo>
                  <a:lnTo>
                    <a:pt x="1448" y="1305"/>
                  </a:lnTo>
                  <a:lnTo>
                    <a:pt x="1448" y="1305"/>
                  </a:lnTo>
                  <a:lnTo>
                    <a:pt x="1448" y="1305"/>
                  </a:lnTo>
                  <a:lnTo>
                    <a:pt x="1450" y="1307"/>
                  </a:lnTo>
                  <a:lnTo>
                    <a:pt x="1452" y="1309"/>
                  </a:lnTo>
                  <a:lnTo>
                    <a:pt x="1454" y="1309"/>
                  </a:lnTo>
                  <a:lnTo>
                    <a:pt x="1456" y="1309"/>
                  </a:lnTo>
                  <a:lnTo>
                    <a:pt x="1460" y="1309"/>
                  </a:lnTo>
                  <a:lnTo>
                    <a:pt x="1462" y="1309"/>
                  </a:lnTo>
                  <a:lnTo>
                    <a:pt x="1464" y="1309"/>
                  </a:lnTo>
                  <a:lnTo>
                    <a:pt x="1466" y="1311"/>
                  </a:lnTo>
                  <a:lnTo>
                    <a:pt x="1466" y="1311"/>
                  </a:lnTo>
                  <a:lnTo>
                    <a:pt x="1466" y="1311"/>
                  </a:lnTo>
                  <a:lnTo>
                    <a:pt x="1466" y="1313"/>
                  </a:lnTo>
                  <a:lnTo>
                    <a:pt x="1468" y="1313"/>
                  </a:lnTo>
                  <a:lnTo>
                    <a:pt x="1466" y="1313"/>
                  </a:lnTo>
                  <a:lnTo>
                    <a:pt x="1466" y="1315"/>
                  </a:lnTo>
                  <a:lnTo>
                    <a:pt x="1466" y="1315"/>
                  </a:lnTo>
                  <a:lnTo>
                    <a:pt x="1460" y="1320"/>
                  </a:lnTo>
                  <a:lnTo>
                    <a:pt x="1458" y="1322"/>
                  </a:lnTo>
                  <a:lnTo>
                    <a:pt x="1462" y="1322"/>
                  </a:lnTo>
                  <a:lnTo>
                    <a:pt x="1466" y="1322"/>
                  </a:lnTo>
                  <a:lnTo>
                    <a:pt x="1468" y="1322"/>
                  </a:lnTo>
                  <a:lnTo>
                    <a:pt x="1470" y="1322"/>
                  </a:lnTo>
                  <a:lnTo>
                    <a:pt x="1472" y="1322"/>
                  </a:lnTo>
                  <a:lnTo>
                    <a:pt x="1476" y="1322"/>
                  </a:lnTo>
                  <a:lnTo>
                    <a:pt x="1478" y="1320"/>
                  </a:lnTo>
                  <a:lnTo>
                    <a:pt x="1481" y="1320"/>
                  </a:lnTo>
                  <a:lnTo>
                    <a:pt x="1487" y="1320"/>
                  </a:lnTo>
                  <a:lnTo>
                    <a:pt x="1487" y="1322"/>
                  </a:lnTo>
                  <a:lnTo>
                    <a:pt x="1489" y="1322"/>
                  </a:lnTo>
                  <a:lnTo>
                    <a:pt x="1493" y="1322"/>
                  </a:lnTo>
                  <a:lnTo>
                    <a:pt x="1493" y="1322"/>
                  </a:lnTo>
                  <a:lnTo>
                    <a:pt x="1495" y="1322"/>
                  </a:lnTo>
                  <a:lnTo>
                    <a:pt x="1495" y="1320"/>
                  </a:lnTo>
                  <a:lnTo>
                    <a:pt x="1495" y="1322"/>
                  </a:lnTo>
                  <a:lnTo>
                    <a:pt x="1495" y="1322"/>
                  </a:lnTo>
                  <a:lnTo>
                    <a:pt x="1495" y="1322"/>
                  </a:lnTo>
                  <a:close/>
                  <a:moveTo>
                    <a:pt x="1615" y="929"/>
                  </a:moveTo>
                  <a:lnTo>
                    <a:pt x="1615" y="927"/>
                  </a:lnTo>
                  <a:lnTo>
                    <a:pt x="1615" y="927"/>
                  </a:lnTo>
                  <a:lnTo>
                    <a:pt x="1613" y="927"/>
                  </a:lnTo>
                  <a:lnTo>
                    <a:pt x="1613" y="929"/>
                  </a:lnTo>
                  <a:lnTo>
                    <a:pt x="1615" y="929"/>
                  </a:lnTo>
                  <a:lnTo>
                    <a:pt x="1615" y="929"/>
                  </a:lnTo>
                  <a:close/>
                  <a:moveTo>
                    <a:pt x="1582" y="1433"/>
                  </a:moveTo>
                  <a:lnTo>
                    <a:pt x="1582" y="1431"/>
                  </a:lnTo>
                  <a:lnTo>
                    <a:pt x="1582" y="1431"/>
                  </a:lnTo>
                  <a:lnTo>
                    <a:pt x="1580" y="1431"/>
                  </a:lnTo>
                  <a:lnTo>
                    <a:pt x="1580" y="1431"/>
                  </a:lnTo>
                  <a:lnTo>
                    <a:pt x="1584" y="1433"/>
                  </a:lnTo>
                  <a:lnTo>
                    <a:pt x="1586" y="1435"/>
                  </a:lnTo>
                  <a:lnTo>
                    <a:pt x="1586" y="1435"/>
                  </a:lnTo>
                  <a:lnTo>
                    <a:pt x="1586" y="1433"/>
                  </a:lnTo>
                  <a:lnTo>
                    <a:pt x="1582" y="1433"/>
                  </a:lnTo>
                  <a:close/>
                  <a:moveTo>
                    <a:pt x="1621" y="936"/>
                  </a:moveTo>
                  <a:lnTo>
                    <a:pt x="1621" y="936"/>
                  </a:lnTo>
                  <a:lnTo>
                    <a:pt x="1621" y="938"/>
                  </a:lnTo>
                  <a:lnTo>
                    <a:pt x="1621" y="936"/>
                  </a:lnTo>
                  <a:lnTo>
                    <a:pt x="1623" y="933"/>
                  </a:lnTo>
                  <a:lnTo>
                    <a:pt x="1621" y="936"/>
                  </a:lnTo>
                  <a:close/>
                  <a:moveTo>
                    <a:pt x="1588" y="1346"/>
                  </a:moveTo>
                  <a:lnTo>
                    <a:pt x="1588" y="1346"/>
                  </a:lnTo>
                  <a:lnTo>
                    <a:pt x="1588" y="1344"/>
                  </a:lnTo>
                  <a:lnTo>
                    <a:pt x="1588" y="1344"/>
                  </a:lnTo>
                  <a:lnTo>
                    <a:pt x="1590" y="1344"/>
                  </a:lnTo>
                  <a:lnTo>
                    <a:pt x="1590" y="1342"/>
                  </a:lnTo>
                  <a:lnTo>
                    <a:pt x="1592" y="1342"/>
                  </a:lnTo>
                  <a:lnTo>
                    <a:pt x="1592" y="1340"/>
                  </a:lnTo>
                  <a:lnTo>
                    <a:pt x="1592" y="1340"/>
                  </a:lnTo>
                  <a:lnTo>
                    <a:pt x="1590" y="1338"/>
                  </a:lnTo>
                  <a:lnTo>
                    <a:pt x="1588" y="1336"/>
                  </a:lnTo>
                  <a:lnTo>
                    <a:pt x="1584" y="1334"/>
                  </a:lnTo>
                  <a:lnTo>
                    <a:pt x="1582" y="1334"/>
                  </a:lnTo>
                  <a:lnTo>
                    <a:pt x="1580" y="1334"/>
                  </a:lnTo>
                  <a:lnTo>
                    <a:pt x="1580" y="1334"/>
                  </a:lnTo>
                  <a:lnTo>
                    <a:pt x="1577" y="1334"/>
                  </a:lnTo>
                  <a:lnTo>
                    <a:pt x="1575" y="1334"/>
                  </a:lnTo>
                  <a:lnTo>
                    <a:pt x="1573" y="1332"/>
                  </a:lnTo>
                  <a:lnTo>
                    <a:pt x="1573" y="1332"/>
                  </a:lnTo>
                  <a:lnTo>
                    <a:pt x="1573" y="1332"/>
                  </a:lnTo>
                  <a:lnTo>
                    <a:pt x="1575" y="1332"/>
                  </a:lnTo>
                  <a:lnTo>
                    <a:pt x="1577" y="1332"/>
                  </a:lnTo>
                  <a:lnTo>
                    <a:pt x="1580" y="1332"/>
                  </a:lnTo>
                  <a:lnTo>
                    <a:pt x="1580" y="1330"/>
                  </a:lnTo>
                  <a:lnTo>
                    <a:pt x="1577" y="1330"/>
                  </a:lnTo>
                  <a:lnTo>
                    <a:pt x="1571" y="1330"/>
                  </a:lnTo>
                  <a:lnTo>
                    <a:pt x="1571" y="1330"/>
                  </a:lnTo>
                  <a:lnTo>
                    <a:pt x="1569" y="1328"/>
                  </a:lnTo>
                  <a:lnTo>
                    <a:pt x="1569" y="1326"/>
                  </a:lnTo>
                  <a:lnTo>
                    <a:pt x="1569" y="1326"/>
                  </a:lnTo>
                  <a:lnTo>
                    <a:pt x="1567" y="1326"/>
                  </a:lnTo>
                  <a:lnTo>
                    <a:pt x="1567" y="1326"/>
                  </a:lnTo>
                  <a:lnTo>
                    <a:pt x="1565" y="1326"/>
                  </a:lnTo>
                  <a:lnTo>
                    <a:pt x="1563" y="1326"/>
                  </a:lnTo>
                  <a:lnTo>
                    <a:pt x="1563" y="1324"/>
                  </a:lnTo>
                  <a:lnTo>
                    <a:pt x="1561" y="1324"/>
                  </a:lnTo>
                  <a:lnTo>
                    <a:pt x="1559" y="1324"/>
                  </a:lnTo>
                  <a:lnTo>
                    <a:pt x="1559" y="1324"/>
                  </a:lnTo>
                  <a:lnTo>
                    <a:pt x="1557" y="1322"/>
                  </a:lnTo>
                  <a:lnTo>
                    <a:pt x="1557" y="1322"/>
                  </a:lnTo>
                  <a:lnTo>
                    <a:pt x="1555" y="1322"/>
                  </a:lnTo>
                  <a:lnTo>
                    <a:pt x="1553" y="1322"/>
                  </a:lnTo>
                  <a:lnTo>
                    <a:pt x="1551" y="1322"/>
                  </a:lnTo>
                  <a:lnTo>
                    <a:pt x="1551" y="1322"/>
                  </a:lnTo>
                  <a:lnTo>
                    <a:pt x="1549" y="1322"/>
                  </a:lnTo>
                  <a:lnTo>
                    <a:pt x="1547" y="1322"/>
                  </a:lnTo>
                  <a:lnTo>
                    <a:pt x="1544" y="1322"/>
                  </a:lnTo>
                  <a:lnTo>
                    <a:pt x="1544" y="1322"/>
                  </a:lnTo>
                  <a:lnTo>
                    <a:pt x="1544" y="1324"/>
                  </a:lnTo>
                  <a:lnTo>
                    <a:pt x="1544" y="1324"/>
                  </a:lnTo>
                  <a:lnTo>
                    <a:pt x="1542" y="1324"/>
                  </a:lnTo>
                  <a:lnTo>
                    <a:pt x="1542" y="1324"/>
                  </a:lnTo>
                  <a:lnTo>
                    <a:pt x="1540" y="1324"/>
                  </a:lnTo>
                  <a:lnTo>
                    <a:pt x="1536" y="1324"/>
                  </a:lnTo>
                  <a:lnTo>
                    <a:pt x="1534" y="1324"/>
                  </a:lnTo>
                  <a:lnTo>
                    <a:pt x="1530" y="1322"/>
                  </a:lnTo>
                  <a:lnTo>
                    <a:pt x="1528" y="1322"/>
                  </a:lnTo>
                  <a:lnTo>
                    <a:pt x="1524" y="1322"/>
                  </a:lnTo>
                  <a:lnTo>
                    <a:pt x="1522" y="1322"/>
                  </a:lnTo>
                  <a:lnTo>
                    <a:pt x="1522" y="1322"/>
                  </a:lnTo>
                  <a:lnTo>
                    <a:pt x="1520" y="1324"/>
                  </a:lnTo>
                  <a:lnTo>
                    <a:pt x="1520" y="1324"/>
                  </a:lnTo>
                  <a:lnTo>
                    <a:pt x="1520" y="1326"/>
                  </a:lnTo>
                  <a:lnTo>
                    <a:pt x="1522" y="1326"/>
                  </a:lnTo>
                  <a:lnTo>
                    <a:pt x="1524" y="1326"/>
                  </a:lnTo>
                  <a:lnTo>
                    <a:pt x="1528" y="1328"/>
                  </a:lnTo>
                  <a:lnTo>
                    <a:pt x="1530" y="1328"/>
                  </a:lnTo>
                  <a:lnTo>
                    <a:pt x="1530" y="1330"/>
                  </a:lnTo>
                  <a:lnTo>
                    <a:pt x="1528" y="1332"/>
                  </a:lnTo>
                  <a:lnTo>
                    <a:pt x="1530" y="1332"/>
                  </a:lnTo>
                  <a:lnTo>
                    <a:pt x="1528" y="1334"/>
                  </a:lnTo>
                  <a:lnTo>
                    <a:pt x="1530" y="1336"/>
                  </a:lnTo>
                  <a:lnTo>
                    <a:pt x="1534" y="1338"/>
                  </a:lnTo>
                  <a:lnTo>
                    <a:pt x="1534" y="1340"/>
                  </a:lnTo>
                  <a:lnTo>
                    <a:pt x="1534" y="1340"/>
                  </a:lnTo>
                  <a:lnTo>
                    <a:pt x="1534" y="1340"/>
                  </a:lnTo>
                  <a:lnTo>
                    <a:pt x="1534" y="1340"/>
                  </a:lnTo>
                  <a:lnTo>
                    <a:pt x="1530" y="1342"/>
                  </a:lnTo>
                  <a:lnTo>
                    <a:pt x="1530" y="1342"/>
                  </a:lnTo>
                  <a:lnTo>
                    <a:pt x="1530" y="1342"/>
                  </a:lnTo>
                  <a:lnTo>
                    <a:pt x="1530" y="1342"/>
                  </a:lnTo>
                  <a:lnTo>
                    <a:pt x="1528" y="1342"/>
                  </a:lnTo>
                  <a:lnTo>
                    <a:pt x="1526" y="1342"/>
                  </a:lnTo>
                  <a:lnTo>
                    <a:pt x="1518" y="1342"/>
                  </a:lnTo>
                  <a:lnTo>
                    <a:pt x="1516" y="1340"/>
                  </a:lnTo>
                  <a:lnTo>
                    <a:pt x="1514" y="1340"/>
                  </a:lnTo>
                  <a:lnTo>
                    <a:pt x="1511" y="1340"/>
                  </a:lnTo>
                  <a:lnTo>
                    <a:pt x="1509" y="1340"/>
                  </a:lnTo>
                  <a:lnTo>
                    <a:pt x="1507" y="1340"/>
                  </a:lnTo>
                  <a:lnTo>
                    <a:pt x="1507" y="1340"/>
                  </a:lnTo>
                  <a:lnTo>
                    <a:pt x="1505" y="1340"/>
                  </a:lnTo>
                  <a:lnTo>
                    <a:pt x="1505" y="1342"/>
                  </a:lnTo>
                  <a:lnTo>
                    <a:pt x="1505" y="1344"/>
                  </a:lnTo>
                  <a:lnTo>
                    <a:pt x="1505" y="1344"/>
                  </a:lnTo>
                  <a:lnTo>
                    <a:pt x="1509" y="1344"/>
                  </a:lnTo>
                  <a:lnTo>
                    <a:pt x="1509" y="1346"/>
                  </a:lnTo>
                  <a:lnTo>
                    <a:pt x="1511" y="1346"/>
                  </a:lnTo>
                  <a:lnTo>
                    <a:pt x="1514" y="1348"/>
                  </a:lnTo>
                  <a:lnTo>
                    <a:pt x="1514" y="1348"/>
                  </a:lnTo>
                  <a:lnTo>
                    <a:pt x="1514" y="1348"/>
                  </a:lnTo>
                  <a:lnTo>
                    <a:pt x="1516" y="1346"/>
                  </a:lnTo>
                  <a:lnTo>
                    <a:pt x="1516" y="1346"/>
                  </a:lnTo>
                  <a:lnTo>
                    <a:pt x="1518" y="1346"/>
                  </a:lnTo>
                  <a:lnTo>
                    <a:pt x="1520" y="1346"/>
                  </a:lnTo>
                  <a:lnTo>
                    <a:pt x="1522" y="1346"/>
                  </a:lnTo>
                  <a:lnTo>
                    <a:pt x="1524" y="1346"/>
                  </a:lnTo>
                  <a:lnTo>
                    <a:pt x="1528" y="1346"/>
                  </a:lnTo>
                  <a:lnTo>
                    <a:pt x="1530" y="1346"/>
                  </a:lnTo>
                  <a:lnTo>
                    <a:pt x="1530" y="1346"/>
                  </a:lnTo>
                  <a:lnTo>
                    <a:pt x="1532" y="1346"/>
                  </a:lnTo>
                  <a:lnTo>
                    <a:pt x="1532" y="1346"/>
                  </a:lnTo>
                  <a:lnTo>
                    <a:pt x="1532" y="1346"/>
                  </a:lnTo>
                  <a:lnTo>
                    <a:pt x="1538" y="1346"/>
                  </a:lnTo>
                  <a:lnTo>
                    <a:pt x="1540" y="1346"/>
                  </a:lnTo>
                  <a:lnTo>
                    <a:pt x="1540" y="1346"/>
                  </a:lnTo>
                  <a:lnTo>
                    <a:pt x="1542" y="1348"/>
                  </a:lnTo>
                  <a:lnTo>
                    <a:pt x="1542" y="1348"/>
                  </a:lnTo>
                  <a:lnTo>
                    <a:pt x="1544" y="1348"/>
                  </a:lnTo>
                  <a:lnTo>
                    <a:pt x="1544" y="1351"/>
                  </a:lnTo>
                  <a:lnTo>
                    <a:pt x="1544" y="1351"/>
                  </a:lnTo>
                  <a:lnTo>
                    <a:pt x="1544" y="1353"/>
                  </a:lnTo>
                  <a:lnTo>
                    <a:pt x="1544" y="1353"/>
                  </a:lnTo>
                  <a:lnTo>
                    <a:pt x="1547" y="1353"/>
                  </a:lnTo>
                  <a:lnTo>
                    <a:pt x="1547" y="1353"/>
                  </a:lnTo>
                  <a:lnTo>
                    <a:pt x="1549" y="1355"/>
                  </a:lnTo>
                  <a:lnTo>
                    <a:pt x="1549" y="1355"/>
                  </a:lnTo>
                  <a:lnTo>
                    <a:pt x="1549" y="1355"/>
                  </a:lnTo>
                  <a:lnTo>
                    <a:pt x="1551" y="1351"/>
                  </a:lnTo>
                  <a:lnTo>
                    <a:pt x="1553" y="1348"/>
                  </a:lnTo>
                  <a:lnTo>
                    <a:pt x="1553" y="1346"/>
                  </a:lnTo>
                  <a:lnTo>
                    <a:pt x="1553" y="1346"/>
                  </a:lnTo>
                  <a:lnTo>
                    <a:pt x="1553" y="1346"/>
                  </a:lnTo>
                  <a:lnTo>
                    <a:pt x="1553" y="1344"/>
                  </a:lnTo>
                  <a:lnTo>
                    <a:pt x="1555" y="1344"/>
                  </a:lnTo>
                  <a:lnTo>
                    <a:pt x="1557" y="1344"/>
                  </a:lnTo>
                  <a:lnTo>
                    <a:pt x="1559" y="1344"/>
                  </a:lnTo>
                  <a:lnTo>
                    <a:pt x="1561" y="1346"/>
                  </a:lnTo>
                  <a:lnTo>
                    <a:pt x="1561" y="1346"/>
                  </a:lnTo>
                  <a:lnTo>
                    <a:pt x="1565" y="1346"/>
                  </a:lnTo>
                  <a:lnTo>
                    <a:pt x="1567" y="1344"/>
                  </a:lnTo>
                  <a:lnTo>
                    <a:pt x="1567" y="1344"/>
                  </a:lnTo>
                  <a:lnTo>
                    <a:pt x="1567" y="1344"/>
                  </a:lnTo>
                  <a:lnTo>
                    <a:pt x="1569" y="1342"/>
                  </a:lnTo>
                  <a:lnTo>
                    <a:pt x="1571" y="1342"/>
                  </a:lnTo>
                  <a:lnTo>
                    <a:pt x="1573" y="1342"/>
                  </a:lnTo>
                  <a:lnTo>
                    <a:pt x="1575" y="1342"/>
                  </a:lnTo>
                  <a:lnTo>
                    <a:pt x="1577" y="1342"/>
                  </a:lnTo>
                  <a:lnTo>
                    <a:pt x="1580" y="1342"/>
                  </a:lnTo>
                  <a:lnTo>
                    <a:pt x="1582" y="1344"/>
                  </a:lnTo>
                  <a:lnTo>
                    <a:pt x="1584" y="1344"/>
                  </a:lnTo>
                  <a:lnTo>
                    <a:pt x="1586" y="1344"/>
                  </a:lnTo>
                  <a:lnTo>
                    <a:pt x="1586" y="1346"/>
                  </a:lnTo>
                  <a:lnTo>
                    <a:pt x="1586" y="1346"/>
                  </a:lnTo>
                  <a:lnTo>
                    <a:pt x="1588" y="1346"/>
                  </a:lnTo>
                  <a:close/>
                  <a:moveTo>
                    <a:pt x="1413" y="1249"/>
                  </a:moveTo>
                  <a:lnTo>
                    <a:pt x="1413" y="1249"/>
                  </a:lnTo>
                  <a:lnTo>
                    <a:pt x="1410" y="1249"/>
                  </a:lnTo>
                  <a:lnTo>
                    <a:pt x="1410" y="1249"/>
                  </a:lnTo>
                  <a:lnTo>
                    <a:pt x="1410" y="1249"/>
                  </a:lnTo>
                  <a:lnTo>
                    <a:pt x="1410" y="1249"/>
                  </a:lnTo>
                  <a:lnTo>
                    <a:pt x="1413" y="1249"/>
                  </a:lnTo>
                  <a:close/>
                  <a:moveTo>
                    <a:pt x="1415" y="1247"/>
                  </a:moveTo>
                  <a:lnTo>
                    <a:pt x="1415" y="1247"/>
                  </a:lnTo>
                  <a:lnTo>
                    <a:pt x="1415" y="1249"/>
                  </a:lnTo>
                  <a:lnTo>
                    <a:pt x="1415" y="1249"/>
                  </a:lnTo>
                  <a:lnTo>
                    <a:pt x="1415" y="1249"/>
                  </a:lnTo>
                  <a:lnTo>
                    <a:pt x="1415" y="1249"/>
                  </a:lnTo>
                  <a:lnTo>
                    <a:pt x="1415" y="1247"/>
                  </a:lnTo>
                  <a:close/>
                  <a:moveTo>
                    <a:pt x="1423" y="1241"/>
                  </a:moveTo>
                  <a:lnTo>
                    <a:pt x="1421" y="1241"/>
                  </a:lnTo>
                  <a:lnTo>
                    <a:pt x="1421" y="1241"/>
                  </a:lnTo>
                  <a:lnTo>
                    <a:pt x="1421" y="1243"/>
                  </a:lnTo>
                  <a:lnTo>
                    <a:pt x="1421" y="1243"/>
                  </a:lnTo>
                  <a:lnTo>
                    <a:pt x="1419" y="1243"/>
                  </a:lnTo>
                  <a:lnTo>
                    <a:pt x="1419" y="1243"/>
                  </a:lnTo>
                  <a:lnTo>
                    <a:pt x="1419" y="1245"/>
                  </a:lnTo>
                  <a:lnTo>
                    <a:pt x="1417" y="1247"/>
                  </a:lnTo>
                  <a:lnTo>
                    <a:pt x="1421" y="1243"/>
                  </a:lnTo>
                  <a:lnTo>
                    <a:pt x="1423" y="1241"/>
                  </a:lnTo>
                  <a:close/>
                  <a:moveTo>
                    <a:pt x="1406" y="1251"/>
                  </a:moveTo>
                  <a:lnTo>
                    <a:pt x="1406" y="1251"/>
                  </a:lnTo>
                  <a:lnTo>
                    <a:pt x="1406" y="1251"/>
                  </a:lnTo>
                  <a:lnTo>
                    <a:pt x="1406" y="1251"/>
                  </a:lnTo>
                  <a:lnTo>
                    <a:pt x="1406" y="1249"/>
                  </a:lnTo>
                  <a:lnTo>
                    <a:pt x="1406" y="1249"/>
                  </a:lnTo>
                  <a:lnTo>
                    <a:pt x="1406" y="1251"/>
                  </a:lnTo>
                  <a:lnTo>
                    <a:pt x="1406" y="1251"/>
                  </a:lnTo>
                  <a:lnTo>
                    <a:pt x="1406" y="1251"/>
                  </a:lnTo>
                  <a:close/>
                  <a:moveTo>
                    <a:pt x="1417" y="1247"/>
                  </a:moveTo>
                  <a:lnTo>
                    <a:pt x="1417" y="1247"/>
                  </a:lnTo>
                  <a:lnTo>
                    <a:pt x="1417" y="1247"/>
                  </a:lnTo>
                  <a:lnTo>
                    <a:pt x="1417" y="1247"/>
                  </a:lnTo>
                  <a:lnTo>
                    <a:pt x="1417" y="1247"/>
                  </a:lnTo>
                  <a:close/>
                  <a:moveTo>
                    <a:pt x="1357" y="1173"/>
                  </a:moveTo>
                  <a:lnTo>
                    <a:pt x="1357" y="1175"/>
                  </a:lnTo>
                  <a:lnTo>
                    <a:pt x="1355" y="1175"/>
                  </a:lnTo>
                  <a:lnTo>
                    <a:pt x="1355" y="1175"/>
                  </a:lnTo>
                  <a:lnTo>
                    <a:pt x="1353" y="1175"/>
                  </a:lnTo>
                  <a:lnTo>
                    <a:pt x="1355" y="1175"/>
                  </a:lnTo>
                  <a:lnTo>
                    <a:pt x="1355" y="1175"/>
                  </a:lnTo>
                  <a:lnTo>
                    <a:pt x="1359" y="1173"/>
                  </a:lnTo>
                  <a:lnTo>
                    <a:pt x="1357" y="1173"/>
                  </a:lnTo>
                  <a:close/>
                  <a:moveTo>
                    <a:pt x="1394" y="1223"/>
                  </a:moveTo>
                  <a:lnTo>
                    <a:pt x="1396" y="1225"/>
                  </a:lnTo>
                  <a:lnTo>
                    <a:pt x="1396" y="1225"/>
                  </a:lnTo>
                  <a:lnTo>
                    <a:pt x="1396" y="1225"/>
                  </a:lnTo>
                  <a:lnTo>
                    <a:pt x="1396" y="1225"/>
                  </a:lnTo>
                  <a:lnTo>
                    <a:pt x="1396" y="1223"/>
                  </a:lnTo>
                  <a:lnTo>
                    <a:pt x="1394" y="1223"/>
                  </a:lnTo>
                  <a:lnTo>
                    <a:pt x="1394" y="1223"/>
                  </a:lnTo>
                  <a:close/>
                  <a:moveTo>
                    <a:pt x="1396" y="1223"/>
                  </a:moveTo>
                  <a:lnTo>
                    <a:pt x="1396" y="1223"/>
                  </a:lnTo>
                  <a:lnTo>
                    <a:pt x="1396" y="1220"/>
                  </a:lnTo>
                  <a:lnTo>
                    <a:pt x="1394" y="1220"/>
                  </a:lnTo>
                  <a:lnTo>
                    <a:pt x="1396" y="1223"/>
                  </a:lnTo>
                  <a:lnTo>
                    <a:pt x="1396" y="1223"/>
                  </a:lnTo>
                  <a:close/>
                  <a:moveTo>
                    <a:pt x="1404" y="1251"/>
                  </a:moveTo>
                  <a:lnTo>
                    <a:pt x="1404" y="1251"/>
                  </a:lnTo>
                  <a:lnTo>
                    <a:pt x="1404" y="1249"/>
                  </a:lnTo>
                  <a:lnTo>
                    <a:pt x="1402" y="1251"/>
                  </a:lnTo>
                  <a:lnTo>
                    <a:pt x="1402" y="1251"/>
                  </a:lnTo>
                  <a:lnTo>
                    <a:pt x="1404" y="1251"/>
                  </a:lnTo>
                  <a:lnTo>
                    <a:pt x="1404" y="1251"/>
                  </a:lnTo>
                  <a:close/>
                  <a:moveTo>
                    <a:pt x="1400" y="1251"/>
                  </a:moveTo>
                  <a:lnTo>
                    <a:pt x="1400" y="1251"/>
                  </a:lnTo>
                  <a:lnTo>
                    <a:pt x="1400" y="1251"/>
                  </a:lnTo>
                  <a:lnTo>
                    <a:pt x="1400" y="1251"/>
                  </a:lnTo>
                  <a:lnTo>
                    <a:pt x="1400" y="1254"/>
                  </a:lnTo>
                  <a:lnTo>
                    <a:pt x="1400" y="1254"/>
                  </a:lnTo>
                  <a:lnTo>
                    <a:pt x="1400" y="1251"/>
                  </a:lnTo>
                  <a:close/>
                  <a:moveTo>
                    <a:pt x="1140" y="434"/>
                  </a:moveTo>
                  <a:lnTo>
                    <a:pt x="1140" y="432"/>
                  </a:lnTo>
                  <a:lnTo>
                    <a:pt x="1140" y="430"/>
                  </a:lnTo>
                  <a:lnTo>
                    <a:pt x="1140" y="430"/>
                  </a:lnTo>
                  <a:lnTo>
                    <a:pt x="1140" y="430"/>
                  </a:lnTo>
                  <a:lnTo>
                    <a:pt x="1138" y="428"/>
                  </a:lnTo>
                  <a:lnTo>
                    <a:pt x="1138" y="430"/>
                  </a:lnTo>
                  <a:lnTo>
                    <a:pt x="1136" y="430"/>
                  </a:lnTo>
                  <a:lnTo>
                    <a:pt x="1136" y="430"/>
                  </a:lnTo>
                  <a:lnTo>
                    <a:pt x="1136" y="430"/>
                  </a:lnTo>
                  <a:lnTo>
                    <a:pt x="1138" y="432"/>
                  </a:lnTo>
                  <a:lnTo>
                    <a:pt x="1138" y="432"/>
                  </a:lnTo>
                  <a:lnTo>
                    <a:pt x="1140" y="434"/>
                  </a:lnTo>
                  <a:close/>
                  <a:moveTo>
                    <a:pt x="2524" y="663"/>
                  </a:moveTo>
                  <a:lnTo>
                    <a:pt x="2524" y="663"/>
                  </a:lnTo>
                  <a:lnTo>
                    <a:pt x="2524" y="663"/>
                  </a:lnTo>
                  <a:lnTo>
                    <a:pt x="2524" y="663"/>
                  </a:lnTo>
                  <a:lnTo>
                    <a:pt x="2526" y="661"/>
                  </a:lnTo>
                  <a:lnTo>
                    <a:pt x="2524" y="661"/>
                  </a:lnTo>
                  <a:lnTo>
                    <a:pt x="2524" y="661"/>
                  </a:lnTo>
                  <a:lnTo>
                    <a:pt x="2524" y="663"/>
                  </a:lnTo>
                  <a:close/>
                  <a:moveTo>
                    <a:pt x="2485" y="692"/>
                  </a:moveTo>
                  <a:lnTo>
                    <a:pt x="2487" y="694"/>
                  </a:lnTo>
                  <a:lnTo>
                    <a:pt x="2487" y="694"/>
                  </a:lnTo>
                  <a:lnTo>
                    <a:pt x="2487" y="696"/>
                  </a:lnTo>
                  <a:lnTo>
                    <a:pt x="2485" y="700"/>
                  </a:lnTo>
                  <a:lnTo>
                    <a:pt x="2483" y="700"/>
                  </a:lnTo>
                  <a:lnTo>
                    <a:pt x="2483" y="700"/>
                  </a:lnTo>
                  <a:lnTo>
                    <a:pt x="2485" y="702"/>
                  </a:lnTo>
                  <a:lnTo>
                    <a:pt x="2483" y="704"/>
                  </a:lnTo>
                  <a:lnTo>
                    <a:pt x="2481" y="704"/>
                  </a:lnTo>
                  <a:lnTo>
                    <a:pt x="2479" y="704"/>
                  </a:lnTo>
                  <a:lnTo>
                    <a:pt x="2479" y="704"/>
                  </a:lnTo>
                  <a:lnTo>
                    <a:pt x="2481" y="704"/>
                  </a:lnTo>
                  <a:lnTo>
                    <a:pt x="2481" y="704"/>
                  </a:lnTo>
                  <a:lnTo>
                    <a:pt x="2481" y="706"/>
                  </a:lnTo>
                  <a:lnTo>
                    <a:pt x="2483" y="708"/>
                  </a:lnTo>
                  <a:lnTo>
                    <a:pt x="2485" y="708"/>
                  </a:lnTo>
                  <a:lnTo>
                    <a:pt x="2485" y="708"/>
                  </a:lnTo>
                  <a:lnTo>
                    <a:pt x="2487" y="708"/>
                  </a:lnTo>
                  <a:lnTo>
                    <a:pt x="2491" y="704"/>
                  </a:lnTo>
                  <a:lnTo>
                    <a:pt x="2493" y="704"/>
                  </a:lnTo>
                  <a:lnTo>
                    <a:pt x="2491" y="706"/>
                  </a:lnTo>
                  <a:lnTo>
                    <a:pt x="2491" y="706"/>
                  </a:lnTo>
                  <a:lnTo>
                    <a:pt x="2491" y="708"/>
                  </a:lnTo>
                  <a:lnTo>
                    <a:pt x="2489" y="708"/>
                  </a:lnTo>
                  <a:lnTo>
                    <a:pt x="2489" y="710"/>
                  </a:lnTo>
                  <a:lnTo>
                    <a:pt x="2489" y="713"/>
                  </a:lnTo>
                  <a:lnTo>
                    <a:pt x="2487" y="715"/>
                  </a:lnTo>
                  <a:lnTo>
                    <a:pt x="2487" y="717"/>
                  </a:lnTo>
                  <a:lnTo>
                    <a:pt x="2487" y="719"/>
                  </a:lnTo>
                  <a:lnTo>
                    <a:pt x="2487" y="723"/>
                  </a:lnTo>
                  <a:lnTo>
                    <a:pt x="2487" y="723"/>
                  </a:lnTo>
                  <a:lnTo>
                    <a:pt x="2487" y="723"/>
                  </a:lnTo>
                  <a:lnTo>
                    <a:pt x="2487" y="723"/>
                  </a:lnTo>
                  <a:lnTo>
                    <a:pt x="2487" y="723"/>
                  </a:lnTo>
                  <a:lnTo>
                    <a:pt x="2487" y="725"/>
                  </a:lnTo>
                  <a:lnTo>
                    <a:pt x="2485" y="725"/>
                  </a:lnTo>
                  <a:lnTo>
                    <a:pt x="2485" y="727"/>
                  </a:lnTo>
                  <a:lnTo>
                    <a:pt x="2485" y="731"/>
                  </a:lnTo>
                  <a:lnTo>
                    <a:pt x="2485" y="731"/>
                  </a:lnTo>
                  <a:lnTo>
                    <a:pt x="2485" y="731"/>
                  </a:lnTo>
                  <a:lnTo>
                    <a:pt x="2485" y="733"/>
                  </a:lnTo>
                  <a:lnTo>
                    <a:pt x="2487" y="733"/>
                  </a:lnTo>
                  <a:lnTo>
                    <a:pt x="2487" y="733"/>
                  </a:lnTo>
                  <a:lnTo>
                    <a:pt x="2487" y="731"/>
                  </a:lnTo>
                  <a:lnTo>
                    <a:pt x="2487" y="731"/>
                  </a:lnTo>
                  <a:lnTo>
                    <a:pt x="2489" y="723"/>
                  </a:lnTo>
                  <a:lnTo>
                    <a:pt x="2489" y="723"/>
                  </a:lnTo>
                  <a:lnTo>
                    <a:pt x="2489" y="721"/>
                  </a:lnTo>
                  <a:lnTo>
                    <a:pt x="2489" y="719"/>
                  </a:lnTo>
                  <a:lnTo>
                    <a:pt x="2489" y="719"/>
                  </a:lnTo>
                  <a:lnTo>
                    <a:pt x="2489" y="719"/>
                  </a:lnTo>
                  <a:lnTo>
                    <a:pt x="2491" y="717"/>
                  </a:lnTo>
                  <a:lnTo>
                    <a:pt x="2493" y="715"/>
                  </a:lnTo>
                  <a:lnTo>
                    <a:pt x="2495" y="715"/>
                  </a:lnTo>
                  <a:lnTo>
                    <a:pt x="2493" y="717"/>
                  </a:lnTo>
                  <a:lnTo>
                    <a:pt x="2491" y="719"/>
                  </a:lnTo>
                  <a:lnTo>
                    <a:pt x="2491" y="719"/>
                  </a:lnTo>
                  <a:lnTo>
                    <a:pt x="2491" y="721"/>
                  </a:lnTo>
                  <a:lnTo>
                    <a:pt x="2491" y="721"/>
                  </a:lnTo>
                  <a:lnTo>
                    <a:pt x="2491" y="721"/>
                  </a:lnTo>
                  <a:lnTo>
                    <a:pt x="2493" y="721"/>
                  </a:lnTo>
                  <a:lnTo>
                    <a:pt x="2493" y="721"/>
                  </a:lnTo>
                  <a:lnTo>
                    <a:pt x="2493" y="721"/>
                  </a:lnTo>
                  <a:lnTo>
                    <a:pt x="2493" y="719"/>
                  </a:lnTo>
                  <a:lnTo>
                    <a:pt x="2495" y="719"/>
                  </a:lnTo>
                  <a:lnTo>
                    <a:pt x="2495" y="719"/>
                  </a:lnTo>
                  <a:lnTo>
                    <a:pt x="2497" y="717"/>
                  </a:lnTo>
                  <a:lnTo>
                    <a:pt x="2497" y="717"/>
                  </a:lnTo>
                  <a:lnTo>
                    <a:pt x="2497" y="717"/>
                  </a:lnTo>
                  <a:lnTo>
                    <a:pt x="2497" y="717"/>
                  </a:lnTo>
                  <a:lnTo>
                    <a:pt x="2497" y="719"/>
                  </a:lnTo>
                  <a:lnTo>
                    <a:pt x="2499" y="719"/>
                  </a:lnTo>
                  <a:lnTo>
                    <a:pt x="2501" y="721"/>
                  </a:lnTo>
                  <a:lnTo>
                    <a:pt x="2497" y="721"/>
                  </a:lnTo>
                  <a:lnTo>
                    <a:pt x="2497" y="721"/>
                  </a:lnTo>
                  <a:lnTo>
                    <a:pt x="2497" y="721"/>
                  </a:lnTo>
                  <a:lnTo>
                    <a:pt x="2497" y="723"/>
                  </a:lnTo>
                  <a:lnTo>
                    <a:pt x="2497" y="725"/>
                  </a:lnTo>
                  <a:lnTo>
                    <a:pt x="2499" y="727"/>
                  </a:lnTo>
                  <a:lnTo>
                    <a:pt x="2499" y="727"/>
                  </a:lnTo>
                  <a:lnTo>
                    <a:pt x="2499" y="729"/>
                  </a:lnTo>
                  <a:lnTo>
                    <a:pt x="2499" y="731"/>
                  </a:lnTo>
                  <a:lnTo>
                    <a:pt x="2497" y="731"/>
                  </a:lnTo>
                  <a:lnTo>
                    <a:pt x="2495" y="735"/>
                  </a:lnTo>
                  <a:lnTo>
                    <a:pt x="2495" y="739"/>
                  </a:lnTo>
                  <a:lnTo>
                    <a:pt x="2493" y="739"/>
                  </a:lnTo>
                  <a:lnTo>
                    <a:pt x="2493" y="739"/>
                  </a:lnTo>
                  <a:lnTo>
                    <a:pt x="2493" y="741"/>
                  </a:lnTo>
                  <a:lnTo>
                    <a:pt x="2493" y="741"/>
                  </a:lnTo>
                  <a:lnTo>
                    <a:pt x="2495" y="743"/>
                  </a:lnTo>
                  <a:lnTo>
                    <a:pt x="2497" y="746"/>
                  </a:lnTo>
                  <a:lnTo>
                    <a:pt x="2497" y="743"/>
                  </a:lnTo>
                  <a:lnTo>
                    <a:pt x="2497" y="741"/>
                  </a:lnTo>
                  <a:lnTo>
                    <a:pt x="2497" y="741"/>
                  </a:lnTo>
                  <a:lnTo>
                    <a:pt x="2499" y="743"/>
                  </a:lnTo>
                  <a:lnTo>
                    <a:pt x="2501" y="743"/>
                  </a:lnTo>
                  <a:lnTo>
                    <a:pt x="2503" y="743"/>
                  </a:lnTo>
                  <a:lnTo>
                    <a:pt x="2505" y="741"/>
                  </a:lnTo>
                  <a:lnTo>
                    <a:pt x="2505" y="741"/>
                  </a:lnTo>
                  <a:lnTo>
                    <a:pt x="2505" y="741"/>
                  </a:lnTo>
                  <a:lnTo>
                    <a:pt x="2507" y="743"/>
                  </a:lnTo>
                  <a:lnTo>
                    <a:pt x="2507" y="743"/>
                  </a:lnTo>
                  <a:lnTo>
                    <a:pt x="2507" y="743"/>
                  </a:lnTo>
                  <a:lnTo>
                    <a:pt x="2510" y="743"/>
                  </a:lnTo>
                  <a:lnTo>
                    <a:pt x="2512" y="743"/>
                  </a:lnTo>
                  <a:lnTo>
                    <a:pt x="2512" y="741"/>
                  </a:lnTo>
                  <a:lnTo>
                    <a:pt x="2512" y="741"/>
                  </a:lnTo>
                  <a:lnTo>
                    <a:pt x="2514" y="741"/>
                  </a:lnTo>
                  <a:lnTo>
                    <a:pt x="2514" y="741"/>
                  </a:lnTo>
                  <a:lnTo>
                    <a:pt x="2516" y="739"/>
                  </a:lnTo>
                  <a:lnTo>
                    <a:pt x="2518" y="739"/>
                  </a:lnTo>
                  <a:lnTo>
                    <a:pt x="2522" y="739"/>
                  </a:lnTo>
                  <a:lnTo>
                    <a:pt x="2524" y="739"/>
                  </a:lnTo>
                  <a:lnTo>
                    <a:pt x="2520" y="741"/>
                  </a:lnTo>
                  <a:lnTo>
                    <a:pt x="2518" y="743"/>
                  </a:lnTo>
                  <a:lnTo>
                    <a:pt x="2516" y="748"/>
                  </a:lnTo>
                  <a:lnTo>
                    <a:pt x="2516" y="750"/>
                  </a:lnTo>
                  <a:lnTo>
                    <a:pt x="2518" y="752"/>
                  </a:lnTo>
                  <a:lnTo>
                    <a:pt x="2520" y="754"/>
                  </a:lnTo>
                  <a:lnTo>
                    <a:pt x="2522" y="756"/>
                  </a:lnTo>
                  <a:lnTo>
                    <a:pt x="2522" y="756"/>
                  </a:lnTo>
                  <a:lnTo>
                    <a:pt x="2522" y="756"/>
                  </a:lnTo>
                  <a:lnTo>
                    <a:pt x="2524" y="756"/>
                  </a:lnTo>
                  <a:lnTo>
                    <a:pt x="2526" y="756"/>
                  </a:lnTo>
                  <a:lnTo>
                    <a:pt x="2526" y="756"/>
                  </a:lnTo>
                  <a:lnTo>
                    <a:pt x="2526" y="758"/>
                  </a:lnTo>
                  <a:lnTo>
                    <a:pt x="2524" y="760"/>
                  </a:lnTo>
                  <a:lnTo>
                    <a:pt x="2524" y="760"/>
                  </a:lnTo>
                  <a:lnTo>
                    <a:pt x="2522" y="762"/>
                  </a:lnTo>
                  <a:lnTo>
                    <a:pt x="2524" y="762"/>
                  </a:lnTo>
                  <a:lnTo>
                    <a:pt x="2524" y="764"/>
                  </a:lnTo>
                  <a:lnTo>
                    <a:pt x="2524" y="764"/>
                  </a:lnTo>
                  <a:lnTo>
                    <a:pt x="2524" y="764"/>
                  </a:lnTo>
                  <a:lnTo>
                    <a:pt x="2522" y="766"/>
                  </a:lnTo>
                  <a:lnTo>
                    <a:pt x="2522" y="768"/>
                  </a:lnTo>
                  <a:lnTo>
                    <a:pt x="2524" y="770"/>
                  </a:lnTo>
                  <a:lnTo>
                    <a:pt x="2524" y="770"/>
                  </a:lnTo>
                  <a:lnTo>
                    <a:pt x="2526" y="770"/>
                  </a:lnTo>
                  <a:lnTo>
                    <a:pt x="2526" y="770"/>
                  </a:lnTo>
                  <a:lnTo>
                    <a:pt x="2528" y="772"/>
                  </a:lnTo>
                  <a:lnTo>
                    <a:pt x="2526" y="772"/>
                  </a:lnTo>
                  <a:lnTo>
                    <a:pt x="2524" y="772"/>
                  </a:lnTo>
                  <a:lnTo>
                    <a:pt x="2522" y="770"/>
                  </a:lnTo>
                  <a:lnTo>
                    <a:pt x="2522" y="770"/>
                  </a:lnTo>
                  <a:lnTo>
                    <a:pt x="2522" y="772"/>
                  </a:lnTo>
                  <a:lnTo>
                    <a:pt x="2520" y="770"/>
                  </a:lnTo>
                  <a:lnTo>
                    <a:pt x="2518" y="770"/>
                  </a:lnTo>
                  <a:lnTo>
                    <a:pt x="2516" y="772"/>
                  </a:lnTo>
                  <a:lnTo>
                    <a:pt x="2514" y="772"/>
                  </a:lnTo>
                  <a:lnTo>
                    <a:pt x="2514" y="772"/>
                  </a:lnTo>
                  <a:lnTo>
                    <a:pt x="2512" y="772"/>
                  </a:lnTo>
                  <a:lnTo>
                    <a:pt x="2507" y="774"/>
                  </a:lnTo>
                  <a:lnTo>
                    <a:pt x="2505" y="774"/>
                  </a:lnTo>
                  <a:lnTo>
                    <a:pt x="2505" y="777"/>
                  </a:lnTo>
                  <a:lnTo>
                    <a:pt x="2503" y="777"/>
                  </a:lnTo>
                  <a:lnTo>
                    <a:pt x="2503" y="777"/>
                  </a:lnTo>
                  <a:lnTo>
                    <a:pt x="2501" y="779"/>
                  </a:lnTo>
                  <a:lnTo>
                    <a:pt x="2499" y="781"/>
                  </a:lnTo>
                  <a:lnTo>
                    <a:pt x="2499" y="781"/>
                  </a:lnTo>
                  <a:lnTo>
                    <a:pt x="2499" y="781"/>
                  </a:lnTo>
                  <a:lnTo>
                    <a:pt x="2501" y="781"/>
                  </a:lnTo>
                  <a:lnTo>
                    <a:pt x="2503" y="781"/>
                  </a:lnTo>
                  <a:lnTo>
                    <a:pt x="2503" y="781"/>
                  </a:lnTo>
                  <a:lnTo>
                    <a:pt x="2505" y="779"/>
                  </a:lnTo>
                  <a:lnTo>
                    <a:pt x="2507" y="779"/>
                  </a:lnTo>
                  <a:lnTo>
                    <a:pt x="2507" y="781"/>
                  </a:lnTo>
                  <a:lnTo>
                    <a:pt x="2507" y="781"/>
                  </a:lnTo>
                  <a:lnTo>
                    <a:pt x="2507" y="783"/>
                  </a:lnTo>
                  <a:lnTo>
                    <a:pt x="2510" y="783"/>
                  </a:lnTo>
                  <a:lnTo>
                    <a:pt x="2507" y="785"/>
                  </a:lnTo>
                  <a:lnTo>
                    <a:pt x="2507" y="785"/>
                  </a:lnTo>
                  <a:lnTo>
                    <a:pt x="2510" y="787"/>
                  </a:lnTo>
                  <a:lnTo>
                    <a:pt x="2510" y="787"/>
                  </a:lnTo>
                  <a:lnTo>
                    <a:pt x="2510" y="787"/>
                  </a:lnTo>
                  <a:lnTo>
                    <a:pt x="2507" y="789"/>
                  </a:lnTo>
                  <a:lnTo>
                    <a:pt x="2507" y="791"/>
                  </a:lnTo>
                  <a:lnTo>
                    <a:pt x="2505" y="791"/>
                  </a:lnTo>
                  <a:lnTo>
                    <a:pt x="2503" y="793"/>
                  </a:lnTo>
                  <a:lnTo>
                    <a:pt x="2501" y="793"/>
                  </a:lnTo>
                  <a:lnTo>
                    <a:pt x="2497" y="795"/>
                  </a:lnTo>
                  <a:lnTo>
                    <a:pt x="2493" y="797"/>
                  </a:lnTo>
                  <a:lnTo>
                    <a:pt x="2493" y="797"/>
                  </a:lnTo>
                  <a:lnTo>
                    <a:pt x="2491" y="799"/>
                  </a:lnTo>
                  <a:lnTo>
                    <a:pt x="2493" y="799"/>
                  </a:lnTo>
                  <a:lnTo>
                    <a:pt x="2493" y="801"/>
                  </a:lnTo>
                  <a:lnTo>
                    <a:pt x="2493" y="801"/>
                  </a:lnTo>
                  <a:lnTo>
                    <a:pt x="2493" y="801"/>
                  </a:lnTo>
                  <a:lnTo>
                    <a:pt x="2497" y="803"/>
                  </a:lnTo>
                  <a:lnTo>
                    <a:pt x="2499" y="803"/>
                  </a:lnTo>
                  <a:lnTo>
                    <a:pt x="2501" y="801"/>
                  </a:lnTo>
                  <a:lnTo>
                    <a:pt x="2501" y="801"/>
                  </a:lnTo>
                  <a:lnTo>
                    <a:pt x="2503" y="801"/>
                  </a:lnTo>
                  <a:lnTo>
                    <a:pt x="2505" y="803"/>
                  </a:lnTo>
                  <a:lnTo>
                    <a:pt x="2505" y="803"/>
                  </a:lnTo>
                  <a:lnTo>
                    <a:pt x="2507" y="803"/>
                  </a:lnTo>
                  <a:lnTo>
                    <a:pt x="2507" y="803"/>
                  </a:lnTo>
                  <a:lnTo>
                    <a:pt x="2505" y="805"/>
                  </a:lnTo>
                  <a:lnTo>
                    <a:pt x="2507" y="805"/>
                  </a:lnTo>
                  <a:lnTo>
                    <a:pt x="2510" y="805"/>
                  </a:lnTo>
                  <a:lnTo>
                    <a:pt x="2510" y="803"/>
                  </a:lnTo>
                  <a:lnTo>
                    <a:pt x="2512" y="803"/>
                  </a:lnTo>
                  <a:lnTo>
                    <a:pt x="2514" y="805"/>
                  </a:lnTo>
                  <a:lnTo>
                    <a:pt x="2516" y="808"/>
                  </a:lnTo>
                  <a:lnTo>
                    <a:pt x="2520" y="808"/>
                  </a:lnTo>
                  <a:lnTo>
                    <a:pt x="2520" y="808"/>
                  </a:lnTo>
                  <a:lnTo>
                    <a:pt x="2522" y="805"/>
                  </a:lnTo>
                  <a:lnTo>
                    <a:pt x="2524" y="805"/>
                  </a:lnTo>
                  <a:lnTo>
                    <a:pt x="2528" y="805"/>
                  </a:lnTo>
                  <a:lnTo>
                    <a:pt x="2528" y="803"/>
                  </a:lnTo>
                  <a:lnTo>
                    <a:pt x="2530" y="803"/>
                  </a:lnTo>
                  <a:lnTo>
                    <a:pt x="2532" y="801"/>
                  </a:lnTo>
                  <a:lnTo>
                    <a:pt x="2530" y="803"/>
                  </a:lnTo>
                  <a:lnTo>
                    <a:pt x="2528" y="805"/>
                  </a:lnTo>
                  <a:lnTo>
                    <a:pt x="2526" y="808"/>
                  </a:lnTo>
                  <a:lnTo>
                    <a:pt x="2526" y="808"/>
                  </a:lnTo>
                  <a:lnTo>
                    <a:pt x="2524" y="812"/>
                  </a:lnTo>
                  <a:lnTo>
                    <a:pt x="2522" y="812"/>
                  </a:lnTo>
                  <a:lnTo>
                    <a:pt x="2520" y="812"/>
                  </a:lnTo>
                  <a:lnTo>
                    <a:pt x="2518" y="812"/>
                  </a:lnTo>
                  <a:lnTo>
                    <a:pt x="2516" y="812"/>
                  </a:lnTo>
                  <a:lnTo>
                    <a:pt x="2512" y="812"/>
                  </a:lnTo>
                  <a:lnTo>
                    <a:pt x="2507" y="812"/>
                  </a:lnTo>
                  <a:lnTo>
                    <a:pt x="2507" y="812"/>
                  </a:lnTo>
                  <a:lnTo>
                    <a:pt x="2505" y="816"/>
                  </a:lnTo>
                  <a:lnTo>
                    <a:pt x="2501" y="816"/>
                  </a:lnTo>
                  <a:lnTo>
                    <a:pt x="2501" y="818"/>
                  </a:lnTo>
                  <a:lnTo>
                    <a:pt x="2501" y="818"/>
                  </a:lnTo>
                  <a:lnTo>
                    <a:pt x="2501" y="820"/>
                  </a:lnTo>
                  <a:lnTo>
                    <a:pt x="2497" y="824"/>
                  </a:lnTo>
                  <a:lnTo>
                    <a:pt x="2497" y="824"/>
                  </a:lnTo>
                  <a:lnTo>
                    <a:pt x="2495" y="824"/>
                  </a:lnTo>
                  <a:lnTo>
                    <a:pt x="2495" y="824"/>
                  </a:lnTo>
                  <a:lnTo>
                    <a:pt x="2495" y="826"/>
                  </a:lnTo>
                  <a:lnTo>
                    <a:pt x="2493" y="828"/>
                  </a:lnTo>
                  <a:lnTo>
                    <a:pt x="2491" y="830"/>
                  </a:lnTo>
                  <a:lnTo>
                    <a:pt x="2487" y="830"/>
                  </a:lnTo>
                  <a:lnTo>
                    <a:pt x="2485" y="832"/>
                  </a:lnTo>
                  <a:lnTo>
                    <a:pt x="2485" y="832"/>
                  </a:lnTo>
                  <a:lnTo>
                    <a:pt x="2487" y="832"/>
                  </a:lnTo>
                  <a:lnTo>
                    <a:pt x="2487" y="832"/>
                  </a:lnTo>
                  <a:lnTo>
                    <a:pt x="2489" y="832"/>
                  </a:lnTo>
                  <a:lnTo>
                    <a:pt x="2491" y="832"/>
                  </a:lnTo>
                  <a:lnTo>
                    <a:pt x="2491" y="834"/>
                  </a:lnTo>
                  <a:lnTo>
                    <a:pt x="2493" y="834"/>
                  </a:lnTo>
                  <a:lnTo>
                    <a:pt x="2495" y="832"/>
                  </a:lnTo>
                  <a:lnTo>
                    <a:pt x="2495" y="830"/>
                  </a:lnTo>
                  <a:lnTo>
                    <a:pt x="2497" y="830"/>
                  </a:lnTo>
                  <a:lnTo>
                    <a:pt x="2499" y="828"/>
                  </a:lnTo>
                  <a:lnTo>
                    <a:pt x="2501" y="828"/>
                  </a:lnTo>
                  <a:lnTo>
                    <a:pt x="2503" y="828"/>
                  </a:lnTo>
                  <a:lnTo>
                    <a:pt x="2505" y="828"/>
                  </a:lnTo>
                  <a:lnTo>
                    <a:pt x="2505" y="826"/>
                  </a:lnTo>
                  <a:lnTo>
                    <a:pt x="2507" y="826"/>
                  </a:lnTo>
                  <a:lnTo>
                    <a:pt x="2507" y="826"/>
                  </a:lnTo>
                  <a:lnTo>
                    <a:pt x="2507" y="828"/>
                  </a:lnTo>
                  <a:lnTo>
                    <a:pt x="2512" y="828"/>
                  </a:lnTo>
                  <a:lnTo>
                    <a:pt x="2512" y="830"/>
                  </a:lnTo>
                  <a:lnTo>
                    <a:pt x="2514" y="830"/>
                  </a:lnTo>
                  <a:lnTo>
                    <a:pt x="2516" y="828"/>
                  </a:lnTo>
                  <a:lnTo>
                    <a:pt x="2516" y="826"/>
                  </a:lnTo>
                  <a:lnTo>
                    <a:pt x="2516" y="824"/>
                  </a:lnTo>
                  <a:lnTo>
                    <a:pt x="2518" y="822"/>
                  </a:lnTo>
                  <a:lnTo>
                    <a:pt x="2524" y="820"/>
                  </a:lnTo>
                  <a:lnTo>
                    <a:pt x="2524" y="820"/>
                  </a:lnTo>
                  <a:lnTo>
                    <a:pt x="2526" y="822"/>
                  </a:lnTo>
                  <a:lnTo>
                    <a:pt x="2528" y="822"/>
                  </a:lnTo>
                  <a:lnTo>
                    <a:pt x="2530" y="822"/>
                  </a:lnTo>
                  <a:lnTo>
                    <a:pt x="2532" y="822"/>
                  </a:lnTo>
                  <a:lnTo>
                    <a:pt x="2532" y="822"/>
                  </a:lnTo>
                  <a:lnTo>
                    <a:pt x="2532" y="822"/>
                  </a:lnTo>
                  <a:lnTo>
                    <a:pt x="2536" y="822"/>
                  </a:lnTo>
                  <a:lnTo>
                    <a:pt x="2538" y="822"/>
                  </a:lnTo>
                  <a:lnTo>
                    <a:pt x="2538" y="822"/>
                  </a:lnTo>
                  <a:lnTo>
                    <a:pt x="2538" y="822"/>
                  </a:lnTo>
                  <a:lnTo>
                    <a:pt x="2536" y="820"/>
                  </a:lnTo>
                  <a:lnTo>
                    <a:pt x="2540" y="820"/>
                  </a:lnTo>
                  <a:lnTo>
                    <a:pt x="2543" y="820"/>
                  </a:lnTo>
                  <a:lnTo>
                    <a:pt x="2543" y="820"/>
                  </a:lnTo>
                  <a:lnTo>
                    <a:pt x="2545" y="820"/>
                  </a:lnTo>
                  <a:lnTo>
                    <a:pt x="2547" y="818"/>
                  </a:lnTo>
                  <a:lnTo>
                    <a:pt x="2547" y="818"/>
                  </a:lnTo>
                  <a:lnTo>
                    <a:pt x="2549" y="818"/>
                  </a:lnTo>
                  <a:lnTo>
                    <a:pt x="2551" y="818"/>
                  </a:lnTo>
                  <a:lnTo>
                    <a:pt x="2553" y="820"/>
                  </a:lnTo>
                  <a:lnTo>
                    <a:pt x="2555" y="820"/>
                  </a:lnTo>
                  <a:lnTo>
                    <a:pt x="2555" y="820"/>
                  </a:lnTo>
                  <a:lnTo>
                    <a:pt x="2559" y="820"/>
                  </a:lnTo>
                  <a:lnTo>
                    <a:pt x="2563" y="820"/>
                  </a:lnTo>
                  <a:lnTo>
                    <a:pt x="2569" y="820"/>
                  </a:lnTo>
                  <a:lnTo>
                    <a:pt x="2571" y="820"/>
                  </a:lnTo>
                  <a:lnTo>
                    <a:pt x="2571" y="820"/>
                  </a:lnTo>
                  <a:lnTo>
                    <a:pt x="2573" y="818"/>
                  </a:lnTo>
                  <a:lnTo>
                    <a:pt x="2576" y="818"/>
                  </a:lnTo>
                  <a:lnTo>
                    <a:pt x="2578" y="816"/>
                  </a:lnTo>
                  <a:lnTo>
                    <a:pt x="2580" y="818"/>
                  </a:lnTo>
                  <a:lnTo>
                    <a:pt x="2580" y="816"/>
                  </a:lnTo>
                  <a:lnTo>
                    <a:pt x="2582" y="814"/>
                  </a:lnTo>
                  <a:lnTo>
                    <a:pt x="2586" y="812"/>
                  </a:lnTo>
                  <a:lnTo>
                    <a:pt x="2586" y="812"/>
                  </a:lnTo>
                  <a:lnTo>
                    <a:pt x="2586" y="810"/>
                  </a:lnTo>
                  <a:lnTo>
                    <a:pt x="2586" y="810"/>
                  </a:lnTo>
                  <a:lnTo>
                    <a:pt x="2586" y="808"/>
                  </a:lnTo>
                  <a:lnTo>
                    <a:pt x="2584" y="808"/>
                  </a:lnTo>
                  <a:lnTo>
                    <a:pt x="2582" y="810"/>
                  </a:lnTo>
                  <a:lnTo>
                    <a:pt x="2580" y="810"/>
                  </a:lnTo>
                  <a:lnTo>
                    <a:pt x="2576" y="808"/>
                  </a:lnTo>
                  <a:lnTo>
                    <a:pt x="2576" y="808"/>
                  </a:lnTo>
                  <a:lnTo>
                    <a:pt x="2576" y="808"/>
                  </a:lnTo>
                  <a:lnTo>
                    <a:pt x="2573" y="805"/>
                  </a:lnTo>
                  <a:lnTo>
                    <a:pt x="2571" y="808"/>
                  </a:lnTo>
                  <a:lnTo>
                    <a:pt x="2573" y="805"/>
                  </a:lnTo>
                  <a:lnTo>
                    <a:pt x="2576" y="805"/>
                  </a:lnTo>
                  <a:lnTo>
                    <a:pt x="2576" y="805"/>
                  </a:lnTo>
                  <a:lnTo>
                    <a:pt x="2578" y="805"/>
                  </a:lnTo>
                  <a:lnTo>
                    <a:pt x="2580" y="805"/>
                  </a:lnTo>
                  <a:lnTo>
                    <a:pt x="2580" y="803"/>
                  </a:lnTo>
                  <a:lnTo>
                    <a:pt x="2580" y="803"/>
                  </a:lnTo>
                  <a:lnTo>
                    <a:pt x="2578" y="801"/>
                  </a:lnTo>
                  <a:lnTo>
                    <a:pt x="2580" y="801"/>
                  </a:lnTo>
                  <a:lnTo>
                    <a:pt x="2582" y="801"/>
                  </a:lnTo>
                  <a:lnTo>
                    <a:pt x="2584" y="801"/>
                  </a:lnTo>
                  <a:lnTo>
                    <a:pt x="2584" y="799"/>
                  </a:lnTo>
                  <a:lnTo>
                    <a:pt x="2584" y="799"/>
                  </a:lnTo>
                  <a:lnTo>
                    <a:pt x="2584" y="797"/>
                  </a:lnTo>
                  <a:lnTo>
                    <a:pt x="2584" y="797"/>
                  </a:lnTo>
                  <a:lnTo>
                    <a:pt x="2584" y="797"/>
                  </a:lnTo>
                  <a:lnTo>
                    <a:pt x="2586" y="797"/>
                  </a:lnTo>
                  <a:lnTo>
                    <a:pt x="2586" y="797"/>
                  </a:lnTo>
                  <a:lnTo>
                    <a:pt x="2588" y="795"/>
                  </a:lnTo>
                  <a:lnTo>
                    <a:pt x="2590" y="795"/>
                  </a:lnTo>
                  <a:lnTo>
                    <a:pt x="2590" y="793"/>
                  </a:lnTo>
                  <a:lnTo>
                    <a:pt x="2590" y="791"/>
                  </a:lnTo>
                  <a:lnTo>
                    <a:pt x="2590" y="789"/>
                  </a:lnTo>
                  <a:lnTo>
                    <a:pt x="2592" y="787"/>
                  </a:lnTo>
                  <a:lnTo>
                    <a:pt x="2592" y="785"/>
                  </a:lnTo>
                  <a:lnTo>
                    <a:pt x="2590" y="785"/>
                  </a:lnTo>
                  <a:lnTo>
                    <a:pt x="2590" y="783"/>
                  </a:lnTo>
                  <a:lnTo>
                    <a:pt x="2586" y="781"/>
                  </a:lnTo>
                  <a:lnTo>
                    <a:pt x="2584" y="779"/>
                  </a:lnTo>
                  <a:lnTo>
                    <a:pt x="2582" y="779"/>
                  </a:lnTo>
                  <a:lnTo>
                    <a:pt x="2580" y="779"/>
                  </a:lnTo>
                  <a:lnTo>
                    <a:pt x="2578" y="779"/>
                  </a:lnTo>
                  <a:lnTo>
                    <a:pt x="2576" y="779"/>
                  </a:lnTo>
                  <a:lnTo>
                    <a:pt x="2573" y="779"/>
                  </a:lnTo>
                  <a:lnTo>
                    <a:pt x="2573" y="779"/>
                  </a:lnTo>
                  <a:lnTo>
                    <a:pt x="2573" y="781"/>
                  </a:lnTo>
                  <a:lnTo>
                    <a:pt x="2571" y="781"/>
                  </a:lnTo>
                  <a:lnTo>
                    <a:pt x="2571" y="781"/>
                  </a:lnTo>
                  <a:lnTo>
                    <a:pt x="2569" y="781"/>
                  </a:lnTo>
                  <a:lnTo>
                    <a:pt x="2567" y="779"/>
                  </a:lnTo>
                  <a:lnTo>
                    <a:pt x="2567" y="779"/>
                  </a:lnTo>
                  <a:lnTo>
                    <a:pt x="2569" y="777"/>
                  </a:lnTo>
                  <a:lnTo>
                    <a:pt x="2571" y="777"/>
                  </a:lnTo>
                  <a:lnTo>
                    <a:pt x="2571" y="774"/>
                  </a:lnTo>
                  <a:lnTo>
                    <a:pt x="2569" y="770"/>
                  </a:lnTo>
                  <a:lnTo>
                    <a:pt x="2567" y="768"/>
                  </a:lnTo>
                  <a:lnTo>
                    <a:pt x="2563" y="764"/>
                  </a:lnTo>
                  <a:lnTo>
                    <a:pt x="2559" y="764"/>
                  </a:lnTo>
                  <a:lnTo>
                    <a:pt x="2557" y="764"/>
                  </a:lnTo>
                  <a:lnTo>
                    <a:pt x="2559" y="764"/>
                  </a:lnTo>
                  <a:lnTo>
                    <a:pt x="2559" y="764"/>
                  </a:lnTo>
                  <a:lnTo>
                    <a:pt x="2563" y="764"/>
                  </a:lnTo>
                  <a:lnTo>
                    <a:pt x="2563" y="764"/>
                  </a:lnTo>
                  <a:lnTo>
                    <a:pt x="2565" y="766"/>
                  </a:lnTo>
                  <a:lnTo>
                    <a:pt x="2565" y="766"/>
                  </a:lnTo>
                  <a:lnTo>
                    <a:pt x="2567" y="766"/>
                  </a:lnTo>
                  <a:lnTo>
                    <a:pt x="2567" y="766"/>
                  </a:lnTo>
                  <a:lnTo>
                    <a:pt x="2567" y="766"/>
                  </a:lnTo>
                  <a:lnTo>
                    <a:pt x="2567" y="764"/>
                  </a:lnTo>
                  <a:lnTo>
                    <a:pt x="2565" y="760"/>
                  </a:lnTo>
                  <a:lnTo>
                    <a:pt x="2563" y="760"/>
                  </a:lnTo>
                  <a:lnTo>
                    <a:pt x="2563" y="758"/>
                  </a:lnTo>
                  <a:lnTo>
                    <a:pt x="2563" y="756"/>
                  </a:lnTo>
                  <a:lnTo>
                    <a:pt x="2565" y="756"/>
                  </a:lnTo>
                  <a:lnTo>
                    <a:pt x="2563" y="754"/>
                  </a:lnTo>
                  <a:lnTo>
                    <a:pt x="2561" y="754"/>
                  </a:lnTo>
                  <a:lnTo>
                    <a:pt x="2559" y="752"/>
                  </a:lnTo>
                  <a:lnTo>
                    <a:pt x="2557" y="748"/>
                  </a:lnTo>
                  <a:lnTo>
                    <a:pt x="2555" y="748"/>
                  </a:lnTo>
                  <a:lnTo>
                    <a:pt x="2551" y="746"/>
                  </a:lnTo>
                  <a:lnTo>
                    <a:pt x="2549" y="746"/>
                  </a:lnTo>
                  <a:lnTo>
                    <a:pt x="2549" y="743"/>
                  </a:lnTo>
                  <a:lnTo>
                    <a:pt x="2547" y="739"/>
                  </a:lnTo>
                  <a:lnTo>
                    <a:pt x="2545" y="733"/>
                  </a:lnTo>
                  <a:lnTo>
                    <a:pt x="2543" y="729"/>
                  </a:lnTo>
                  <a:lnTo>
                    <a:pt x="2543" y="727"/>
                  </a:lnTo>
                  <a:lnTo>
                    <a:pt x="2543" y="727"/>
                  </a:lnTo>
                  <a:lnTo>
                    <a:pt x="2540" y="725"/>
                  </a:lnTo>
                  <a:lnTo>
                    <a:pt x="2538" y="723"/>
                  </a:lnTo>
                  <a:lnTo>
                    <a:pt x="2536" y="721"/>
                  </a:lnTo>
                  <a:lnTo>
                    <a:pt x="2530" y="719"/>
                  </a:lnTo>
                  <a:lnTo>
                    <a:pt x="2526" y="719"/>
                  </a:lnTo>
                  <a:lnTo>
                    <a:pt x="2524" y="721"/>
                  </a:lnTo>
                  <a:lnTo>
                    <a:pt x="2522" y="721"/>
                  </a:lnTo>
                  <a:lnTo>
                    <a:pt x="2516" y="719"/>
                  </a:lnTo>
                  <a:lnTo>
                    <a:pt x="2514" y="719"/>
                  </a:lnTo>
                  <a:lnTo>
                    <a:pt x="2512" y="717"/>
                  </a:lnTo>
                  <a:lnTo>
                    <a:pt x="2514" y="719"/>
                  </a:lnTo>
                  <a:lnTo>
                    <a:pt x="2516" y="719"/>
                  </a:lnTo>
                  <a:lnTo>
                    <a:pt x="2518" y="719"/>
                  </a:lnTo>
                  <a:lnTo>
                    <a:pt x="2520" y="719"/>
                  </a:lnTo>
                  <a:lnTo>
                    <a:pt x="2522" y="717"/>
                  </a:lnTo>
                  <a:lnTo>
                    <a:pt x="2524" y="715"/>
                  </a:lnTo>
                  <a:lnTo>
                    <a:pt x="2526" y="715"/>
                  </a:lnTo>
                  <a:lnTo>
                    <a:pt x="2528" y="715"/>
                  </a:lnTo>
                  <a:lnTo>
                    <a:pt x="2528" y="713"/>
                  </a:lnTo>
                  <a:lnTo>
                    <a:pt x="2526" y="710"/>
                  </a:lnTo>
                  <a:lnTo>
                    <a:pt x="2522" y="710"/>
                  </a:lnTo>
                  <a:lnTo>
                    <a:pt x="2520" y="713"/>
                  </a:lnTo>
                  <a:lnTo>
                    <a:pt x="2520" y="713"/>
                  </a:lnTo>
                  <a:lnTo>
                    <a:pt x="2520" y="710"/>
                  </a:lnTo>
                  <a:lnTo>
                    <a:pt x="2522" y="710"/>
                  </a:lnTo>
                  <a:lnTo>
                    <a:pt x="2522" y="710"/>
                  </a:lnTo>
                  <a:lnTo>
                    <a:pt x="2526" y="710"/>
                  </a:lnTo>
                  <a:lnTo>
                    <a:pt x="2528" y="708"/>
                  </a:lnTo>
                  <a:lnTo>
                    <a:pt x="2530" y="708"/>
                  </a:lnTo>
                  <a:lnTo>
                    <a:pt x="2530" y="706"/>
                  </a:lnTo>
                  <a:lnTo>
                    <a:pt x="2532" y="704"/>
                  </a:lnTo>
                  <a:lnTo>
                    <a:pt x="2534" y="702"/>
                  </a:lnTo>
                  <a:lnTo>
                    <a:pt x="2536" y="696"/>
                  </a:lnTo>
                  <a:lnTo>
                    <a:pt x="2536" y="696"/>
                  </a:lnTo>
                  <a:lnTo>
                    <a:pt x="2536" y="694"/>
                  </a:lnTo>
                  <a:lnTo>
                    <a:pt x="2538" y="694"/>
                  </a:lnTo>
                  <a:lnTo>
                    <a:pt x="2538" y="692"/>
                  </a:lnTo>
                  <a:lnTo>
                    <a:pt x="2540" y="690"/>
                  </a:lnTo>
                  <a:lnTo>
                    <a:pt x="2540" y="690"/>
                  </a:lnTo>
                  <a:lnTo>
                    <a:pt x="2540" y="690"/>
                  </a:lnTo>
                  <a:lnTo>
                    <a:pt x="2540" y="686"/>
                  </a:lnTo>
                  <a:lnTo>
                    <a:pt x="2538" y="686"/>
                  </a:lnTo>
                  <a:lnTo>
                    <a:pt x="2536" y="686"/>
                  </a:lnTo>
                  <a:lnTo>
                    <a:pt x="2534" y="686"/>
                  </a:lnTo>
                  <a:lnTo>
                    <a:pt x="2526" y="686"/>
                  </a:lnTo>
                  <a:lnTo>
                    <a:pt x="2524" y="686"/>
                  </a:lnTo>
                  <a:lnTo>
                    <a:pt x="2524" y="686"/>
                  </a:lnTo>
                  <a:lnTo>
                    <a:pt x="2522" y="686"/>
                  </a:lnTo>
                  <a:lnTo>
                    <a:pt x="2520" y="684"/>
                  </a:lnTo>
                  <a:lnTo>
                    <a:pt x="2518" y="686"/>
                  </a:lnTo>
                  <a:lnTo>
                    <a:pt x="2514" y="686"/>
                  </a:lnTo>
                  <a:lnTo>
                    <a:pt x="2512" y="688"/>
                  </a:lnTo>
                  <a:lnTo>
                    <a:pt x="2510" y="688"/>
                  </a:lnTo>
                  <a:lnTo>
                    <a:pt x="2507" y="688"/>
                  </a:lnTo>
                  <a:lnTo>
                    <a:pt x="2507" y="686"/>
                  </a:lnTo>
                  <a:lnTo>
                    <a:pt x="2512" y="684"/>
                  </a:lnTo>
                  <a:lnTo>
                    <a:pt x="2512" y="682"/>
                  </a:lnTo>
                  <a:lnTo>
                    <a:pt x="2512" y="682"/>
                  </a:lnTo>
                  <a:lnTo>
                    <a:pt x="2510" y="682"/>
                  </a:lnTo>
                  <a:lnTo>
                    <a:pt x="2510" y="679"/>
                  </a:lnTo>
                  <a:lnTo>
                    <a:pt x="2510" y="679"/>
                  </a:lnTo>
                  <a:lnTo>
                    <a:pt x="2512" y="677"/>
                  </a:lnTo>
                  <a:lnTo>
                    <a:pt x="2518" y="673"/>
                  </a:lnTo>
                  <a:lnTo>
                    <a:pt x="2520" y="671"/>
                  </a:lnTo>
                  <a:lnTo>
                    <a:pt x="2522" y="671"/>
                  </a:lnTo>
                  <a:lnTo>
                    <a:pt x="2522" y="671"/>
                  </a:lnTo>
                  <a:lnTo>
                    <a:pt x="2522" y="669"/>
                  </a:lnTo>
                  <a:lnTo>
                    <a:pt x="2522" y="667"/>
                  </a:lnTo>
                  <a:lnTo>
                    <a:pt x="2522" y="667"/>
                  </a:lnTo>
                  <a:lnTo>
                    <a:pt x="2522" y="665"/>
                  </a:lnTo>
                  <a:lnTo>
                    <a:pt x="2522" y="665"/>
                  </a:lnTo>
                  <a:lnTo>
                    <a:pt x="2520" y="665"/>
                  </a:lnTo>
                  <a:lnTo>
                    <a:pt x="2518" y="665"/>
                  </a:lnTo>
                  <a:lnTo>
                    <a:pt x="2514" y="667"/>
                  </a:lnTo>
                  <a:lnTo>
                    <a:pt x="2512" y="667"/>
                  </a:lnTo>
                  <a:lnTo>
                    <a:pt x="2507" y="667"/>
                  </a:lnTo>
                  <a:lnTo>
                    <a:pt x="2503" y="667"/>
                  </a:lnTo>
                  <a:lnTo>
                    <a:pt x="2501" y="667"/>
                  </a:lnTo>
                  <a:lnTo>
                    <a:pt x="2501" y="667"/>
                  </a:lnTo>
                  <a:lnTo>
                    <a:pt x="2499" y="667"/>
                  </a:lnTo>
                  <a:lnTo>
                    <a:pt x="2499" y="669"/>
                  </a:lnTo>
                  <a:lnTo>
                    <a:pt x="2499" y="667"/>
                  </a:lnTo>
                  <a:lnTo>
                    <a:pt x="2497" y="667"/>
                  </a:lnTo>
                  <a:lnTo>
                    <a:pt x="2495" y="667"/>
                  </a:lnTo>
                  <a:lnTo>
                    <a:pt x="2495" y="667"/>
                  </a:lnTo>
                  <a:lnTo>
                    <a:pt x="2495" y="667"/>
                  </a:lnTo>
                  <a:lnTo>
                    <a:pt x="2495" y="667"/>
                  </a:lnTo>
                  <a:lnTo>
                    <a:pt x="2493" y="669"/>
                  </a:lnTo>
                  <a:lnTo>
                    <a:pt x="2493" y="669"/>
                  </a:lnTo>
                  <a:lnTo>
                    <a:pt x="2493" y="671"/>
                  </a:lnTo>
                  <a:lnTo>
                    <a:pt x="2493" y="671"/>
                  </a:lnTo>
                  <a:lnTo>
                    <a:pt x="2495" y="673"/>
                  </a:lnTo>
                  <a:lnTo>
                    <a:pt x="2495" y="673"/>
                  </a:lnTo>
                  <a:lnTo>
                    <a:pt x="2495" y="673"/>
                  </a:lnTo>
                  <a:lnTo>
                    <a:pt x="2491" y="673"/>
                  </a:lnTo>
                  <a:lnTo>
                    <a:pt x="2491" y="673"/>
                  </a:lnTo>
                  <a:lnTo>
                    <a:pt x="2491" y="675"/>
                  </a:lnTo>
                  <a:lnTo>
                    <a:pt x="2491" y="675"/>
                  </a:lnTo>
                  <a:lnTo>
                    <a:pt x="2491" y="675"/>
                  </a:lnTo>
                  <a:lnTo>
                    <a:pt x="2489" y="677"/>
                  </a:lnTo>
                  <a:lnTo>
                    <a:pt x="2489" y="677"/>
                  </a:lnTo>
                  <a:lnTo>
                    <a:pt x="2493" y="682"/>
                  </a:lnTo>
                  <a:lnTo>
                    <a:pt x="2493" y="682"/>
                  </a:lnTo>
                  <a:lnTo>
                    <a:pt x="2491" y="682"/>
                  </a:lnTo>
                  <a:lnTo>
                    <a:pt x="2491" y="682"/>
                  </a:lnTo>
                  <a:lnTo>
                    <a:pt x="2491" y="682"/>
                  </a:lnTo>
                  <a:lnTo>
                    <a:pt x="2487" y="682"/>
                  </a:lnTo>
                  <a:lnTo>
                    <a:pt x="2485" y="682"/>
                  </a:lnTo>
                  <a:lnTo>
                    <a:pt x="2485" y="684"/>
                  </a:lnTo>
                  <a:lnTo>
                    <a:pt x="2485" y="686"/>
                  </a:lnTo>
                  <a:lnTo>
                    <a:pt x="2485" y="686"/>
                  </a:lnTo>
                  <a:lnTo>
                    <a:pt x="2485" y="688"/>
                  </a:lnTo>
                  <a:lnTo>
                    <a:pt x="2485" y="688"/>
                  </a:lnTo>
                  <a:lnTo>
                    <a:pt x="2487" y="688"/>
                  </a:lnTo>
                  <a:lnTo>
                    <a:pt x="2485" y="688"/>
                  </a:lnTo>
                  <a:lnTo>
                    <a:pt x="2485" y="690"/>
                  </a:lnTo>
                  <a:lnTo>
                    <a:pt x="2483" y="690"/>
                  </a:lnTo>
                  <a:lnTo>
                    <a:pt x="2483" y="690"/>
                  </a:lnTo>
                  <a:lnTo>
                    <a:pt x="2483" y="692"/>
                  </a:lnTo>
                  <a:lnTo>
                    <a:pt x="2485" y="692"/>
                  </a:lnTo>
                  <a:close/>
                  <a:moveTo>
                    <a:pt x="2520" y="663"/>
                  </a:moveTo>
                  <a:lnTo>
                    <a:pt x="2520" y="663"/>
                  </a:lnTo>
                  <a:lnTo>
                    <a:pt x="2522" y="663"/>
                  </a:lnTo>
                  <a:lnTo>
                    <a:pt x="2522" y="663"/>
                  </a:lnTo>
                  <a:lnTo>
                    <a:pt x="2520" y="661"/>
                  </a:lnTo>
                  <a:lnTo>
                    <a:pt x="2520" y="661"/>
                  </a:lnTo>
                  <a:lnTo>
                    <a:pt x="2520" y="661"/>
                  </a:lnTo>
                  <a:lnTo>
                    <a:pt x="2520" y="661"/>
                  </a:lnTo>
                  <a:lnTo>
                    <a:pt x="2518" y="659"/>
                  </a:lnTo>
                  <a:lnTo>
                    <a:pt x="2518" y="661"/>
                  </a:lnTo>
                  <a:lnTo>
                    <a:pt x="2518" y="661"/>
                  </a:lnTo>
                  <a:lnTo>
                    <a:pt x="2518" y="661"/>
                  </a:lnTo>
                  <a:lnTo>
                    <a:pt x="2520" y="663"/>
                  </a:lnTo>
                  <a:close/>
                  <a:moveTo>
                    <a:pt x="2551" y="626"/>
                  </a:moveTo>
                  <a:lnTo>
                    <a:pt x="2551" y="626"/>
                  </a:lnTo>
                  <a:lnTo>
                    <a:pt x="2551" y="624"/>
                  </a:lnTo>
                  <a:lnTo>
                    <a:pt x="2551" y="624"/>
                  </a:lnTo>
                  <a:lnTo>
                    <a:pt x="2551" y="624"/>
                  </a:lnTo>
                  <a:lnTo>
                    <a:pt x="2553" y="624"/>
                  </a:lnTo>
                  <a:lnTo>
                    <a:pt x="2553" y="622"/>
                  </a:lnTo>
                  <a:lnTo>
                    <a:pt x="2553" y="622"/>
                  </a:lnTo>
                  <a:lnTo>
                    <a:pt x="2551" y="622"/>
                  </a:lnTo>
                  <a:lnTo>
                    <a:pt x="2549" y="624"/>
                  </a:lnTo>
                  <a:lnTo>
                    <a:pt x="2551" y="626"/>
                  </a:lnTo>
                  <a:lnTo>
                    <a:pt x="2551" y="626"/>
                  </a:lnTo>
                  <a:close/>
                  <a:moveTo>
                    <a:pt x="2547" y="820"/>
                  </a:moveTo>
                  <a:lnTo>
                    <a:pt x="2547" y="820"/>
                  </a:lnTo>
                  <a:lnTo>
                    <a:pt x="2545" y="822"/>
                  </a:lnTo>
                  <a:lnTo>
                    <a:pt x="2545" y="822"/>
                  </a:lnTo>
                  <a:lnTo>
                    <a:pt x="2545" y="822"/>
                  </a:lnTo>
                  <a:lnTo>
                    <a:pt x="2549" y="824"/>
                  </a:lnTo>
                  <a:lnTo>
                    <a:pt x="2549" y="824"/>
                  </a:lnTo>
                  <a:lnTo>
                    <a:pt x="2549" y="822"/>
                  </a:lnTo>
                  <a:lnTo>
                    <a:pt x="2549" y="822"/>
                  </a:lnTo>
                  <a:lnTo>
                    <a:pt x="2551" y="822"/>
                  </a:lnTo>
                  <a:lnTo>
                    <a:pt x="2551" y="822"/>
                  </a:lnTo>
                  <a:lnTo>
                    <a:pt x="2551" y="820"/>
                  </a:lnTo>
                  <a:lnTo>
                    <a:pt x="2547" y="820"/>
                  </a:lnTo>
                  <a:close/>
                  <a:moveTo>
                    <a:pt x="2524" y="653"/>
                  </a:moveTo>
                  <a:lnTo>
                    <a:pt x="2526" y="653"/>
                  </a:lnTo>
                  <a:lnTo>
                    <a:pt x="2526" y="655"/>
                  </a:lnTo>
                  <a:lnTo>
                    <a:pt x="2526" y="655"/>
                  </a:lnTo>
                  <a:lnTo>
                    <a:pt x="2528" y="655"/>
                  </a:lnTo>
                  <a:lnTo>
                    <a:pt x="2528" y="653"/>
                  </a:lnTo>
                  <a:lnTo>
                    <a:pt x="2528" y="653"/>
                  </a:lnTo>
                  <a:lnTo>
                    <a:pt x="2526" y="653"/>
                  </a:lnTo>
                  <a:lnTo>
                    <a:pt x="2526" y="653"/>
                  </a:lnTo>
                  <a:lnTo>
                    <a:pt x="2524" y="651"/>
                  </a:lnTo>
                  <a:lnTo>
                    <a:pt x="2524" y="651"/>
                  </a:lnTo>
                  <a:lnTo>
                    <a:pt x="2522" y="651"/>
                  </a:lnTo>
                  <a:lnTo>
                    <a:pt x="2524" y="653"/>
                  </a:lnTo>
                  <a:lnTo>
                    <a:pt x="2524" y="653"/>
                  </a:lnTo>
                  <a:close/>
                  <a:moveTo>
                    <a:pt x="2532" y="653"/>
                  </a:moveTo>
                  <a:lnTo>
                    <a:pt x="2532" y="653"/>
                  </a:lnTo>
                  <a:lnTo>
                    <a:pt x="2530" y="653"/>
                  </a:lnTo>
                  <a:lnTo>
                    <a:pt x="2530" y="653"/>
                  </a:lnTo>
                  <a:lnTo>
                    <a:pt x="2528" y="653"/>
                  </a:lnTo>
                  <a:lnTo>
                    <a:pt x="2530" y="653"/>
                  </a:lnTo>
                  <a:lnTo>
                    <a:pt x="2532" y="653"/>
                  </a:lnTo>
                  <a:close/>
                  <a:moveTo>
                    <a:pt x="2543" y="632"/>
                  </a:moveTo>
                  <a:lnTo>
                    <a:pt x="2543" y="632"/>
                  </a:lnTo>
                  <a:lnTo>
                    <a:pt x="2545" y="632"/>
                  </a:lnTo>
                  <a:lnTo>
                    <a:pt x="2545" y="632"/>
                  </a:lnTo>
                  <a:lnTo>
                    <a:pt x="2545" y="632"/>
                  </a:lnTo>
                  <a:lnTo>
                    <a:pt x="2545" y="634"/>
                  </a:lnTo>
                  <a:lnTo>
                    <a:pt x="2547" y="634"/>
                  </a:lnTo>
                  <a:lnTo>
                    <a:pt x="2547" y="634"/>
                  </a:lnTo>
                  <a:lnTo>
                    <a:pt x="2549" y="634"/>
                  </a:lnTo>
                  <a:lnTo>
                    <a:pt x="2549" y="634"/>
                  </a:lnTo>
                  <a:lnTo>
                    <a:pt x="2549" y="636"/>
                  </a:lnTo>
                  <a:lnTo>
                    <a:pt x="2547" y="638"/>
                  </a:lnTo>
                  <a:lnTo>
                    <a:pt x="2549" y="640"/>
                  </a:lnTo>
                  <a:lnTo>
                    <a:pt x="2549" y="640"/>
                  </a:lnTo>
                  <a:lnTo>
                    <a:pt x="2549" y="638"/>
                  </a:lnTo>
                  <a:lnTo>
                    <a:pt x="2549" y="636"/>
                  </a:lnTo>
                  <a:lnTo>
                    <a:pt x="2549" y="634"/>
                  </a:lnTo>
                  <a:lnTo>
                    <a:pt x="2549" y="634"/>
                  </a:lnTo>
                  <a:lnTo>
                    <a:pt x="2551" y="634"/>
                  </a:lnTo>
                  <a:lnTo>
                    <a:pt x="2551" y="632"/>
                  </a:lnTo>
                  <a:lnTo>
                    <a:pt x="2551" y="630"/>
                  </a:lnTo>
                  <a:lnTo>
                    <a:pt x="2551" y="628"/>
                  </a:lnTo>
                  <a:lnTo>
                    <a:pt x="2551" y="628"/>
                  </a:lnTo>
                  <a:lnTo>
                    <a:pt x="2551" y="628"/>
                  </a:lnTo>
                  <a:lnTo>
                    <a:pt x="2549" y="626"/>
                  </a:lnTo>
                  <a:lnTo>
                    <a:pt x="2549" y="628"/>
                  </a:lnTo>
                  <a:lnTo>
                    <a:pt x="2547" y="626"/>
                  </a:lnTo>
                  <a:lnTo>
                    <a:pt x="2549" y="624"/>
                  </a:lnTo>
                  <a:lnTo>
                    <a:pt x="2547" y="624"/>
                  </a:lnTo>
                  <a:lnTo>
                    <a:pt x="2547" y="624"/>
                  </a:lnTo>
                  <a:lnTo>
                    <a:pt x="2545" y="626"/>
                  </a:lnTo>
                  <a:lnTo>
                    <a:pt x="2545" y="626"/>
                  </a:lnTo>
                  <a:lnTo>
                    <a:pt x="2545" y="626"/>
                  </a:lnTo>
                  <a:lnTo>
                    <a:pt x="2545" y="628"/>
                  </a:lnTo>
                  <a:lnTo>
                    <a:pt x="2547" y="628"/>
                  </a:lnTo>
                  <a:lnTo>
                    <a:pt x="2547" y="630"/>
                  </a:lnTo>
                  <a:lnTo>
                    <a:pt x="2545" y="630"/>
                  </a:lnTo>
                  <a:lnTo>
                    <a:pt x="2545" y="630"/>
                  </a:lnTo>
                  <a:lnTo>
                    <a:pt x="2543" y="632"/>
                  </a:lnTo>
                  <a:lnTo>
                    <a:pt x="2543" y="632"/>
                  </a:lnTo>
                  <a:lnTo>
                    <a:pt x="2543" y="632"/>
                  </a:lnTo>
                  <a:close/>
                  <a:moveTo>
                    <a:pt x="2520" y="659"/>
                  </a:moveTo>
                  <a:lnTo>
                    <a:pt x="2520" y="659"/>
                  </a:lnTo>
                  <a:lnTo>
                    <a:pt x="2520" y="659"/>
                  </a:lnTo>
                  <a:lnTo>
                    <a:pt x="2520" y="659"/>
                  </a:lnTo>
                  <a:lnTo>
                    <a:pt x="2520" y="659"/>
                  </a:lnTo>
                  <a:lnTo>
                    <a:pt x="2520" y="659"/>
                  </a:lnTo>
                  <a:lnTo>
                    <a:pt x="2520" y="659"/>
                  </a:lnTo>
                  <a:lnTo>
                    <a:pt x="2522" y="659"/>
                  </a:lnTo>
                  <a:lnTo>
                    <a:pt x="2524" y="659"/>
                  </a:lnTo>
                  <a:lnTo>
                    <a:pt x="2526" y="661"/>
                  </a:lnTo>
                  <a:lnTo>
                    <a:pt x="2526" y="661"/>
                  </a:lnTo>
                  <a:lnTo>
                    <a:pt x="2526" y="661"/>
                  </a:lnTo>
                  <a:lnTo>
                    <a:pt x="2526" y="659"/>
                  </a:lnTo>
                  <a:lnTo>
                    <a:pt x="2526" y="659"/>
                  </a:lnTo>
                  <a:lnTo>
                    <a:pt x="2526" y="659"/>
                  </a:lnTo>
                  <a:lnTo>
                    <a:pt x="2524" y="659"/>
                  </a:lnTo>
                  <a:lnTo>
                    <a:pt x="2522" y="659"/>
                  </a:lnTo>
                  <a:lnTo>
                    <a:pt x="2522" y="657"/>
                  </a:lnTo>
                  <a:lnTo>
                    <a:pt x="2524" y="657"/>
                  </a:lnTo>
                  <a:lnTo>
                    <a:pt x="2524" y="657"/>
                  </a:lnTo>
                  <a:lnTo>
                    <a:pt x="2522" y="657"/>
                  </a:lnTo>
                  <a:lnTo>
                    <a:pt x="2522" y="655"/>
                  </a:lnTo>
                  <a:lnTo>
                    <a:pt x="2520" y="655"/>
                  </a:lnTo>
                  <a:lnTo>
                    <a:pt x="2520" y="655"/>
                  </a:lnTo>
                  <a:lnTo>
                    <a:pt x="2518" y="657"/>
                  </a:lnTo>
                  <a:lnTo>
                    <a:pt x="2518" y="657"/>
                  </a:lnTo>
                  <a:lnTo>
                    <a:pt x="2518" y="659"/>
                  </a:lnTo>
                  <a:lnTo>
                    <a:pt x="2520" y="659"/>
                  </a:lnTo>
                  <a:close/>
                  <a:moveTo>
                    <a:pt x="2528" y="845"/>
                  </a:moveTo>
                  <a:lnTo>
                    <a:pt x="2528" y="845"/>
                  </a:lnTo>
                  <a:lnTo>
                    <a:pt x="2530" y="845"/>
                  </a:lnTo>
                  <a:lnTo>
                    <a:pt x="2530" y="843"/>
                  </a:lnTo>
                  <a:lnTo>
                    <a:pt x="2530" y="843"/>
                  </a:lnTo>
                  <a:lnTo>
                    <a:pt x="2530" y="843"/>
                  </a:lnTo>
                  <a:lnTo>
                    <a:pt x="2528" y="845"/>
                  </a:lnTo>
                  <a:close/>
                  <a:moveTo>
                    <a:pt x="2534" y="847"/>
                  </a:moveTo>
                  <a:lnTo>
                    <a:pt x="2534" y="849"/>
                  </a:lnTo>
                  <a:lnTo>
                    <a:pt x="2536" y="849"/>
                  </a:lnTo>
                  <a:lnTo>
                    <a:pt x="2536" y="849"/>
                  </a:lnTo>
                  <a:lnTo>
                    <a:pt x="2536" y="849"/>
                  </a:lnTo>
                  <a:lnTo>
                    <a:pt x="2538" y="849"/>
                  </a:lnTo>
                  <a:lnTo>
                    <a:pt x="2538" y="849"/>
                  </a:lnTo>
                  <a:lnTo>
                    <a:pt x="2536" y="847"/>
                  </a:lnTo>
                  <a:lnTo>
                    <a:pt x="2534" y="847"/>
                  </a:lnTo>
                  <a:close/>
                  <a:moveTo>
                    <a:pt x="2477" y="698"/>
                  </a:moveTo>
                  <a:lnTo>
                    <a:pt x="2477" y="698"/>
                  </a:lnTo>
                  <a:lnTo>
                    <a:pt x="2474" y="698"/>
                  </a:lnTo>
                  <a:lnTo>
                    <a:pt x="2474" y="700"/>
                  </a:lnTo>
                  <a:lnTo>
                    <a:pt x="2477" y="700"/>
                  </a:lnTo>
                  <a:lnTo>
                    <a:pt x="2477" y="700"/>
                  </a:lnTo>
                  <a:lnTo>
                    <a:pt x="2477" y="700"/>
                  </a:lnTo>
                  <a:lnTo>
                    <a:pt x="2477" y="700"/>
                  </a:lnTo>
                  <a:lnTo>
                    <a:pt x="2477" y="698"/>
                  </a:lnTo>
                  <a:lnTo>
                    <a:pt x="2477" y="698"/>
                  </a:lnTo>
                  <a:close/>
                  <a:moveTo>
                    <a:pt x="2481" y="723"/>
                  </a:moveTo>
                  <a:lnTo>
                    <a:pt x="2481" y="723"/>
                  </a:lnTo>
                  <a:lnTo>
                    <a:pt x="2483" y="719"/>
                  </a:lnTo>
                  <a:lnTo>
                    <a:pt x="2485" y="717"/>
                  </a:lnTo>
                  <a:lnTo>
                    <a:pt x="2485" y="717"/>
                  </a:lnTo>
                  <a:lnTo>
                    <a:pt x="2483" y="717"/>
                  </a:lnTo>
                  <a:lnTo>
                    <a:pt x="2481" y="719"/>
                  </a:lnTo>
                  <a:lnTo>
                    <a:pt x="2481" y="719"/>
                  </a:lnTo>
                  <a:lnTo>
                    <a:pt x="2481" y="719"/>
                  </a:lnTo>
                  <a:lnTo>
                    <a:pt x="2483" y="719"/>
                  </a:lnTo>
                  <a:lnTo>
                    <a:pt x="2481" y="721"/>
                  </a:lnTo>
                  <a:lnTo>
                    <a:pt x="2481" y="721"/>
                  </a:lnTo>
                  <a:lnTo>
                    <a:pt x="2481" y="723"/>
                  </a:lnTo>
                  <a:lnTo>
                    <a:pt x="2481" y="723"/>
                  </a:lnTo>
                  <a:lnTo>
                    <a:pt x="2481" y="723"/>
                  </a:lnTo>
                  <a:lnTo>
                    <a:pt x="2481" y="723"/>
                  </a:lnTo>
                  <a:close/>
                  <a:moveTo>
                    <a:pt x="2477" y="686"/>
                  </a:moveTo>
                  <a:lnTo>
                    <a:pt x="2477" y="686"/>
                  </a:lnTo>
                  <a:lnTo>
                    <a:pt x="2474" y="688"/>
                  </a:lnTo>
                  <a:lnTo>
                    <a:pt x="2472" y="688"/>
                  </a:lnTo>
                  <a:lnTo>
                    <a:pt x="2472" y="688"/>
                  </a:lnTo>
                  <a:lnTo>
                    <a:pt x="2472" y="688"/>
                  </a:lnTo>
                  <a:lnTo>
                    <a:pt x="2472" y="688"/>
                  </a:lnTo>
                  <a:lnTo>
                    <a:pt x="2472" y="690"/>
                  </a:lnTo>
                  <a:lnTo>
                    <a:pt x="2472" y="690"/>
                  </a:lnTo>
                  <a:lnTo>
                    <a:pt x="2470" y="690"/>
                  </a:lnTo>
                  <a:lnTo>
                    <a:pt x="2470" y="690"/>
                  </a:lnTo>
                  <a:lnTo>
                    <a:pt x="2470" y="690"/>
                  </a:lnTo>
                  <a:lnTo>
                    <a:pt x="2470" y="690"/>
                  </a:lnTo>
                  <a:lnTo>
                    <a:pt x="2470" y="692"/>
                  </a:lnTo>
                  <a:lnTo>
                    <a:pt x="2474" y="692"/>
                  </a:lnTo>
                  <a:lnTo>
                    <a:pt x="2477" y="694"/>
                  </a:lnTo>
                  <a:lnTo>
                    <a:pt x="2477" y="694"/>
                  </a:lnTo>
                  <a:lnTo>
                    <a:pt x="2477" y="696"/>
                  </a:lnTo>
                  <a:lnTo>
                    <a:pt x="2479" y="696"/>
                  </a:lnTo>
                  <a:lnTo>
                    <a:pt x="2481" y="694"/>
                  </a:lnTo>
                  <a:lnTo>
                    <a:pt x="2481" y="698"/>
                  </a:lnTo>
                  <a:lnTo>
                    <a:pt x="2481" y="698"/>
                  </a:lnTo>
                  <a:lnTo>
                    <a:pt x="2481" y="698"/>
                  </a:lnTo>
                  <a:lnTo>
                    <a:pt x="2483" y="698"/>
                  </a:lnTo>
                  <a:lnTo>
                    <a:pt x="2483" y="696"/>
                  </a:lnTo>
                  <a:lnTo>
                    <a:pt x="2485" y="696"/>
                  </a:lnTo>
                  <a:lnTo>
                    <a:pt x="2485" y="694"/>
                  </a:lnTo>
                  <a:lnTo>
                    <a:pt x="2485" y="694"/>
                  </a:lnTo>
                  <a:lnTo>
                    <a:pt x="2485" y="694"/>
                  </a:lnTo>
                  <a:lnTo>
                    <a:pt x="2483" y="694"/>
                  </a:lnTo>
                  <a:lnTo>
                    <a:pt x="2481" y="694"/>
                  </a:lnTo>
                  <a:lnTo>
                    <a:pt x="2479" y="694"/>
                  </a:lnTo>
                  <a:lnTo>
                    <a:pt x="2479" y="692"/>
                  </a:lnTo>
                  <a:lnTo>
                    <a:pt x="2479" y="692"/>
                  </a:lnTo>
                  <a:lnTo>
                    <a:pt x="2479" y="690"/>
                  </a:lnTo>
                  <a:lnTo>
                    <a:pt x="2479" y="690"/>
                  </a:lnTo>
                  <a:lnTo>
                    <a:pt x="2479" y="690"/>
                  </a:lnTo>
                  <a:lnTo>
                    <a:pt x="2479" y="688"/>
                  </a:lnTo>
                  <a:lnTo>
                    <a:pt x="2477" y="686"/>
                  </a:lnTo>
                  <a:lnTo>
                    <a:pt x="2477" y="686"/>
                  </a:lnTo>
                  <a:close/>
                  <a:moveTo>
                    <a:pt x="2491" y="729"/>
                  </a:moveTo>
                  <a:lnTo>
                    <a:pt x="2491" y="729"/>
                  </a:lnTo>
                  <a:lnTo>
                    <a:pt x="2493" y="729"/>
                  </a:lnTo>
                  <a:lnTo>
                    <a:pt x="2493" y="729"/>
                  </a:lnTo>
                  <a:lnTo>
                    <a:pt x="2493" y="727"/>
                  </a:lnTo>
                  <a:lnTo>
                    <a:pt x="2493" y="725"/>
                  </a:lnTo>
                  <a:lnTo>
                    <a:pt x="2493" y="725"/>
                  </a:lnTo>
                  <a:lnTo>
                    <a:pt x="2491" y="725"/>
                  </a:lnTo>
                  <a:lnTo>
                    <a:pt x="2491" y="725"/>
                  </a:lnTo>
                  <a:lnTo>
                    <a:pt x="2491" y="725"/>
                  </a:lnTo>
                  <a:lnTo>
                    <a:pt x="2489" y="725"/>
                  </a:lnTo>
                  <a:lnTo>
                    <a:pt x="2489" y="727"/>
                  </a:lnTo>
                  <a:lnTo>
                    <a:pt x="2491" y="729"/>
                  </a:lnTo>
                  <a:lnTo>
                    <a:pt x="2491" y="729"/>
                  </a:lnTo>
                  <a:close/>
                  <a:moveTo>
                    <a:pt x="2477" y="713"/>
                  </a:moveTo>
                  <a:lnTo>
                    <a:pt x="2477" y="713"/>
                  </a:lnTo>
                  <a:lnTo>
                    <a:pt x="2477" y="713"/>
                  </a:lnTo>
                  <a:lnTo>
                    <a:pt x="2479" y="713"/>
                  </a:lnTo>
                  <a:lnTo>
                    <a:pt x="2485" y="713"/>
                  </a:lnTo>
                  <a:lnTo>
                    <a:pt x="2485" y="708"/>
                  </a:lnTo>
                  <a:lnTo>
                    <a:pt x="2483" y="708"/>
                  </a:lnTo>
                  <a:lnTo>
                    <a:pt x="2481" y="708"/>
                  </a:lnTo>
                  <a:lnTo>
                    <a:pt x="2481" y="706"/>
                  </a:lnTo>
                  <a:lnTo>
                    <a:pt x="2479" y="706"/>
                  </a:lnTo>
                  <a:lnTo>
                    <a:pt x="2479" y="706"/>
                  </a:lnTo>
                  <a:lnTo>
                    <a:pt x="2479" y="706"/>
                  </a:lnTo>
                  <a:lnTo>
                    <a:pt x="2477" y="706"/>
                  </a:lnTo>
                  <a:lnTo>
                    <a:pt x="2477" y="706"/>
                  </a:lnTo>
                  <a:lnTo>
                    <a:pt x="2477" y="708"/>
                  </a:lnTo>
                  <a:lnTo>
                    <a:pt x="2477" y="708"/>
                  </a:lnTo>
                  <a:lnTo>
                    <a:pt x="2479" y="708"/>
                  </a:lnTo>
                  <a:lnTo>
                    <a:pt x="2479" y="713"/>
                  </a:lnTo>
                  <a:lnTo>
                    <a:pt x="2477" y="713"/>
                  </a:lnTo>
                  <a:close/>
                  <a:moveTo>
                    <a:pt x="2501" y="770"/>
                  </a:moveTo>
                  <a:lnTo>
                    <a:pt x="2501" y="772"/>
                  </a:lnTo>
                  <a:lnTo>
                    <a:pt x="2503" y="774"/>
                  </a:lnTo>
                  <a:lnTo>
                    <a:pt x="2503" y="774"/>
                  </a:lnTo>
                  <a:lnTo>
                    <a:pt x="2503" y="774"/>
                  </a:lnTo>
                  <a:lnTo>
                    <a:pt x="2505" y="774"/>
                  </a:lnTo>
                  <a:lnTo>
                    <a:pt x="2507" y="774"/>
                  </a:lnTo>
                  <a:lnTo>
                    <a:pt x="2507" y="772"/>
                  </a:lnTo>
                  <a:lnTo>
                    <a:pt x="2510" y="772"/>
                  </a:lnTo>
                  <a:lnTo>
                    <a:pt x="2507" y="772"/>
                  </a:lnTo>
                  <a:lnTo>
                    <a:pt x="2507" y="772"/>
                  </a:lnTo>
                  <a:lnTo>
                    <a:pt x="2505" y="770"/>
                  </a:lnTo>
                  <a:lnTo>
                    <a:pt x="2503" y="770"/>
                  </a:lnTo>
                  <a:lnTo>
                    <a:pt x="2501" y="770"/>
                  </a:lnTo>
                  <a:close/>
                  <a:moveTo>
                    <a:pt x="2503" y="750"/>
                  </a:moveTo>
                  <a:lnTo>
                    <a:pt x="2503" y="750"/>
                  </a:lnTo>
                  <a:lnTo>
                    <a:pt x="2501" y="752"/>
                  </a:lnTo>
                  <a:lnTo>
                    <a:pt x="2501" y="754"/>
                  </a:lnTo>
                  <a:lnTo>
                    <a:pt x="2499" y="754"/>
                  </a:lnTo>
                  <a:lnTo>
                    <a:pt x="2499" y="756"/>
                  </a:lnTo>
                  <a:lnTo>
                    <a:pt x="2497" y="758"/>
                  </a:lnTo>
                  <a:lnTo>
                    <a:pt x="2499" y="758"/>
                  </a:lnTo>
                  <a:lnTo>
                    <a:pt x="2499" y="756"/>
                  </a:lnTo>
                  <a:lnTo>
                    <a:pt x="2501" y="758"/>
                  </a:lnTo>
                  <a:lnTo>
                    <a:pt x="2503" y="754"/>
                  </a:lnTo>
                  <a:lnTo>
                    <a:pt x="2503" y="754"/>
                  </a:lnTo>
                  <a:lnTo>
                    <a:pt x="2505" y="754"/>
                  </a:lnTo>
                  <a:lnTo>
                    <a:pt x="2503" y="752"/>
                  </a:lnTo>
                  <a:lnTo>
                    <a:pt x="2503" y="750"/>
                  </a:lnTo>
                  <a:close/>
                  <a:moveTo>
                    <a:pt x="2477" y="727"/>
                  </a:moveTo>
                  <a:lnTo>
                    <a:pt x="2477" y="727"/>
                  </a:lnTo>
                  <a:lnTo>
                    <a:pt x="2479" y="725"/>
                  </a:lnTo>
                  <a:lnTo>
                    <a:pt x="2481" y="725"/>
                  </a:lnTo>
                  <a:lnTo>
                    <a:pt x="2481" y="725"/>
                  </a:lnTo>
                  <a:lnTo>
                    <a:pt x="2479" y="723"/>
                  </a:lnTo>
                  <a:lnTo>
                    <a:pt x="2479" y="721"/>
                  </a:lnTo>
                  <a:lnTo>
                    <a:pt x="2479" y="721"/>
                  </a:lnTo>
                  <a:lnTo>
                    <a:pt x="2477" y="723"/>
                  </a:lnTo>
                  <a:lnTo>
                    <a:pt x="2477" y="721"/>
                  </a:lnTo>
                  <a:lnTo>
                    <a:pt x="2474" y="721"/>
                  </a:lnTo>
                  <a:lnTo>
                    <a:pt x="2474" y="723"/>
                  </a:lnTo>
                  <a:lnTo>
                    <a:pt x="2474" y="723"/>
                  </a:lnTo>
                  <a:lnTo>
                    <a:pt x="2474" y="723"/>
                  </a:lnTo>
                  <a:lnTo>
                    <a:pt x="2474" y="723"/>
                  </a:lnTo>
                  <a:lnTo>
                    <a:pt x="2474" y="725"/>
                  </a:lnTo>
                  <a:lnTo>
                    <a:pt x="2474" y="725"/>
                  </a:lnTo>
                  <a:lnTo>
                    <a:pt x="2474" y="725"/>
                  </a:lnTo>
                  <a:lnTo>
                    <a:pt x="2477" y="723"/>
                  </a:lnTo>
                  <a:lnTo>
                    <a:pt x="2477" y="723"/>
                  </a:lnTo>
                  <a:lnTo>
                    <a:pt x="2477" y="723"/>
                  </a:lnTo>
                  <a:lnTo>
                    <a:pt x="2477" y="725"/>
                  </a:lnTo>
                  <a:lnTo>
                    <a:pt x="2477" y="725"/>
                  </a:lnTo>
                  <a:lnTo>
                    <a:pt x="2477" y="727"/>
                  </a:lnTo>
                  <a:lnTo>
                    <a:pt x="2477" y="727"/>
                  </a:lnTo>
                  <a:close/>
                  <a:moveTo>
                    <a:pt x="2472" y="706"/>
                  </a:moveTo>
                  <a:lnTo>
                    <a:pt x="2470" y="706"/>
                  </a:lnTo>
                  <a:lnTo>
                    <a:pt x="2470" y="708"/>
                  </a:lnTo>
                  <a:lnTo>
                    <a:pt x="2472" y="708"/>
                  </a:lnTo>
                  <a:lnTo>
                    <a:pt x="2472" y="706"/>
                  </a:lnTo>
                  <a:lnTo>
                    <a:pt x="2474" y="706"/>
                  </a:lnTo>
                  <a:lnTo>
                    <a:pt x="2474" y="706"/>
                  </a:lnTo>
                  <a:lnTo>
                    <a:pt x="2472" y="706"/>
                  </a:lnTo>
                  <a:close/>
                  <a:moveTo>
                    <a:pt x="2619" y="803"/>
                  </a:moveTo>
                  <a:lnTo>
                    <a:pt x="2621" y="803"/>
                  </a:lnTo>
                  <a:lnTo>
                    <a:pt x="2623" y="803"/>
                  </a:lnTo>
                  <a:lnTo>
                    <a:pt x="2625" y="803"/>
                  </a:lnTo>
                  <a:lnTo>
                    <a:pt x="2625" y="803"/>
                  </a:lnTo>
                  <a:lnTo>
                    <a:pt x="2625" y="803"/>
                  </a:lnTo>
                  <a:lnTo>
                    <a:pt x="2623" y="801"/>
                  </a:lnTo>
                  <a:lnTo>
                    <a:pt x="2621" y="801"/>
                  </a:lnTo>
                  <a:lnTo>
                    <a:pt x="2619" y="801"/>
                  </a:lnTo>
                  <a:lnTo>
                    <a:pt x="2619" y="801"/>
                  </a:lnTo>
                  <a:lnTo>
                    <a:pt x="2619" y="803"/>
                  </a:lnTo>
                  <a:close/>
                  <a:moveTo>
                    <a:pt x="2720" y="163"/>
                  </a:moveTo>
                  <a:lnTo>
                    <a:pt x="2720" y="165"/>
                  </a:lnTo>
                  <a:lnTo>
                    <a:pt x="2724" y="172"/>
                  </a:lnTo>
                  <a:lnTo>
                    <a:pt x="2726" y="172"/>
                  </a:lnTo>
                  <a:lnTo>
                    <a:pt x="2728" y="172"/>
                  </a:lnTo>
                  <a:lnTo>
                    <a:pt x="2732" y="174"/>
                  </a:lnTo>
                  <a:lnTo>
                    <a:pt x="2734" y="176"/>
                  </a:lnTo>
                  <a:lnTo>
                    <a:pt x="2736" y="178"/>
                  </a:lnTo>
                  <a:lnTo>
                    <a:pt x="2738" y="178"/>
                  </a:lnTo>
                  <a:lnTo>
                    <a:pt x="2738" y="176"/>
                  </a:lnTo>
                  <a:lnTo>
                    <a:pt x="2736" y="174"/>
                  </a:lnTo>
                  <a:lnTo>
                    <a:pt x="2736" y="172"/>
                  </a:lnTo>
                  <a:lnTo>
                    <a:pt x="2734" y="172"/>
                  </a:lnTo>
                  <a:lnTo>
                    <a:pt x="2732" y="169"/>
                  </a:lnTo>
                  <a:lnTo>
                    <a:pt x="2730" y="167"/>
                  </a:lnTo>
                  <a:lnTo>
                    <a:pt x="2726" y="167"/>
                  </a:lnTo>
                  <a:lnTo>
                    <a:pt x="2726" y="165"/>
                  </a:lnTo>
                  <a:lnTo>
                    <a:pt x="2726" y="165"/>
                  </a:lnTo>
                  <a:lnTo>
                    <a:pt x="2724" y="163"/>
                  </a:lnTo>
                  <a:lnTo>
                    <a:pt x="2726" y="163"/>
                  </a:lnTo>
                  <a:lnTo>
                    <a:pt x="2724" y="161"/>
                  </a:lnTo>
                  <a:lnTo>
                    <a:pt x="2722" y="159"/>
                  </a:lnTo>
                  <a:lnTo>
                    <a:pt x="2720" y="157"/>
                  </a:lnTo>
                  <a:lnTo>
                    <a:pt x="2718" y="157"/>
                  </a:lnTo>
                  <a:lnTo>
                    <a:pt x="2718" y="159"/>
                  </a:lnTo>
                  <a:lnTo>
                    <a:pt x="2718" y="161"/>
                  </a:lnTo>
                  <a:lnTo>
                    <a:pt x="2720" y="163"/>
                  </a:lnTo>
                  <a:close/>
                  <a:moveTo>
                    <a:pt x="2763" y="450"/>
                  </a:moveTo>
                  <a:lnTo>
                    <a:pt x="2763" y="450"/>
                  </a:lnTo>
                  <a:lnTo>
                    <a:pt x="2761" y="450"/>
                  </a:lnTo>
                  <a:lnTo>
                    <a:pt x="2759" y="450"/>
                  </a:lnTo>
                  <a:lnTo>
                    <a:pt x="2757" y="452"/>
                  </a:lnTo>
                  <a:lnTo>
                    <a:pt x="2757" y="452"/>
                  </a:lnTo>
                  <a:lnTo>
                    <a:pt x="2757" y="452"/>
                  </a:lnTo>
                  <a:lnTo>
                    <a:pt x="2755" y="452"/>
                  </a:lnTo>
                  <a:lnTo>
                    <a:pt x="2755" y="454"/>
                  </a:lnTo>
                  <a:lnTo>
                    <a:pt x="2755" y="456"/>
                  </a:lnTo>
                  <a:lnTo>
                    <a:pt x="2757" y="456"/>
                  </a:lnTo>
                  <a:lnTo>
                    <a:pt x="2757" y="456"/>
                  </a:lnTo>
                  <a:lnTo>
                    <a:pt x="2757" y="454"/>
                  </a:lnTo>
                  <a:lnTo>
                    <a:pt x="2757" y="454"/>
                  </a:lnTo>
                  <a:lnTo>
                    <a:pt x="2759" y="454"/>
                  </a:lnTo>
                  <a:lnTo>
                    <a:pt x="2759" y="454"/>
                  </a:lnTo>
                  <a:lnTo>
                    <a:pt x="2761" y="454"/>
                  </a:lnTo>
                  <a:lnTo>
                    <a:pt x="2763" y="454"/>
                  </a:lnTo>
                  <a:lnTo>
                    <a:pt x="2763" y="452"/>
                  </a:lnTo>
                  <a:lnTo>
                    <a:pt x="2765" y="452"/>
                  </a:lnTo>
                  <a:lnTo>
                    <a:pt x="2767" y="452"/>
                  </a:lnTo>
                  <a:lnTo>
                    <a:pt x="2767" y="450"/>
                  </a:lnTo>
                  <a:lnTo>
                    <a:pt x="2767" y="450"/>
                  </a:lnTo>
                  <a:lnTo>
                    <a:pt x="2767" y="450"/>
                  </a:lnTo>
                  <a:lnTo>
                    <a:pt x="2765" y="450"/>
                  </a:lnTo>
                  <a:lnTo>
                    <a:pt x="2763" y="450"/>
                  </a:lnTo>
                  <a:close/>
                  <a:moveTo>
                    <a:pt x="2553" y="622"/>
                  </a:moveTo>
                  <a:lnTo>
                    <a:pt x="2555" y="622"/>
                  </a:lnTo>
                  <a:lnTo>
                    <a:pt x="2555" y="622"/>
                  </a:lnTo>
                  <a:lnTo>
                    <a:pt x="2555" y="620"/>
                  </a:lnTo>
                  <a:lnTo>
                    <a:pt x="2555" y="620"/>
                  </a:lnTo>
                  <a:lnTo>
                    <a:pt x="2555" y="620"/>
                  </a:lnTo>
                  <a:lnTo>
                    <a:pt x="2555" y="620"/>
                  </a:lnTo>
                  <a:lnTo>
                    <a:pt x="2555" y="620"/>
                  </a:lnTo>
                  <a:lnTo>
                    <a:pt x="2553" y="620"/>
                  </a:lnTo>
                  <a:lnTo>
                    <a:pt x="2553" y="620"/>
                  </a:lnTo>
                  <a:lnTo>
                    <a:pt x="2553" y="620"/>
                  </a:lnTo>
                  <a:lnTo>
                    <a:pt x="2553" y="622"/>
                  </a:lnTo>
                  <a:lnTo>
                    <a:pt x="2553" y="622"/>
                  </a:lnTo>
                  <a:lnTo>
                    <a:pt x="2553" y="622"/>
                  </a:lnTo>
                  <a:close/>
                  <a:moveTo>
                    <a:pt x="2747" y="504"/>
                  </a:moveTo>
                  <a:lnTo>
                    <a:pt x="2749" y="504"/>
                  </a:lnTo>
                  <a:lnTo>
                    <a:pt x="2749" y="504"/>
                  </a:lnTo>
                  <a:lnTo>
                    <a:pt x="2747" y="504"/>
                  </a:lnTo>
                  <a:lnTo>
                    <a:pt x="2745" y="504"/>
                  </a:lnTo>
                  <a:lnTo>
                    <a:pt x="2745" y="504"/>
                  </a:lnTo>
                  <a:lnTo>
                    <a:pt x="2743" y="506"/>
                  </a:lnTo>
                  <a:lnTo>
                    <a:pt x="2743" y="506"/>
                  </a:lnTo>
                  <a:lnTo>
                    <a:pt x="2745" y="506"/>
                  </a:lnTo>
                  <a:lnTo>
                    <a:pt x="2747" y="504"/>
                  </a:lnTo>
                  <a:close/>
                  <a:moveTo>
                    <a:pt x="2747" y="502"/>
                  </a:moveTo>
                  <a:lnTo>
                    <a:pt x="2747" y="500"/>
                  </a:lnTo>
                  <a:lnTo>
                    <a:pt x="2745" y="500"/>
                  </a:lnTo>
                  <a:lnTo>
                    <a:pt x="2745" y="500"/>
                  </a:lnTo>
                  <a:lnTo>
                    <a:pt x="2745" y="500"/>
                  </a:lnTo>
                  <a:lnTo>
                    <a:pt x="2743" y="502"/>
                  </a:lnTo>
                  <a:lnTo>
                    <a:pt x="2743" y="502"/>
                  </a:lnTo>
                  <a:lnTo>
                    <a:pt x="2743" y="504"/>
                  </a:lnTo>
                  <a:lnTo>
                    <a:pt x="2743" y="502"/>
                  </a:lnTo>
                  <a:lnTo>
                    <a:pt x="2747" y="502"/>
                  </a:lnTo>
                  <a:lnTo>
                    <a:pt x="2747" y="502"/>
                  </a:lnTo>
                  <a:close/>
                  <a:moveTo>
                    <a:pt x="2753" y="454"/>
                  </a:moveTo>
                  <a:lnTo>
                    <a:pt x="2751" y="456"/>
                  </a:lnTo>
                  <a:lnTo>
                    <a:pt x="2751" y="459"/>
                  </a:lnTo>
                  <a:lnTo>
                    <a:pt x="2749" y="461"/>
                  </a:lnTo>
                  <a:lnTo>
                    <a:pt x="2751" y="459"/>
                  </a:lnTo>
                  <a:lnTo>
                    <a:pt x="2753" y="459"/>
                  </a:lnTo>
                  <a:lnTo>
                    <a:pt x="2753" y="456"/>
                  </a:lnTo>
                  <a:lnTo>
                    <a:pt x="2753" y="456"/>
                  </a:lnTo>
                  <a:lnTo>
                    <a:pt x="2753" y="454"/>
                  </a:lnTo>
                  <a:lnTo>
                    <a:pt x="2753" y="454"/>
                  </a:lnTo>
                  <a:close/>
                  <a:moveTo>
                    <a:pt x="2776" y="436"/>
                  </a:moveTo>
                  <a:lnTo>
                    <a:pt x="2776" y="436"/>
                  </a:lnTo>
                  <a:lnTo>
                    <a:pt x="2773" y="436"/>
                  </a:lnTo>
                  <a:lnTo>
                    <a:pt x="2773" y="438"/>
                  </a:lnTo>
                  <a:lnTo>
                    <a:pt x="2771" y="438"/>
                  </a:lnTo>
                  <a:lnTo>
                    <a:pt x="2771" y="440"/>
                  </a:lnTo>
                  <a:lnTo>
                    <a:pt x="2773" y="440"/>
                  </a:lnTo>
                  <a:lnTo>
                    <a:pt x="2776" y="440"/>
                  </a:lnTo>
                  <a:lnTo>
                    <a:pt x="2776" y="440"/>
                  </a:lnTo>
                  <a:lnTo>
                    <a:pt x="2778" y="440"/>
                  </a:lnTo>
                  <a:lnTo>
                    <a:pt x="2778" y="440"/>
                  </a:lnTo>
                  <a:lnTo>
                    <a:pt x="2778" y="442"/>
                  </a:lnTo>
                  <a:lnTo>
                    <a:pt x="2780" y="442"/>
                  </a:lnTo>
                  <a:lnTo>
                    <a:pt x="2784" y="442"/>
                  </a:lnTo>
                  <a:lnTo>
                    <a:pt x="2786" y="440"/>
                  </a:lnTo>
                  <a:lnTo>
                    <a:pt x="2786" y="438"/>
                  </a:lnTo>
                  <a:lnTo>
                    <a:pt x="2786" y="436"/>
                  </a:lnTo>
                  <a:lnTo>
                    <a:pt x="2784" y="434"/>
                  </a:lnTo>
                  <a:lnTo>
                    <a:pt x="2782" y="432"/>
                  </a:lnTo>
                  <a:lnTo>
                    <a:pt x="2782" y="432"/>
                  </a:lnTo>
                  <a:lnTo>
                    <a:pt x="2782" y="432"/>
                  </a:lnTo>
                  <a:lnTo>
                    <a:pt x="2782" y="432"/>
                  </a:lnTo>
                  <a:lnTo>
                    <a:pt x="2782" y="434"/>
                  </a:lnTo>
                  <a:lnTo>
                    <a:pt x="2778" y="434"/>
                  </a:lnTo>
                  <a:lnTo>
                    <a:pt x="2778" y="434"/>
                  </a:lnTo>
                  <a:lnTo>
                    <a:pt x="2778" y="436"/>
                  </a:lnTo>
                  <a:lnTo>
                    <a:pt x="2778" y="436"/>
                  </a:lnTo>
                  <a:lnTo>
                    <a:pt x="2776" y="436"/>
                  </a:lnTo>
                  <a:close/>
                  <a:moveTo>
                    <a:pt x="2827" y="419"/>
                  </a:moveTo>
                  <a:lnTo>
                    <a:pt x="2829" y="417"/>
                  </a:lnTo>
                  <a:lnTo>
                    <a:pt x="2833" y="417"/>
                  </a:lnTo>
                  <a:lnTo>
                    <a:pt x="2835" y="417"/>
                  </a:lnTo>
                  <a:lnTo>
                    <a:pt x="2835" y="415"/>
                  </a:lnTo>
                  <a:lnTo>
                    <a:pt x="2835" y="413"/>
                  </a:lnTo>
                  <a:lnTo>
                    <a:pt x="2837" y="413"/>
                  </a:lnTo>
                  <a:lnTo>
                    <a:pt x="2839" y="411"/>
                  </a:lnTo>
                  <a:lnTo>
                    <a:pt x="2839" y="411"/>
                  </a:lnTo>
                  <a:lnTo>
                    <a:pt x="2842" y="411"/>
                  </a:lnTo>
                  <a:lnTo>
                    <a:pt x="2844" y="409"/>
                  </a:lnTo>
                  <a:lnTo>
                    <a:pt x="2846" y="407"/>
                  </a:lnTo>
                  <a:lnTo>
                    <a:pt x="2846" y="407"/>
                  </a:lnTo>
                  <a:lnTo>
                    <a:pt x="2844" y="405"/>
                  </a:lnTo>
                  <a:lnTo>
                    <a:pt x="2844" y="405"/>
                  </a:lnTo>
                  <a:lnTo>
                    <a:pt x="2844" y="407"/>
                  </a:lnTo>
                  <a:lnTo>
                    <a:pt x="2842" y="407"/>
                  </a:lnTo>
                  <a:lnTo>
                    <a:pt x="2842" y="405"/>
                  </a:lnTo>
                  <a:lnTo>
                    <a:pt x="2842" y="403"/>
                  </a:lnTo>
                  <a:lnTo>
                    <a:pt x="2839" y="401"/>
                  </a:lnTo>
                  <a:lnTo>
                    <a:pt x="2839" y="401"/>
                  </a:lnTo>
                  <a:lnTo>
                    <a:pt x="2837" y="403"/>
                  </a:lnTo>
                  <a:lnTo>
                    <a:pt x="2837" y="403"/>
                  </a:lnTo>
                  <a:lnTo>
                    <a:pt x="2837" y="405"/>
                  </a:lnTo>
                  <a:lnTo>
                    <a:pt x="2837" y="405"/>
                  </a:lnTo>
                  <a:lnTo>
                    <a:pt x="2837" y="405"/>
                  </a:lnTo>
                  <a:lnTo>
                    <a:pt x="2835" y="407"/>
                  </a:lnTo>
                  <a:lnTo>
                    <a:pt x="2835" y="407"/>
                  </a:lnTo>
                  <a:lnTo>
                    <a:pt x="2833" y="409"/>
                  </a:lnTo>
                  <a:lnTo>
                    <a:pt x="2833" y="411"/>
                  </a:lnTo>
                  <a:lnTo>
                    <a:pt x="2833" y="411"/>
                  </a:lnTo>
                  <a:lnTo>
                    <a:pt x="2833" y="413"/>
                  </a:lnTo>
                  <a:lnTo>
                    <a:pt x="2831" y="411"/>
                  </a:lnTo>
                  <a:lnTo>
                    <a:pt x="2831" y="411"/>
                  </a:lnTo>
                  <a:lnTo>
                    <a:pt x="2831" y="413"/>
                  </a:lnTo>
                  <a:lnTo>
                    <a:pt x="2829" y="413"/>
                  </a:lnTo>
                  <a:lnTo>
                    <a:pt x="2827" y="413"/>
                  </a:lnTo>
                  <a:lnTo>
                    <a:pt x="2827" y="413"/>
                  </a:lnTo>
                  <a:lnTo>
                    <a:pt x="2827" y="413"/>
                  </a:lnTo>
                  <a:lnTo>
                    <a:pt x="2827" y="415"/>
                  </a:lnTo>
                  <a:lnTo>
                    <a:pt x="2827" y="415"/>
                  </a:lnTo>
                  <a:lnTo>
                    <a:pt x="2825" y="415"/>
                  </a:lnTo>
                  <a:lnTo>
                    <a:pt x="2823" y="417"/>
                  </a:lnTo>
                  <a:lnTo>
                    <a:pt x="2825" y="417"/>
                  </a:lnTo>
                  <a:lnTo>
                    <a:pt x="2827" y="419"/>
                  </a:lnTo>
                  <a:close/>
                  <a:moveTo>
                    <a:pt x="2839" y="291"/>
                  </a:moveTo>
                  <a:lnTo>
                    <a:pt x="2839" y="289"/>
                  </a:lnTo>
                  <a:lnTo>
                    <a:pt x="2842" y="289"/>
                  </a:lnTo>
                  <a:lnTo>
                    <a:pt x="2842" y="287"/>
                  </a:lnTo>
                  <a:lnTo>
                    <a:pt x="2839" y="287"/>
                  </a:lnTo>
                  <a:lnTo>
                    <a:pt x="2835" y="287"/>
                  </a:lnTo>
                  <a:lnTo>
                    <a:pt x="2835" y="287"/>
                  </a:lnTo>
                  <a:lnTo>
                    <a:pt x="2835" y="289"/>
                  </a:lnTo>
                  <a:lnTo>
                    <a:pt x="2839" y="291"/>
                  </a:lnTo>
                  <a:close/>
                  <a:moveTo>
                    <a:pt x="2848" y="403"/>
                  </a:moveTo>
                  <a:lnTo>
                    <a:pt x="2848" y="405"/>
                  </a:lnTo>
                  <a:lnTo>
                    <a:pt x="2848" y="405"/>
                  </a:lnTo>
                  <a:lnTo>
                    <a:pt x="2850" y="405"/>
                  </a:lnTo>
                  <a:lnTo>
                    <a:pt x="2852" y="405"/>
                  </a:lnTo>
                  <a:lnTo>
                    <a:pt x="2852" y="405"/>
                  </a:lnTo>
                  <a:lnTo>
                    <a:pt x="2852" y="403"/>
                  </a:lnTo>
                  <a:lnTo>
                    <a:pt x="2852" y="403"/>
                  </a:lnTo>
                  <a:lnTo>
                    <a:pt x="2850" y="401"/>
                  </a:lnTo>
                  <a:lnTo>
                    <a:pt x="2850" y="401"/>
                  </a:lnTo>
                  <a:lnTo>
                    <a:pt x="2850" y="401"/>
                  </a:lnTo>
                  <a:lnTo>
                    <a:pt x="2848" y="401"/>
                  </a:lnTo>
                  <a:lnTo>
                    <a:pt x="2848" y="399"/>
                  </a:lnTo>
                  <a:lnTo>
                    <a:pt x="2846" y="401"/>
                  </a:lnTo>
                  <a:lnTo>
                    <a:pt x="2846" y="401"/>
                  </a:lnTo>
                  <a:lnTo>
                    <a:pt x="2848" y="403"/>
                  </a:lnTo>
                  <a:close/>
                  <a:moveTo>
                    <a:pt x="2769" y="452"/>
                  </a:moveTo>
                  <a:lnTo>
                    <a:pt x="2771" y="452"/>
                  </a:lnTo>
                  <a:lnTo>
                    <a:pt x="2776" y="452"/>
                  </a:lnTo>
                  <a:lnTo>
                    <a:pt x="2780" y="448"/>
                  </a:lnTo>
                  <a:lnTo>
                    <a:pt x="2782" y="450"/>
                  </a:lnTo>
                  <a:lnTo>
                    <a:pt x="2782" y="448"/>
                  </a:lnTo>
                  <a:lnTo>
                    <a:pt x="2784" y="448"/>
                  </a:lnTo>
                  <a:lnTo>
                    <a:pt x="2784" y="446"/>
                  </a:lnTo>
                  <a:lnTo>
                    <a:pt x="2786" y="446"/>
                  </a:lnTo>
                  <a:lnTo>
                    <a:pt x="2786" y="448"/>
                  </a:lnTo>
                  <a:lnTo>
                    <a:pt x="2786" y="448"/>
                  </a:lnTo>
                  <a:lnTo>
                    <a:pt x="2790" y="448"/>
                  </a:lnTo>
                  <a:lnTo>
                    <a:pt x="2792" y="446"/>
                  </a:lnTo>
                  <a:lnTo>
                    <a:pt x="2792" y="446"/>
                  </a:lnTo>
                  <a:lnTo>
                    <a:pt x="2792" y="446"/>
                  </a:lnTo>
                  <a:lnTo>
                    <a:pt x="2794" y="446"/>
                  </a:lnTo>
                  <a:lnTo>
                    <a:pt x="2794" y="446"/>
                  </a:lnTo>
                  <a:lnTo>
                    <a:pt x="2796" y="444"/>
                  </a:lnTo>
                  <a:lnTo>
                    <a:pt x="2798" y="442"/>
                  </a:lnTo>
                  <a:lnTo>
                    <a:pt x="2800" y="442"/>
                  </a:lnTo>
                  <a:lnTo>
                    <a:pt x="2802" y="440"/>
                  </a:lnTo>
                  <a:lnTo>
                    <a:pt x="2802" y="438"/>
                  </a:lnTo>
                  <a:lnTo>
                    <a:pt x="2800" y="436"/>
                  </a:lnTo>
                  <a:lnTo>
                    <a:pt x="2800" y="436"/>
                  </a:lnTo>
                  <a:lnTo>
                    <a:pt x="2798" y="434"/>
                  </a:lnTo>
                  <a:lnTo>
                    <a:pt x="2798" y="436"/>
                  </a:lnTo>
                  <a:lnTo>
                    <a:pt x="2798" y="436"/>
                  </a:lnTo>
                  <a:lnTo>
                    <a:pt x="2796" y="436"/>
                  </a:lnTo>
                  <a:lnTo>
                    <a:pt x="2796" y="436"/>
                  </a:lnTo>
                  <a:lnTo>
                    <a:pt x="2796" y="438"/>
                  </a:lnTo>
                  <a:lnTo>
                    <a:pt x="2796" y="438"/>
                  </a:lnTo>
                  <a:lnTo>
                    <a:pt x="2796" y="440"/>
                  </a:lnTo>
                  <a:lnTo>
                    <a:pt x="2794" y="440"/>
                  </a:lnTo>
                  <a:lnTo>
                    <a:pt x="2792" y="442"/>
                  </a:lnTo>
                  <a:lnTo>
                    <a:pt x="2792" y="442"/>
                  </a:lnTo>
                  <a:lnTo>
                    <a:pt x="2792" y="442"/>
                  </a:lnTo>
                  <a:lnTo>
                    <a:pt x="2794" y="438"/>
                  </a:lnTo>
                  <a:lnTo>
                    <a:pt x="2794" y="436"/>
                  </a:lnTo>
                  <a:lnTo>
                    <a:pt x="2794" y="434"/>
                  </a:lnTo>
                  <a:lnTo>
                    <a:pt x="2792" y="432"/>
                  </a:lnTo>
                  <a:lnTo>
                    <a:pt x="2792" y="432"/>
                  </a:lnTo>
                  <a:lnTo>
                    <a:pt x="2794" y="430"/>
                  </a:lnTo>
                  <a:lnTo>
                    <a:pt x="2796" y="426"/>
                  </a:lnTo>
                  <a:lnTo>
                    <a:pt x="2796" y="426"/>
                  </a:lnTo>
                  <a:lnTo>
                    <a:pt x="2796" y="423"/>
                  </a:lnTo>
                  <a:lnTo>
                    <a:pt x="2794" y="423"/>
                  </a:lnTo>
                  <a:lnTo>
                    <a:pt x="2792" y="426"/>
                  </a:lnTo>
                  <a:lnTo>
                    <a:pt x="2790" y="428"/>
                  </a:lnTo>
                  <a:lnTo>
                    <a:pt x="2790" y="428"/>
                  </a:lnTo>
                  <a:lnTo>
                    <a:pt x="2788" y="430"/>
                  </a:lnTo>
                  <a:lnTo>
                    <a:pt x="2786" y="432"/>
                  </a:lnTo>
                  <a:lnTo>
                    <a:pt x="2786" y="434"/>
                  </a:lnTo>
                  <a:lnTo>
                    <a:pt x="2788" y="434"/>
                  </a:lnTo>
                  <a:lnTo>
                    <a:pt x="2788" y="434"/>
                  </a:lnTo>
                  <a:lnTo>
                    <a:pt x="2788" y="436"/>
                  </a:lnTo>
                  <a:lnTo>
                    <a:pt x="2786" y="442"/>
                  </a:lnTo>
                  <a:lnTo>
                    <a:pt x="2782" y="446"/>
                  </a:lnTo>
                  <a:lnTo>
                    <a:pt x="2773" y="446"/>
                  </a:lnTo>
                  <a:lnTo>
                    <a:pt x="2771" y="448"/>
                  </a:lnTo>
                  <a:lnTo>
                    <a:pt x="2769" y="450"/>
                  </a:lnTo>
                  <a:lnTo>
                    <a:pt x="2769" y="452"/>
                  </a:lnTo>
                  <a:close/>
                  <a:moveTo>
                    <a:pt x="2637" y="772"/>
                  </a:moveTo>
                  <a:lnTo>
                    <a:pt x="2639" y="772"/>
                  </a:lnTo>
                  <a:lnTo>
                    <a:pt x="2637" y="772"/>
                  </a:lnTo>
                  <a:lnTo>
                    <a:pt x="2635" y="772"/>
                  </a:lnTo>
                  <a:lnTo>
                    <a:pt x="2637" y="772"/>
                  </a:lnTo>
                  <a:close/>
                  <a:moveTo>
                    <a:pt x="2637" y="628"/>
                  </a:moveTo>
                  <a:lnTo>
                    <a:pt x="2637" y="628"/>
                  </a:lnTo>
                  <a:lnTo>
                    <a:pt x="2637" y="628"/>
                  </a:lnTo>
                  <a:lnTo>
                    <a:pt x="2637" y="628"/>
                  </a:lnTo>
                  <a:lnTo>
                    <a:pt x="2637" y="630"/>
                  </a:lnTo>
                  <a:lnTo>
                    <a:pt x="2637" y="632"/>
                  </a:lnTo>
                  <a:lnTo>
                    <a:pt x="2637" y="632"/>
                  </a:lnTo>
                  <a:lnTo>
                    <a:pt x="2637" y="632"/>
                  </a:lnTo>
                  <a:lnTo>
                    <a:pt x="2639" y="634"/>
                  </a:lnTo>
                  <a:lnTo>
                    <a:pt x="2639" y="630"/>
                  </a:lnTo>
                  <a:lnTo>
                    <a:pt x="2637" y="628"/>
                  </a:lnTo>
                  <a:close/>
                  <a:moveTo>
                    <a:pt x="2635" y="779"/>
                  </a:moveTo>
                  <a:lnTo>
                    <a:pt x="2635" y="777"/>
                  </a:lnTo>
                  <a:lnTo>
                    <a:pt x="2635" y="774"/>
                  </a:lnTo>
                  <a:lnTo>
                    <a:pt x="2633" y="777"/>
                  </a:lnTo>
                  <a:lnTo>
                    <a:pt x="2633" y="777"/>
                  </a:lnTo>
                  <a:lnTo>
                    <a:pt x="2633" y="777"/>
                  </a:lnTo>
                  <a:lnTo>
                    <a:pt x="2635" y="779"/>
                  </a:lnTo>
                  <a:close/>
                  <a:moveTo>
                    <a:pt x="2470" y="671"/>
                  </a:moveTo>
                  <a:lnTo>
                    <a:pt x="2470" y="673"/>
                  </a:lnTo>
                  <a:lnTo>
                    <a:pt x="2470" y="673"/>
                  </a:lnTo>
                  <a:lnTo>
                    <a:pt x="2470" y="675"/>
                  </a:lnTo>
                  <a:lnTo>
                    <a:pt x="2470" y="675"/>
                  </a:lnTo>
                  <a:lnTo>
                    <a:pt x="2468" y="675"/>
                  </a:lnTo>
                  <a:lnTo>
                    <a:pt x="2468" y="675"/>
                  </a:lnTo>
                  <a:lnTo>
                    <a:pt x="2466" y="673"/>
                  </a:lnTo>
                  <a:lnTo>
                    <a:pt x="2466" y="673"/>
                  </a:lnTo>
                  <a:lnTo>
                    <a:pt x="2466" y="673"/>
                  </a:lnTo>
                  <a:lnTo>
                    <a:pt x="2466" y="675"/>
                  </a:lnTo>
                  <a:lnTo>
                    <a:pt x="2466" y="675"/>
                  </a:lnTo>
                  <a:lnTo>
                    <a:pt x="2464" y="675"/>
                  </a:lnTo>
                  <a:lnTo>
                    <a:pt x="2466" y="677"/>
                  </a:lnTo>
                  <a:lnTo>
                    <a:pt x="2466" y="677"/>
                  </a:lnTo>
                  <a:lnTo>
                    <a:pt x="2466" y="677"/>
                  </a:lnTo>
                  <a:lnTo>
                    <a:pt x="2466" y="677"/>
                  </a:lnTo>
                  <a:lnTo>
                    <a:pt x="2466" y="677"/>
                  </a:lnTo>
                  <a:lnTo>
                    <a:pt x="2466" y="677"/>
                  </a:lnTo>
                  <a:lnTo>
                    <a:pt x="2466" y="679"/>
                  </a:lnTo>
                  <a:lnTo>
                    <a:pt x="2466" y="679"/>
                  </a:lnTo>
                  <a:lnTo>
                    <a:pt x="2468" y="679"/>
                  </a:lnTo>
                  <a:lnTo>
                    <a:pt x="2468" y="679"/>
                  </a:lnTo>
                  <a:lnTo>
                    <a:pt x="2468" y="682"/>
                  </a:lnTo>
                  <a:lnTo>
                    <a:pt x="2466" y="682"/>
                  </a:lnTo>
                  <a:lnTo>
                    <a:pt x="2466" y="682"/>
                  </a:lnTo>
                  <a:lnTo>
                    <a:pt x="2466" y="684"/>
                  </a:lnTo>
                  <a:lnTo>
                    <a:pt x="2466" y="684"/>
                  </a:lnTo>
                  <a:lnTo>
                    <a:pt x="2466" y="684"/>
                  </a:lnTo>
                  <a:lnTo>
                    <a:pt x="2468" y="684"/>
                  </a:lnTo>
                  <a:lnTo>
                    <a:pt x="2468" y="682"/>
                  </a:lnTo>
                  <a:lnTo>
                    <a:pt x="2470" y="682"/>
                  </a:lnTo>
                  <a:lnTo>
                    <a:pt x="2470" y="679"/>
                  </a:lnTo>
                  <a:lnTo>
                    <a:pt x="2472" y="679"/>
                  </a:lnTo>
                  <a:lnTo>
                    <a:pt x="2474" y="677"/>
                  </a:lnTo>
                  <a:lnTo>
                    <a:pt x="2474" y="677"/>
                  </a:lnTo>
                  <a:lnTo>
                    <a:pt x="2474" y="677"/>
                  </a:lnTo>
                  <a:lnTo>
                    <a:pt x="2474" y="677"/>
                  </a:lnTo>
                  <a:lnTo>
                    <a:pt x="2472" y="677"/>
                  </a:lnTo>
                  <a:lnTo>
                    <a:pt x="2474" y="675"/>
                  </a:lnTo>
                  <a:lnTo>
                    <a:pt x="2474" y="675"/>
                  </a:lnTo>
                  <a:lnTo>
                    <a:pt x="2477" y="675"/>
                  </a:lnTo>
                  <a:lnTo>
                    <a:pt x="2479" y="671"/>
                  </a:lnTo>
                  <a:lnTo>
                    <a:pt x="2479" y="669"/>
                  </a:lnTo>
                  <a:lnTo>
                    <a:pt x="2479" y="669"/>
                  </a:lnTo>
                  <a:lnTo>
                    <a:pt x="2477" y="669"/>
                  </a:lnTo>
                  <a:lnTo>
                    <a:pt x="2477" y="669"/>
                  </a:lnTo>
                  <a:lnTo>
                    <a:pt x="2472" y="671"/>
                  </a:lnTo>
                  <a:lnTo>
                    <a:pt x="2470" y="671"/>
                  </a:lnTo>
                  <a:close/>
                  <a:moveTo>
                    <a:pt x="2679" y="564"/>
                  </a:moveTo>
                  <a:lnTo>
                    <a:pt x="2681" y="564"/>
                  </a:lnTo>
                  <a:lnTo>
                    <a:pt x="2683" y="564"/>
                  </a:lnTo>
                  <a:lnTo>
                    <a:pt x="2683" y="564"/>
                  </a:lnTo>
                  <a:lnTo>
                    <a:pt x="2683" y="562"/>
                  </a:lnTo>
                  <a:lnTo>
                    <a:pt x="2681" y="562"/>
                  </a:lnTo>
                  <a:lnTo>
                    <a:pt x="2679" y="562"/>
                  </a:lnTo>
                  <a:lnTo>
                    <a:pt x="2679" y="564"/>
                  </a:lnTo>
                  <a:lnTo>
                    <a:pt x="2679" y="564"/>
                  </a:lnTo>
                  <a:lnTo>
                    <a:pt x="2679" y="564"/>
                  </a:lnTo>
                  <a:close/>
                  <a:moveTo>
                    <a:pt x="2724" y="527"/>
                  </a:moveTo>
                  <a:lnTo>
                    <a:pt x="2720" y="529"/>
                  </a:lnTo>
                  <a:lnTo>
                    <a:pt x="2720" y="531"/>
                  </a:lnTo>
                  <a:lnTo>
                    <a:pt x="2720" y="531"/>
                  </a:lnTo>
                  <a:lnTo>
                    <a:pt x="2724" y="531"/>
                  </a:lnTo>
                  <a:lnTo>
                    <a:pt x="2726" y="531"/>
                  </a:lnTo>
                  <a:lnTo>
                    <a:pt x="2726" y="531"/>
                  </a:lnTo>
                  <a:lnTo>
                    <a:pt x="2726" y="529"/>
                  </a:lnTo>
                  <a:lnTo>
                    <a:pt x="2726" y="527"/>
                  </a:lnTo>
                  <a:lnTo>
                    <a:pt x="2724" y="527"/>
                  </a:lnTo>
                  <a:close/>
                  <a:moveTo>
                    <a:pt x="2637" y="613"/>
                  </a:moveTo>
                  <a:lnTo>
                    <a:pt x="2637" y="613"/>
                  </a:lnTo>
                  <a:lnTo>
                    <a:pt x="2637" y="611"/>
                  </a:lnTo>
                  <a:lnTo>
                    <a:pt x="2635" y="611"/>
                  </a:lnTo>
                  <a:lnTo>
                    <a:pt x="2635" y="611"/>
                  </a:lnTo>
                  <a:lnTo>
                    <a:pt x="2635" y="613"/>
                  </a:lnTo>
                  <a:lnTo>
                    <a:pt x="2635" y="613"/>
                  </a:lnTo>
                  <a:lnTo>
                    <a:pt x="2637" y="613"/>
                  </a:lnTo>
                  <a:close/>
                  <a:moveTo>
                    <a:pt x="2687" y="558"/>
                  </a:moveTo>
                  <a:lnTo>
                    <a:pt x="2691" y="556"/>
                  </a:lnTo>
                  <a:lnTo>
                    <a:pt x="2691" y="556"/>
                  </a:lnTo>
                  <a:lnTo>
                    <a:pt x="2691" y="556"/>
                  </a:lnTo>
                  <a:lnTo>
                    <a:pt x="2691" y="554"/>
                  </a:lnTo>
                  <a:lnTo>
                    <a:pt x="2691" y="554"/>
                  </a:lnTo>
                  <a:lnTo>
                    <a:pt x="2691" y="556"/>
                  </a:lnTo>
                  <a:lnTo>
                    <a:pt x="2687" y="556"/>
                  </a:lnTo>
                  <a:lnTo>
                    <a:pt x="2685" y="558"/>
                  </a:lnTo>
                  <a:lnTo>
                    <a:pt x="2685" y="558"/>
                  </a:lnTo>
                  <a:lnTo>
                    <a:pt x="2687" y="558"/>
                  </a:lnTo>
                  <a:close/>
                  <a:moveTo>
                    <a:pt x="2734" y="512"/>
                  </a:moveTo>
                  <a:lnTo>
                    <a:pt x="2734" y="512"/>
                  </a:lnTo>
                  <a:lnTo>
                    <a:pt x="2734" y="512"/>
                  </a:lnTo>
                  <a:lnTo>
                    <a:pt x="2736" y="512"/>
                  </a:lnTo>
                  <a:lnTo>
                    <a:pt x="2736" y="512"/>
                  </a:lnTo>
                  <a:lnTo>
                    <a:pt x="2738" y="512"/>
                  </a:lnTo>
                  <a:lnTo>
                    <a:pt x="2736" y="510"/>
                  </a:lnTo>
                  <a:lnTo>
                    <a:pt x="2736" y="510"/>
                  </a:lnTo>
                  <a:lnTo>
                    <a:pt x="2734" y="512"/>
                  </a:lnTo>
                  <a:close/>
                  <a:moveTo>
                    <a:pt x="1421" y="644"/>
                  </a:moveTo>
                  <a:lnTo>
                    <a:pt x="1423" y="644"/>
                  </a:lnTo>
                  <a:lnTo>
                    <a:pt x="1423" y="644"/>
                  </a:lnTo>
                  <a:lnTo>
                    <a:pt x="1423" y="642"/>
                  </a:lnTo>
                  <a:lnTo>
                    <a:pt x="1423" y="642"/>
                  </a:lnTo>
                  <a:lnTo>
                    <a:pt x="1423" y="644"/>
                  </a:lnTo>
                  <a:lnTo>
                    <a:pt x="1421" y="644"/>
                  </a:lnTo>
                  <a:lnTo>
                    <a:pt x="1421" y="644"/>
                  </a:lnTo>
                  <a:lnTo>
                    <a:pt x="1421" y="644"/>
                  </a:lnTo>
                  <a:lnTo>
                    <a:pt x="1421" y="644"/>
                  </a:lnTo>
                  <a:close/>
                  <a:moveTo>
                    <a:pt x="1466" y="558"/>
                  </a:moveTo>
                  <a:lnTo>
                    <a:pt x="1464" y="560"/>
                  </a:lnTo>
                  <a:lnTo>
                    <a:pt x="1468" y="562"/>
                  </a:lnTo>
                  <a:lnTo>
                    <a:pt x="1470" y="564"/>
                  </a:lnTo>
                  <a:lnTo>
                    <a:pt x="1472" y="564"/>
                  </a:lnTo>
                  <a:lnTo>
                    <a:pt x="1472" y="564"/>
                  </a:lnTo>
                  <a:lnTo>
                    <a:pt x="1474" y="562"/>
                  </a:lnTo>
                  <a:lnTo>
                    <a:pt x="1472" y="560"/>
                  </a:lnTo>
                  <a:lnTo>
                    <a:pt x="1466" y="558"/>
                  </a:lnTo>
                  <a:close/>
                  <a:moveTo>
                    <a:pt x="1505" y="578"/>
                  </a:moveTo>
                  <a:lnTo>
                    <a:pt x="1503" y="578"/>
                  </a:lnTo>
                  <a:lnTo>
                    <a:pt x="1503" y="578"/>
                  </a:lnTo>
                  <a:lnTo>
                    <a:pt x="1503" y="578"/>
                  </a:lnTo>
                  <a:lnTo>
                    <a:pt x="1503" y="578"/>
                  </a:lnTo>
                  <a:lnTo>
                    <a:pt x="1503" y="580"/>
                  </a:lnTo>
                  <a:lnTo>
                    <a:pt x="1507" y="580"/>
                  </a:lnTo>
                  <a:lnTo>
                    <a:pt x="1511" y="580"/>
                  </a:lnTo>
                  <a:lnTo>
                    <a:pt x="1511" y="580"/>
                  </a:lnTo>
                  <a:lnTo>
                    <a:pt x="1511" y="580"/>
                  </a:lnTo>
                  <a:lnTo>
                    <a:pt x="1511" y="580"/>
                  </a:lnTo>
                  <a:lnTo>
                    <a:pt x="1509" y="578"/>
                  </a:lnTo>
                  <a:lnTo>
                    <a:pt x="1505" y="578"/>
                  </a:lnTo>
                  <a:close/>
                  <a:moveTo>
                    <a:pt x="1435" y="721"/>
                  </a:moveTo>
                  <a:lnTo>
                    <a:pt x="1437" y="721"/>
                  </a:lnTo>
                  <a:lnTo>
                    <a:pt x="1437" y="721"/>
                  </a:lnTo>
                  <a:lnTo>
                    <a:pt x="1439" y="719"/>
                  </a:lnTo>
                  <a:lnTo>
                    <a:pt x="1439" y="717"/>
                  </a:lnTo>
                  <a:lnTo>
                    <a:pt x="1441" y="715"/>
                  </a:lnTo>
                  <a:lnTo>
                    <a:pt x="1441" y="713"/>
                  </a:lnTo>
                  <a:lnTo>
                    <a:pt x="1441" y="713"/>
                  </a:lnTo>
                  <a:lnTo>
                    <a:pt x="1441" y="713"/>
                  </a:lnTo>
                  <a:lnTo>
                    <a:pt x="1441" y="713"/>
                  </a:lnTo>
                  <a:lnTo>
                    <a:pt x="1441" y="710"/>
                  </a:lnTo>
                  <a:lnTo>
                    <a:pt x="1439" y="710"/>
                  </a:lnTo>
                  <a:lnTo>
                    <a:pt x="1439" y="710"/>
                  </a:lnTo>
                  <a:lnTo>
                    <a:pt x="1439" y="710"/>
                  </a:lnTo>
                  <a:lnTo>
                    <a:pt x="1437" y="708"/>
                  </a:lnTo>
                  <a:lnTo>
                    <a:pt x="1437" y="708"/>
                  </a:lnTo>
                  <a:lnTo>
                    <a:pt x="1437" y="708"/>
                  </a:lnTo>
                  <a:lnTo>
                    <a:pt x="1437" y="708"/>
                  </a:lnTo>
                  <a:lnTo>
                    <a:pt x="1437" y="706"/>
                  </a:lnTo>
                  <a:lnTo>
                    <a:pt x="1435" y="706"/>
                  </a:lnTo>
                  <a:lnTo>
                    <a:pt x="1435" y="710"/>
                  </a:lnTo>
                  <a:lnTo>
                    <a:pt x="1435" y="713"/>
                  </a:lnTo>
                  <a:lnTo>
                    <a:pt x="1435" y="715"/>
                  </a:lnTo>
                  <a:lnTo>
                    <a:pt x="1433" y="715"/>
                  </a:lnTo>
                  <a:lnTo>
                    <a:pt x="1433" y="715"/>
                  </a:lnTo>
                  <a:lnTo>
                    <a:pt x="1431" y="715"/>
                  </a:lnTo>
                  <a:lnTo>
                    <a:pt x="1433" y="715"/>
                  </a:lnTo>
                  <a:lnTo>
                    <a:pt x="1433" y="713"/>
                  </a:lnTo>
                  <a:lnTo>
                    <a:pt x="1433" y="710"/>
                  </a:lnTo>
                  <a:lnTo>
                    <a:pt x="1433" y="708"/>
                  </a:lnTo>
                  <a:lnTo>
                    <a:pt x="1433" y="708"/>
                  </a:lnTo>
                  <a:lnTo>
                    <a:pt x="1433" y="708"/>
                  </a:lnTo>
                  <a:lnTo>
                    <a:pt x="1433" y="708"/>
                  </a:lnTo>
                  <a:lnTo>
                    <a:pt x="1433" y="710"/>
                  </a:lnTo>
                  <a:lnTo>
                    <a:pt x="1433" y="710"/>
                  </a:lnTo>
                  <a:lnTo>
                    <a:pt x="1433" y="713"/>
                  </a:lnTo>
                  <a:lnTo>
                    <a:pt x="1431" y="715"/>
                  </a:lnTo>
                  <a:lnTo>
                    <a:pt x="1429" y="717"/>
                  </a:lnTo>
                  <a:lnTo>
                    <a:pt x="1425" y="721"/>
                  </a:lnTo>
                  <a:lnTo>
                    <a:pt x="1425" y="721"/>
                  </a:lnTo>
                  <a:lnTo>
                    <a:pt x="1427" y="721"/>
                  </a:lnTo>
                  <a:lnTo>
                    <a:pt x="1427" y="721"/>
                  </a:lnTo>
                  <a:lnTo>
                    <a:pt x="1429" y="721"/>
                  </a:lnTo>
                  <a:lnTo>
                    <a:pt x="1431" y="717"/>
                  </a:lnTo>
                  <a:lnTo>
                    <a:pt x="1433" y="717"/>
                  </a:lnTo>
                  <a:lnTo>
                    <a:pt x="1433" y="717"/>
                  </a:lnTo>
                  <a:lnTo>
                    <a:pt x="1433" y="717"/>
                  </a:lnTo>
                  <a:lnTo>
                    <a:pt x="1429" y="723"/>
                  </a:lnTo>
                  <a:lnTo>
                    <a:pt x="1431" y="721"/>
                  </a:lnTo>
                  <a:lnTo>
                    <a:pt x="1433" y="721"/>
                  </a:lnTo>
                  <a:lnTo>
                    <a:pt x="1433" y="721"/>
                  </a:lnTo>
                  <a:lnTo>
                    <a:pt x="1433" y="721"/>
                  </a:lnTo>
                  <a:lnTo>
                    <a:pt x="1435" y="721"/>
                  </a:lnTo>
                  <a:lnTo>
                    <a:pt x="1437" y="715"/>
                  </a:lnTo>
                  <a:lnTo>
                    <a:pt x="1437" y="715"/>
                  </a:lnTo>
                  <a:lnTo>
                    <a:pt x="1437" y="715"/>
                  </a:lnTo>
                  <a:lnTo>
                    <a:pt x="1437" y="717"/>
                  </a:lnTo>
                  <a:lnTo>
                    <a:pt x="1437" y="717"/>
                  </a:lnTo>
                  <a:lnTo>
                    <a:pt x="1435" y="721"/>
                  </a:lnTo>
                  <a:close/>
                  <a:moveTo>
                    <a:pt x="1400" y="779"/>
                  </a:moveTo>
                  <a:lnTo>
                    <a:pt x="1406" y="781"/>
                  </a:lnTo>
                  <a:lnTo>
                    <a:pt x="1410" y="783"/>
                  </a:lnTo>
                  <a:lnTo>
                    <a:pt x="1410" y="783"/>
                  </a:lnTo>
                  <a:lnTo>
                    <a:pt x="1415" y="783"/>
                  </a:lnTo>
                  <a:lnTo>
                    <a:pt x="1415" y="783"/>
                  </a:lnTo>
                  <a:lnTo>
                    <a:pt x="1417" y="783"/>
                  </a:lnTo>
                  <a:lnTo>
                    <a:pt x="1417" y="781"/>
                  </a:lnTo>
                  <a:lnTo>
                    <a:pt x="1415" y="779"/>
                  </a:lnTo>
                  <a:lnTo>
                    <a:pt x="1413" y="777"/>
                  </a:lnTo>
                  <a:lnTo>
                    <a:pt x="1410" y="774"/>
                  </a:lnTo>
                  <a:lnTo>
                    <a:pt x="1406" y="772"/>
                  </a:lnTo>
                  <a:lnTo>
                    <a:pt x="1400" y="774"/>
                  </a:lnTo>
                  <a:lnTo>
                    <a:pt x="1398" y="774"/>
                  </a:lnTo>
                  <a:lnTo>
                    <a:pt x="1398" y="774"/>
                  </a:lnTo>
                  <a:lnTo>
                    <a:pt x="1396" y="777"/>
                  </a:lnTo>
                  <a:lnTo>
                    <a:pt x="1398" y="777"/>
                  </a:lnTo>
                  <a:lnTo>
                    <a:pt x="1400" y="779"/>
                  </a:lnTo>
                  <a:close/>
                  <a:moveTo>
                    <a:pt x="1398" y="576"/>
                  </a:moveTo>
                  <a:lnTo>
                    <a:pt x="1398" y="574"/>
                  </a:lnTo>
                  <a:lnTo>
                    <a:pt x="1398" y="574"/>
                  </a:lnTo>
                  <a:lnTo>
                    <a:pt x="1398" y="574"/>
                  </a:lnTo>
                  <a:lnTo>
                    <a:pt x="1396" y="572"/>
                  </a:lnTo>
                  <a:lnTo>
                    <a:pt x="1396" y="572"/>
                  </a:lnTo>
                  <a:lnTo>
                    <a:pt x="1394" y="572"/>
                  </a:lnTo>
                  <a:lnTo>
                    <a:pt x="1390" y="574"/>
                  </a:lnTo>
                  <a:lnTo>
                    <a:pt x="1388" y="574"/>
                  </a:lnTo>
                  <a:lnTo>
                    <a:pt x="1384" y="574"/>
                  </a:lnTo>
                  <a:lnTo>
                    <a:pt x="1382" y="574"/>
                  </a:lnTo>
                  <a:lnTo>
                    <a:pt x="1382" y="574"/>
                  </a:lnTo>
                  <a:lnTo>
                    <a:pt x="1380" y="574"/>
                  </a:lnTo>
                  <a:lnTo>
                    <a:pt x="1377" y="574"/>
                  </a:lnTo>
                  <a:lnTo>
                    <a:pt x="1373" y="582"/>
                  </a:lnTo>
                  <a:lnTo>
                    <a:pt x="1369" y="584"/>
                  </a:lnTo>
                  <a:lnTo>
                    <a:pt x="1369" y="584"/>
                  </a:lnTo>
                  <a:lnTo>
                    <a:pt x="1369" y="584"/>
                  </a:lnTo>
                  <a:lnTo>
                    <a:pt x="1369" y="584"/>
                  </a:lnTo>
                  <a:lnTo>
                    <a:pt x="1371" y="587"/>
                  </a:lnTo>
                  <a:lnTo>
                    <a:pt x="1373" y="589"/>
                  </a:lnTo>
                  <a:lnTo>
                    <a:pt x="1373" y="591"/>
                  </a:lnTo>
                  <a:lnTo>
                    <a:pt x="1373" y="591"/>
                  </a:lnTo>
                  <a:lnTo>
                    <a:pt x="1377" y="589"/>
                  </a:lnTo>
                  <a:lnTo>
                    <a:pt x="1380" y="589"/>
                  </a:lnTo>
                  <a:lnTo>
                    <a:pt x="1382" y="591"/>
                  </a:lnTo>
                  <a:lnTo>
                    <a:pt x="1382" y="591"/>
                  </a:lnTo>
                  <a:lnTo>
                    <a:pt x="1384" y="589"/>
                  </a:lnTo>
                  <a:lnTo>
                    <a:pt x="1390" y="584"/>
                  </a:lnTo>
                  <a:lnTo>
                    <a:pt x="1390" y="584"/>
                  </a:lnTo>
                  <a:lnTo>
                    <a:pt x="1392" y="582"/>
                  </a:lnTo>
                  <a:lnTo>
                    <a:pt x="1396" y="580"/>
                  </a:lnTo>
                  <a:lnTo>
                    <a:pt x="1396" y="578"/>
                  </a:lnTo>
                  <a:lnTo>
                    <a:pt x="1398" y="576"/>
                  </a:lnTo>
                  <a:lnTo>
                    <a:pt x="1398" y="576"/>
                  </a:lnTo>
                  <a:close/>
                  <a:moveTo>
                    <a:pt x="1421" y="556"/>
                  </a:moveTo>
                  <a:lnTo>
                    <a:pt x="1423" y="554"/>
                  </a:lnTo>
                  <a:lnTo>
                    <a:pt x="1419" y="554"/>
                  </a:lnTo>
                  <a:lnTo>
                    <a:pt x="1417" y="551"/>
                  </a:lnTo>
                  <a:lnTo>
                    <a:pt x="1417" y="551"/>
                  </a:lnTo>
                  <a:lnTo>
                    <a:pt x="1417" y="551"/>
                  </a:lnTo>
                  <a:lnTo>
                    <a:pt x="1417" y="549"/>
                  </a:lnTo>
                  <a:lnTo>
                    <a:pt x="1417" y="549"/>
                  </a:lnTo>
                  <a:lnTo>
                    <a:pt x="1415" y="547"/>
                  </a:lnTo>
                  <a:lnTo>
                    <a:pt x="1413" y="547"/>
                  </a:lnTo>
                  <a:lnTo>
                    <a:pt x="1410" y="549"/>
                  </a:lnTo>
                  <a:lnTo>
                    <a:pt x="1410" y="549"/>
                  </a:lnTo>
                  <a:lnTo>
                    <a:pt x="1410" y="549"/>
                  </a:lnTo>
                  <a:lnTo>
                    <a:pt x="1406" y="547"/>
                  </a:lnTo>
                  <a:lnTo>
                    <a:pt x="1402" y="549"/>
                  </a:lnTo>
                  <a:lnTo>
                    <a:pt x="1398" y="549"/>
                  </a:lnTo>
                  <a:lnTo>
                    <a:pt x="1398" y="549"/>
                  </a:lnTo>
                  <a:lnTo>
                    <a:pt x="1402" y="547"/>
                  </a:lnTo>
                  <a:lnTo>
                    <a:pt x="1402" y="547"/>
                  </a:lnTo>
                  <a:lnTo>
                    <a:pt x="1402" y="545"/>
                  </a:lnTo>
                  <a:lnTo>
                    <a:pt x="1402" y="545"/>
                  </a:lnTo>
                  <a:lnTo>
                    <a:pt x="1400" y="541"/>
                  </a:lnTo>
                  <a:lnTo>
                    <a:pt x="1398" y="537"/>
                  </a:lnTo>
                  <a:lnTo>
                    <a:pt x="1396" y="535"/>
                  </a:lnTo>
                  <a:lnTo>
                    <a:pt x="1394" y="535"/>
                  </a:lnTo>
                  <a:lnTo>
                    <a:pt x="1394" y="533"/>
                  </a:lnTo>
                  <a:lnTo>
                    <a:pt x="1390" y="533"/>
                  </a:lnTo>
                  <a:lnTo>
                    <a:pt x="1388" y="533"/>
                  </a:lnTo>
                  <a:lnTo>
                    <a:pt x="1384" y="529"/>
                  </a:lnTo>
                  <a:lnTo>
                    <a:pt x="1380" y="529"/>
                  </a:lnTo>
                  <a:lnTo>
                    <a:pt x="1380" y="529"/>
                  </a:lnTo>
                  <a:lnTo>
                    <a:pt x="1377" y="525"/>
                  </a:lnTo>
                  <a:lnTo>
                    <a:pt x="1375" y="525"/>
                  </a:lnTo>
                  <a:lnTo>
                    <a:pt x="1373" y="523"/>
                  </a:lnTo>
                  <a:lnTo>
                    <a:pt x="1369" y="523"/>
                  </a:lnTo>
                  <a:lnTo>
                    <a:pt x="1367" y="523"/>
                  </a:lnTo>
                  <a:lnTo>
                    <a:pt x="1367" y="520"/>
                  </a:lnTo>
                  <a:lnTo>
                    <a:pt x="1367" y="520"/>
                  </a:lnTo>
                  <a:lnTo>
                    <a:pt x="1365" y="518"/>
                  </a:lnTo>
                  <a:lnTo>
                    <a:pt x="1361" y="516"/>
                  </a:lnTo>
                  <a:lnTo>
                    <a:pt x="1361" y="516"/>
                  </a:lnTo>
                  <a:lnTo>
                    <a:pt x="1361" y="516"/>
                  </a:lnTo>
                  <a:lnTo>
                    <a:pt x="1357" y="520"/>
                  </a:lnTo>
                  <a:lnTo>
                    <a:pt x="1357" y="520"/>
                  </a:lnTo>
                  <a:lnTo>
                    <a:pt x="1357" y="520"/>
                  </a:lnTo>
                  <a:lnTo>
                    <a:pt x="1355" y="520"/>
                  </a:lnTo>
                  <a:lnTo>
                    <a:pt x="1353" y="516"/>
                  </a:lnTo>
                  <a:lnTo>
                    <a:pt x="1351" y="514"/>
                  </a:lnTo>
                  <a:lnTo>
                    <a:pt x="1351" y="514"/>
                  </a:lnTo>
                  <a:lnTo>
                    <a:pt x="1351" y="514"/>
                  </a:lnTo>
                  <a:lnTo>
                    <a:pt x="1353" y="514"/>
                  </a:lnTo>
                  <a:lnTo>
                    <a:pt x="1353" y="512"/>
                  </a:lnTo>
                  <a:lnTo>
                    <a:pt x="1353" y="510"/>
                  </a:lnTo>
                  <a:lnTo>
                    <a:pt x="1353" y="510"/>
                  </a:lnTo>
                  <a:lnTo>
                    <a:pt x="1351" y="508"/>
                  </a:lnTo>
                  <a:lnTo>
                    <a:pt x="1349" y="508"/>
                  </a:lnTo>
                  <a:lnTo>
                    <a:pt x="1347" y="506"/>
                  </a:lnTo>
                  <a:lnTo>
                    <a:pt x="1347" y="506"/>
                  </a:lnTo>
                  <a:lnTo>
                    <a:pt x="1347" y="506"/>
                  </a:lnTo>
                  <a:lnTo>
                    <a:pt x="1344" y="506"/>
                  </a:lnTo>
                  <a:lnTo>
                    <a:pt x="1342" y="508"/>
                  </a:lnTo>
                  <a:lnTo>
                    <a:pt x="1340" y="510"/>
                  </a:lnTo>
                  <a:lnTo>
                    <a:pt x="1340" y="512"/>
                  </a:lnTo>
                  <a:lnTo>
                    <a:pt x="1338" y="514"/>
                  </a:lnTo>
                  <a:lnTo>
                    <a:pt x="1338" y="516"/>
                  </a:lnTo>
                  <a:lnTo>
                    <a:pt x="1338" y="527"/>
                  </a:lnTo>
                  <a:lnTo>
                    <a:pt x="1336" y="529"/>
                  </a:lnTo>
                  <a:lnTo>
                    <a:pt x="1336" y="535"/>
                  </a:lnTo>
                  <a:lnTo>
                    <a:pt x="1334" y="537"/>
                  </a:lnTo>
                  <a:lnTo>
                    <a:pt x="1334" y="539"/>
                  </a:lnTo>
                  <a:lnTo>
                    <a:pt x="1334" y="541"/>
                  </a:lnTo>
                  <a:lnTo>
                    <a:pt x="1336" y="545"/>
                  </a:lnTo>
                  <a:lnTo>
                    <a:pt x="1336" y="545"/>
                  </a:lnTo>
                  <a:lnTo>
                    <a:pt x="1336" y="547"/>
                  </a:lnTo>
                  <a:lnTo>
                    <a:pt x="1336" y="547"/>
                  </a:lnTo>
                  <a:lnTo>
                    <a:pt x="1334" y="549"/>
                  </a:lnTo>
                  <a:lnTo>
                    <a:pt x="1328" y="551"/>
                  </a:lnTo>
                  <a:lnTo>
                    <a:pt x="1326" y="551"/>
                  </a:lnTo>
                  <a:lnTo>
                    <a:pt x="1326" y="554"/>
                  </a:lnTo>
                  <a:lnTo>
                    <a:pt x="1324" y="556"/>
                  </a:lnTo>
                  <a:lnTo>
                    <a:pt x="1324" y="558"/>
                  </a:lnTo>
                  <a:lnTo>
                    <a:pt x="1324" y="558"/>
                  </a:lnTo>
                  <a:lnTo>
                    <a:pt x="1324" y="560"/>
                  </a:lnTo>
                  <a:lnTo>
                    <a:pt x="1324" y="560"/>
                  </a:lnTo>
                  <a:lnTo>
                    <a:pt x="1326" y="560"/>
                  </a:lnTo>
                  <a:lnTo>
                    <a:pt x="1328" y="560"/>
                  </a:lnTo>
                  <a:lnTo>
                    <a:pt x="1328" y="560"/>
                  </a:lnTo>
                  <a:lnTo>
                    <a:pt x="1332" y="558"/>
                  </a:lnTo>
                  <a:lnTo>
                    <a:pt x="1336" y="558"/>
                  </a:lnTo>
                  <a:lnTo>
                    <a:pt x="1342" y="556"/>
                  </a:lnTo>
                  <a:lnTo>
                    <a:pt x="1344" y="556"/>
                  </a:lnTo>
                  <a:lnTo>
                    <a:pt x="1344" y="558"/>
                  </a:lnTo>
                  <a:lnTo>
                    <a:pt x="1344" y="558"/>
                  </a:lnTo>
                  <a:lnTo>
                    <a:pt x="1347" y="566"/>
                  </a:lnTo>
                  <a:lnTo>
                    <a:pt x="1347" y="570"/>
                  </a:lnTo>
                  <a:lnTo>
                    <a:pt x="1349" y="570"/>
                  </a:lnTo>
                  <a:lnTo>
                    <a:pt x="1351" y="570"/>
                  </a:lnTo>
                  <a:lnTo>
                    <a:pt x="1355" y="568"/>
                  </a:lnTo>
                  <a:lnTo>
                    <a:pt x="1357" y="566"/>
                  </a:lnTo>
                  <a:lnTo>
                    <a:pt x="1359" y="566"/>
                  </a:lnTo>
                  <a:lnTo>
                    <a:pt x="1361" y="564"/>
                  </a:lnTo>
                  <a:lnTo>
                    <a:pt x="1361" y="564"/>
                  </a:lnTo>
                  <a:lnTo>
                    <a:pt x="1363" y="560"/>
                  </a:lnTo>
                  <a:lnTo>
                    <a:pt x="1365" y="560"/>
                  </a:lnTo>
                  <a:lnTo>
                    <a:pt x="1365" y="560"/>
                  </a:lnTo>
                  <a:lnTo>
                    <a:pt x="1367" y="558"/>
                  </a:lnTo>
                  <a:lnTo>
                    <a:pt x="1369" y="558"/>
                  </a:lnTo>
                  <a:lnTo>
                    <a:pt x="1373" y="554"/>
                  </a:lnTo>
                  <a:lnTo>
                    <a:pt x="1373" y="554"/>
                  </a:lnTo>
                  <a:lnTo>
                    <a:pt x="1373" y="551"/>
                  </a:lnTo>
                  <a:lnTo>
                    <a:pt x="1373" y="549"/>
                  </a:lnTo>
                  <a:lnTo>
                    <a:pt x="1375" y="549"/>
                  </a:lnTo>
                  <a:lnTo>
                    <a:pt x="1375" y="547"/>
                  </a:lnTo>
                  <a:lnTo>
                    <a:pt x="1380" y="547"/>
                  </a:lnTo>
                  <a:lnTo>
                    <a:pt x="1380" y="545"/>
                  </a:lnTo>
                  <a:lnTo>
                    <a:pt x="1382" y="545"/>
                  </a:lnTo>
                  <a:lnTo>
                    <a:pt x="1384" y="547"/>
                  </a:lnTo>
                  <a:lnTo>
                    <a:pt x="1382" y="549"/>
                  </a:lnTo>
                  <a:lnTo>
                    <a:pt x="1382" y="549"/>
                  </a:lnTo>
                  <a:lnTo>
                    <a:pt x="1384" y="549"/>
                  </a:lnTo>
                  <a:lnTo>
                    <a:pt x="1390" y="551"/>
                  </a:lnTo>
                  <a:lnTo>
                    <a:pt x="1390" y="551"/>
                  </a:lnTo>
                  <a:lnTo>
                    <a:pt x="1392" y="556"/>
                  </a:lnTo>
                  <a:lnTo>
                    <a:pt x="1392" y="556"/>
                  </a:lnTo>
                  <a:lnTo>
                    <a:pt x="1396" y="558"/>
                  </a:lnTo>
                  <a:lnTo>
                    <a:pt x="1398" y="558"/>
                  </a:lnTo>
                  <a:lnTo>
                    <a:pt x="1406" y="560"/>
                  </a:lnTo>
                  <a:lnTo>
                    <a:pt x="1408" y="562"/>
                  </a:lnTo>
                  <a:lnTo>
                    <a:pt x="1410" y="562"/>
                  </a:lnTo>
                  <a:lnTo>
                    <a:pt x="1410" y="562"/>
                  </a:lnTo>
                  <a:lnTo>
                    <a:pt x="1413" y="562"/>
                  </a:lnTo>
                  <a:lnTo>
                    <a:pt x="1415" y="560"/>
                  </a:lnTo>
                  <a:lnTo>
                    <a:pt x="1419" y="558"/>
                  </a:lnTo>
                  <a:lnTo>
                    <a:pt x="1421" y="556"/>
                  </a:lnTo>
                  <a:close/>
                  <a:moveTo>
                    <a:pt x="1561" y="578"/>
                  </a:moveTo>
                  <a:lnTo>
                    <a:pt x="1559" y="576"/>
                  </a:lnTo>
                  <a:lnTo>
                    <a:pt x="1557" y="576"/>
                  </a:lnTo>
                  <a:lnTo>
                    <a:pt x="1555" y="574"/>
                  </a:lnTo>
                  <a:lnTo>
                    <a:pt x="1553" y="574"/>
                  </a:lnTo>
                  <a:lnTo>
                    <a:pt x="1551" y="574"/>
                  </a:lnTo>
                  <a:lnTo>
                    <a:pt x="1553" y="576"/>
                  </a:lnTo>
                  <a:lnTo>
                    <a:pt x="1555" y="576"/>
                  </a:lnTo>
                  <a:lnTo>
                    <a:pt x="1557" y="578"/>
                  </a:lnTo>
                  <a:lnTo>
                    <a:pt x="1557" y="580"/>
                  </a:lnTo>
                  <a:lnTo>
                    <a:pt x="1557" y="580"/>
                  </a:lnTo>
                  <a:lnTo>
                    <a:pt x="1559" y="582"/>
                  </a:lnTo>
                  <a:lnTo>
                    <a:pt x="1561" y="582"/>
                  </a:lnTo>
                  <a:lnTo>
                    <a:pt x="1563" y="582"/>
                  </a:lnTo>
                  <a:lnTo>
                    <a:pt x="1563" y="582"/>
                  </a:lnTo>
                  <a:lnTo>
                    <a:pt x="1565" y="582"/>
                  </a:lnTo>
                  <a:lnTo>
                    <a:pt x="1565" y="582"/>
                  </a:lnTo>
                  <a:lnTo>
                    <a:pt x="1565" y="580"/>
                  </a:lnTo>
                  <a:lnTo>
                    <a:pt x="1563" y="580"/>
                  </a:lnTo>
                  <a:lnTo>
                    <a:pt x="1561" y="578"/>
                  </a:lnTo>
                  <a:close/>
                  <a:moveTo>
                    <a:pt x="1598" y="626"/>
                  </a:moveTo>
                  <a:lnTo>
                    <a:pt x="1596" y="624"/>
                  </a:lnTo>
                  <a:lnTo>
                    <a:pt x="1594" y="626"/>
                  </a:lnTo>
                  <a:lnTo>
                    <a:pt x="1594" y="628"/>
                  </a:lnTo>
                  <a:lnTo>
                    <a:pt x="1592" y="630"/>
                  </a:lnTo>
                  <a:lnTo>
                    <a:pt x="1592" y="630"/>
                  </a:lnTo>
                  <a:lnTo>
                    <a:pt x="1592" y="632"/>
                  </a:lnTo>
                  <a:lnTo>
                    <a:pt x="1592" y="632"/>
                  </a:lnTo>
                  <a:lnTo>
                    <a:pt x="1594" y="632"/>
                  </a:lnTo>
                  <a:lnTo>
                    <a:pt x="1596" y="630"/>
                  </a:lnTo>
                  <a:lnTo>
                    <a:pt x="1598" y="630"/>
                  </a:lnTo>
                  <a:lnTo>
                    <a:pt x="1598" y="628"/>
                  </a:lnTo>
                  <a:lnTo>
                    <a:pt x="1600" y="628"/>
                  </a:lnTo>
                  <a:lnTo>
                    <a:pt x="1598" y="626"/>
                  </a:lnTo>
                  <a:lnTo>
                    <a:pt x="1598" y="626"/>
                  </a:lnTo>
                  <a:lnTo>
                    <a:pt x="1598" y="626"/>
                  </a:lnTo>
                  <a:close/>
                  <a:moveTo>
                    <a:pt x="1641" y="628"/>
                  </a:moveTo>
                  <a:lnTo>
                    <a:pt x="1643" y="630"/>
                  </a:lnTo>
                  <a:lnTo>
                    <a:pt x="1646" y="630"/>
                  </a:lnTo>
                  <a:lnTo>
                    <a:pt x="1648" y="630"/>
                  </a:lnTo>
                  <a:lnTo>
                    <a:pt x="1648" y="630"/>
                  </a:lnTo>
                  <a:lnTo>
                    <a:pt x="1648" y="628"/>
                  </a:lnTo>
                  <a:lnTo>
                    <a:pt x="1646" y="628"/>
                  </a:lnTo>
                  <a:lnTo>
                    <a:pt x="1646" y="626"/>
                  </a:lnTo>
                  <a:lnTo>
                    <a:pt x="1643" y="626"/>
                  </a:lnTo>
                  <a:lnTo>
                    <a:pt x="1641" y="626"/>
                  </a:lnTo>
                  <a:lnTo>
                    <a:pt x="1641" y="628"/>
                  </a:lnTo>
                  <a:lnTo>
                    <a:pt x="1641" y="628"/>
                  </a:lnTo>
                  <a:close/>
                  <a:moveTo>
                    <a:pt x="1577" y="659"/>
                  </a:moveTo>
                  <a:lnTo>
                    <a:pt x="1577" y="659"/>
                  </a:lnTo>
                  <a:lnTo>
                    <a:pt x="1577" y="659"/>
                  </a:lnTo>
                  <a:lnTo>
                    <a:pt x="1580" y="659"/>
                  </a:lnTo>
                  <a:lnTo>
                    <a:pt x="1580" y="657"/>
                  </a:lnTo>
                  <a:lnTo>
                    <a:pt x="1580" y="657"/>
                  </a:lnTo>
                  <a:lnTo>
                    <a:pt x="1580" y="657"/>
                  </a:lnTo>
                  <a:lnTo>
                    <a:pt x="1580" y="657"/>
                  </a:lnTo>
                  <a:lnTo>
                    <a:pt x="1580" y="655"/>
                  </a:lnTo>
                  <a:lnTo>
                    <a:pt x="1577" y="655"/>
                  </a:lnTo>
                  <a:lnTo>
                    <a:pt x="1577" y="655"/>
                  </a:lnTo>
                  <a:lnTo>
                    <a:pt x="1577" y="657"/>
                  </a:lnTo>
                  <a:lnTo>
                    <a:pt x="1577" y="657"/>
                  </a:lnTo>
                  <a:lnTo>
                    <a:pt x="1577" y="659"/>
                  </a:lnTo>
                  <a:close/>
                  <a:moveTo>
                    <a:pt x="1633" y="601"/>
                  </a:moveTo>
                  <a:lnTo>
                    <a:pt x="1633" y="603"/>
                  </a:lnTo>
                  <a:lnTo>
                    <a:pt x="1633" y="603"/>
                  </a:lnTo>
                  <a:lnTo>
                    <a:pt x="1637" y="605"/>
                  </a:lnTo>
                  <a:lnTo>
                    <a:pt x="1639" y="607"/>
                  </a:lnTo>
                  <a:lnTo>
                    <a:pt x="1639" y="607"/>
                  </a:lnTo>
                  <a:lnTo>
                    <a:pt x="1641" y="607"/>
                  </a:lnTo>
                  <a:lnTo>
                    <a:pt x="1641" y="607"/>
                  </a:lnTo>
                  <a:lnTo>
                    <a:pt x="1641" y="607"/>
                  </a:lnTo>
                  <a:lnTo>
                    <a:pt x="1643" y="607"/>
                  </a:lnTo>
                  <a:lnTo>
                    <a:pt x="1643" y="607"/>
                  </a:lnTo>
                  <a:lnTo>
                    <a:pt x="1643" y="605"/>
                  </a:lnTo>
                  <a:lnTo>
                    <a:pt x="1643" y="605"/>
                  </a:lnTo>
                  <a:lnTo>
                    <a:pt x="1643" y="603"/>
                  </a:lnTo>
                  <a:lnTo>
                    <a:pt x="1643" y="601"/>
                  </a:lnTo>
                  <a:lnTo>
                    <a:pt x="1643" y="601"/>
                  </a:lnTo>
                  <a:lnTo>
                    <a:pt x="1639" y="601"/>
                  </a:lnTo>
                  <a:lnTo>
                    <a:pt x="1637" y="601"/>
                  </a:lnTo>
                  <a:lnTo>
                    <a:pt x="1635" y="601"/>
                  </a:lnTo>
                  <a:lnTo>
                    <a:pt x="1633" y="601"/>
                  </a:lnTo>
                  <a:close/>
                  <a:moveTo>
                    <a:pt x="1433" y="411"/>
                  </a:moveTo>
                  <a:lnTo>
                    <a:pt x="1431" y="411"/>
                  </a:lnTo>
                  <a:lnTo>
                    <a:pt x="1429" y="411"/>
                  </a:lnTo>
                  <a:lnTo>
                    <a:pt x="1427" y="413"/>
                  </a:lnTo>
                  <a:lnTo>
                    <a:pt x="1427" y="413"/>
                  </a:lnTo>
                  <a:lnTo>
                    <a:pt x="1425" y="413"/>
                  </a:lnTo>
                  <a:lnTo>
                    <a:pt x="1425" y="413"/>
                  </a:lnTo>
                  <a:lnTo>
                    <a:pt x="1423" y="413"/>
                  </a:lnTo>
                  <a:lnTo>
                    <a:pt x="1423" y="411"/>
                  </a:lnTo>
                  <a:lnTo>
                    <a:pt x="1421" y="411"/>
                  </a:lnTo>
                  <a:lnTo>
                    <a:pt x="1419" y="411"/>
                  </a:lnTo>
                  <a:lnTo>
                    <a:pt x="1419" y="413"/>
                  </a:lnTo>
                  <a:lnTo>
                    <a:pt x="1419" y="413"/>
                  </a:lnTo>
                  <a:lnTo>
                    <a:pt x="1419" y="413"/>
                  </a:lnTo>
                  <a:lnTo>
                    <a:pt x="1417" y="413"/>
                  </a:lnTo>
                  <a:lnTo>
                    <a:pt x="1415" y="413"/>
                  </a:lnTo>
                  <a:lnTo>
                    <a:pt x="1415" y="413"/>
                  </a:lnTo>
                  <a:lnTo>
                    <a:pt x="1415" y="415"/>
                  </a:lnTo>
                  <a:lnTo>
                    <a:pt x="1415" y="415"/>
                  </a:lnTo>
                  <a:lnTo>
                    <a:pt x="1419" y="415"/>
                  </a:lnTo>
                  <a:lnTo>
                    <a:pt x="1421" y="415"/>
                  </a:lnTo>
                  <a:lnTo>
                    <a:pt x="1421" y="417"/>
                  </a:lnTo>
                  <a:lnTo>
                    <a:pt x="1421" y="417"/>
                  </a:lnTo>
                  <a:lnTo>
                    <a:pt x="1423" y="417"/>
                  </a:lnTo>
                  <a:lnTo>
                    <a:pt x="1423" y="417"/>
                  </a:lnTo>
                  <a:lnTo>
                    <a:pt x="1423" y="417"/>
                  </a:lnTo>
                  <a:lnTo>
                    <a:pt x="1423" y="419"/>
                  </a:lnTo>
                  <a:lnTo>
                    <a:pt x="1425" y="419"/>
                  </a:lnTo>
                  <a:lnTo>
                    <a:pt x="1427" y="419"/>
                  </a:lnTo>
                  <a:lnTo>
                    <a:pt x="1427" y="419"/>
                  </a:lnTo>
                  <a:lnTo>
                    <a:pt x="1427" y="417"/>
                  </a:lnTo>
                  <a:lnTo>
                    <a:pt x="1425" y="415"/>
                  </a:lnTo>
                  <a:lnTo>
                    <a:pt x="1427" y="417"/>
                  </a:lnTo>
                  <a:lnTo>
                    <a:pt x="1433" y="415"/>
                  </a:lnTo>
                  <a:lnTo>
                    <a:pt x="1435" y="415"/>
                  </a:lnTo>
                  <a:lnTo>
                    <a:pt x="1435" y="413"/>
                  </a:lnTo>
                  <a:lnTo>
                    <a:pt x="1435" y="413"/>
                  </a:lnTo>
                  <a:lnTo>
                    <a:pt x="1433" y="411"/>
                  </a:lnTo>
                  <a:close/>
                  <a:moveTo>
                    <a:pt x="1441" y="448"/>
                  </a:moveTo>
                  <a:lnTo>
                    <a:pt x="1437" y="448"/>
                  </a:lnTo>
                  <a:lnTo>
                    <a:pt x="1437" y="450"/>
                  </a:lnTo>
                  <a:lnTo>
                    <a:pt x="1437" y="450"/>
                  </a:lnTo>
                  <a:lnTo>
                    <a:pt x="1439" y="452"/>
                  </a:lnTo>
                  <a:lnTo>
                    <a:pt x="1439" y="452"/>
                  </a:lnTo>
                  <a:lnTo>
                    <a:pt x="1443" y="450"/>
                  </a:lnTo>
                  <a:lnTo>
                    <a:pt x="1441" y="448"/>
                  </a:lnTo>
                  <a:lnTo>
                    <a:pt x="1441" y="448"/>
                  </a:lnTo>
                  <a:close/>
                  <a:moveTo>
                    <a:pt x="2823" y="423"/>
                  </a:moveTo>
                  <a:lnTo>
                    <a:pt x="2825" y="421"/>
                  </a:lnTo>
                  <a:lnTo>
                    <a:pt x="2823" y="419"/>
                  </a:lnTo>
                  <a:lnTo>
                    <a:pt x="2823" y="419"/>
                  </a:lnTo>
                  <a:lnTo>
                    <a:pt x="2823" y="419"/>
                  </a:lnTo>
                  <a:lnTo>
                    <a:pt x="2821" y="417"/>
                  </a:lnTo>
                  <a:lnTo>
                    <a:pt x="2821" y="417"/>
                  </a:lnTo>
                  <a:lnTo>
                    <a:pt x="2819" y="417"/>
                  </a:lnTo>
                  <a:lnTo>
                    <a:pt x="2817" y="417"/>
                  </a:lnTo>
                  <a:lnTo>
                    <a:pt x="2817" y="417"/>
                  </a:lnTo>
                  <a:lnTo>
                    <a:pt x="2815" y="417"/>
                  </a:lnTo>
                  <a:lnTo>
                    <a:pt x="2815" y="417"/>
                  </a:lnTo>
                  <a:lnTo>
                    <a:pt x="2815" y="419"/>
                  </a:lnTo>
                  <a:lnTo>
                    <a:pt x="2815" y="419"/>
                  </a:lnTo>
                  <a:lnTo>
                    <a:pt x="2813" y="419"/>
                  </a:lnTo>
                  <a:lnTo>
                    <a:pt x="2813" y="419"/>
                  </a:lnTo>
                  <a:lnTo>
                    <a:pt x="2815" y="421"/>
                  </a:lnTo>
                  <a:lnTo>
                    <a:pt x="2815" y="421"/>
                  </a:lnTo>
                  <a:lnTo>
                    <a:pt x="2815" y="421"/>
                  </a:lnTo>
                  <a:lnTo>
                    <a:pt x="2811" y="421"/>
                  </a:lnTo>
                  <a:lnTo>
                    <a:pt x="2809" y="423"/>
                  </a:lnTo>
                  <a:lnTo>
                    <a:pt x="2809" y="423"/>
                  </a:lnTo>
                  <a:lnTo>
                    <a:pt x="2809" y="426"/>
                  </a:lnTo>
                  <a:lnTo>
                    <a:pt x="2809" y="428"/>
                  </a:lnTo>
                  <a:lnTo>
                    <a:pt x="2809" y="428"/>
                  </a:lnTo>
                  <a:lnTo>
                    <a:pt x="2806" y="430"/>
                  </a:lnTo>
                  <a:lnTo>
                    <a:pt x="2806" y="430"/>
                  </a:lnTo>
                  <a:lnTo>
                    <a:pt x="2806" y="430"/>
                  </a:lnTo>
                  <a:lnTo>
                    <a:pt x="2809" y="430"/>
                  </a:lnTo>
                  <a:lnTo>
                    <a:pt x="2811" y="430"/>
                  </a:lnTo>
                  <a:lnTo>
                    <a:pt x="2811" y="432"/>
                  </a:lnTo>
                  <a:lnTo>
                    <a:pt x="2811" y="432"/>
                  </a:lnTo>
                  <a:lnTo>
                    <a:pt x="2813" y="428"/>
                  </a:lnTo>
                  <a:lnTo>
                    <a:pt x="2815" y="428"/>
                  </a:lnTo>
                  <a:lnTo>
                    <a:pt x="2817" y="428"/>
                  </a:lnTo>
                  <a:lnTo>
                    <a:pt x="2819" y="428"/>
                  </a:lnTo>
                  <a:lnTo>
                    <a:pt x="2823" y="428"/>
                  </a:lnTo>
                  <a:lnTo>
                    <a:pt x="2821" y="426"/>
                  </a:lnTo>
                  <a:lnTo>
                    <a:pt x="2823" y="423"/>
                  </a:lnTo>
                  <a:lnTo>
                    <a:pt x="2823" y="423"/>
                  </a:lnTo>
                  <a:close/>
                  <a:moveTo>
                    <a:pt x="1425" y="601"/>
                  </a:moveTo>
                  <a:lnTo>
                    <a:pt x="1427" y="603"/>
                  </a:lnTo>
                  <a:lnTo>
                    <a:pt x="1429" y="603"/>
                  </a:lnTo>
                  <a:lnTo>
                    <a:pt x="1429" y="603"/>
                  </a:lnTo>
                  <a:lnTo>
                    <a:pt x="1429" y="603"/>
                  </a:lnTo>
                  <a:lnTo>
                    <a:pt x="1431" y="601"/>
                  </a:lnTo>
                  <a:lnTo>
                    <a:pt x="1431" y="601"/>
                  </a:lnTo>
                  <a:lnTo>
                    <a:pt x="1433" y="599"/>
                  </a:lnTo>
                  <a:lnTo>
                    <a:pt x="1433" y="597"/>
                  </a:lnTo>
                  <a:lnTo>
                    <a:pt x="1435" y="595"/>
                  </a:lnTo>
                  <a:lnTo>
                    <a:pt x="1435" y="593"/>
                  </a:lnTo>
                  <a:lnTo>
                    <a:pt x="1435" y="593"/>
                  </a:lnTo>
                  <a:lnTo>
                    <a:pt x="1435" y="591"/>
                  </a:lnTo>
                  <a:lnTo>
                    <a:pt x="1435" y="589"/>
                  </a:lnTo>
                  <a:lnTo>
                    <a:pt x="1435" y="589"/>
                  </a:lnTo>
                  <a:lnTo>
                    <a:pt x="1433" y="587"/>
                  </a:lnTo>
                  <a:lnTo>
                    <a:pt x="1433" y="584"/>
                  </a:lnTo>
                  <a:lnTo>
                    <a:pt x="1431" y="584"/>
                  </a:lnTo>
                  <a:lnTo>
                    <a:pt x="1431" y="584"/>
                  </a:lnTo>
                  <a:lnTo>
                    <a:pt x="1429" y="584"/>
                  </a:lnTo>
                  <a:lnTo>
                    <a:pt x="1427" y="584"/>
                  </a:lnTo>
                  <a:lnTo>
                    <a:pt x="1427" y="587"/>
                  </a:lnTo>
                  <a:lnTo>
                    <a:pt x="1425" y="587"/>
                  </a:lnTo>
                  <a:lnTo>
                    <a:pt x="1423" y="589"/>
                  </a:lnTo>
                  <a:lnTo>
                    <a:pt x="1423" y="591"/>
                  </a:lnTo>
                  <a:lnTo>
                    <a:pt x="1423" y="593"/>
                  </a:lnTo>
                  <a:lnTo>
                    <a:pt x="1423" y="593"/>
                  </a:lnTo>
                  <a:lnTo>
                    <a:pt x="1421" y="595"/>
                  </a:lnTo>
                  <a:lnTo>
                    <a:pt x="1423" y="597"/>
                  </a:lnTo>
                  <a:lnTo>
                    <a:pt x="1423" y="599"/>
                  </a:lnTo>
                  <a:lnTo>
                    <a:pt x="1423" y="599"/>
                  </a:lnTo>
                  <a:lnTo>
                    <a:pt x="1425" y="599"/>
                  </a:lnTo>
                  <a:lnTo>
                    <a:pt x="1425" y="601"/>
                  </a:lnTo>
                  <a:close/>
                  <a:moveTo>
                    <a:pt x="1373" y="506"/>
                  </a:moveTo>
                  <a:lnTo>
                    <a:pt x="1373" y="506"/>
                  </a:lnTo>
                  <a:lnTo>
                    <a:pt x="1371" y="504"/>
                  </a:lnTo>
                  <a:lnTo>
                    <a:pt x="1369" y="504"/>
                  </a:lnTo>
                  <a:lnTo>
                    <a:pt x="1367" y="502"/>
                  </a:lnTo>
                  <a:lnTo>
                    <a:pt x="1363" y="500"/>
                  </a:lnTo>
                  <a:lnTo>
                    <a:pt x="1363" y="502"/>
                  </a:lnTo>
                  <a:lnTo>
                    <a:pt x="1363" y="502"/>
                  </a:lnTo>
                  <a:lnTo>
                    <a:pt x="1363" y="502"/>
                  </a:lnTo>
                  <a:lnTo>
                    <a:pt x="1363" y="504"/>
                  </a:lnTo>
                  <a:lnTo>
                    <a:pt x="1365" y="504"/>
                  </a:lnTo>
                  <a:lnTo>
                    <a:pt x="1365" y="504"/>
                  </a:lnTo>
                  <a:lnTo>
                    <a:pt x="1365" y="506"/>
                  </a:lnTo>
                  <a:lnTo>
                    <a:pt x="1367" y="506"/>
                  </a:lnTo>
                  <a:lnTo>
                    <a:pt x="1367" y="506"/>
                  </a:lnTo>
                  <a:lnTo>
                    <a:pt x="1367" y="510"/>
                  </a:lnTo>
                  <a:lnTo>
                    <a:pt x="1369" y="510"/>
                  </a:lnTo>
                  <a:lnTo>
                    <a:pt x="1369" y="510"/>
                  </a:lnTo>
                  <a:lnTo>
                    <a:pt x="1371" y="508"/>
                  </a:lnTo>
                  <a:lnTo>
                    <a:pt x="1371" y="510"/>
                  </a:lnTo>
                  <a:lnTo>
                    <a:pt x="1373" y="510"/>
                  </a:lnTo>
                  <a:lnTo>
                    <a:pt x="1371" y="510"/>
                  </a:lnTo>
                  <a:lnTo>
                    <a:pt x="1371" y="512"/>
                  </a:lnTo>
                  <a:lnTo>
                    <a:pt x="1371" y="512"/>
                  </a:lnTo>
                  <a:lnTo>
                    <a:pt x="1373" y="512"/>
                  </a:lnTo>
                  <a:lnTo>
                    <a:pt x="1373" y="512"/>
                  </a:lnTo>
                  <a:lnTo>
                    <a:pt x="1373" y="512"/>
                  </a:lnTo>
                  <a:lnTo>
                    <a:pt x="1373" y="510"/>
                  </a:lnTo>
                  <a:lnTo>
                    <a:pt x="1373" y="510"/>
                  </a:lnTo>
                  <a:lnTo>
                    <a:pt x="1375" y="510"/>
                  </a:lnTo>
                  <a:lnTo>
                    <a:pt x="1375" y="512"/>
                  </a:lnTo>
                  <a:lnTo>
                    <a:pt x="1375" y="512"/>
                  </a:lnTo>
                  <a:lnTo>
                    <a:pt x="1377" y="512"/>
                  </a:lnTo>
                  <a:lnTo>
                    <a:pt x="1377" y="512"/>
                  </a:lnTo>
                  <a:lnTo>
                    <a:pt x="1380" y="512"/>
                  </a:lnTo>
                  <a:lnTo>
                    <a:pt x="1380" y="510"/>
                  </a:lnTo>
                  <a:lnTo>
                    <a:pt x="1380" y="510"/>
                  </a:lnTo>
                  <a:lnTo>
                    <a:pt x="1380" y="510"/>
                  </a:lnTo>
                  <a:lnTo>
                    <a:pt x="1375" y="510"/>
                  </a:lnTo>
                  <a:lnTo>
                    <a:pt x="1375" y="510"/>
                  </a:lnTo>
                  <a:lnTo>
                    <a:pt x="1373" y="508"/>
                  </a:lnTo>
                  <a:lnTo>
                    <a:pt x="1371" y="508"/>
                  </a:lnTo>
                  <a:lnTo>
                    <a:pt x="1373" y="508"/>
                  </a:lnTo>
                  <a:lnTo>
                    <a:pt x="1373" y="506"/>
                  </a:lnTo>
                  <a:close/>
                  <a:moveTo>
                    <a:pt x="1445" y="419"/>
                  </a:moveTo>
                  <a:lnTo>
                    <a:pt x="1445" y="419"/>
                  </a:lnTo>
                  <a:lnTo>
                    <a:pt x="1448" y="419"/>
                  </a:lnTo>
                  <a:lnTo>
                    <a:pt x="1450" y="417"/>
                  </a:lnTo>
                  <a:lnTo>
                    <a:pt x="1454" y="417"/>
                  </a:lnTo>
                  <a:lnTo>
                    <a:pt x="1454" y="415"/>
                  </a:lnTo>
                  <a:lnTo>
                    <a:pt x="1454" y="415"/>
                  </a:lnTo>
                  <a:lnTo>
                    <a:pt x="1454" y="413"/>
                  </a:lnTo>
                  <a:lnTo>
                    <a:pt x="1452" y="413"/>
                  </a:lnTo>
                  <a:lnTo>
                    <a:pt x="1452" y="413"/>
                  </a:lnTo>
                  <a:lnTo>
                    <a:pt x="1450" y="413"/>
                  </a:lnTo>
                  <a:lnTo>
                    <a:pt x="1450" y="415"/>
                  </a:lnTo>
                  <a:lnTo>
                    <a:pt x="1450" y="415"/>
                  </a:lnTo>
                  <a:lnTo>
                    <a:pt x="1450" y="415"/>
                  </a:lnTo>
                  <a:lnTo>
                    <a:pt x="1448" y="415"/>
                  </a:lnTo>
                  <a:lnTo>
                    <a:pt x="1445" y="415"/>
                  </a:lnTo>
                  <a:lnTo>
                    <a:pt x="1443" y="419"/>
                  </a:lnTo>
                  <a:lnTo>
                    <a:pt x="1441" y="419"/>
                  </a:lnTo>
                  <a:lnTo>
                    <a:pt x="1443" y="419"/>
                  </a:lnTo>
                  <a:lnTo>
                    <a:pt x="1445" y="419"/>
                  </a:lnTo>
                  <a:close/>
                  <a:moveTo>
                    <a:pt x="1380" y="498"/>
                  </a:moveTo>
                  <a:lnTo>
                    <a:pt x="1382" y="498"/>
                  </a:lnTo>
                  <a:lnTo>
                    <a:pt x="1382" y="500"/>
                  </a:lnTo>
                  <a:lnTo>
                    <a:pt x="1384" y="500"/>
                  </a:lnTo>
                  <a:lnTo>
                    <a:pt x="1384" y="498"/>
                  </a:lnTo>
                  <a:lnTo>
                    <a:pt x="1384" y="498"/>
                  </a:lnTo>
                  <a:lnTo>
                    <a:pt x="1384" y="498"/>
                  </a:lnTo>
                  <a:lnTo>
                    <a:pt x="1382" y="498"/>
                  </a:lnTo>
                  <a:lnTo>
                    <a:pt x="1380" y="496"/>
                  </a:lnTo>
                  <a:lnTo>
                    <a:pt x="1380" y="496"/>
                  </a:lnTo>
                  <a:lnTo>
                    <a:pt x="1380" y="496"/>
                  </a:lnTo>
                  <a:lnTo>
                    <a:pt x="1380" y="498"/>
                  </a:lnTo>
                  <a:close/>
                  <a:moveTo>
                    <a:pt x="1353" y="508"/>
                  </a:moveTo>
                  <a:lnTo>
                    <a:pt x="1353" y="510"/>
                  </a:lnTo>
                  <a:lnTo>
                    <a:pt x="1353" y="510"/>
                  </a:lnTo>
                  <a:lnTo>
                    <a:pt x="1355" y="510"/>
                  </a:lnTo>
                  <a:lnTo>
                    <a:pt x="1357" y="512"/>
                  </a:lnTo>
                  <a:lnTo>
                    <a:pt x="1357" y="512"/>
                  </a:lnTo>
                  <a:lnTo>
                    <a:pt x="1357" y="514"/>
                  </a:lnTo>
                  <a:lnTo>
                    <a:pt x="1359" y="514"/>
                  </a:lnTo>
                  <a:lnTo>
                    <a:pt x="1359" y="514"/>
                  </a:lnTo>
                  <a:lnTo>
                    <a:pt x="1359" y="512"/>
                  </a:lnTo>
                  <a:lnTo>
                    <a:pt x="1361" y="512"/>
                  </a:lnTo>
                  <a:lnTo>
                    <a:pt x="1361" y="512"/>
                  </a:lnTo>
                  <a:lnTo>
                    <a:pt x="1359" y="508"/>
                  </a:lnTo>
                  <a:lnTo>
                    <a:pt x="1359" y="508"/>
                  </a:lnTo>
                  <a:lnTo>
                    <a:pt x="1357" y="506"/>
                  </a:lnTo>
                  <a:lnTo>
                    <a:pt x="1357" y="504"/>
                  </a:lnTo>
                  <a:lnTo>
                    <a:pt x="1355" y="504"/>
                  </a:lnTo>
                  <a:lnTo>
                    <a:pt x="1355" y="504"/>
                  </a:lnTo>
                  <a:lnTo>
                    <a:pt x="1355" y="504"/>
                  </a:lnTo>
                  <a:lnTo>
                    <a:pt x="1353" y="504"/>
                  </a:lnTo>
                  <a:lnTo>
                    <a:pt x="1353" y="504"/>
                  </a:lnTo>
                  <a:lnTo>
                    <a:pt x="1353" y="506"/>
                  </a:lnTo>
                  <a:lnTo>
                    <a:pt x="1353" y="506"/>
                  </a:lnTo>
                  <a:lnTo>
                    <a:pt x="1353" y="508"/>
                  </a:lnTo>
                  <a:close/>
                  <a:moveTo>
                    <a:pt x="1441" y="428"/>
                  </a:moveTo>
                  <a:lnTo>
                    <a:pt x="1437" y="430"/>
                  </a:lnTo>
                  <a:lnTo>
                    <a:pt x="1437" y="430"/>
                  </a:lnTo>
                  <a:lnTo>
                    <a:pt x="1435" y="432"/>
                  </a:lnTo>
                  <a:lnTo>
                    <a:pt x="1435" y="434"/>
                  </a:lnTo>
                  <a:lnTo>
                    <a:pt x="1435" y="434"/>
                  </a:lnTo>
                  <a:lnTo>
                    <a:pt x="1435" y="434"/>
                  </a:lnTo>
                  <a:lnTo>
                    <a:pt x="1435" y="434"/>
                  </a:lnTo>
                  <a:lnTo>
                    <a:pt x="1435" y="436"/>
                  </a:lnTo>
                  <a:lnTo>
                    <a:pt x="1435" y="436"/>
                  </a:lnTo>
                  <a:lnTo>
                    <a:pt x="1437" y="436"/>
                  </a:lnTo>
                  <a:lnTo>
                    <a:pt x="1439" y="434"/>
                  </a:lnTo>
                  <a:lnTo>
                    <a:pt x="1441" y="434"/>
                  </a:lnTo>
                  <a:lnTo>
                    <a:pt x="1443" y="434"/>
                  </a:lnTo>
                  <a:lnTo>
                    <a:pt x="1443" y="432"/>
                  </a:lnTo>
                  <a:lnTo>
                    <a:pt x="1445" y="430"/>
                  </a:lnTo>
                  <a:lnTo>
                    <a:pt x="1445" y="430"/>
                  </a:lnTo>
                  <a:lnTo>
                    <a:pt x="1445" y="428"/>
                  </a:lnTo>
                  <a:lnTo>
                    <a:pt x="1448" y="428"/>
                  </a:lnTo>
                  <a:lnTo>
                    <a:pt x="1448" y="428"/>
                  </a:lnTo>
                  <a:lnTo>
                    <a:pt x="1450" y="426"/>
                  </a:lnTo>
                  <a:lnTo>
                    <a:pt x="1452" y="423"/>
                  </a:lnTo>
                  <a:lnTo>
                    <a:pt x="1452" y="423"/>
                  </a:lnTo>
                  <a:lnTo>
                    <a:pt x="1450" y="423"/>
                  </a:lnTo>
                  <a:lnTo>
                    <a:pt x="1450" y="421"/>
                  </a:lnTo>
                  <a:lnTo>
                    <a:pt x="1450" y="421"/>
                  </a:lnTo>
                  <a:lnTo>
                    <a:pt x="1448" y="421"/>
                  </a:lnTo>
                  <a:lnTo>
                    <a:pt x="1445" y="423"/>
                  </a:lnTo>
                  <a:lnTo>
                    <a:pt x="1445" y="423"/>
                  </a:lnTo>
                  <a:lnTo>
                    <a:pt x="1443" y="423"/>
                  </a:lnTo>
                  <a:lnTo>
                    <a:pt x="1443" y="423"/>
                  </a:lnTo>
                  <a:lnTo>
                    <a:pt x="1445" y="426"/>
                  </a:lnTo>
                  <a:lnTo>
                    <a:pt x="1445" y="426"/>
                  </a:lnTo>
                  <a:lnTo>
                    <a:pt x="1443" y="426"/>
                  </a:lnTo>
                  <a:lnTo>
                    <a:pt x="1443" y="426"/>
                  </a:lnTo>
                  <a:lnTo>
                    <a:pt x="1441" y="428"/>
                  </a:lnTo>
                  <a:lnTo>
                    <a:pt x="1441" y="428"/>
                  </a:lnTo>
                  <a:close/>
                  <a:moveTo>
                    <a:pt x="1544" y="205"/>
                  </a:moveTo>
                  <a:lnTo>
                    <a:pt x="1547" y="205"/>
                  </a:lnTo>
                  <a:lnTo>
                    <a:pt x="1549" y="203"/>
                  </a:lnTo>
                  <a:lnTo>
                    <a:pt x="1547" y="203"/>
                  </a:lnTo>
                  <a:lnTo>
                    <a:pt x="1544" y="203"/>
                  </a:lnTo>
                  <a:lnTo>
                    <a:pt x="1540" y="200"/>
                  </a:lnTo>
                  <a:lnTo>
                    <a:pt x="1538" y="200"/>
                  </a:lnTo>
                  <a:lnTo>
                    <a:pt x="1536" y="200"/>
                  </a:lnTo>
                  <a:lnTo>
                    <a:pt x="1534" y="203"/>
                  </a:lnTo>
                  <a:lnTo>
                    <a:pt x="1532" y="203"/>
                  </a:lnTo>
                  <a:lnTo>
                    <a:pt x="1532" y="205"/>
                  </a:lnTo>
                  <a:lnTo>
                    <a:pt x="1534" y="205"/>
                  </a:lnTo>
                  <a:lnTo>
                    <a:pt x="1540" y="207"/>
                  </a:lnTo>
                  <a:lnTo>
                    <a:pt x="1544" y="205"/>
                  </a:lnTo>
                  <a:close/>
                  <a:moveTo>
                    <a:pt x="2462" y="688"/>
                  </a:moveTo>
                  <a:lnTo>
                    <a:pt x="2464" y="688"/>
                  </a:lnTo>
                  <a:lnTo>
                    <a:pt x="2466" y="686"/>
                  </a:lnTo>
                  <a:lnTo>
                    <a:pt x="2464" y="686"/>
                  </a:lnTo>
                  <a:lnTo>
                    <a:pt x="2462" y="686"/>
                  </a:lnTo>
                  <a:lnTo>
                    <a:pt x="2462" y="686"/>
                  </a:lnTo>
                  <a:lnTo>
                    <a:pt x="2460" y="686"/>
                  </a:lnTo>
                  <a:lnTo>
                    <a:pt x="2460" y="686"/>
                  </a:lnTo>
                  <a:lnTo>
                    <a:pt x="2460" y="686"/>
                  </a:lnTo>
                  <a:lnTo>
                    <a:pt x="2460" y="686"/>
                  </a:lnTo>
                  <a:lnTo>
                    <a:pt x="2460" y="686"/>
                  </a:lnTo>
                  <a:lnTo>
                    <a:pt x="2460" y="688"/>
                  </a:lnTo>
                  <a:lnTo>
                    <a:pt x="2462" y="688"/>
                  </a:lnTo>
                  <a:close/>
                  <a:moveTo>
                    <a:pt x="2460" y="700"/>
                  </a:moveTo>
                  <a:lnTo>
                    <a:pt x="2460" y="700"/>
                  </a:lnTo>
                  <a:lnTo>
                    <a:pt x="2460" y="700"/>
                  </a:lnTo>
                  <a:lnTo>
                    <a:pt x="2460" y="698"/>
                  </a:lnTo>
                  <a:lnTo>
                    <a:pt x="2460" y="698"/>
                  </a:lnTo>
                  <a:lnTo>
                    <a:pt x="2460" y="698"/>
                  </a:lnTo>
                  <a:lnTo>
                    <a:pt x="2458" y="700"/>
                  </a:lnTo>
                  <a:lnTo>
                    <a:pt x="2458" y="700"/>
                  </a:lnTo>
                  <a:lnTo>
                    <a:pt x="2460" y="700"/>
                  </a:lnTo>
                  <a:close/>
                  <a:moveTo>
                    <a:pt x="2460" y="696"/>
                  </a:moveTo>
                  <a:lnTo>
                    <a:pt x="2462" y="696"/>
                  </a:lnTo>
                  <a:lnTo>
                    <a:pt x="2462" y="696"/>
                  </a:lnTo>
                  <a:lnTo>
                    <a:pt x="2462" y="696"/>
                  </a:lnTo>
                  <a:lnTo>
                    <a:pt x="2462" y="696"/>
                  </a:lnTo>
                  <a:lnTo>
                    <a:pt x="2462" y="696"/>
                  </a:lnTo>
                  <a:lnTo>
                    <a:pt x="2462" y="692"/>
                  </a:lnTo>
                  <a:lnTo>
                    <a:pt x="2462" y="692"/>
                  </a:lnTo>
                  <a:lnTo>
                    <a:pt x="2460" y="692"/>
                  </a:lnTo>
                  <a:lnTo>
                    <a:pt x="2460" y="694"/>
                  </a:lnTo>
                  <a:lnTo>
                    <a:pt x="2460" y="694"/>
                  </a:lnTo>
                  <a:lnTo>
                    <a:pt x="2460" y="696"/>
                  </a:lnTo>
                  <a:close/>
                  <a:moveTo>
                    <a:pt x="2439" y="384"/>
                  </a:moveTo>
                  <a:lnTo>
                    <a:pt x="2444" y="382"/>
                  </a:lnTo>
                  <a:lnTo>
                    <a:pt x="2448" y="382"/>
                  </a:lnTo>
                  <a:lnTo>
                    <a:pt x="2452" y="380"/>
                  </a:lnTo>
                  <a:lnTo>
                    <a:pt x="2452" y="378"/>
                  </a:lnTo>
                  <a:lnTo>
                    <a:pt x="2452" y="376"/>
                  </a:lnTo>
                  <a:lnTo>
                    <a:pt x="2448" y="378"/>
                  </a:lnTo>
                  <a:lnTo>
                    <a:pt x="2446" y="380"/>
                  </a:lnTo>
                  <a:lnTo>
                    <a:pt x="2439" y="384"/>
                  </a:lnTo>
                  <a:lnTo>
                    <a:pt x="2437" y="384"/>
                  </a:lnTo>
                  <a:lnTo>
                    <a:pt x="2437" y="386"/>
                  </a:lnTo>
                  <a:lnTo>
                    <a:pt x="2439" y="384"/>
                  </a:lnTo>
                  <a:close/>
                  <a:moveTo>
                    <a:pt x="2423" y="760"/>
                  </a:moveTo>
                  <a:lnTo>
                    <a:pt x="2425" y="760"/>
                  </a:lnTo>
                  <a:lnTo>
                    <a:pt x="2425" y="760"/>
                  </a:lnTo>
                  <a:lnTo>
                    <a:pt x="2425" y="758"/>
                  </a:lnTo>
                  <a:lnTo>
                    <a:pt x="2423" y="758"/>
                  </a:lnTo>
                  <a:lnTo>
                    <a:pt x="2421" y="758"/>
                  </a:lnTo>
                  <a:lnTo>
                    <a:pt x="2421" y="758"/>
                  </a:lnTo>
                  <a:lnTo>
                    <a:pt x="2421" y="758"/>
                  </a:lnTo>
                  <a:lnTo>
                    <a:pt x="2423" y="760"/>
                  </a:lnTo>
                  <a:lnTo>
                    <a:pt x="2423" y="760"/>
                  </a:lnTo>
                  <a:close/>
                  <a:moveTo>
                    <a:pt x="2470" y="597"/>
                  </a:moveTo>
                  <a:lnTo>
                    <a:pt x="2468" y="597"/>
                  </a:lnTo>
                  <a:lnTo>
                    <a:pt x="2468" y="597"/>
                  </a:lnTo>
                  <a:lnTo>
                    <a:pt x="2468" y="597"/>
                  </a:lnTo>
                  <a:lnTo>
                    <a:pt x="2468" y="597"/>
                  </a:lnTo>
                  <a:lnTo>
                    <a:pt x="2470" y="599"/>
                  </a:lnTo>
                  <a:lnTo>
                    <a:pt x="2470" y="599"/>
                  </a:lnTo>
                  <a:lnTo>
                    <a:pt x="2472" y="599"/>
                  </a:lnTo>
                  <a:lnTo>
                    <a:pt x="2472" y="599"/>
                  </a:lnTo>
                  <a:lnTo>
                    <a:pt x="2472" y="597"/>
                  </a:lnTo>
                  <a:lnTo>
                    <a:pt x="2470" y="597"/>
                  </a:lnTo>
                  <a:lnTo>
                    <a:pt x="2470" y="597"/>
                  </a:lnTo>
                  <a:close/>
                  <a:moveTo>
                    <a:pt x="2462" y="593"/>
                  </a:moveTo>
                  <a:lnTo>
                    <a:pt x="2464" y="593"/>
                  </a:lnTo>
                  <a:lnTo>
                    <a:pt x="2464" y="593"/>
                  </a:lnTo>
                  <a:lnTo>
                    <a:pt x="2466" y="593"/>
                  </a:lnTo>
                  <a:lnTo>
                    <a:pt x="2464" y="593"/>
                  </a:lnTo>
                  <a:lnTo>
                    <a:pt x="2464" y="591"/>
                  </a:lnTo>
                  <a:lnTo>
                    <a:pt x="2464" y="591"/>
                  </a:lnTo>
                  <a:lnTo>
                    <a:pt x="2462" y="591"/>
                  </a:lnTo>
                  <a:lnTo>
                    <a:pt x="2460" y="591"/>
                  </a:lnTo>
                  <a:lnTo>
                    <a:pt x="2462" y="593"/>
                  </a:lnTo>
                  <a:lnTo>
                    <a:pt x="2462" y="593"/>
                  </a:lnTo>
                  <a:close/>
                  <a:moveTo>
                    <a:pt x="2425" y="795"/>
                  </a:moveTo>
                  <a:lnTo>
                    <a:pt x="2425" y="795"/>
                  </a:lnTo>
                  <a:lnTo>
                    <a:pt x="2425" y="795"/>
                  </a:lnTo>
                  <a:lnTo>
                    <a:pt x="2423" y="795"/>
                  </a:lnTo>
                  <a:lnTo>
                    <a:pt x="2421" y="797"/>
                  </a:lnTo>
                  <a:lnTo>
                    <a:pt x="2421" y="797"/>
                  </a:lnTo>
                  <a:lnTo>
                    <a:pt x="2419" y="799"/>
                  </a:lnTo>
                  <a:lnTo>
                    <a:pt x="2419" y="801"/>
                  </a:lnTo>
                  <a:lnTo>
                    <a:pt x="2421" y="799"/>
                  </a:lnTo>
                  <a:lnTo>
                    <a:pt x="2421" y="801"/>
                  </a:lnTo>
                  <a:lnTo>
                    <a:pt x="2423" y="801"/>
                  </a:lnTo>
                  <a:lnTo>
                    <a:pt x="2429" y="799"/>
                  </a:lnTo>
                  <a:lnTo>
                    <a:pt x="2427" y="799"/>
                  </a:lnTo>
                  <a:lnTo>
                    <a:pt x="2427" y="801"/>
                  </a:lnTo>
                  <a:lnTo>
                    <a:pt x="2425" y="801"/>
                  </a:lnTo>
                  <a:lnTo>
                    <a:pt x="2425" y="801"/>
                  </a:lnTo>
                  <a:lnTo>
                    <a:pt x="2423" y="803"/>
                  </a:lnTo>
                  <a:lnTo>
                    <a:pt x="2423" y="803"/>
                  </a:lnTo>
                  <a:lnTo>
                    <a:pt x="2423" y="803"/>
                  </a:lnTo>
                  <a:lnTo>
                    <a:pt x="2425" y="803"/>
                  </a:lnTo>
                  <a:lnTo>
                    <a:pt x="2429" y="803"/>
                  </a:lnTo>
                  <a:lnTo>
                    <a:pt x="2431" y="803"/>
                  </a:lnTo>
                  <a:lnTo>
                    <a:pt x="2431" y="803"/>
                  </a:lnTo>
                  <a:lnTo>
                    <a:pt x="2427" y="803"/>
                  </a:lnTo>
                  <a:lnTo>
                    <a:pt x="2427" y="805"/>
                  </a:lnTo>
                  <a:lnTo>
                    <a:pt x="2427" y="808"/>
                  </a:lnTo>
                  <a:lnTo>
                    <a:pt x="2431" y="805"/>
                  </a:lnTo>
                  <a:lnTo>
                    <a:pt x="2431" y="805"/>
                  </a:lnTo>
                  <a:lnTo>
                    <a:pt x="2433" y="805"/>
                  </a:lnTo>
                  <a:lnTo>
                    <a:pt x="2433" y="805"/>
                  </a:lnTo>
                  <a:lnTo>
                    <a:pt x="2433" y="805"/>
                  </a:lnTo>
                  <a:lnTo>
                    <a:pt x="2441" y="805"/>
                  </a:lnTo>
                  <a:lnTo>
                    <a:pt x="2441" y="803"/>
                  </a:lnTo>
                  <a:lnTo>
                    <a:pt x="2444" y="803"/>
                  </a:lnTo>
                  <a:lnTo>
                    <a:pt x="2446" y="801"/>
                  </a:lnTo>
                  <a:lnTo>
                    <a:pt x="2446" y="801"/>
                  </a:lnTo>
                  <a:lnTo>
                    <a:pt x="2448" y="801"/>
                  </a:lnTo>
                  <a:lnTo>
                    <a:pt x="2448" y="801"/>
                  </a:lnTo>
                  <a:lnTo>
                    <a:pt x="2448" y="799"/>
                  </a:lnTo>
                  <a:lnTo>
                    <a:pt x="2448" y="799"/>
                  </a:lnTo>
                  <a:lnTo>
                    <a:pt x="2446" y="799"/>
                  </a:lnTo>
                  <a:lnTo>
                    <a:pt x="2448" y="799"/>
                  </a:lnTo>
                  <a:lnTo>
                    <a:pt x="2448" y="799"/>
                  </a:lnTo>
                  <a:lnTo>
                    <a:pt x="2450" y="799"/>
                  </a:lnTo>
                  <a:lnTo>
                    <a:pt x="2450" y="799"/>
                  </a:lnTo>
                  <a:lnTo>
                    <a:pt x="2452" y="799"/>
                  </a:lnTo>
                  <a:lnTo>
                    <a:pt x="2454" y="799"/>
                  </a:lnTo>
                  <a:lnTo>
                    <a:pt x="2454" y="797"/>
                  </a:lnTo>
                  <a:lnTo>
                    <a:pt x="2454" y="797"/>
                  </a:lnTo>
                  <a:lnTo>
                    <a:pt x="2458" y="797"/>
                  </a:lnTo>
                  <a:lnTo>
                    <a:pt x="2458" y="797"/>
                  </a:lnTo>
                  <a:lnTo>
                    <a:pt x="2458" y="797"/>
                  </a:lnTo>
                  <a:lnTo>
                    <a:pt x="2458" y="795"/>
                  </a:lnTo>
                  <a:lnTo>
                    <a:pt x="2460" y="795"/>
                  </a:lnTo>
                  <a:lnTo>
                    <a:pt x="2460" y="795"/>
                  </a:lnTo>
                  <a:lnTo>
                    <a:pt x="2464" y="793"/>
                  </a:lnTo>
                  <a:lnTo>
                    <a:pt x="2466" y="793"/>
                  </a:lnTo>
                  <a:lnTo>
                    <a:pt x="2466" y="793"/>
                  </a:lnTo>
                  <a:lnTo>
                    <a:pt x="2466" y="791"/>
                  </a:lnTo>
                  <a:lnTo>
                    <a:pt x="2468" y="793"/>
                  </a:lnTo>
                  <a:lnTo>
                    <a:pt x="2468" y="793"/>
                  </a:lnTo>
                  <a:lnTo>
                    <a:pt x="2468" y="793"/>
                  </a:lnTo>
                  <a:lnTo>
                    <a:pt x="2470" y="793"/>
                  </a:lnTo>
                  <a:lnTo>
                    <a:pt x="2470" y="793"/>
                  </a:lnTo>
                  <a:lnTo>
                    <a:pt x="2472" y="793"/>
                  </a:lnTo>
                  <a:lnTo>
                    <a:pt x="2474" y="793"/>
                  </a:lnTo>
                  <a:lnTo>
                    <a:pt x="2477" y="793"/>
                  </a:lnTo>
                  <a:lnTo>
                    <a:pt x="2474" y="791"/>
                  </a:lnTo>
                  <a:lnTo>
                    <a:pt x="2474" y="789"/>
                  </a:lnTo>
                  <a:lnTo>
                    <a:pt x="2477" y="789"/>
                  </a:lnTo>
                  <a:lnTo>
                    <a:pt x="2479" y="787"/>
                  </a:lnTo>
                  <a:lnTo>
                    <a:pt x="2479" y="785"/>
                  </a:lnTo>
                  <a:lnTo>
                    <a:pt x="2479" y="783"/>
                  </a:lnTo>
                  <a:lnTo>
                    <a:pt x="2479" y="781"/>
                  </a:lnTo>
                  <a:lnTo>
                    <a:pt x="2481" y="781"/>
                  </a:lnTo>
                  <a:lnTo>
                    <a:pt x="2481" y="779"/>
                  </a:lnTo>
                  <a:lnTo>
                    <a:pt x="2481" y="777"/>
                  </a:lnTo>
                  <a:lnTo>
                    <a:pt x="2481" y="774"/>
                  </a:lnTo>
                  <a:lnTo>
                    <a:pt x="2479" y="772"/>
                  </a:lnTo>
                  <a:lnTo>
                    <a:pt x="2479" y="770"/>
                  </a:lnTo>
                  <a:lnTo>
                    <a:pt x="2479" y="770"/>
                  </a:lnTo>
                  <a:lnTo>
                    <a:pt x="2479" y="768"/>
                  </a:lnTo>
                  <a:lnTo>
                    <a:pt x="2479" y="768"/>
                  </a:lnTo>
                  <a:lnTo>
                    <a:pt x="2479" y="766"/>
                  </a:lnTo>
                  <a:lnTo>
                    <a:pt x="2479" y="766"/>
                  </a:lnTo>
                  <a:lnTo>
                    <a:pt x="2477" y="764"/>
                  </a:lnTo>
                  <a:lnTo>
                    <a:pt x="2477" y="762"/>
                  </a:lnTo>
                  <a:lnTo>
                    <a:pt x="2477" y="760"/>
                  </a:lnTo>
                  <a:lnTo>
                    <a:pt x="2477" y="760"/>
                  </a:lnTo>
                  <a:lnTo>
                    <a:pt x="2477" y="758"/>
                  </a:lnTo>
                  <a:lnTo>
                    <a:pt x="2477" y="758"/>
                  </a:lnTo>
                  <a:lnTo>
                    <a:pt x="2477" y="758"/>
                  </a:lnTo>
                  <a:lnTo>
                    <a:pt x="2479" y="758"/>
                  </a:lnTo>
                  <a:lnTo>
                    <a:pt x="2479" y="758"/>
                  </a:lnTo>
                  <a:lnTo>
                    <a:pt x="2479" y="756"/>
                  </a:lnTo>
                  <a:lnTo>
                    <a:pt x="2479" y="758"/>
                  </a:lnTo>
                  <a:lnTo>
                    <a:pt x="2481" y="758"/>
                  </a:lnTo>
                  <a:lnTo>
                    <a:pt x="2481" y="756"/>
                  </a:lnTo>
                  <a:lnTo>
                    <a:pt x="2483" y="756"/>
                  </a:lnTo>
                  <a:lnTo>
                    <a:pt x="2483" y="754"/>
                  </a:lnTo>
                  <a:lnTo>
                    <a:pt x="2483" y="754"/>
                  </a:lnTo>
                  <a:lnTo>
                    <a:pt x="2485" y="754"/>
                  </a:lnTo>
                  <a:lnTo>
                    <a:pt x="2487" y="754"/>
                  </a:lnTo>
                  <a:lnTo>
                    <a:pt x="2487" y="752"/>
                  </a:lnTo>
                  <a:lnTo>
                    <a:pt x="2487" y="752"/>
                  </a:lnTo>
                  <a:lnTo>
                    <a:pt x="2485" y="752"/>
                  </a:lnTo>
                  <a:lnTo>
                    <a:pt x="2487" y="750"/>
                  </a:lnTo>
                  <a:lnTo>
                    <a:pt x="2485" y="748"/>
                  </a:lnTo>
                  <a:lnTo>
                    <a:pt x="2487" y="748"/>
                  </a:lnTo>
                  <a:lnTo>
                    <a:pt x="2487" y="748"/>
                  </a:lnTo>
                  <a:lnTo>
                    <a:pt x="2487" y="750"/>
                  </a:lnTo>
                  <a:lnTo>
                    <a:pt x="2489" y="750"/>
                  </a:lnTo>
                  <a:lnTo>
                    <a:pt x="2489" y="750"/>
                  </a:lnTo>
                  <a:lnTo>
                    <a:pt x="2489" y="748"/>
                  </a:lnTo>
                  <a:lnTo>
                    <a:pt x="2487" y="746"/>
                  </a:lnTo>
                  <a:lnTo>
                    <a:pt x="2487" y="746"/>
                  </a:lnTo>
                  <a:lnTo>
                    <a:pt x="2485" y="746"/>
                  </a:lnTo>
                  <a:lnTo>
                    <a:pt x="2483" y="746"/>
                  </a:lnTo>
                  <a:lnTo>
                    <a:pt x="2483" y="746"/>
                  </a:lnTo>
                  <a:lnTo>
                    <a:pt x="2483" y="746"/>
                  </a:lnTo>
                  <a:lnTo>
                    <a:pt x="2485" y="743"/>
                  </a:lnTo>
                  <a:lnTo>
                    <a:pt x="2485" y="743"/>
                  </a:lnTo>
                  <a:lnTo>
                    <a:pt x="2485" y="743"/>
                  </a:lnTo>
                  <a:lnTo>
                    <a:pt x="2483" y="741"/>
                  </a:lnTo>
                  <a:lnTo>
                    <a:pt x="2481" y="737"/>
                  </a:lnTo>
                  <a:lnTo>
                    <a:pt x="2481" y="735"/>
                  </a:lnTo>
                  <a:lnTo>
                    <a:pt x="2479" y="735"/>
                  </a:lnTo>
                  <a:lnTo>
                    <a:pt x="2477" y="735"/>
                  </a:lnTo>
                  <a:lnTo>
                    <a:pt x="2474" y="733"/>
                  </a:lnTo>
                  <a:lnTo>
                    <a:pt x="2474" y="733"/>
                  </a:lnTo>
                  <a:lnTo>
                    <a:pt x="2470" y="735"/>
                  </a:lnTo>
                  <a:lnTo>
                    <a:pt x="2468" y="735"/>
                  </a:lnTo>
                  <a:lnTo>
                    <a:pt x="2468" y="735"/>
                  </a:lnTo>
                  <a:lnTo>
                    <a:pt x="2468" y="735"/>
                  </a:lnTo>
                  <a:lnTo>
                    <a:pt x="2466" y="737"/>
                  </a:lnTo>
                  <a:lnTo>
                    <a:pt x="2464" y="737"/>
                  </a:lnTo>
                  <a:lnTo>
                    <a:pt x="2464" y="737"/>
                  </a:lnTo>
                  <a:lnTo>
                    <a:pt x="2464" y="737"/>
                  </a:lnTo>
                  <a:lnTo>
                    <a:pt x="2464" y="735"/>
                  </a:lnTo>
                  <a:lnTo>
                    <a:pt x="2466" y="735"/>
                  </a:lnTo>
                  <a:lnTo>
                    <a:pt x="2466" y="735"/>
                  </a:lnTo>
                  <a:lnTo>
                    <a:pt x="2466" y="733"/>
                  </a:lnTo>
                  <a:lnTo>
                    <a:pt x="2464" y="733"/>
                  </a:lnTo>
                  <a:lnTo>
                    <a:pt x="2462" y="731"/>
                  </a:lnTo>
                  <a:lnTo>
                    <a:pt x="2462" y="731"/>
                  </a:lnTo>
                  <a:lnTo>
                    <a:pt x="2462" y="731"/>
                  </a:lnTo>
                  <a:lnTo>
                    <a:pt x="2462" y="733"/>
                  </a:lnTo>
                  <a:lnTo>
                    <a:pt x="2460" y="733"/>
                  </a:lnTo>
                  <a:lnTo>
                    <a:pt x="2460" y="733"/>
                  </a:lnTo>
                  <a:lnTo>
                    <a:pt x="2458" y="735"/>
                  </a:lnTo>
                  <a:lnTo>
                    <a:pt x="2460" y="735"/>
                  </a:lnTo>
                  <a:lnTo>
                    <a:pt x="2460" y="737"/>
                  </a:lnTo>
                  <a:lnTo>
                    <a:pt x="2460" y="737"/>
                  </a:lnTo>
                  <a:lnTo>
                    <a:pt x="2458" y="739"/>
                  </a:lnTo>
                  <a:lnTo>
                    <a:pt x="2458" y="739"/>
                  </a:lnTo>
                  <a:lnTo>
                    <a:pt x="2458" y="739"/>
                  </a:lnTo>
                  <a:lnTo>
                    <a:pt x="2458" y="737"/>
                  </a:lnTo>
                  <a:lnTo>
                    <a:pt x="2458" y="737"/>
                  </a:lnTo>
                  <a:lnTo>
                    <a:pt x="2458" y="737"/>
                  </a:lnTo>
                  <a:lnTo>
                    <a:pt x="2458" y="735"/>
                  </a:lnTo>
                  <a:lnTo>
                    <a:pt x="2458" y="735"/>
                  </a:lnTo>
                  <a:lnTo>
                    <a:pt x="2458" y="733"/>
                  </a:lnTo>
                  <a:lnTo>
                    <a:pt x="2458" y="733"/>
                  </a:lnTo>
                  <a:lnTo>
                    <a:pt x="2456" y="733"/>
                  </a:lnTo>
                  <a:lnTo>
                    <a:pt x="2456" y="735"/>
                  </a:lnTo>
                  <a:lnTo>
                    <a:pt x="2456" y="735"/>
                  </a:lnTo>
                  <a:lnTo>
                    <a:pt x="2454" y="735"/>
                  </a:lnTo>
                  <a:lnTo>
                    <a:pt x="2452" y="735"/>
                  </a:lnTo>
                  <a:lnTo>
                    <a:pt x="2450" y="735"/>
                  </a:lnTo>
                  <a:lnTo>
                    <a:pt x="2448" y="735"/>
                  </a:lnTo>
                  <a:lnTo>
                    <a:pt x="2448" y="737"/>
                  </a:lnTo>
                  <a:lnTo>
                    <a:pt x="2448" y="737"/>
                  </a:lnTo>
                  <a:lnTo>
                    <a:pt x="2448" y="739"/>
                  </a:lnTo>
                  <a:lnTo>
                    <a:pt x="2446" y="739"/>
                  </a:lnTo>
                  <a:lnTo>
                    <a:pt x="2448" y="741"/>
                  </a:lnTo>
                  <a:lnTo>
                    <a:pt x="2446" y="741"/>
                  </a:lnTo>
                  <a:lnTo>
                    <a:pt x="2446" y="743"/>
                  </a:lnTo>
                  <a:lnTo>
                    <a:pt x="2446" y="743"/>
                  </a:lnTo>
                  <a:lnTo>
                    <a:pt x="2444" y="743"/>
                  </a:lnTo>
                  <a:lnTo>
                    <a:pt x="2441" y="743"/>
                  </a:lnTo>
                  <a:lnTo>
                    <a:pt x="2441" y="746"/>
                  </a:lnTo>
                  <a:lnTo>
                    <a:pt x="2446" y="746"/>
                  </a:lnTo>
                  <a:lnTo>
                    <a:pt x="2450" y="746"/>
                  </a:lnTo>
                  <a:lnTo>
                    <a:pt x="2450" y="748"/>
                  </a:lnTo>
                  <a:lnTo>
                    <a:pt x="2450" y="748"/>
                  </a:lnTo>
                  <a:lnTo>
                    <a:pt x="2448" y="750"/>
                  </a:lnTo>
                  <a:lnTo>
                    <a:pt x="2446" y="750"/>
                  </a:lnTo>
                  <a:lnTo>
                    <a:pt x="2446" y="750"/>
                  </a:lnTo>
                  <a:lnTo>
                    <a:pt x="2444" y="750"/>
                  </a:lnTo>
                  <a:lnTo>
                    <a:pt x="2444" y="752"/>
                  </a:lnTo>
                  <a:lnTo>
                    <a:pt x="2444" y="752"/>
                  </a:lnTo>
                  <a:lnTo>
                    <a:pt x="2444" y="754"/>
                  </a:lnTo>
                  <a:lnTo>
                    <a:pt x="2444" y="754"/>
                  </a:lnTo>
                  <a:lnTo>
                    <a:pt x="2441" y="754"/>
                  </a:lnTo>
                  <a:lnTo>
                    <a:pt x="2437" y="754"/>
                  </a:lnTo>
                  <a:lnTo>
                    <a:pt x="2437" y="754"/>
                  </a:lnTo>
                  <a:lnTo>
                    <a:pt x="2437" y="754"/>
                  </a:lnTo>
                  <a:lnTo>
                    <a:pt x="2435" y="754"/>
                  </a:lnTo>
                  <a:lnTo>
                    <a:pt x="2433" y="752"/>
                  </a:lnTo>
                  <a:lnTo>
                    <a:pt x="2429" y="752"/>
                  </a:lnTo>
                  <a:lnTo>
                    <a:pt x="2427" y="752"/>
                  </a:lnTo>
                  <a:lnTo>
                    <a:pt x="2427" y="754"/>
                  </a:lnTo>
                  <a:lnTo>
                    <a:pt x="2425" y="754"/>
                  </a:lnTo>
                  <a:lnTo>
                    <a:pt x="2423" y="754"/>
                  </a:lnTo>
                  <a:lnTo>
                    <a:pt x="2423" y="754"/>
                  </a:lnTo>
                  <a:lnTo>
                    <a:pt x="2423" y="754"/>
                  </a:lnTo>
                  <a:lnTo>
                    <a:pt x="2423" y="756"/>
                  </a:lnTo>
                  <a:lnTo>
                    <a:pt x="2425" y="754"/>
                  </a:lnTo>
                  <a:lnTo>
                    <a:pt x="2425" y="756"/>
                  </a:lnTo>
                  <a:lnTo>
                    <a:pt x="2425" y="758"/>
                  </a:lnTo>
                  <a:lnTo>
                    <a:pt x="2425" y="756"/>
                  </a:lnTo>
                  <a:lnTo>
                    <a:pt x="2425" y="758"/>
                  </a:lnTo>
                  <a:lnTo>
                    <a:pt x="2425" y="758"/>
                  </a:lnTo>
                  <a:lnTo>
                    <a:pt x="2425" y="760"/>
                  </a:lnTo>
                  <a:lnTo>
                    <a:pt x="2425" y="762"/>
                  </a:lnTo>
                  <a:lnTo>
                    <a:pt x="2427" y="760"/>
                  </a:lnTo>
                  <a:lnTo>
                    <a:pt x="2429" y="760"/>
                  </a:lnTo>
                  <a:lnTo>
                    <a:pt x="2429" y="762"/>
                  </a:lnTo>
                  <a:lnTo>
                    <a:pt x="2429" y="762"/>
                  </a:lnTo>
                  <a:lnTo>
                    <a:pt x="2427" y="762"/>
                  </a:lnTo>
                  <a:lnTo>
                    <a:pt x="2425" y="764"/>
                  </a:lnTo>
                  <a:lnTo>
                    <a:pt x="2425" y="764"/>
                  </a:lnTo>
                  <a:lnTo>
                    <a:pt x="2425" y="764"/>
                  </a:lnTo>
                  <a:lnTo>
                    <a:pt x="2425" y="766"/>
                  </a:lnTo>
                  <a:lnTo>
                    <a:pt x="2427" y="766"/>
                  </a:lnTo>
                  <a:lnTo>
                    <a:pt x="2425" y="766"/>
                  </a:lnTo>
                  <a:lnTo>
                    <a:pt x="2423" y="766"/>
                  </a:lnTo>
                  <a:lnTo>
                    <a:pt x="2423" y="766"/>
                  </a:lnTo>
                  <a:lnTo>
                    <a:pt x="2423" y="766"/>
                  </a:lnTo>
                  <a:lnTo>
                    <a:pt x="2423" y="768"/>
                  </a:lnTo>
                  <a:lnTo>
                    <a:pt x="2423" y="768"/>
                  </a:lnTo>
                  <a:lnTo>
                    <a:pt x="2423" y="768"/>
                  </a:lnTo>
                  <a:lnTo>
                    <a:pt x="2423" y="770"/>
                  </a:lnTo>
                  <a:lnTo>
                    <a:pt x="2423" y="770"/>
                  </a:lnTo>
                  <a:lnTo>
                    <a:pt x="2425" y="770"/>
                  </a:lnTo>
                  <a:lnTo>
                    <a:pt x="2427" y="770"/>
                  </a:lnTo>
                  <a:lnTo>
                    <a:pt x="2425" y="770"/>
                  </a:lnTo>
                  <a:lnTo>
                    <a:pt x="2427" y="772"/>
                  </a:lnTo>
                  <a:lnTo>
                    <a:pt x="2427" y="772"/>
                  </a:lnTo>
                  <a:lnTo>
                    <a:pt x="2427" y="770"/>
                  </a:lnTo>
                  <a:lnTo>
                    <a:pt x="2429" y="770"/>
                  </a:lnTo>
                  <a:lnTo>
                    <a:pt x="2429" y="772"/>
                  </a:lnTo>
                  <a:lnTo>
                    <a:pt x="2429" y="772"/>
                  </a:lnTo>
                  <a:lnTo>
                    <a:pt x="2429" y="772"/>
                  </a:lnTo>
                  <a:lnTo>
                    <a:pt x="2431" y="772"/>
                  </a:lnTo>
                  <a:lnTo>
                    <a:pt x="2431" y="772"/>
                  </a:lnTo>
                  <a:lnTo>
                    <a:pt x="2435" y="772"/>
                  </a:lnTo>
                  <a:lnTo>
                    <a:pt x="2437" y="772"/>
                  </a:lnTo>
                  <a:lnTo>
                    <a:pt x="2439" y="774"/>
                  </a:lnTo>
                  <a:lnTo>
                    <a:pt x="2437" y="774"/>
                  </a:lnTo>
                  <a:lnTo>
                    <a:pt x="2437" y="774"/>
                  </a:lnTo>
                  <a:lnTo>
                    <a:pt x="2437" y="774"/>
                  </a:lnTo>
                  <a:lnTo>
                    <a:pt x="2435" y="774"/>
                  </a:lnTo>
                  <a:lnTo>
                    <a:pt x="2435" y="774"/>
                  </a:lnTo>
                  <a:lnTo>
                    <a:pt x="2433" y="777"/>
                  </a:lnTo>
                  <a:lnTo>
                    <a:pt x="2431" y="779"/>
                  </a:lnTo>
                  <a:lnTo>
                    <a:pt x="2431" y="779"/>
                  </a:lnTo>
                  <a:lnTo>
                    <a:pt x="2433" y="781"/>
                  </a:lnTo>
                  <a:lnTo>
                    <a:pt x="2431" y="781"/>
                  </a:lnTo>
                  <a:lnTo>
                    <a:pt x="2431" y="783"/>
                  </a:lnTo>
                  <a:lnTo>
                    <a:pt x="2427" y="785"/>
                  </a:lnTo>
                  <a:lnTo>
                    <a:pt x="2425" y="787"/>
                  </a:lnTo>
                  <a:lnTo>
                    <a:pt x="2427" y="785"/>
                  </a:lnTo>
                  <a:lnTo>
                    <a:pt x="2429" y="785"/>
                  </a:lnTo>
                  <a:lnTo>
                    <a:pt x="2429" y="785"/>
                  </a:lnTo>
                  <a:lnTo>
                    <a:pt x="2429" y="785"/>
                  </a:lnTo>
                  <a:lnTo>
                    <a:pt x="2431" y="785"/>
                  </a:lnTo>
                  <a:lnTo>
                    <a:pt x="2433" y="785"/>
                  </a:lnTo>
                  <a:lnTo>
                    <a:pt x="2435" y="785"/>
                  </a:lnTo>
                  <a:lnTo>
                    <a:pt x="2437" y="785"/>
                  </a:lnTo>
                  <a:lnTo>
                    <a:pt x="2437" y="783"/>
                  </a:lnTo>
                  <a:lnTo>
                    <a:pt x="2439" y="783"/>
                  </a:lnTo>
                  <a:lnTo>
                    <a:pt x="2441" y="785"/>
                  </a:lnTo>
                  <a:lnTo>
                    <a:pt x="2437" y="785"/>
                  </a:lnTo>
                  <a:lnTo>
                    <a:pt x="2433" y="785"/>
                  </a:lnTo>
                  <a:lnTo>
                    <a:pt x="2429" y="787"/>
                  </a:lnTo>
                  <a:lnTo>
                    <a:pt x="2429" y="787"/>
                  </a:lnTo>
                  <a:lnTo>
                    <a:pt x="2427" y="787"/>
                  </a:lnTo>
                  <a:lnTo>
                    <a:pt x="2427" y="789"/>
                  </a:lnTo>
                  <a:lnTo>
                    <a:pt x="2425" y="789"/>
                  </a:lnTo>
                  <a:lnTo>
                    <a:pt x="2425" y="789"/>
                  </a:lnTo>
                  <a:lnTo>
                    <a:pt x="2427" y="791"/>
                  </a:lnTo>
                  <a:lnTo>
                    <a:pt x="2427" y="791"/>
                  </a:lnTo>
                  <a:lnTo>
                    <a:pt x="2425" y="793"/>
                  </a:lnTo>
                  <a:lnTo>
                    <a:pt x="2423" y="791"/>
                  </a:lnTo>
                  <a:lnTo>
                    <a:pt x="2423" y="791"/>
                  </a:lnTo>
                  <a:lnTo>
                    <a:pt x="2421" y="791"/>
                  </a:lnTo>
                  <a:lnTo>
                    <a:pt x="2421" y="791"/>
                  </a:lnTo>
                  <a:lnTo>
                    <a:pt x="2419" y="793"/>
                  </a:lnTo>
                  <a:lnTo>
                    <a:pt x="2419" y="793"/>
                  </a:lnTo>
                  <a:lnTo>
                    <a:pt x="2419" y="795"/>
                  </a:lnTo>
                  <a:lnTo>
                    <a:pt x="2421" y="795"/>
                  </a:lnTo>
                  <a:lnTo>
                    <a:pt x="2425" y="795"/>
                  </a:lnTo>
                  <a:close/>
                  <a:moveTo>
                    <a:pt x="2472" y="589"/>
                  </a:moveTo>
                  <a:lnTo>
                    <a:pt x="2472" y="591"/>
                  </a:lnTo>
                  <a:lnTo>
                    <a:pt x="2474" y="591"/>
                  </a:lnTo>
                  <a:lnTo>
                    <a:pt x="2474" y="589"/>
                  </a:lnTo>
                  <a:lnTo>
                    <a:pt x="2474" y="589"/>
                  </a:lnTo>
                  <a:lnTo>
                    <a:pt x="2472" y="587"/>
                  </a:lnTo>
                  <a:lnTo>
                    <a:pt x="2472" y="589"/>
                  </a:lnTo>
                  <a:lnTo>
                    <a:pt x="2472" y="589"/>
                  </a:lnTo>
                  <a:lnTo>
                    <a:pt x="2472" y="589"/>
                  </a:lnTo>
                  <a:close/>
                  <a:moveTo>
                    <a:pt x="2468" y="595"/>
                  </a:moveTo>
                  <a:lnTo>
                    <a:pt x="2470" y="595"/>
                  </a:lnTo>
                  <a:lnTo>
                    <a:pt x="2470" y="595"/>
                  </a:lnTo>
                  <a:lnTo>
                    <a:pt x="2470" y="595"/>
                  </a:lnTo>
                  <a:lnTo>
                    <a:pt x="2468" y="593"/>
                  </a:lnTo>
                  <a:lnTo>
                    <a:pt x="2468" y="593"/>
                  </a:lnTo>
                  <a:lnTo>
                    <a:pt x="2468" y="591"/>
                  </a:lnTo>
                  <a:lnTo>
                    <a:pt x="2468" y="591"/>
                  </a:lnTo>
                  <a:lnTo>
                    <a:pt x="2470" y="591"/>
                  </a:lnTo>
                  <a:lnTo>
                    <a:pt x="2470" y="593"/>
                  </a:lnTo>
                  <a:lnTo>
                    <a:pt x="2472" y="593"/>
                  </a:lnTo>
                  <a:lnTo>
                    <a:pt x="2472" y="589"/>
                  </a:lnTo>
                  <a:lnTo>
                    <a:pt x="2470" y="589"/>
                  </a:lnTo>
                  <a:lnTo>
                    <a:pt x="2466" y="587"/>
                  </a:lnTo>
                  <a:lnTo>
                    <a:pt x="2464" y="589"/>
                  </a:lnTo>
                  <a:lnTo>
                    <a:pt x="2466" y="593"/>
                  </a:lnTo>
                  <a:lnTo>
                    <a:pt x="2468" y="595"/>
                  </a:lnTo>
                  <a:close/>
                  <a:moveTo>
                    <a:pt x="1598" y="415"/>
                  </a:moveTo>
                  <a:lnTo>
                    <a:pt x="1596" y="415"/>
                  </a:lnTo>
                  <a:lnTo>
                    <a:pt x="1596" y="415"/>
                  </a:lnTo>
                  <a:lnTo>
                    <a:pt x="1594" y="417"/>
                  </a:lnTo>
                  <a:lnTo>
                    <a:pt x="1594" y="417"/>
                  </a:lnTo>
                  <a:lnTo>
                    <a:pt x="1598" y="419"/>
                  </a:lnTo>
                  <a:lnTo>
                    <a:pt x="1598" y="417"/>
                  </a:lnTo>
                  <a:lnTo>
                    <a:pt x="1598" y="417"/>
                  </a:lnTo>
                  <a:lnTo>
                    <a:pt x="1600" y="415"/>
                  </a:lnTo>
                  <a:lnTo>
                    <a:pt x="1600" y="415"/>
                  </a:lnTo>
                  <a:lnTo>
                    <a:pt x="1598" y="415"/>
                  </a:lnTo>
                  <a:close/>
                  <a:moveTo>
                    <a:pt x="1685" y="688"/>
                  </a:moveTo>
                  <a:lnTo>
                    <a:pt x="1685" y="688"/>
                  </a:lnTo>
                  <a:lnTo>
                    <a:pt x="1683" y="688"/>
                  </a:lnTo>
                  <a:lnTo>
                    <a:pt x="1683" y="688"/>
                  </a:lnTo>
                  <a:lnTo>
                    <a:pt x="1683" y="688"/>
                  </a:lnTo>
                  <a:lnTo>
                    <a:pt x="1683" y="688"/>
                  </a:lnTo>
                  <a:lnTo>
                    <a:pt x="1683" y="690"/>
                  </a:lnTo>
                  <a:lnTo>
                    <a:pt x="1685" y="690"/>
                  </a:lnTo>
                  <a:lnTo>
                    <a:pt x="1687" y="690"/>
                  </a:lnTo>
                  <a:lnTo>
                    <a:pt x="1687" y="688"/>
                  </a:lnTo>
                  <a:lnTo>
                    <a:pt x="1687" y="688"/>
                  </a:lnTo>
                  <a:lnTo>
                    <a:pt x="1685" y="688"/>
                  </a:lnTo>
                  <a:close/>
                  <a:moveTo>
                    <a:pt x="1639" y="597"/>
                  </a:moveTo>
                  <a:lnTo>
                    <a:pt x="1639" y="597"/>
                  </a:lnTo>
                  <a:lnTo>
                    <a:pt x="1639" y="597"/>
                  </a:lnTo>
                  <a:lnTo>
                    <a:pt x="1639" y="595"/>
                  </a:lnTo>
                  <a:lnTo>
                    <a:pt x="1637" y="595"/>
                  </a:lnTo>
                  <a:lnTo>
                    <a:pt x="1637" y="595"/>
                  </a:lnTo>
                  <a:lnTo>
                    <a:pt x="1637" y="595"/>
                  </a:lnTo>
                  <a:lnTo>
                    <a:pt x="1637" y="597"/>
                  </a:lnTo>
                  <a:lnTo>
                    <a:pt x="1637" y="597"/>
                  </a:lnTo>
                  <a:lnTo>
                    <a:pt x="1637" y="599"/>
                  </a:lnTo>
                  <a:lnTo>
                    <a:pt x="1641" y="599"/>
                  </a:lnTo>
                  <a:lnTo>
                    <a:pt x="1641" y="599"/>
                  </a:lnTo>
                  <a:lnTo>
                    <a:pt x="1641" y="599"/>
                  </a:lnTo>
                  <a:lnTo>
                    <a:pt x="1641" y="599"/>
                  </a:lnTo>
                  <a:lnTo>
                    <a:pt x="1641" y="599"/>
                  </a:lnTo>
                  <a:lnTo>
                    <a:pt x="1641" y="599"/>
                  </a:lnTo>
                  <a:lnTo>
                    <a:pt x="1639" y="597"/>
                  </a:lnTo>
                  <a:lnTo>
                    <a:pt x="1639" y="597"/>
                  </a:lnTo>
                  <a:lnTo>
                    <a:pt x="1639" y="597"/>
                  </a:lnTo>
                  <a:close/>
                  <a:moveTo>
                    <a:pt x="1672" y="479"/>
                  </a:moveTo>
                  <a:lnTo>
                    <a:pt x="1676" y="477"/>
                  </a:lnTo>
                  <a:lnTo>
                    <a:pt x="1676" y="475"/>
                  </a:lnTo>
                  <a:lnTo>
                    <a:pt x="1676" y="475"/>
                  </a:lnTo>
                  <a:lnTo>
                    <a:pt x="1676" y="475"/>
                  </a:lnTo>
                  <a:lnTo>
                    <a:pt x="1674" y="475"/>
                  </a:lnTo>
                  <a:lnTo>
                    <a:pt x="1672" y="477"/>
                  </a:lnTo>
                  <a:lnTo>
                    <a:pt x="1672" y="477"/>
                  </a:lnTo>
                  <a:lnTo>
                    <a:pt x="1670" y="479"/>
                  </a:lnTo>
                  <a:lnTo>
                    <a:pt x="1670" y="479"/>
                  </a:lnTo>
                  <a:lnTo>
                    <a:pt x="1670" y="479"/>
                  </a:lnTo>
                  <a:lnTo>
                    <a:pt x="1672" y="479"/>
                  </a:lnTo>
                  <a:close/>
                  <a:moveTo>
                    <a:pt x="1641" y="584"/>
                  </a:moveTo>
                  <a:lnTo>
                    <a:pt x="1639" y="584"/>
                  </a:lnTo>
                  <a:lnTo>
                    <a:pt x="1641" y="584"/>
                  </a:lnTo>
                  <a:lnTo>
                    <a:pt x="1641" y="584"/>
                  </a:lnTo>
                  <a:lnTo>
                    <a:pt x="1643" y="587"/>
                  </a:lnTo>
                  <a:lnTo>
                    <a:pt x="1646" y="587"/>
                  </a:lnTo>
                  <a:lnTo>
                    <a:pt x="1648" y="584"/>
                  </a:lnTo>
                  <a:lnTo>
                    <a:pt x="1648" y="582"/>
                  </a:lnTo>
                  <a:lnTo>
                    <a:pt x="1648" y="582"/>
                  </a:lnTo>
                  <a:lnTo>
                    <a:pt x="1646" y="582"/>
                  </a:lnTo>
                  <a:lnTo>
                    <a:pt x="1646" y="582"/>
                  </a:lnTo>
                  <a:lnTo>
                    <a:pt x="1641" y="582"/>
                  </a:lnTo>
                  <a:lnTo>
                    <a:pt x="1641" y="582"/>
                  </a:lnTo>
                  <a:lnTo>
                    <a:pt x="1641" y="582"/>
                  </a:lnTo>
                  <a:lnTo>
                    <a:pt x="1641" y="582"/>
                  </a:lnTo>
                  <a:lnTo>
                    <a:pt x="1641" y="582"/>
                  </a:lnTo>
                  <a:lnTo>
                    <a:pt x="1641" y="584"/>
                  </a:lnTo>
                  <a:close/>
                  <a:moveTo>
                    <a:pt x="2470" y="603"/>
                  </a:moveTo>
                  <a:lnTo>
                    <a:pt x="2468" y="603"/>
                  </a:lnTo>
                  <a:lnTo>
                    <a:pt x="2468" y="603"/>
                  </a:lnTo>
                  <a:lnTo>
                    <a:pt x="2468" y="603"/>
                  </a:lnTo>
                  <a:lnTo>
                    <a:pt x="2468" y="603"/>
                  </a:lnTo>
                  <a:lnTo>
                    <a:pt x="2468" y="605"/>
                  </a:lnTo>
                  <a:lnTo>
                    <a:pt x="2470" y="605"/>
                  </a:lnTo>
                  <a:lnTo>
                    <a:pt x="2470" y="607"/>
                  </a:lnTo>
                  <a:lnTo>
                    <a:pt x="2470" y="607"/>
                  </a:lnTo>
                  <a:lnTo>
                    <a:pt x="2470" y="607"/>
                  </a:lnTo>
                  <a:lnTo>
                    <a:pt x="2470" y="605"/>
                  </a:lnTo>
                  <a:lnTo>
                    <a:pt x="2470" y="605"/>
                  </a:lnTo>
                  <a:lnTo>
                    <a:pt x="2470" y="603"/>
                  </a:lnTo>
                  <a:lnTo>
                    <a:pt x="2470" y="603"/>
                  </a:lnTo>
                  <a:close/>
                  <a:moveTo>
                    <a:pt x="1264" y="70"/>
                  </a:moveTo>
                  <a:lnTo>
                    <a:pt x="1268" y="70"/>
                  </a:lnTo>
                  <a:lnTo>
                    <a:pt x="1272" y="68"/>
                  </a:lnTo>
                  <a:lnTo>
                    <a:pt x="1274" y="68"/>
                  </a:lnTo>
                  <a:lnTo>
                    <a:pt x="1276" y="68"/>
                  </a:lnTo>
                  <a:lnTo>
                    <a:pt x="1278" y="68"/>
                  </a:lnTo>
                  <a:lnTo>
                    <a:pt x="1287" y="68"/>
                  </a:lnTo>
                  <a:lnTo>
                    <a:pt x="1285" y="68"/>
                  </a:lnTo>
                  <a:lnTo>
                    <a:pt x="1274" y="74"/>
                  </a:lnTo>
                  <a:lnTo>
                    <a:pt x="1274" y="74"/>
                  </a:lnTo>
                  <a:lnTo>
                    <a:pt x="1276" y="77"/>
                  </a:lnTo>
                  <a:lnTo>
                    <a:pt x="1278" y="77"/>
                  </a:lnTo>
                  <a:lnTo>
                    <a:pt x="1297" y="72"/>
                  </a:lnTo>
                  <a:lnTo>
                    <a:pt x="1305" y="70"/>
                  </a:lnTo>
                  <a:lnTo>
                    <a:pt x="1309" y="70"/>
                  </a:lnTo>
                  <a:lnTo>
                    <a:pt x="1318" y="72"/>
                  </a:lnTo>
                  <a:lnTo>
                    <a:pt x="1318" y="72"/>
                  </a:lnTo>
                  <a:lnTo>
                    <a:pt x="1309" y="72"/>
                  </a:lnTo>
                  <a:lnTo>
                    <a:pt x="1303" y="72"/>
                  </a:lnTo>
                  <a:lnTo>
                    <a:pt x="1299" y="74"/>
                  </a:lnTo>
                  <a:lnTo>
                    <a:pt x="1291" y="77"/>
                  </a:lnTo>
                  <a:lnTo>
                    <a:pt x="1289" y="79"/>
                  </a:lnTo>
                  <a:lnTo>
                    <a:pt x="1289" y="79"/>
                  </a:lnTo>
                  <a:lnTo>
                    <a:pt x="1295" y="81"/>
                  </a:lnTo>
                  <a:lnTo>
                    <a:pt x="1293" y="81"/>
                  </a:lnTo>
                  <a:lnTo>
                    <a:pt x="1289" y="83"/>
                  </a:lnTo>
                  <a:lnTo>
                    <a:pt x="1285" y="85"/>
                  </a:lnTo>
                  <a:lnTo>
                    <a:pt x="1283" y="85"/>
                  </a:lnTo>
                  <a:lnTo>
                    <a:pt x="1287" y="87"/>
                  </a:lnTo>
                  <a:lnTo>
                    <a:pt x="1289" y="89"/>
                  </a:lnTo>
                  <a:lnTo>
                    <a:pt x="1291" y="89"/>
                  </a:lnTo>
                  <a:lnTo>
                    <a:pt x="1299" y="87"/>
                  </a:lnTo>
                  <a:lnTo>
                    <a:pt x="1322" y="87"/>
                  </a:lnTo>
                  <a:lnTo>
                    <a:pt x="1332" y="85"/>
                  </a:lnTo>
                  <a:lnTo>
                    <a:pt x="1342" y="81"/>
                  </a:lnTo>
                  <a:lnTo>
                    <a:pt x="1349" y="81"/>
                  </a:lnTo>
                  <a:lnTo>
                    <a:pt x="1351" y="81"/>
                  </a:lnTo>
                  <a:lnTo>
                    <a:pt x="1355" y="81"/>
                  </a:lnTo>
                  <a:lnTo>
                    <a:pt x="1353" y="81"/>
                  </a:lnTo>
                  <a:lnTo>
                    <a:pt x="1342" y="85"/>
                  </a:lnTo>
                  <a:lnTo>
                    <a:pt x="1334" y="89"/>
                  </a:lnTo>
                  <a:lnTo>
                    <a:pt x="1328" y="89"/>
                  </a:lnTo>
                  <a:lnTo>
                    <a:pt x="1320" y="89"/>
                  </a:lnTo>
                  <a:lnTo>
                    <a:pt x="1305" y="89"/>
                  </a:lnTo>
                  <a:lnTo>
                    <a:pt x="1295" y="91"/>
                  </a:lnTo>
                  <a:lnTo>
                    <a:pt x="1293" y="93"/>
                  </a:lnTo>
                  <a:lnTo>
                    <a:pt x="1295" y="93"/>
                  </a:lnTo>
                  <a:lnTo>
                    <a:pt x="1295" y="95"/>
                  </a:lnTo>
                  <a:lnTo>
                    <a:pt x="1297" y="95"/>
                  </a:lnTo>
                  <a:lnTo>
                    <a:pt x="1299" y="95"/>
                  </a:lnTo>
                  <a:lnTo>
                    <a:pt x="1303" y="97"/>
                  </a:lnTo>
                  <a:lnTo>
                    <a:pt x="1307" y="99"/>
                  </a:lnTo>
                  <a:lnTo>
                    <a:pt x="1311" y="99"/>
                  </a:lnTo>
                  <a:lnTo>
                    <a:pt x="1316" y="101"/>
                  </a:lnTo>
                  <a:lnTo>
                    <a:pt x="1322" y="101"/>
                  </a:lnTo>
                  <a:lnTo>
                    <a:pt x="1324" y="99"/>
                  </a:lnTo>
                  <a:lnTo>
                    <a:pt x="1336" y="91"/>
                  </a:lnTo>
                  <a:lnTo>
                    <a:pt x="1340" y="89"/>
                  </a:lnTo>
                  <a:lnTo>
                    <a:pt x="1342" y="89"/>
                  </a:lnTo>
                  <a:lnTo>
                    <a:pt x="1359" y="87"/>
                  </a:lnTo>
                  <a:lnTo>
                    <a:pt x="1380" y="85"/>
                  </a:lnTo>
                  <a:lnTo>
                    <a:pt x="1377" y="87"/>
                  </a:lnTo>
                  <a:lnTo>
                    <a:pt x="1359" y="89"/>
                  </a:lnTo>
                  <a:lnTo>
                    <a:pt x="1351" y="89"/>
                  </a:lnTo>
                  <a:lnTo>
                    <a:pt x="1344" y="91"/>
                  </a:lnTo>
                  <a:lnTo>
                    <a:pt x="1336" y="97"/>
                  </a:lnTo>
                  <a:lnTo>
                    <a:pt x="1334" y="99"/>
                  </a:lnTo>
                  <a:lnTo>
                    <a:pt x="1332" y="101"/>
                  </a:lnTo>
                  <a:lnTo>
                    <a:pt x="1332" y="101"/>
                  </a:lnTo>
                  <a:lnTo>
                    <a:pt x="1332" y="103"/>
                  </a:lnTo>
                  <a:lnTo>
                    <a:pt x="1336" y="103"/>
                  </a:lnTo>
                  <a:lnTo>
                    <a:pt x="1338" y="103"/>
                  </a:lnTo>
                  <a:lnTo>
                    <a:pt x="1344" y="103"/>
                  </a:lnTo>
                  <a:lnTo>
                    <a:pt x="1351" y="105"/>
                  </a:lnTo>
                  <a:lnTo>
                    <a:pt x="1353" y="105"/>
                  </a:lnTo>
                  <a:lnTo>
                    <a:pt x="1363" y="105"/>
                  </a:lnTo>
                  <a:lnTo>
                    <a:pt x="1365" y="105"/>
                  </a:lnTo>
                  <a:lnTo>
                    <a:pt x="1367" y="103"/>
                  </a:lnTo>
                  <a:lnTo>
                    <a:pt x="1371" y="103"/>
                  </a:lnTo>
                  <a:lnTo>
                    <a:pt x="1373" y="101"/>
                  </a:lnTo>
                  <a:lnTo>
                    <a:pt x="1377" y="99"/>
                  </a:lnTo>
                  <a:lnTo>
                    <a:pt x="1386" y="99"/>
                  </a:lnTo>
                  <a:lnTo>
                    <a:pt x="1390" y="97"/>
                  </a:lnTo>
                  <a:lnTo>
                    <a:pt x="1394" y="97"/>
                  </a:lnTo>
                  <a:lnTo>
                    <a:pt x="1392" y="99"/>
                  </a:lnTo>
                  <a:lnTo>
                    <a:pt x="1386" y="101"/>
                  </a:lnTo>
                  <a:lnTo>
                    <a:pt x="1384" y="103"/>
                  </a:lnTo>
                  <a:lnTo>
                    <a:pt x="1388" y="103"/>
                  </a:lnTo>
                  <a:lnTo>
                    <a:pt x="1392" y="103"/>
                  </a:lnTo>
                  <a:lnTo>
                    <a:pt x="1404" y="101"/>
                  </a:lnTo>
                  <a:lnTo>
                    <a:pt x="1406" y="101"/>
                  </a:lnTo>
                  <a:lnTo>
                    <a:pt x="1410" y="101"/>
                  </a:lnTo>
                  <a:lnTo>
                    <a:pt x="1423" y="97"/>
                  </a:lnTo>
                  <a:lnTo>
                    <a:pt x="1429" y="95"/>
                  </a:lnTo>
                  <a:lnTo>
                    <a:pt x="1431" y="93"/>
                  </a:lnTo>
                  <a:lnTo>
                    <a:pt x="1433" y="93"/>
                  </a:lnTo>
                  <a:lnTo>
                    <a:pt x="1433" y="91"/>
                  </a:lnTo>
                  <a:lnTo>
                    <a:pt x="1435" y="89"/>
                  </a:lnTo>
                  <a:lnTo>
                    <a:pt x="1435" y="87"/>
                  </a:lnTo>
                  <a:lnTo>
                    <a:pt x="1437" y="85"/>
                  </a:lnTo>
                  <a:lnTo>
                    <a:pt x="1439" y="85"/>
                  </a:lnTo>
                  <a:lnTo>
                    <a:pt x="1441" y="85"/>
                  </a:lnTo>
                  <a:lnTo>
                    <a:pt x="1443" y="85"/>
                  </a:lnTo>
                  <a:lnTo>
                    <a:pt x="1450" y="81"/>
                  </a:lnTo>
                  <a:lnTo>
                    <a:pt x="1454" y="79"/>
                  </a:lnTo>
                  <a:lnTo>
                    <a:pt x="1470" y="74"/>
                  </a:lnTo>
                  <a:lnTo>
                    <a:pt x="1468" y="77"/>
                  </a:lnTo>
                  <a:lnTo>
                    <a:pt x="1460" y="79"/>
                  </a:lnTo>
                  <a:lnTo>
                    <a:pt x="1450" y="85"/>
                  </a:lnTo>
                  <a:lnTo>
                    <a:pt x="1448" y="85"/>
                  </a:lnTo>
                  <a:lnTo>
                    <a:pt x="1445" y="89"/>
                  </a:lnTo>
                  <a:lnTo>
                    <a:pt x="1445" y="89"/>
                  </a:lnTo>
                  <a:lnTo>
                    <a:pt x="1443" y="91"/>
                  </a:lnTo>
                  <a:lnTo>
                    <a:pt x="1445" y="93"/>
                  </a:lnTo>
                  <a:lnTo>
                    <a:pt x="1454" y="93"/>
                  </a:lnTo>
                  <a:lnTo>
                    <a:pt x="1462" y="93"/>
                  </a:lnTo>
                  <a:lnTo>
                    <a:pt x="1466" y="93"/>
                  </a:lnTo>
                  <a:lnTo>
                    <a:pt x="1470" y="93"/>
                  </a:lnTo>
                  <a:lnTo>
                    <a:pt x="1470" y="93"/>
                  </a:lnTo>
                  <a:lnTo>
                    <a:pt x="1466" y="95"/>
                  </a:lnTo>
                  <a:lnTo>
                    <a:pt x="1462" y="95"/>
                  </a:lnTo>
                  <a:lnTo>
                    <a:pt x="1450" y="97"/>
                  </a:lnTo>
                  <a:lnTo>
                    <a:pt x="1431" y="101"/>
                  </a:lnTo>
                  <a:lnTo>
                    <a:pt x="1431" y="101"/>
                  </a:lnTo>
                  <a:lnTo>
                    <a:pt x="1425" y="105"/>
                  </a:lnTo>
                  <a:lnTo>
                    <a:pt x="1413" y="108"/>
                  </a:lnTo>
                  <a:lnTo>
                    <a:pt x="1390" y="110"/>
                  </a:lnTo>
                  <a:lnTo>
                    <a:pt x="1386" y="112"/>
                  </a:lnTo>
                  <a:lnTo>
                    <a:pt x="1384" y="112"/>
                  </a:lnTo>
                  <a:lnTo>
                    <a:pt x="1384" y="114"/>
                  </a:lnTo>
                  <a:lnTo>
                    <a:pt x="1388" y="116"/>
                  </a:lnTo>
                  <a:lnTo>
                    <a:pt x="1392" y="120"/>
                  </a:lnTo>
                  <a:lnTo>
                    <a:pt x="1400" y="124"/>
                  </a:lnTo>
                  <a:lnTo>
                    <a:pt x="1402" y="126"/>
                  </a:lnTo>
                  <a:lnTo>
                    <a:pt x="1406" y="128"/>
                  </a:lnTo>
                  <a:lnTo>
                    <a:pt x="1408" y="130"/>
                  </a:lnTo>
                  <a:lnTo>
                    <a:pt x="1410" y="132"/>
                  </a:lnTo>
                  <a:lnTo>
                    <a:pt x="1415" y="132"/>
                  </a:lnTo>
                  <a:lnTo>
                    <a:pt x="1421" y="132"/>
                  </a:lnTo>
                  <a:lnTo>
                    <a:pt x="1425" y="132"/>
                  </a:lnTo>
                  <a:lnTo>
                    <a:pt x="1423" y="134"/>
                  </a:lnTo>
                  <a:lnTo>
                    <a:pt x="1419" y="134"/>
                  </a:lnTo>
                  <a:lnTo>
                    <a:pt x="1417" y="134"/>
                  </a:lnTo>
                  <a:lnTo>
                    <a:pt x="1410" y="134"/>
                  </a:lnTo>
                  <a:lnTo>
                    <a:pt x="1404" y="134"/>
                  </a:lnTo>
                  <a:lnTo>
                    <a:pt x="1402" y="132"/>
                  </a:lnTo>
                  <a:lnTo>
                    <a:pt x="1400" y="130"/>
                  </a:lnTo>
                  <a:lnTo>
                    <a:pt x="1396" y="130"/>
                  </a:lnTo>
                  <a:lnTo>
                    <a:pt x="1392" y="126"/>
                  </a:lnTo>
                  <a:lnTo>
                    <a:pt x="1388" y="122"/>
                  </a:lnTo>
                  <a:lnTo>
                    <a:pt x="1384" y="120"/>
                  </a:lnTo>
                  <a:lnTo>
                    <a:pt x="1377" y="118"/>
                  </a:lnTo>
                  <a:lnTo>
                    <a:pt x="1373" y="116"/>
                  </a:lnTo>
                  <a:lnTo>
                    <a:pt x="1367" y="114"/>
                  </a:lnTo>
                  <a:lnTo>
                    <a:pt x="1359" y="114"/>
                  </a:lnTo>
                  <a:lnTo>
                    <a:pt x="1353" y="114"/>
                  </a:lnTo>
                  <a:lnTo>
                    <a:pt x="1336" y="112"/>
                  </a:lnTo>
                  <a:lnTo>
                    <a:pt x="1332" y="114"/>
                  </a:lnTo>
                  <a:lnTo>
                    <a:pt x="1332" y="118"/>
                  </a:lnTo>
                  <a:lnTo>
                    <a:pt x="1334" y="122"/>
                  </a:lnTo>
                  <a:lnTo>
                    <a:pt x="1334" y="128"/>
                  </a:lnTo>
                  <a:lnTo>
                    <a:pt x="1338" y="130"/>
                  </a:lnTo>
                  <a:lnTo>
                    <a:pt x="1340" y="130"/>
                  </a:lnTo>
                  <a:lnTo>
                    <a:pt x="1349" y="132"/>
                  </a:lnTo>
                  <a:lnTo>
                    <a:pt x="1351" y="132"/>
                  </a:lnTo>
                  <a:lnTo>
                    <a:pt x="1353" y="134"/>
                  </a:lnTo>
                  <a:lnTo>
                    <a:pt x="1357" y="138"/>
                  </a:lnTo>
                  <a:lnTo>
                    <a:pt x="1361" y="143"/>
                  </a:lnTo>
                  <a:lnTo>
                    <a:pt x="1363" y="145"/>
                  </a:lnTo>
                  <a:lnTo>
                    <a:pt x="1365" y="147"/>
                  </a:lnTo>
                  <a:lnTo>
                    <a:pt x="1369" y="149"/>
                  </a:lnTo>
                  <a:lnTo>
                    <a:pt x="1373" y="151"/>
                  </a:lnTo>
                  <a:lnTo>
                    <a:pt x="1375" y="153"/>
                  </a:lnTo>
                  <a:lnTo>
                    <a:pt x="1371" y="153"/>
                  </a:lnTo>
                  <a:lnTo>
                    <a:pt x="1367" y="151"/>
                  </a:lnTo>
                  <a:lnTo>
                    <a:pt x="1365" y="151"/>
                  </a:lnTo>
                  <a:lnTo>
                    <a:pt x="1363" y="151"/>
                  </a:lnTo>
                  <a:lnTo>
                    <a:pt x="1361" y="151"/>
                  </a:lnTo>
                  <a:lnTo>
                    <a:pt x="1361" y="151"/>
                  </a:lnTo>
                  <a:lnTo>
                    <a:pt x="1361" y="153"/>
                  </a:lnTo>
                  <a:lnTo>
                    <a:pt x="1363" y="155"/>
                  </a:lnTo>
                  <a:lnTo>
                    <a:pt x="1365" y="155"/>
                  </a:lnTo>
                  <a:lnTo>
                    <a:pt x="1367" y="155"/>
                  </a:lnTo>
                  <a:lnTo>
                    <a:pt x="1371" y="155"/>
                  </a:lnTo>
                  <a:lnTo>
                    <a:pt x="1382" y="155"/>
                  </a:lnTo>
                  <a:lnTo>
                    <a:pt x="1388" y="157"/>
                  </a:lnTo>
                  <a:lnTo>
                    <a:pt x="1392" y="157"/>
                  </a:lnTo>
                  <a:lnTo>
                    <a:pt x="1394" y="157"/>
                  </a:lnTo>
                  <a:lnTo>
                    <a:pt x="1396" y="155"/>
                  </a:lnTo>
                  <a:lnTo>
                    <a:pt x="1398" y="155"/>
                  </a:lnTo>
                  <a:lnTo>
                    <a:pt x="1400" y="155"/>
                  </a:lnTo>
                  <a:lnTo>
                    <a:pt x="1400" y="155"/>
                  </a:lnTo>
                  <a:lnTo>
                    <a:pt x="1398" y="157"/>
                  </a:lnTo>
                  <a:lnTo>
                    <a:pt x="1396" y="159"/>
                  </a:lnTo>
                  <a:lnTo>
                    <a:pt x="1394" y="159"/>
                  </a:lnTo>
                  <a:lnTo>
                    <a:pt x="1392" y="159"/>
                  </a:lnTo>
                  <a:lnTo>
                    <a:pt x="1384" y="159"/>
                  </a:lnTo>
                  <a:lnTo>
                    <a:pt x="1382" y="159"/>
                  </a:lnTo>
                  <a:lnTo>
                    <a:pt x="1380" y="161"/>
                  </a:lnTo>
                  <a:lnTo>
                    <a:pt x="1377" y="161"/>
                  </a:lnTo>
                  <a:lnTo>
                    <a:pt x="1375" y="159"/>
                  </a:lnTo>
                  <a:lnTo>
                    <a:pt x="1369" y="159"/>
                  </a:lnTo>
                  <a:lnTo>
                    <a:pt x="1357" y="157"/>
                  </a:lnTo>
                  <a:lnTo>
                    <a:pt x="1355" y="157"/>
                  </a:lnTo>
                  <a:lnTo>
                    <a:pt x="1351" y="157"/>
                  </a:lnTo>
                  <a:lnTo>
                    <a:pt x="1344" y="159"/>
                  </a:lnTo>
                  <a:lnTo>
                    <a:pt x="1336" y="159"/>
                  </a:lnTo>
                  <a:lnTo>
                    <a:pt x="1328" y="161"/>
                  </a:lnTo>
                  <a:lnTo>
                    <a:pt x="1326" y="165"/>
                  </a:lnTo>
                  <a:lnTo>
                    <a:pt x="1324" y="167"/>
                  </a:lnTo>
                  <a:lnTo>
                    <a:pt x="1322" y="169"/>
                  </a:lnTo>
                  <a:lnTo>
                    <a:pt x="1320" y="172"/>
                  </a:lnTo>
                  <a:lnTo>
                    <a:pt x="1320" y="176"/>
                  </a:lnTo>
                  <a:lnTo>
                    <a:pt x="1318" y="180"/>
                  </a:lnTo>
                  <a:lnTo>
                    <a:pt x="1322" y="182"/>
                  </a:lnTo>
                  <a:lnTo>
                    <a:pt x="1328" y="182"/>
                  </a:lnTo>
                  <a:lnTo>
                    <a:pt x="1330" y="180"/>
                  </a:lnTo>
                  <a:lnTo>
                    <a:pt x="1334" y="180"/>
                  </a:lnTo>
                  <a:lnTo>
                    <a:pt x="1338" y="176"/>
                  </a:lnTo>
                  <a:lnTo>
                    <a:pt x="1340" y="174"/>
                  </a:lnTo>
                  <a:lnTo>
                    <a:pt x="1338" y="180"/>
                  </a:lnTo>
                  <a:lnTo>
                    <a:pt x="1336" y="182"/>
                  </a:lnTo>
                  <a:lnTo>
                    <a:pt x="1347" y="182"/>
                  </a:lnTo>
                  <a:lnTo>
                    <a:pt x="1349" y="180"/>
                  </a:lnTo>
                  <a:lnTo>
                    <a:pt x="1351" y="180"/>
                  </a:lnTo>
                  <a:lnTo>
                    <a:pt x="1355" y="176"/>
                  </a:lnTo>
                  <a:lnTo>
                    <a:pt x="1357" y="169"/>
                  </a:lnTo>
                  <a:lnTo>
                    <a:pt x="1355" y="178"/>
                  </a:lnTo>
                  <a:lnTo>
                    <a:pt x="1361" y="178"/>
                  </a:lnTo>
                  <a:lnTo>
                    <a:pt x="1363" y="178"/>
                  </a:lnTo>
                  <a:lnTo>
                    <a:pt x="1365" y="180"/>
                  </a:lnTo>
                  <a:lnTo>
                    <a:pt x="1361" y="180"/>
                  </a:lnTo>
                  <a:lnTo>
                    <a:pt x="1361" y="180"/>
                  </a:lnTo>
                  <a:lnTo>
                    <a:pt x="1355" y="184"/>
                  </a:lnTo>
                  <a:lnTo>
                    <a:pt x="1351" y="184"/>
                  </a:lnTo>
                  <a:lnTo>
                    <a:pt x="1347" y="188"/>
                  </a:lnTo>
                  <a:lnTo>
                    <a:pt x="1351" y="192"/>
                  </a:lnTo>
                  <a:lnTo>
                    <a:pt x="1351" y="198"/>
                  </a:lnTo>
                  <a:lnTo>
                    <a:pt x="1353" y="200"/>
                  </a:lnTo>
                  <a:lnTo>
                    <a:pt x="1357" y="200"/>
                  </a:lnTo>
                  <a:lnTo>
                    <a:pt x="1361" y="198"/>
                  </a:lnTo>
                  <a:lnTo>
                    <a:pt x="1367" y="200"/>
                  </a:lnTo>
                  <a:lnTo>
                    <a:pt x="1369" y="200"/>
                  </a:lnTo>
                  <a:lnTo>
                    <a:pt x="1371" y="198"/>
                  </a:lnTo>
                  <a:lnTo>
                    <a:pt x="1377" y="196"/>
                  </a:lnTo>
                  <a:lnTo>
                    <a:pt x="1380" y="194"/>
                  </a:lnTo>
                  <a:lnTo>
                    <a:pt x="1388" y="186"/>
                  </a:lnTo>
                  <a:lnTo>
                    <a:pt x="1388" y="186"/>
                  </a:lnTo>
                  <a:lnTo>
                    <a:pt x="1388" y="186"/>
                  </a:lnTo>
                  <a:lnTo>
                    <a:pt x="1388" y="188"/>
                  </a:lnTo>
                  <a:lnTo>
                    <a:pt x="1388" y="190"/>
                  </a:lnTo>
                  <a:lnTo>
                    <a:pt x="1384" y="192"/>
                  </a:lnTo>
                  <a:lnTo>
                    <a:pt x="1380" y="198"/>
                  </a:lnTo>
                  <a:lnTo>
                    <a:pt x="1375" y="200"/>
                  </a:lnTo>
                  <a:lnTo>
                    <a:pt x="1375" y="200"/>
                  </a:lnTo>
                  <a:lnTo>
                    <a:pt x="1373" y="203"/>
                  </a:lnTo>
                  <a:lnTo>
                    <a:pt x="1373" y="203"/>
                  </a:lnTo>
                  <a:lnTo>
                    <a:pt x="1369" y="203"/>
                  </a:lnTo>
                  <a:lnTo>
                    <a:pt x="1361" y="205"/>
                  </a:lnTo>
                  <a:lnTo>
                    <a:pt x="1359" y="205"/>
                  </a:lnTo>
                  <a:lnTo>
                    <a:pt x="1355" y="205"/>
                  </a:lnTo>
                  <a:lnTo>
                    <a:pt x="1347" y="200"/>
                  </a:lnTo>
                  <a:lnTo>
                    <a:pt x="1344" y="200"/>
                  </a:lnTo>
                  <a:lnTo>
                    <a:pt x="1342" y="196"/>
                  </a:lnTo>
                  <a:lnTo>
                    <a:pt x="1338" y="192"/>
                  </a:lnTo>
                  <a:lnTo>
                    <a:pt x="1334" y="190"/>
                  </a:lnTo>
                  <a:lnTo>
                    <a:pt x="1330" y="190"/>
                  </a:lnTo>
                  <a:lnTo>
                    <a:pt x="1326" y="188"/>
                  </a:lnTo>
                  <a:lnTo>
                    <a:pt x="1322" y="188"/>
                  </a:lnTo>
                  <a:lnTo>
                    <a:pt x="1320" y="188"/>
                  </a:lnTo>
                  <a:lnTo>
                    <a:pt x="1316" y="190"/>
                  </a:lnTo>
                  <a:lnTo>
                    <a:pt x="1311" y="192"/>
                  </a:lnTo>
                  <a:lnTo>
                    <a:pt x="1309" y="194"/>
                  </a:lnTo>
                  <a:lnTo>
                    <a:pt x="1314" y="196"/>
                  </a:lnTo>
                  <a:lnTo>
                    <a:pt x="1316" y="200"/>
                  </a:lnTo>
                  <a:lnTo>
                    <a:pt x="1316" y="203"/>
                  </a:lnTo>
                  <a:lnTo>
                    <a:pt x="1318" y="203"/>
                  </a:lnTo>
                  <a:lnTo>
                    <a:pt x="1320" y="205"/>
                  </a:lnTo>
                  <a:lnTo>
                    <a:pt x="1322" y="205"/>
                  </a:lnTo>
                  <a:lnTo>
                    <a:pt x="1324" y="205"/>
                  </a:lnTo>
                  <a:lnTo>
                    <a:pt x="1324" y="207"/>
                  </a:lnTo>
                  <a:lnTo>
                    <a:pt x="1328" y="209"/>
                  </a:lnTo>
                  <a:lnTo>
                    <a:pt x="1328" y="209"/>
                  </a:lnTo>
                  <a:lnTo>
                    <a:pt x="1328" y="211"/>
                  </a:lnTo>
                  <a:lnTo>
                    <a:pt x="1326" y="211"/>
                  </a:lnTo>
                  <a:lnTo>
                    <a:pt x="1322" y="211"/>
                  </a:lnTo>
                  <a:lnTo>
                    <a:pt x="1318" y="211"/>
                  </a:lnTo>
                  <a:lnTo>
                    <a:pt x="1314" y="211"/>
                  </a:lnTo>
                  <a:lnTo>
                    <a:pt x="1309" y="211"/>
                  </a:lnTo>
                  <a:lnTo>
                    <a:pt x="1305" y="213"/>
                  </a:lnTo>
                  <a:lnTo>
                    <a:pt x="1303" y="213"/>
                  </a:lnTo>
                  <a:lnTo>
                    <a:pt x="1301" y="215"/>
                  </a:lnTo>
                  <a:lnTo>
                    <a:pt x="1291" y="221"/>
                  </a:lnTo>
                  <a:lnTo>
                    <a:pt x="1289" y="225"/>
                  </a:lnTo>
                  <a:lnTo>
                    <a:pt x="1289" y="229"/>
                  </a:lnTo>
                  <a:lnTo>
                    <a:pt x="1293" y="231"/>
                  </a:lnTo>
                  <a:lnTo>
                    <a:pt x="1301" y="231"/>
                  </a:lnTo>
                  <a:lnTo>
                    <a:pt x="1303" y="231"/>
                  </a:lnTo>
                  <a:lnTo>
                    <a:pt x="1303" y="229"/>
                  </a:lnTo>
                  <a:lnTo>
                    <a:pt x="1303" y="225"/>
                  </a:lnTo>
                  <a:lnTo>
                    <a:pt x="1305" y="221"/>
                  </a:lnTo>
                  <a:lnTo>
                    <a:pt x="1305" y="227"/>
                  </a:lnTo>
                  <a:lnTo>
                    <a:pt x="1305" y="233"/>
                  </a:lnTo>
                  <a:lnTo>
                    <a:pt x="1309" y="231"/>
                  </a:lnTo>
                  <a:lnTo>
                    <a:pt x="1320" y="233"/>
                  </a:lnTo>
                  <a:lnTo>
                    <a:pt x="1320" y="227"/>
                  </a:lnTo>
                  <a:lnTo>
                    <a:pt x="1322" y="231"/>
                  </a:lnTo>
                  <a:lnTo>
                    <a:pt x="1326" y="231"/>
                  </a:lnTo>
                  <a:lnTo>
                    <a:pt x="1330" y="233"/>
                  </a:lnTo>
                  <a:lnTo>
                    <a:pt x="1332" y="229"/>
                  </a:lnTo>
                  <a:lnTo>
                    <a:pt x="1334" y="227"/>
                  </a:lnTo>
                  <a:lnTo>
                    <a:pt x="1334" y="227"/>
                  </a:lnTo>
                  <a:lnTo>
                    <a:pt x="1334" y="229"/>
                  </a:lnTo>
                  <a:lnTo>
                    <a:pt x="1336" y="229"/>
                  </a:lnTo>
                  <a:lnTo>
                    <a:pt x="1338" y="231"/>
                  </a:lnTo>
                  <a:lnTo>
                    <a:pt x="1344" y="233"/>
                  </a:lnTo>
                  <a:lnTo>
                    <a:pt x="1349" y="236"/>
                  </a:lnTo>
                  <a:lnTo>
                    <a:pt x="1353" y="236"/>
                  </a:lnTo>
                  <a:lnTo>
                    <a:pt x="1365" y="233"/>
                  </a:lnTo>
                  <a:lnTo>
                    <a:pt x="1365" y="225"/>
                  </a:lnTo>
                  <a:lnTo>
                    <a:pt x="1369" y="229"/>
                  </a:lnTo>
                  <a:lnTo>
                    <a:pt x="1371" y="231"/>
                  </a:lnTo>
                  <a:lnTo>
                    <a:pt x="1377" y="231"/>
                  </a:lnTo>
                  <a:lnTo>
                    <a:pt x="1394" y="231"/>
                  </a:lnTo>
                  <a:lnTo>
                    <a:pt x="1394" y="229"/>
                  </a:lnTo>
                  <a:lnTo>
                    <a:pt x="1394" y="227"/>
                  </a:lnTo>
                  <a:lnTo>
                    <a:pt x="1392" y="225"/>
                  </a:lnTo>
                  <a:lnTo>
                    <a:pt x="1390" y="223"/>
                  </a:lnTo>
                  <a:lnTo>
                    <a:pt x="1390" y="223"/>
                  </a:lnTo>
                  <a:lnTo>
                    <a:pt x="1392" y="225"/>
                  </a:lnTo>
                  <a:lnTo>
                    <a:pt x="1392" y="225"/>
                  </a:lnTo>
                  <a:lnTo>
                    <a:pt x="1394" y="225"/>
                  </a:lnTo>
                  <a:lnTo>
                    <a:pt x="1396" y="225"/>
                  </a:lnTo>
                  <a:lnTo>
                    <a:pt x="1396" y="225"/>
                  </a:lnTo>
                  <a:lnTo>
                    <a:pt x="1400" y="229"/>
                  </a:lnTo>
                  <a:lnTo>
                    <a:pt x="1402" y="229"/>
                  </a:lnTo>
                  <a:lnTo>
                    <a:pt x="1402" y="229"/>
                  </a:lnTo>
                  <a:lnTo>
                    <a:pt x="1404" y="229"/>
                  </a:lnTo>
                  <a:lnTo>
                    <a:pt x="1406" y="229"/>
                  </a:lnTo>
                  <a:lnTo>
                    <a:pt x="1408" y="229"/>
                  </a:lnTo>
                  <a:lnTo>
                    <a:pt x="1410" y="229"/>
                  </a:lnTo>
                  <a:lnTo>
                    <a:pt x="1413" y="231"/>
                  </a:lnTo>
                  <a:lnTo>
                    <a:pt x="1415" y="233"/>
                  </a:lnTo>
                  <a:lnTo>
                    <a:pt x="1415" y="233"/>
                  </a:lnTo>
                  <a:lnTo>
                    <a:pt x="1413" y="236"/>
                  </a:lnTo>
                  <a:lnTo>
                    <a:pt x="1413" y="238"/>
                  </a:lnTo>
                  <a:lnTo>
                    <a:pt x="1413" y="238"/>
                  </a:lnTo>
                  <a:lnTo>
                    <a:pt x="1413" y="240"/>
                  </a:lnTo>
                  <a:lnTo>
                    <a:pt x="1415" y="240"/>
                  </a:lnTo>
                  <a:lnTo>
                    <a:pt x="1417" y="240"/>
                  </a:lnTo>
                  <a:lnTo>
                    <a:pt x="1423" y="238"/>
                  </a:lnTo>
                  <a:lnTo>
                    <a:pt x="1427" y="238"/>
                  </a:lnTo>
                  <a:lnTo>
                    <a:pt x="1433" y="236"/>
                  </a:lnTo>
                  <a:lnTo>
                    <a:pt x="1435" y="233"/>
                  </a:lnTo>
                  <a:lnTo>
                    <a:pt x="1437" y="233"/>
                  </a:lnTo>
                  <a:lnTo>
                    <a:pt x="1441" y="231"/>
                  </a:lnTo>
                  <a:lnTo>
                    <a:pt x="1450" y="227"/>
                  </a:lnTo>
                  <a:lnTo>
                    <a:pt x="1452" y="225"/>
                  </a:lnTo>
                  <a:lnTo>
                    <a:pt x="1454" y="223"/>
                  </a:lnTo>
                  <a:lnTo>
                    <a:pt x="1454" y="219"/>
                  </a:lnTo>
                  <a:lnTo>
                    <a:pt x="1452" y="217"/>
                  </a:lnTo>
                  <a:lnTo>
                    <a:pt x="1450" y="215"/>
                  </a:lnTo>
                  <a:lnTo>
                    <a:pt x="1450" y="215"/>
                  </a:lnTo>
                  <a:lnTo>
                    <a:pt x="1448" y="217"/>
                  </a:lnTo>
                  <a:lnTo>
                    <a:pt x="1445" y="217"/>
                  </a:lnTo>
                  <a:lnTo>
                    <a:pt x="1443" y="219"/>
                  </a:lnTo>
                  <a:lnTo>
                    <a:pt x="1439" y="219"/>
                  </a:lnTo>
                  <a:lnTo>
                    <a:pt x="1437" y="217"/>
                  </a:lnTo>
                  <a:lnTo>
                    <a:pt x="1435" y="215"/>
                  </a:lnTo>
                  <a:lnTo>
                    <a:pt x="1435" y="215"/>
                  </a:lnTo>
                  <a:lnTo>
                    <a:pt x="1435" y="213"/>
                  </a:lnTo>
                  <a:lnTo>
                    <a:pt x="1435" y="211"/>
                  </a:lnTo>
                  <a:lnTo>
                    <a:pt x="1433" y="209"/>
                  </a:lnTo>
                  <a:lnTo>
                    <a:pt x="1427" y="209"/>
                  </a:lnTo>
                  <a:lnTo>
                    <a:pt x="1423" y="211"/>
                  </a:lnTo>
                  <a:lnTo>
                    <a:pt x="1423" y="211"/>
                  </a:lnTo>
                  <a:lnTo>
                    <a:pt x="1417" y="209"/>
                  </a:lnTo>
                  <a:lnTo>
                    <a:pt x="1415" y="207"/>
                  </a:lnTo>
                  <a:lnTo>
                    <a:pt x="1410" y="207"/>
                  </a:lnTo>
                  <a:lnTo>
                    <a:pt x="1408" y="207"/>
                  </a:lnTo>
                  <a:lnTo>
                    <a:pt x="1404" y="209"/>
                  </a:lnTo>
                  <a:lnTo>
                    <a:pt x="1400" y="209"/>
                  </a:lnTo>
                  <a:lnTo>
                    <a:pt x="1400" y="209"/>
                  </a:lnTo>
                  <a:lnTo>
                    <a:pt x="1398" y="209"/>
                  </a:lnTo>
                  <a:lnTo>
                    <a:pt x="1396" y="207"/>
                  </a:lnTo>
                  <a:lnTo>
                    <a:pt x="1396" y="207"/>
                  </a:lnTo>
                  <a:lnTo>
                    <a:pt x="1400" y="207"/>
                  </a:lnTo>
                  <a:lnTo>
                    <a:pt x="1404" y="207"/>
                  </a:lnTo>
                  <a:lnTo>
                    <a:pt x="1406" y="205"/>
                  </a:lnTo>
                  <a:lnTo>
                    <a:pt x="1408" y="205"/>
                  </a:lnTo>
                  <a:lnTo>
                    <a:pt x="1406" y="205"/>
                  </a:lnTo>
                  <a:lnTo>
                    <a:pt x="1404" y="203"/>
                  </a:lnTo>
                  <a:lnTo>
                    <a:pt x="1402" y="200"/>
                  </a:lnTo>
                  <a:lnTo>
                    <a:pt x="1402" y="198"/>
                  </a:lnTo>
                  <a:lnTo>
                    <a:pt x="1404" y="200"/>
                  </a:lnTo>
                  <a:lnTo>
                    <a:pt x="1406" y="200"/>
                  </a:lnTo>
                  <a:lnTo>
                    <a:pt x="1413" y="205"/>
                  </a:lnTo>
                  <a:lnTo>
                    <a:pt x="1417" y="207"/>
                  </a:lnTo>
                  <a:lnTo>
                    <a:pt x="1421" y="207"/>
                  </a:lnTo>
                  <a:lnTo>
                    <a:pt x="1427" y="207"/>
                  </a:lnTo>
                  <a:lnTo>
                    <a:pt x="1437" y="205"/>
                  </a:lnTo>
                  <a:lnTo>
                    <a:pt x="1441" y="205"/>
                  </a:lnTo>
                  <a:lnTo>
                    <a:pt x="1443" y="205"/>
                  </a:lnTo>
                  <a:lnTo>
                    <a:pt x="1448" y="205"/>
                  </a:lnTo>
                  <a:lnTo>
                    <a:pt x="1450" y="203"/>
                  </a:lnTo>
                  <a:lnTo>
                    <a:pt x="1452" y="200"/>
                  </a:lnTo>
                  <a:lnTo>
                    <a:pt x="1454" y="200"/>
                  </a:lnTo>
                  <a:lnTo>
                    <a:pt x="1454" y="196"/>
                  </a:lnTo>
                  <a:lnTo>
                    <a:pt x="1454" y="192"/>
                  </a:lnTo>
                  <a:lnTo>
                    <a:pt x="1454" y="190"/>
                  </a:lnTo>
                  <a:lnTo>
                    <a:pt x="1454" y="188"/>
                  </a:lnTo>
                  <a:lnTo>
                    <a:pt x="1454" y="186"/>
                  </a:lnTo>
                  <a:lnTo>
                    <a:pt x="1462" y="186"/>
                  </a:lnTo>
                  <a:lnTo>
                    <a:pt x="1468" y="188"/>
                  </a:lnTo>
                  <a:lnTo>
                    <a:pt x="1472" y="186"/>
                  </a:lnTo>
                  <a:lnTo>
                    <a:pt x="1478" y="186"/>
                  </a:lnTo>
                  <a:lnTo>
                    <a:pt x="1483" y="186"/>
                  </a:lnTo>
                  <a:lnTo>
                    <a:pt x="1483" y="186"/>
                  </a:lnTo>
                  <a:lnTo>
                    <a:pt x="1485" y="184"/>
                  </a:lnTo>
                  <a:lnTo>
                    <a:pt x="1489" y="178"/>
                  </a:lnTo>
                  <a:lnTo>
                    <a:pt x="1495" y="176"/>
                  </a:lnTo>
                  <a:lnTo>
                    <a:pt x="1493" y="174"/>
                  </a:lnTo>
                  <a:lnTo>
                    <a:pt x="1491" y="174"/>
                  </a:lnTo>
                  <a:lnTo>
                    <a:pt x="1481" y="169"/>
                  </a:lnTo>
                  <a:lnTo>
                    <a:pt x="1476" y="169"/>
                  </a:lnTo>
                  <a:lnTo>
                    <a:pt x="1476" y="169"/>
                  </a:lnTo>
                  <a:lnTo>
                    <a:pt x="1483" y="169"/>
                  </a:lnTo>
                  <a:lnTo>
                    <a:pt x="1491" y="169"/>
                  </a:lnTo>
                  <a:lnTo>
                    <a:pt x="1499" y="167"/>
                  </a:lnTo>
                  <a:lnTo>
                    <a:pt x="1503" y="165"/>
                  </a:lnTo>
                  <a:lnTo>
                    <a:pt x="1503" y="165"/>
                  </a:lnTo>
                  <a:lnTo>
                    <a:pt x="1505" y="163"/>
                  </a:lnTo>
                  <a:lnTo>
                    <a:pt x="1505" y="161"/>
                  </a:lnTo>
                  <a:lnTo>
                    <a:pt x="1503" y="161"/>
                  </a:lnTo>
                  <a:lnTo>
                    <a:pt x="1495" y="159"/>
                  </a:lnTo>
                  <a:lnTo>
                    <a:pt x="1491" y="157"/>
                  </a:lnTo>
                  <a:lnTo>
                    <a:pt x="1485" y="157"/>
                  </a:lnTo>
                  <a:lnTo>
                    <a:pt x="1483" y="155"/>
                  </a:lnTo>
                  <a:lnTo>
                    <a:pt x="1483" y="155"/>
                  </a:lnTo>
                  <a:lnTo>
                    <a:pt x="1478" y="153"/>
                  </a:lnTo>
                  <a:lnTo>
                    <a:pt x="1474" y="153"/>
                  </a:lnTo>
                  <a:lnTo>
                    <a:pt x="1470" y="153"/>
                  </a:lnTo>
                  <a:lnTo>
                    <a:pt x="1462" y="155"/>
                  </a:lnTo>
                  <a:lnTo>
                    <a:pt x="1458" y="155"/>
                  </a:lnTo>
                  <a:lnTo>
                    <a:pt x="1456" y="155"/>
                  </a:lnTo>
                  <a:lnTo>
                    <a:pt x="1454" y="155"/>
                  </a:lnTo>
                  <a:lnTo>
                    <a:pt x="1452" y="153"/>
                  </a:lnTo>
                  <a:lnTo>
                    <a:pt x="1448" y="153"/>
                  </a:lnTo>
                  <a:lnTo>
                    <a:pt x="1445" y="153"/>
                  </a:lnTo>
                  <a:lnTo>
                    <a:pt x="1445" y="151"/>
                  </a:lnTo>
                  <a:lnTo>
                    <a:pt x="1450" y="151"/>
                  </a:lnTo>
                  <a:lnTo>
                    <a:pt x="1454" y="151"/>
                  </a:lnTo>
                  <a:lnTo>
                    <a:pt x="1458" y="153"/>
                  </a:lnTo>
                  <a:lnTo>
                    <a:pt x="1462" y="153"/>
                  </a:lnTo>
                  <a:lnTo>
                    <a:pt x="1472" y="151"/>
                  </a:lnTo>
                  <a:lnTo>
                    <a:pt x="1474" y="151"/>
                  </a:lnTo>
                  <a:lnTo>
                    <a:pt x="1476" y="151"/>
                  </a:lnTo>
                  <a:lnTo>
                    <a:pt x="1481" y="151"/>
                  </a:lnTo>
                  <a:lnTo>
                    <a:pt x="1485" y="151"/>
                  </a:lnTo>
                  <a:lnTo>
                    <a:pt x="1489" y="151"/>
                  </a:lnTo>
                  <a:lnTo>
                    <a:pt x="1489" y="153"/>
                  </a:lnTo>
                  <a:lnTo>
                    <a:pt x="1493" y="153"/>
                  </a:lnTo>
                  <a:lnTo>
                    <a:pt x="1501" y="153"/>
                  </a:lnTo>
                  <a:lnTo>
                    <a:pt x="1503" y="153"/>
                  </a:lnTo>
                  <a:lnTo>
                    <a:pt x="1505" y="147"/>
                  </a:lnTo>
                  <a:lnTo>
                    <a:pt x="1501" y="147"/>
                  </a:lnTo>
                  <a:lnTo>
                    <a:pt x="1495" y="147"/>
                  </a:lnTo>
                  <a:lnTo>
                    <a:pt x="1493" y="147"/>
                  </a:lnTo>
                  <a:lnTo>
                    <a:pt x="1489" y="147"/>
                  </a:lnTo>
                  <a:lnTo>
                    <a:pt x="1483" y="145"/>
                  </a:lnTo>
                  <a:lnTo>
                    <a:pt x="1481" y="145"/>
                  </a:lnTo>
                  <a:lnTo>
                    <a:pt x="1478" y="141"/>
                  </a:lnTo>
                  <a:lnTo>
                    <a:pt x="1472" y="138"/>
                  </a:lnTo>
                  <a:lnTo>
                    <a:pt x="1470" y="138"/>
                  </a:lnTo>
                  <a:lnTo>
                    <a:pt x="1470" y="138"/>
                  </a:lnTo>
                  <a:lnTo>
                    <a:pt x="1476" y="138"/>
                  </a:lnTo>
                  <a:lnTo>
                    <a:pt x="1483" y="138"/>
                  </a:lnTo>
                  <a:lnTo>
                    <a:pt x="1487" y="141"/>
                  </a:lnTo>
                  <a:lnTo>
                    <a:pt x="1491" y="141"/>
                  </a:lnTo>
                  <a:lnTo>
                    <a:pt x="1493" y="141"/>
                  </a:lnTo>
                  <a:lnTo>
                    <a:pt x="1499" y="141"/>
                  </a:lnTo>
                  <a:lnTo>
                    <a:pt x="1505" y="141"/>
                  </a:lnTo>
                  <a:lnTo>
                    <a:pt x="1509" y="138"/>
                  </a:lnTo>
                  <a:lnTo>
                    <a:pt x="1511" y="138"/>
                  </a:lnTo>
                  <a:lnTo>
                    <a:pt x="1514" y="138"/>
                  </a:lnTo>
                  <a:lnTo>
                    <a:pt x="1520" y="138"/>
                  </a:lnTo>
                  <a:lnTo>
                    <a:pt x="1520" y="138"/>
                  </a:lnTo>
                  <a:lnTo>
                    <a:pt x="1522" y="138"/>
                  </a:lnTo>
                  <a:lnTo>
                    <a:pt x="1522" y="136"/>
                  </a:lnTo>
                  <a:lnTo>
                    <a:pt x="1522" y="134"/>
                  </a:lnTo>
                  <a:lnTo>
                    <a:pt x="1522" y="134"/>
                  </a:lnTo>
                  <a:lnTo>
                    <a:pt x="1520" y="130"/>
                  </a:lnTo>
                  <a:lnTo>
                    <a:pt x="1520" y="130"/>
                  </a:lnTo>
                  <a:lnTo>
                    <a:pt x="1516" y="130"/>
                  </a:lnTo>
                  <a:lnTo>
                    <a:pt x="1511" y="130"/>
                  </a:lnTo>
                  <a:lnTo>
                    <a:pt x="1503" y="128"/>
                  </a:lnTo>
                  <a:lnTo>
                    <a:pt x="1501" y="128"/>
                  </a:lnTo>
                  <a:lnTo>
                    <a:pt x="1505" y="126"/>
                  </a:lnTo>
                  <a:lnTo>
                    <a:pt x="1509" y="126"/>
                  </a:lnTo>
                  <a:lnTo>
                    <a:pt x="1514" y="128"/>
                  </a:lnTo>
                  <a:lnTo>
                    <a:pt x="1520" y="128"/>
                  </a:lnTo>
                  <a:lnTo>
                    <a:pt x="1534" y="132"/>
                  </a:lnTo>
                  <a:lnTo>
                    <a:pt x="1536" y="132"/>
                  </a:lnTo>
                  <a:lnTo>
                    <a:pt x="1540" y="132"/>
                  </a:lnTo>
                  <a:lnTo>
                    <a:pt x="1549" y="130"/>
                  </a:lnTo>
                  <a:lnTo>
                    <a:pt x="1551" y="130"/>
                  </a:lnTo>
                  <a:lnTo>
                    <a:pt x="1553" y="128"/>
                  </a:lnTo>
                  <a:lnTo>
                    <a:pt x="1553" y="126"/>
                  </a:lnTo>
                  <a:lnTo>
                    <a:pt x="1551" y="126"/>
                  </a:lnTo>
                  <a:lnTo>
                    <a:pt x="1549" y="126"/>
                  </a:lnTo>
                  <a:lnTo>
                    <a:pt x="1557" y="122"/>
                  </a:lnTo>
                  <a:lnTo>
                    <a:pt x="1561" y="120"/>
                  </a:lnTo>
                  <a:lnTo>
                    <a:pt x="1561" y="120"/>
                  </a:lnTo>
                  <a:lnTo>
                    <a:pt x="1557" y="118"/>
                  </a:lnTo>
                  <a:lnTo>
                    <a:pt x="1555" y="118"/>
                  </a:lnTo>
                  <a:lnTo>
                    <a:pt x="1544" y="120"/>
                  </a:lnTo>
                  <a:lnTo>
                    <a:pt x="1540" y="120"/>
                  </a:lnTo>
                  <a:lnTo>
                    <a:pt x="1538" y="118"/>
                  </a:lnTo>
                  <a:lnTo>
                    <a:pt x="1538" y="118"/>
                  </a:lnTo>
                  <a:lnTo>
                    <a:pt x="1540" y="118"/>
                  </a:lnTo>
                  <a:lnTo>
                    <a:pt x="1542" y="118"/>
                  </a:lnTo>
                  <a:lnTo>
                    <a:pt x="1544" y="118"/>
                  </a:lnTo>
                  <a:lnTo>
                    <a:pt x="1547" y="118"/>
                  </a:lnTo>
                  <a:lnTo>
                    <a:pt x="1553" y="116"/>
                  </a:lnTo>
                  <a:lnTo>
                    <a:pt x="1565" y="114"/>
                  </a:lnTo>
                  <a:lnTo>
                    <a:pt x="1565" y="114"/>
                  </a:lnTo>
                  <a:lnTo>
                    <a:pt x="1559" y="105"/>
                  </a:lnTo>
                  <a:lnTo>
                    <a:pt x="1559" y="105"/>
                  </a:lnTo>
                  <a:lnTo>
                    <a:pt x="1559" y="105"/>
                  </a:lnTo>
                  <a:lnTo>
                    <a:pt x="1563" y="108"/>
                  </a:lnTo>
                  <a:lnTo>
                    <a:pt x="1567" y="110"/>
                  </a:lnTo>
                  <a:lnTo>
                    <a:pt x="1569" y="110"/>
                  </a:lnTo>
                  <a:lnTo>
                    <a:pt x="1571" y="110"/>
                  </a:lnTo>
                  <a:lnTo>
                    <a:pt x="1575" y="110"/>
                  </a:lnTo>
                  <a:lnTo>
                    <a:pt x="1577" y="108"/>
                  </a:lnTo>
                  <a:lnTo>
                    <a:pt x="1584" y="103"/>
                  </a:lnTo>
                  <a:lnTo>
                    <a:pt x="1588" y="99"/>
                  </a:lnTo>
                  <a:lnTo>
                    <a:pt x="1600" y="95"/>
                  </a:lnTo>
                  <a:lnTo>
                    <a:pt x="1615" y="89"/>
                  </a:lnTo>
                  <a:lnTo>
                    <a:pt x="1621" y="85"/>
                  </a:lnTo>
                  <a:lnTo>
                    <a:pt x="1633" y="81"/>
                  </a:lnTo>
                  <a:lnTo>
                    <a:pt x="1641" y="74"/>
                  </a:lnTo>
                  <a:lnTo>
                    <a:pt x="1643" y="72"/>
                  </a:lnTo>
                  <a:lnTo>
                    <a:pt x="1635" y="72"/>
                  </a:lnTo>
                  <a:lnTo>
                    <a:pt x="1629" y="72"/>
                  </a:lnTo>
                  <a:lnTo>
                    <a:pt x="1592" y="81"/>
                  </a:lnTo>
                  <a:lnTo>
                    <a:pt x="1590" y="81"/>
                  </a:lnTo>
                  <a:lnTo>
                    <a:pt x="1586" y="81"/>
                  </a:lnTo>
                  <a:lnTo>
                    <a:pt x="1588" y="81"/>
                  </a:lnTo>
                  <a:lnTo>
                    <a:pt x="1613" y="72"/>
                  </a:lnTo>
                  <a:lnTo>
                    <a:pt x="1613" y="72"/>
                  </a:lnTo>
                  <a:lnTo>
                    <a:pt x="1615" y="72"/>
                  </a:lnTo>
                  <a:lnTo>
                    <a:pt x="1615" y="70"/>
                  </a:lnTo>
                  <a:lnTo>
                    <a:pt x="1617" y="68"/>
                  </a:lnTo>
                  <a:lnTo>
                    <a:pt x="1625" y="68"/>
                  </a:lnTo>
                  <a:lnTo>
                    <a:pt x="1629" y="68"/>
                  </a:lnTo>
                  <a:lnTo>
                    <a:pt x="1633" y="66"/>
                  </a:lnTo>
                  <a:lnTo>
                    <a:pt x="1633" y="66"/>
                  </a:lnTo>
                  <a:lnTo>
                    <a:pt x="1637" y="64"/>
                  </a:lnTo>
                  <a:lnTo>
                    <a:pt x="1646" y="64"/>
                  </a:lnTo>
                  <a:lnTo>
                    <a:pt x="1648" y="64"/>
                  </a:lnTo>
                  <a:lnTo>
                    <a:pt x="1652" y="62"/>
                  </a:lnTo>
                  <a:lnTo>
                    <a:pt x="1660" y="62"/>
                  </a:lnTo>
                  <a:lnTo>
                    <a:pt x="1674" y="56"/>
                  </a:lnTo>
                  <a:lnTo>
                    <a:pt x="1681" y="54"/>
                  </a:lnTo>
                  <a:lnTo>
                    <a:pt x="1683" y="52"/>
                  </a:lnTo>
                  <a:lnTo>
                    <a:pt x="1689" y="50"/>
                  </a:lnTo>
                  <a:lnTo>
                    <a:pt x="1693" y="46"/>
                  </a:lnTo>
                  <a:lnTo>
                    <a:pt x="1693" y="44"/>
                  </a:lnTo>
                  <a:lnTo>
                    <a:pt x="1693" y="41"/>
                  </a:lnTo>
                  <a:lnTo>
                    <a:pt x="1691" y="41"/>
                  </a:lnTo>
                  <a:lnTo>
                    <a:pt x="1689" y="39"/>
                  </a:lnTo>
                  <a:lnTo>
                    <a:pt x="1687" y="39"/>
                  </a:lnTo>
                  <a:lnTo>
                    <a:pt x="1676" y="37"/>
                  </a:lnTo>
                  <a:lnTo>
                    <a:pt x="1664" y="39"/>
                  </a:lnTo>
                  <a:lnTo>
                    <a:pt x="1664" y="39"/>
                  </a:lnTo>
                  <a:lnTo>
                    <a:pt x="1666" y="37"/>
                  </a:lnTo>
                  <a:lnTo>
                    <a:pt x="1666" y="37"/>
                  </a:lnTo>
                  <a:lnTo>
                    <a:pt x="1662" y="33"/>
                  </a:lnTo>
                  <a:lnTo>
                    <a:pt x="1660" y="31"/>
                  </a:lnTo>
                  <a:lnTo>
                    <a:pt x="1660" y="31"/>
                  </a:lnTo>
                  <a:lnTo>
                    <a:pt x="1660" y="31"/>
                  </a:lnTo>
                  <a:lnTo>
                    <a:pt x="1660" y="29"/>
                  </a:lnTo>
                  <a:lnTo>
                    <a:pt x="1662" y="29"/>
                  </a:lnTo>
                  <a:lnTo>
                    <a:pt x="1662" y="29"/>
                  </a:lnTo>
                  <a:lnTo>
                    <a:pt x="1660" y="27"/>
                  </a:lnTo>
                  <a:lnTo>
                    <a:pt x="1654" y="27"/>
                  </a:lnTo>
                  <a:lnTo>
                    <a:pt x="1652" y="27"/>
                  </a:lnTo>
                  <a:lnTo>
                    <a:pt x="1648" y="29"/>
                  </a:lnTo>
                  <a:lnTo>
                    <a:pt x="1648" y="29"/>
                  </a:lnTo>
                  <a:lnTo>
                    <a:pt x="1646" y="27"/>
                  </a:lnTo>
                  <a:lnTo>
                    <a:pt x="1643" y="25"/>
                  </a:lnTo>
                  <a:lnTo>
                    <a:pt x="1641" y="25"/>
                  </a:lnTo>
                  <a:lnTo>
                    <a:pt x="1639" y="25"/>
                  </a:lnTo>
                  <a:lnTo>
                    <a:pt x="1637" y="25"/>
                  </a:lnTo>
                  <a:lnTo>
                    <a:pt x="1637" y="25"/>
                  </a:lnTo>
                  <a:lnTo>
                    <a:pt x="1635" y="27"/>
                  </a:lnTo>
                  <a:lnTo>
                    <a:pt x="1635" y="29"/>
                  </a:lnTo>
                  <a:lnTo>
                    <a:pt x="1633" y="27"/>
                  </a:lnTo>
                  <a:lnTo>
                    <a:pt x="1631" y="27"/>
                  </a:lnTo>
                  <a:lnTo>
                    <a:pt x="1629" y="27"/>
                  </a:lnTo>
                  <a:lnTo>
                    <a:pt x="1623" y="27"/>
                  </a:lnTo>
                  <a:lnTo>
                    <a:pt x="1617" y="31"/>
                  </a:lnTo>
                  <a:lnTo>
                    <a:pt x="1613" y="31"/>
                  </a:lnTo>
                  <a:lnTo>
                    <a:pt x="1610" y="31"/>
                  </a:lnTo>
                  <a:lnTo>
                    <a:pt x="1606" y="33"/>
                  </a:lnTo>
                  <a:lnTo>
                    <a:pt x="1600" y="33"/>
                  </a:lnTo>
                  <a:lnTo>
                    <a:pt x="1594" y="33"/>
                  </a:lnTo>
                  <a:lnTo>
                    <a:pt x="1590" y="33"/>
                  </a:lnTo>
                  <a:lnTo>
                    <a:pt x="1592" y="33"/>
                  </a:lnTo>
                  <a:lnTo>
                    <a:pt x="1613" y="27"/>
                  </a:lnTo>
                  <a:lnTo>
                    <a:pt x="1617" y="25"/>
                  </a:lnTo>
                  <a:lnTo>
                    <a:pt x="1619" y="25"/>
                  </a:lnTo>
                  <a:lnTo>
                    <a:pt x="1619" y="23"/>
                  </a:lnTo>
                  <a:lnTo>
                    <a:pt x="1617" y="23"/>
                  </a:lnTo>
                  <a:lnTo>
                    <a:pt x="1604" y="23"/>
                  </a:lnTo>
                  <a:lnTo>
                    <a:pt x="1602" y="23"/>
                  </a:lnTo>
                  <a:lnTo>
                    <a:pt x="1598" y="23"/>
                  </a:lnTo>
                  <a:lnTo>
                    <a:pt x="1596" y="23"/>
                  </a:lnTo>
                  <a:lnTo>
                    <a:pt x="1592" y="21"/>
                  </a:lnTo>
                  <a:lnTo>
                    <a:pt x="1588" y="21"/>
                  </a:lnTo>
                  <a:lnTo>
                    <a:pt x="1575" y="21"/>
                  </a:lnTo>
                  <a:lnTo>
                    <a:pt x="1575" y="21"/>
                  </a:lnTo>
                  <a:lnTo>
                    <a:pt x="1571" y="19"/>
                  </a:lnTo>
                  <a:lnTo>
                    <a:pt x="1569" y="17"/>
                  </a:lnTo>
                  <a:lnTo>
                    <a:pt x="1569" y="17"/>
                  </a:lnTo>
                  <a:lnTo>
                    <a:pt x="1557" y="17"/>
                  </a:lnTo>
                  <a:lnTo>
                    <a:pt x="1553" y="19"/>
                  </a:lnTo>
                  <a:lnTo>
                    <a:pt x="1549" y="21"/>
                  </a:lnTo>
                  <a:lnTo>
                    <a:pt x="1549" y="21"/>
                  </a:lnTo>
                  <a:lnTo>
                    <a:pt x="1551" y="23"/>
                  </a:lnTo>
                  <a:lnTo>
                    <a:pt x="1555" y="25"/>
                  </a:lnTo>
                  <a:lnTo>
                    <a:pt x="1555" y="25"/>
                  </a:lnTo>
                  <a:lnTo>
                    <a:pt x="1553" y="23"/>
                  </a:lnTo>
                  <a:lnTo>
                    <a:pt x="1549" y="23"/>
                  </a:lnTo>
                  <a:lnTo>
                    <a:pt x="1540" y="17"/>
                  </a:lnTo>
                  <a:lnTo>
                    <a:pt x="1538" y="17"/>
                  </a:lnTo>
                  <a:lnTo>
                    <a:pt x="1528" y="19"/>
                  </a:lnTo>
                  <a:lnTo>
                    <a:pt x="1522" y="21"/>
                  </a:lnTo>
                  <a:lnTo>
                    <a:pt x="1520" y="23"/>
                  </a:lnTo>
                  <a:lnTo>
                    <a:pt x="1520" y="23"/>
                  </a:lnTo>
                  <a:lnTo>
                    <a:pt x="1520" y="25"/>
                  </a:lnTo>
                  <a:lnTo>
                    <a:pt x="1522" y="27"/>
                  </a:lnTo>
                  <a:lnTo>
                    <a:pt x="1528" y="29"/>
                  </a:lnTo>
                  <a:lnTo>
                    <a:pt x="1530" y="31"/>
                  </a:lnTo>
                  <a:lnTo>
                    <a:pt x="1522" y="29"/>
                  </a:lnTo>
                  <a:lnTo>
                    <a:pt x="1516" y="27"/>
                  </a:lnTo>
                  <a:lnTo>
                    <a:pt x="1511" y="25"/>
                  </a:lnTo>
                  <a:lnTo>
                    <a:pt x="1511" y="23"/>
                  </a:lnTo>
                  <a:lnTo>
                    <a:pt x="1509" y="21"/>
                  </a:lnTo>
                  <a:lnTo>
                    <a:pt x="1505" y="21"/>
                  </a:lnTo>
                  <a:lnTo>
                    <a:pt x="1487" y="19"/>
                  </a:lnTo>
                  <a:lnTo>
                    <a:pt x="1466" y="21"/>
                  </a:lnTo>
                  <a:lnTo>
                    <a:pt x="1468" y="23"/>
                  </a:lnTo>
                  <a:lnTo>
                    <a:pt x="1470" y="25"/>
                  </a:lnTo>
                  <a:lnTo>
                    <a:pt x="1476" y="27"/>
                  </a:lnTo>
                  <a:lnTo>
                    <a:pt x="1481" y="29"/>
                  </a:lnTo>
                  <a:lnTo>
                    <a:pt x="1481" y="31"/>
                  </a:lnTo>
                  <a:lnTo>
                    <a:pt x="1489" y="33"/>
                  </a:lnTo>
                  <a:lnTo>
                    <a:pt x="1489" y="35"/>
                  </a:lnTo>
                  <a:lnTo>
                    <a:pt x="1487" y="35"/>
                  </a:lnTo>
                  <a:lnTo>
                    <a:pt x="1483" y="37"/>
                  </a:lnTo>
                  <a:lnTo>
                    <a:pt x="1481" y="37"/>
                  </a:lnTo>
                  <a:lnTo>
                    <a:pt x="1478" y="35"/>
                  </a:lnTo>
                  <a:lnTo>
                    <a:pt x="1478" y="33"/>
                  </a:lnTo>
                  <a:lnTo>
                    <a:pt x="1476" y="33"/>
                  </a:lnTo>
                  <a:lnTo>
                    <a:pt x="1466" y="27"/>
                  </a:lnTo>
                  <a:lnTo>
                    <a:pt x="1462" y="25"/>
                  </a:lnTo>
                  <a:lnTo>
                    <a:pt x="1460" y="25"/>
                  </a:lnTo>
                  <a:lnTo>
                    <a:pt x="1454" y="25"/>
                  </a:lnTo>
                  <a:lnTo>
                    <a:pt x="1448" y="25"/>
                  </a:lnTo>
                  <a:lnTo>
                    <a:pt x="1437" y="23"/>
                  </a:lnTo>
                  <a:lnTo>
                    <a:pt x="1427" y="23"/>
                  </a:lnTo>
                  <a:lnTo>
                    <a:pt x="1423" y="25"/>
                  </a:lnTo>
                  <a:lnTo>
                    <a:pt x="1423" y="25"/>
                  </a:lnTo>
                  <a:lnTo>
                    <a:pt x="1427" y="27"/>
                  </a:lnTo>
                  <a:lnTo>
                    <a:pt x="1429" y="27"/>
                  </a:lnTo>
                  <a:lnTo>
                    <a:pt x="1431" y="29"/>
                  </a:lnTo>
                  <a:lnTo>
                    <a:pt x="1437" y="31"/>
                  </a:lnTo>
                  <a:lnTo>
                    <a:pt x="1443" y="31"/>
                  </a:lnTo>
                  <a:lnTo>
                    <a:pt x="1443" y="33"/>
                  </a:lnTo>
                  <a:lnTo>
                    <a:pt x="1439" y="33"/>
                  </a:lnTo>
                  <a:lnTo>
                    <a:pt x="1425" y="31"/>
                  </a:lnTo>
                  <a:lnTo>
                    <a:pt x="1417" y="29"/>
                  </a:lnTo>
                  <a:lnTo>
                    <a:pt x="1410" y="29"/>
                  </a:lnTo>
                  <a:lnTo>
                    <a:pt x="1410" y="29"/>
                  </a:lnTo>
                  <a:lnTo>
                    <a:pt x="1408" y="29"/>
                  </a:lnTo>
                  <a:lnTo>
                    <a:pt x="1408" y="31"/>
                  </a:lnTo>
                  <a:lnTo>
                    <a:pt x="1415" y="35"/>
                  </a:lnTo>
                  <a:lnTo>
                    <a:pt x="1413" y="35"/>
                  </a:lnTo>
                  <a:lnTo>
                    <a:pt x="1408" y="35"/>
                  </a:lnTo>
                  <a:lnTo>
                    <a:pt x="1402" y="33"/>
                  </a:lnTo>
                  <a:lnTo>
                    <a:pt x="1400" y="33"/>
                  </a:lnTo>
                  <a:lnTo>
                    <a:pt x="1396" y="33"/>
                  </a:lnTo>
                  <a:lnTo>
                    <a:pt x="1396" y="35"/>
                  </a:lnTo>
                  <a:lnTo>
                    <a:pt x="1398" y="37"/>
                  </a:lnTo>
                  <a:lnTo>
                    <a:pt x="1402" y="37"/>
                  </a:lnTo>
                  <a:lnTo>
                    <a:pt x="1402" y="39"/>
                  </a:lnTo>
                  <a:lnTo>
                    <a:pt x="1396" y="39"/>
                  </a:lnTo>
                  <a:lnTo>
                    <a:pt x="1394" y="39"/>
                  </a:lnTo>
                  <a:lnTo>
                    <a:pt x="1390" y="41"/>
                  </a:lnTo>
                  <a:lnTo>
                    <a:pt x="1390" y="41"/>
                  </a:lnTo>
                  <a:lnTo>
                    <a:pt x="1394" y="44"/>
                  </a:lnTo>
                  <a:lnTo>
                    <a:pt x="1398" y="46"/>
                  </a:lnTo>
                  <a:lnTo>
                    <a:pt x="1404" y="50"/>
                  </a:lnTo>
                  <a:lnTo>
                    <a:pt x="1425" y="54"/>
                  </a:lnTo>
                  <a:lnTo>
                    <a:pt x="1431" y="58"/>
                  </a:lnTo>
                  <a:lnTo>
                    <a:pt x="1433" y="60"/>
                  </a:lnTo>
                  <a:lnTo>
                    <a:pt x="1433" y="60"/>
                  </a:lnTo>
                  <a:lnTo>
                    <a:pt x="1431" y="60"/>
                  </a:lnTo>
                  <a:lnTo>
                    <a:pt x="1427" y="58"/>
                  </a:lnTo>
                  <a:lnTo>
                    <a:pt x="1423" y="56"/>
                  </a:lnTo>
                  <a:lnTo>
                    <a:pt x="1419" y="56"/>
                  </a:lnTo>
                  <a:lnTo>
                    <a:pt x="1402" y="52"/>
                  </a:lnTo>
                  <a:lnTo>
                    <a:pt x="1394" y="48"/>
                  </a:lnTo>
                  <a:lnTo>
                    <a:pt x="1390" y="48"/>
                  </a:lnTo>
                  <a:lnTo>
                    <a:pt x="1388" y="48"/>
                  </a:lnTo>
                  <a:lnTo>
                    <a:pt x="1388" y="48"/>
                  </a:lnTo>
                  <a:lnTo>
                    <a:pt x="1386" y="50"/>
                  </a:lnTo>
                  <a:lnTo>
                    <a:pt x="1388" y="50"/>
                  </a:lnTo>
                  <a:lnTo>
                    <a:pt x="1392" y="52"/>
                  </a:lnTo>
                  <a:lnTo>
                    <a:pt x="1392" y="54"/>
                  </a:lnTo>
                  <a:lnTo>
                    <a:pt x="1388" y="54"/>
                  </a:lnTo>
                  <a:lnTo>
                    <a:pt x="1386" y="52"/>
                  </a:lnTo>
                  <a:lnTo>
                    <a:pt x="1384" y="52"/>
                  </a:lnTo>
                  <a:lnTo>
                    <a:pt x="1380" y="50"/>
                  </a:lnTo>
                  <a:lnTo>
                    <a:pt x="1375" y="46"/>
                  </a:lnTo>
                  <a:lnTo>
                    <a:pt x="1371" y="44"/>
                  </a:lnTo>
                  <a:lnTo>
                    <a:pt x="1363" y="44"/>
                  </a:lnTo>
                  <a:lnTo>
                    <a:pt x="1361" y="41"/>
                  </a:lnTo>
                  <a:lnTo>
                    <a:pt x="1359" y="41"/>
                  </a:lnTo>
                  <a:lnTo>
                    <a:pt x="1357" y="39"/>
                  </a:lnTo>
                  <a:lnTo>
                    <a:pt x="1351" y="41"/>
                  </a:lnTo>
                  <a:lnTo>
                    <a:pt x="1349" y="44"/>
                  </a:lnTo>
                  <a:lnTo>
                    <a:pt x="1342" y="46"/>
                  </a:lnTo>
                  <a:lnTo>
                    <a:pt x="1340" y="46"/>
                  </a:lnTo>
                  <a:lnTo>
                    <a:pt x="1338" y="48"/>
                  </a:lnTo>
                  <a:lnTo>
                    <a:pt x="1332" y="48"/>
                  </a:lnTo>
                  <a:lnTo>
                    <a:pt x="1332" y="50"/>
                  </a:lnTo>
                  <a:lnTo>
                    <a:pt x="1351" y="54"/>
                  </a:lnTo>
                  <a:lnTo>
                    <a:pt x="1353" y="56"/>
                  </a:lnTo>
                  <a:lnTo>
                    <a:pt x="1353" y="56"/>
                  </a:lnTo>
                  <a:lnTo>
                    <a:pt x="1355" y="56"/>
                  </a:lnTo>
                  <a:lnTo>
                    <a:pt x="1349" y="56"/>
                  </a:lnTo>
                  <a:lnTo>
                    <a:pt x="1347" y="58"/>
                  </a:lnTo>
                  <a:lnTo>
                    <a:pt x="1344" y="58"/>
                  </a:lnTo>
                  <a:lnTo>
                    <a:pt x="1342" y="56"/>
                  </a:lnTo>
                  <a:lnTo>
                    <a:pt x="1338" y="56"/>
                  </a:lnTo>
                  <a:lnTo>
                    <a:pt x="1334" y="54"/>
                  </a:lnTo>
                  <a:lnTo>
                    <a:pt x="1332" y="54"/>
                  </a:lnTo>
                  <a:lnTo>
                    <a:pt x="1328" y="54"/>
                  </a:lnTo>
                  <a:lnTo>
                    <a:pt x="1326" y="56"/>
                  </a:lnTo>
                  <a:lnTo>
                    <a:pt x="1326" y="58"/>
                  </a:lnTo>
                  <a:lnTo>
                    <a:pt x="1324" y="56"/>
                  </a:lnTo>
                  <a:lnTo>
                    <a:pt x="1320" y="54"/>
                  </a:lnTo>
                  <a:lnTo>
                    <a:pt x="1318" y="54"/>
                  </a:lnTo>
                  <a:lnTo>
                    <a:pt x="1311" y="52"/>
                  </a:lnTo>
                  <a:lnTo>
                    <a:pt x="1303" y="54"/>
                  </a:lnTo>
                  <a:lnTo>
                    <a:pt x="1299" y="56"/>
                  </a:lnTo>
                  <a:lnTo>
                    <a:pt x="1295" y="58"/>
                  </a:lnTo>
                  <a:lnTo>
                    <a:pt x="1293" y="58"/>
                  </a:lnTo>
                  <a:lnTo>
                    <a:pt x="1289" y="60"/>
                  </a:lnTo>
                  <a:lnTo>
                    <a:pt x="1281" y="60"/>
                  </a:lnTo>
                  <a:lnTo>
                    <a:pt x="1276" y="60"/>
                  </a:lnTo>
                  <a:lnTo>
                    <a:pt x="1270" y="62"/>
                  </a:lnTo>
                  <a:lnTo>
                    <a:pt x="1266" y="62"/>
                  </a:lnTo>
                  <a:lnTo>
                    <a:pt x="1262" y="64"/>
                  </a:lnTo>
                  <a:lnTo>
                    <a:pt x="1260" y="66"/>
                  </a:lnTo>
                  <a:lnTo>
                    <a:pt x="1260" y="68"/>
                  </a:lnTo>
                  <a:lnTo>
                    <a:pt x="1264" y="70"/>
                  </a:lnTo>
                  <a:lnTo>
                    <a:pt x="1264" y="70"/>
                  </a:lnTo>
                  <a:close/>
                  <a:moveTo>
                    <a:pt x="2291" y="58"/>
                  </a:moveTo>
                  <a:lnTo>
                    <a:pt x="2295" y="62"/>
                  </a:lnTo>
                  <a:lnTo>
                    <a:pt x="2299" y="62"/>
                  </a:lnTo>
                  <a:lnTo>
                    <a:pt x="2299" y="60"/>
                  </a:lnTo>
                  <a:lnTo>
                    <a:pt x="2297" y="58"/>
                  </a:lnTo>
                  <a:lnTo>
                    <a:pt x="2295" y="54"/>
                  </a:lnTo>
                  <a:lnTo>
                    <a:pt x="2291" y="52"/>
                  </a:lnTo>
                  <a:lnTo>
                    <a:pt x="2289" y="52"/>
                  </a:lnTo>
                  <a:lnTo>
                    <a:pt x="2287" y="54"/>
                  </a:lnTo>
                  <a:lnTo>
                    <a:pt x="2287" y="56"/>
                  </a:lnTo>
                  <a:lnTo>
                    <a:pt x="2291" y="58"/>
                  </a:lnTo>
                  <a:close/>
                  <a:moveTo>
                    <a:pt x="1899" y="44"/>
                  </a:moveTo>
                  <a:lnTo>
                    <a:pt x="1907" y="46"/>
                  </a:lnTo>
                  <a:lnTo>
                    <a:pt x="1918" y="50"/>
                  </a:lnTo>
                  <a:lnTo>
                    <a:pt x="1924" y="54"/>
                  </a:lnTo>
                  <a:lnTo>
                    <a:pt x="1926" y="54"/>
                  </a:lnTo>
                  <a:lnTo>
                    <a:pt x="1928" y="48"/>
                  </a:lnTo>
                  <a:lnTo>
                    <a:pt x="1928" y="41"/>
                  </a:lnTo>
                  <a:lnTo>
                    <a:pt x="1926" y="39"/>
                  </a:lnTo>
                  <a:lnTo>
                    <a:pt x="1920" y="35"/>
                  </a:lnTo>
                  <a:lnTo>
                    <a:pt x="1905" y="31"/>
                  </a:lnTo>
                  <a:lnTo>
                    <a:pt x="1899" y="33"/>
                  </a:lnTo>
                  <a:lnTo>
                    <a:pt x="1893" y="33"/>
                  </a:lnTo>
                  <a:lnTo>
                    <a:pt x="1891" y="35"/>
                  </a:lnTo>
                  <a:lnTo>
                    <a:pt x="1891" y="37"/>
                  </a:lnTo>
                  <a:lnTo>
                    <a:pt x="1899" y="44"/>
                  </a:lnTo>
                  <a:close/>
                  <a:moveTo>
                    <a:pt x="1532" y="366"/>
                  </a:moveTo>
                  <a:lnTo>
                    <a:pt x="1530" y="364"/>
                  </a:lnTo>
                  <a:lnTo>
                    <a:pt x="1526" y="364"/>
                  </a:lnTo>
                  <a:lnTo>
                    <a:pt x="1524" y="366"/>
                  </a:lnTo>
                  <a:lnTo>
                    <a:pt x="1522" y="368"/>
                  </a:lnTo>
                  <a:lnTo>
                    <a:pt x="1522" y="368"/>
                  </a:lnTo>
                  <a:lnTo>
                    <a:pt x="1522" y="372"/>
                  </a:lnTo>
                  <a:lnTo>
                    <a:pt x="1524" y="374"/>
                  </a:lnTo>
                  <a:lnTo>
                    <a:pt x="1522" y="372"/>
                  </a:lnTo>
                  <a:lnTo>
                    <a:pt x="1520" y="372"/>
                  </a:lnTo>
                  <a:lnTo>
                    <a:pt x="1518" y="368"/>
                  </a:lnTo>
                  <a:lnTo>
                    <a:pt x="1518" y="368"/>
                  </a:lnTo>
                  <a:lnTo>
                    <a:pt x="1516" y="366"/>
                  </a:lnTo>
                  <a:lnTo>
                    <a:pt x="1514" y="368"/>
                  </a:lnTo>
                  <a:lnTo>
                    <a:pt x="1511" y="370"/>
                  </a:lnTo>
                  <a:lnTo>
                    <a:pt x="1509" y="370"/>
                  </a:lnTo>
                  <a:lnTo>
                    <a:pt x="1509" y="370"/>
                  </a:lnTo>
                  <a:lnTo>
                    <a:pt x="1514" y="366"/>
                  </a:lnTo>
                  <a:lnTo>
                    <a:pt x="1516" y="361"/>
                  </a:lnTo>
                  <a:lnTo>
                    <a:pt x="1516" y="361"/>
                  </a:lnTo>
                  <a:lnTo>
                    <a:pt x="1514" y="361"/>
                  </a:lnTo>
                  <a:lnTo>
                    <a:pt x="1514" y="361"/>
                  </a:lnTo>
                  <a:lnTo>
                    <a:pt x="1511" y="361"/>
                  </a:lnTo>
                  <a:lnTo>
                    <a:pt x="1509" y="364"/>
                  </a:lnTo>
                  <a:lnTo>
                    <a:pt x="1505" y="364"/>
                  </a:lnTo>
                  <a:lnTo>
                    <a:pt x="1505" y="364"/>
                  </a:lnTo>
                  <a:lnTo>
                    <a:pt x="1503" y="366"/>
                  </a:lnTo>
                  <a:lnTo>
                    <a:pt x="1501" y="370"/>
                  </a:lnTo>
                  <a:lnTo>
                    <a:pt x="1501" y="372"/>
                  </a:lnTo>
                  <a:lnTo>
                    <a:pt x="1497" y="376"/>
                  </a:lnTo>
                  <a:lnTo>
                    <a:pt x="1497" y="376"/>
                  </a:lnTo>
                  <a:lnTo>
                    <a:pt x="1497" y="374"/>
                  </a:lnTo>
                  <a:lnTo>
                    <a:pt x="1499" y="370"/>
                  </a:lnTo>
                  <a:lnTo>
                    <a:pt x="1499" y="370"/>
                  </a:lnTo>
                  <a:lnTo>
                    <a:pt x="1499" y="368"/>
                  </a:lnTo>
                  <a:lnTo>
                    <a:pt x="1499" y="366"/>
                  </a:lnTo>
                  <a:lnTo>
                    <a:pt x="1501" y="364"/>
                  </a:lnTo>
                  <a:lnTo>
                    <a:pt x="1501" y="364"/>
                  </a:lnTo>
                  <a:lnTo>
                    <a:pt x="1497" y="364"/>
                  </a:lnTo>
                  <a:lnTo>
                    <a:pt x="1495" y="364"/>
                  </a:lnTo>
                  <a:lnTo>
                    <a:pt x="1495" y="364"/>
                  </a:lnTo>
                  <a:lnTo>
                    <a:pt x="1499" y="361"/>
                  </a:lnTo>
                  <a:lnTo>
                    <a:pt x="1499" y="361"/>
                  </a:lnTo>
                  <a:lnTo>
                    <a:pt x="1503" y="361"/>
                  </a:lnTo>
                  <a:lnTo>
                    <a:pt x="1507" y="359"/>
                  </a:lnTo>
                  <a:lnTo>
                    <a:pt x="1507" y="357"/>
                  </a:lnTo>
                  <a:lnTo>
                    <a:pt x="1507" y="357"/>
                  </a:lnTo>
                  <a:lnTo>
                    <a:pt x="1507" y="355"/>
                  </a:lnTo>
                  <a:lnTo>
                    <a:pt x="1507" y="353"/>
                  </a:lnTo>
                  <a:lnTo>
                    <a:pt x="1507" y="353"/>
                  </a:lnTo>
                  <a:lnTo>
                    <a:pt x="1505" y="353"/>
                  </a:lnTo>
                  <a:lnTo>
                    <a:pt x="1503" y="353"/>
                  </a:lnTo>
                  <a:lnTo>
                    <a:pt x="1501" y="353"/>
                  </a:lnTo>
                  <a:lnTo>
                    <a:pt x="1499" y="353"/>
                  </a:lnTo>
                  <a:lnTo>
                    <a:pt x="1495" y="353"/>
                  </a:lnTo>
                  <a:lnTo>
                    <a:pt x="1491" y="355"/>
                  </a:lnTo>
                  <a:lnTo>
                    <a:pt x="1489" y="357"/>
                  </a:lnTo>
                  <a:lnTo>
                    <a:pt x="1487" y="359"/>
                  </a:lnTo>
                  <a:lnTo>
                    <a:pt x="1485" y="361"/>
                  </a:lnTo>
                  <a:lnTo>
                    <a:pt x="1485" y="361"/>
                  </a:lnTo>
                  <a:lnTo>
                    <a:pt x="1485" y="361"/>
                  </a:lnTo>
                  <a:lnTo>
                    <a:pt x="1485" y="361"/>
                  </a:lnTo>
                  <a:lnTo>
                    <a:pt x="1487" y="359"/>
                  </a:lnTo>
                  <a:lnTo>
                    <a:pt x="1489" y="357"/>
                  </a:lnTo>
                  <a:lnTo>
                    <a:pt x="1489" y="355"/>
                  </a:lnTo>
                  <a:lnTo>
                    <a:pt x="1491" y="353"/>
                  </a:lnTo>
                  <a:lnTo>
                    <a:pt x="1497" y="349"/>
                  </a:lnTo>
                  <a:lnTo>
                    <a:pt x="1497" y="347"/>
                  </a:lnTo>
                  <a:lnTo>
                    <a:pt x="1495" y="347"/>
                  </a:lnTo>
                  <a:lnTo>
                    <a:pt x="1495" y="345"/>
                  </a:lnTo>
                  <a:lnTo>
                    <a:pt x="1495" y="343"/>
                  </a:lnTo>
                  <a:lnTo>
                    <a:pt x="1493" y="343"/>
                  </a:lnTo>
                  <a:lnTo>
                    <a:pt x="1487" y="339"/>
                  </a:lnTo>
                  <a:lnTo>
                    <a:pt x="1485" y="339"/>
                  </a:lnTo>
                  <a:lnTo>
                    <a:pt x="1483" y="341"/>
                  </a:lnTo>
                  <a:lnTo>
                    <a:pt x="1481" y="341"/>
                  </a:lnTo>
                  <a:lnTo>
                    <a:pt x="1481" y="339"/>
                  </a:lnTo>
                  <a:lnTo>
                    <a:pt x="1476" y="339"/>
                  </a:lnTo>
                  <a:lnTo>
                    <a:pt x="1472" y="337"/>
                  </a:lnTo>
                  <a:lnTo>
                    <a:pt x="1470" y="337"/>
                  </a:lnTo>
                  <a:lnTo>
                    <a:pt x="1464" y="335"/>
                  </a:lnTo>
                  <a:lnTo>
                    <a:pt x="1460" y="335"/>
                  </a:lnTo>
                  <a:lnTo>
                    <a:pt x="1458" y="337"/>
                  </a:lnTo>
                  <a:lnTo>
                    <a:pt x="1454" y="337"/>
                  </a:lnTo>
                  <a:lnTo>
                    <a:pt x="1450" y="339"/>
                  </a:lnTo>
                  <a:lnTo>
                    <a:pt x="1448" y="339"/>
                  </a:lnTo>
                  <a:lnTo>
                    <a:pt x="1448" y="341"/>
                  </a:lnTo>
                  <a:lnTo>
                    <a:pt x="1448" y="341"/>
                  </a:lnTo>
                  <a:lnTo>
                    <a:pt x="1448" y="343"/>
                  </a:lnTo>
                  <a:lnTo>
                    <a:pt x="1448" y="343"/>
                  </a:lnTo>
                  <a:lnTo>
                    <a:pt x="1450" y="345"/>
                  </a:lnTo>
                  <a:lnTo>
                    <a:pt x="1456" y="347"/>
                  </a:lnTo>
                  <a:lnTo>
                    <a:pt x="1458" y="349"/>
                  </a:lnTo>
                  <a:lnTo>
                    <a:pt x="1460" y="349"/>
                  </a:lnTo>
                  <a:lnTo>
                    <a:pt x="1462" y="351"/>
                  </a:lnTo>
                  <a:lnTo>
                    <a:pt x="1458" y="351"/>
                  </a:lnTo>
                  <a:lnTo>
                    <a:pt x="1452" y="347"/>
                  </a:lnTo>
                  <a:lnTo>
                    <a:pt x="1450" y="347"/>
                  </a:lnTo>
                  <a:lnTo>
                    <a:pt x="1448" y="347"/>
                  </a:lnTo>
                  <a:lnTo>
                    <a:pt x="1445" y="347"/>
                  </a:lnTo>
                  <a:lnTo>
                    <a:pt x="1443" y="345"/>
                  </a:lnTo>
                  <a:lnTo>
                    <a:pt x="1443" y="347"/>
                  </a:lnTo>
                  <a:lnTo>
                    <a:pt x="1441" y="353"/>
                  </a:lnTo>
                  <a:lnTo>
                    <a:pt x="1443" y="353"/>
                  </a:lnTo>
                  <a:lnTo>
                    <a:pt x="1443" y="355"/>
                  </a:lnTo>
                  <a:lnTo>
                    <a:pt x="1445" y="357"/>
                  </a:lnTo>
                  <a:lnTo>
                    <a:pt x="1445" y="357"/>
                  </a:lnTo>
                  <a:lnTo>
                    <a:pt x="1445" y="357"/>
                  </a:lnTo>
                  <a:lnTo>
                    <a:pt x="1445" y="357"/>
                  </a:lnTo>
                  <a:lnTo>
                    <a:pt x="1443" y="357"/>
                  </a:lnTo>
                  <a:lnTo>
                    <a:pt x="1439" y="353"/>
                  </a:lnTo>
                  <a:lnTo>
                    <a:pt x="1439" y="353"/>
                  </a:lnTo>
                  <a:lnTo>
                    <a:pt x="1439" y="349"/>
                  </a:lnTo>
                  <a:lnTo>
                    <a:pt x="1439" y="347"/>
                  </a:lnTo>
                  <a:lnTo>
                    <a:pt x="1437" y="345"/>
                  </a:lnTo>
                  <a:lnTo>
                    <a:pt x="1435" y="345"/>
                  </a:lnTo>
                  <a:lnTo>
                    <a:pt x="1433" y="347"/>
                  </a:lnTo>
                  <a:lnTo>
                    <a:pt x="1431" y="347"/>
                  </a:lnTo>
                  <a:lnTo>
                    <a:pt x="1431" y="347"/>
                  </a:lnTo>
                  <a:lnTo>
                    <a:pt x="1431" y="345"/>
                  </a:lnTo>
                  <a:lnTo>
                    <a:pt x="1429" y="343"/>
                  </a:lnTo>
                  <a:lnTo>
                    <a:pt x="1429" y="343"/>
                  </a:lnTo>
                  <a:lnTo>
                    <a:pt x="1427" y="343"/>
                  </a:lnTo>
                  <a:lnTo>
                    <a:pt x="1425" y="345"/>
                  </a:lnTo>
                  <a:lnTo>
                    <a:pt x="1425" y="345"/>
                  </a:lnTo>
                  <a:lnTo>
                    <a:pt x="1425" y="347"/>
                  </a:lnTo>
                  <a:lnTo>
                    <a:pt x="1425" y="347"/>
                  </a:lnTo>
                  <a:lnTo>
                    <a:pt x="1427" y="351"/>
                  </a:lnTo>
                  <a:lnTo>
                    <a:pt x="1427" y="351"/>
                  </a:lnTo>
                  <a:lnTo>
                    <a:pt x="1425" y="349"/>
                  </a:lnTo>
                  <a:lnTo>
                    <a:pt x="1423" y="349"/>
                  </a:lnTo>
                  <a:lnTo>
                    <a:pt x="1421" y="351"/>
                  </a:lnTo>
                  <a:lnTo>
                    <a:pt x="1417" y="355"/>
                  </a:lnTo>
                  <a:lnTo>
                    <a:pt x="1415" y="357"/>
                  </a:lnTo>
                  <a:lnTo>
                    <a:pt x="1413" y="357"/>
                  </a:lnTo>
                  <a:lnTo>
                    <a:pt x="1413" y="357"/>
                  </a:lnTo>
                  <a:lnTo>
                    <a:pt x="1413" y="357"/>
                  </a:lnTo>
                  <a:lnTo>
                    <a:pt x="1413" y="357"/>
                  </a:lnTo>
                  <a:lnTo>
                    <a:pt x="1413" y="355"/>
                  </a:lnTo>
                  <a:lnTo>
                    <a:pt x="1413" y="355"/>
                  </a:lnTo>
                  <a:lnTo>
                    <a:pt x="1413" y="353"/>
                  </a:lnTo>
                  <a:lnTo>
                    <a:pt x="1413" y="353"/>
                  </a:lnTo>
                  <a:lnTo>
                    <a:pt x="1413" y="353"/>
                  </a:lnTo>
                  <a:lnTo>
                    <a:pt x="1415" y="353"/>
                  </a:lnTo>
                  <a:lnTo>
                    <a:pt x="1415" y="353"/>
                  </a:lnTo>
                  <a:lnTo>
                    <a:pt x="1417" y="353"/>
                  </a:lnTo>
                  <a:lnTo>
                    <a:pt x="1413" y="349"/>
                  </a:lnTo>
                  <a:lnTo>
                    <a:pt x="1413" y="349"/>
                  </a:lnTo>
                  <a:lnTo>
                    <a:pt x="1415" y="349"/>
                  </a:lnTo>
                  <a:lnTo>
                    <a:pt x="1417" y="347"/>
                  </a:lnTo>
                  <a:lnTo>
                    <a:pt x="1417" y="343"/>
                  </a:lnTo>
                  <a:lnTo>
                    <a:pt x="1417" y="343"/>
                  </a:lnTo>
                  <a:lnTo>
                    <a:pt x="1415" y="343"/>
                  </a:lnTo>
                  <a:lnTo>
                    <a:pt x="1408" y="347"/>
                  </a:lnTo>
                  <a:lnTo>
                    <a:pt x="1408" y="347"/>
                  </a:lnTo>
                  <a:lnTo>
                    <a:pt x="1413" y="343"/>
                  </a:lnTo>
                  <a:lnTo>
                    <a:pt x="1417" y="341"/>
                  </a:lnTo>
                  <a:lnTo>
                    <a:pt x="1419" y="337"/>
                  </a:lnTo>
                  <a:lnTo>
                    <a:pt x="1421" y="337"/>
                  </a:lnTo>
                  <a:lnTo>
                    <a:pt x="1423" y="335"/>
                  </a:lnTo>
                  <a:lnTo>
                    <a:pt x="1421" y="335"/>
                  </a:lnTo>
                  <a:lnTo>
                    <a:pt x="1419" y="333"/>
                  </a:lnTo>
                  <a:lnTo>
                    <a:pt x="1419" y="333"/>
                  </a:lnTo>
                  <a:lnTo>
                    <a:pt x="1417" y="331"/>
                  </a:lnTo>
                  <a:lnTo>
                    <a:pt x="1417" y="328"/>
                  </a:lnTo>
                  <a:lnTo>
                    <a:pt x="1417" y="326"/>
                  </a:lnTo>
                  <a:lnTo>
                    <a:pt x="1417" y="324"/>
                  </a:lnTo>
                  <a:lnTo>
                    <a:pt x="1417" y="324"/>
                  </a:lnTo>
                  <a:lnTo>
                    <a:pt x="1415" y="322"/>
                  </a:lnTo>
                  <a:lnTo>
                    <a:pt x="1410" y="322"/>
                  </a:lnTo>
                  <a:lnTo>
                    <a:pt x="1408" y="320"/>
                  </a:lnTo>
                  <a:lnTo>
                    <a:pt x="1408" y="316"/>
                  </a:lnTo>
                  <a:lnTo>
                    <a:pt x="1406" y="312"/>
                  </a:lnTo>
                  <a:lnTo>
                    <a:pt x="1406" y="312"/>
                  </a:lnTo>
                  <a:lnTo>
                    <a:pt x="1402" y="310"/>
                  </a:lnTo>
                  <a:lnTo>
                    <a:pt x="1398" y="308"/>
                  </a:lnTo>
                  <a:lnTo>
                    <a:pt x="1394" y="308"/>
                  </a:lnTo>
                  <a:lnTo>
                    <a:pt x="1388" y="308"/>
                  </a:lnTo>
                  <a:lnTo>
                    <a:pt x="1386" y="308"/>
                  </a:lnTo>
                  <a:lnTo>
                    <a:pt x="1384" y="310"/>
                  </a:lnTo>
                  <a:lnTo>
                    <a:pt x="1384" y="310"/>
                  </a:lnTo>
                  <a:lnTo>
                    <a:pt x="1377" y="312"/>
                  </a:lnTo>
                  <a:lnTo>
                    <a:pt x="1373" y="312"/>
                  </a:lnTo>
                  <a:lnTo>
                    <a:pt x="1369" y="314"/>
                  </a:lnTo>
                  <a:lnTo>
                    <a:pt x="1369" y="314"/>
                  </a:lnTo>
                  <a:lnTo>
                    <a:pt x="1371" y="316"/>
                  </a:lnTo>
                  <a:lnTo>
                    <a:pt x="1371" y="316"/>
                  </a:lnTo>
                  <a:lnTo>
                    <a:pt x="1367" y="316"/>
                  </a:lnTo>
                  <a:lnTo>
                    <a:pt x="1363" y="316"/>
                  </a:lnTo>
                  <a:lnTo>
                    <a:pt x="1361" y="318"/>
                  </a:lnTo>
                  <a:lnTo>
                    <a:pt x="1355" y="320"/>
                  </a:lnTo>
                  <a:lnTo>
                    <a:pt x="1349" y="326"/>
                  </a:lnTo>
                  <a:lnTo>
                    <a:pt x="1349" y="326"/>
                  </a:lnTo>
                  <a:lnTo>
                    <a:pt x="1353" y="328"/>
                  </a:lnTo>
                  <a:lnTo>
                    <a:pt x="1365" y="333"/>
                  </a:lnTo>
                  <a:lnTo>
                    <a:pt x="1365" y="335"/>
                  </a:lnTo>
                  <a:lnTo>
                    <a:pt x="1355" y="331"/>
                  </a:lnTo>
                  <a:lnTo>
                    <a:pt x="1351" y="331"/>
                  </a:lnTo>
                  <a:lnTo>
                    <a:pt x="1349" y="331"/>
                  </a:lnTo>
                  <a:lnTo>
                    <a:pt x="1349" y="331"/>
                  </a:lnTo>
                  <a:lnTo>
                    <a:pt x="1347" y="333"/>
                  </a:lnTo>
                  <a:lnTo>
                    <a:pt x="1347" y="333"/>
                  </a:lnTo>
                  <a:lnTo>
                    <a:pt x="1344" y="335"/>
                  </a:lnTo>
                  <a:lnTo>
                    <a:pt x="1344" y="337"/>
                  </a:lnTo>
                  <a:lnTo>
                    <a:pt x="1344" y="339"/>
                  </a:lnTo>
                  <a:lnTo>
                    <a:pt x="1347" y="339"/>
                  </a:lnTo>
                  <a:lnTo>
                    <a:pt x="1347" y="341"/>
                  </a:lnTo>
                  <a:lnTo>
                    <a:pt x="1347" y="341"/>
                  </a:lnTo>
                  <a:lnTo>
                    <a:pt x="1349" y="343"/>
                  </a:lnTo>
                  <a:lnTo>
                    <a:pt x="1349" y="343"/>
                  </a:lnTo>
                  <a:lnTo>
                    <a:pt x="1353" y="345"/>
                  </a:lnTo>
                  <a:lnTo>
                    <a:pt x="1353" y="345"/>
                  </a:lnTo>
                  <a:lnTo>
                    <a:pt x="1355" y="345"/>
                  </a:lnTo>
                  <a:lnTo>
                    <a:pt x="1357" y="345"/>
                  </a:lnTo>
                  <a:lnTo>
                    <a:pt x="1359" y="345"/>
                  </a:lnTo>
                  <a:lnTo>
                    <a:pt x="1359" y="345"/>
                  </a:lnTo>
                  <a:lnTo>
                    <a:pt x="1357" y="347"/>
                  </a:lnTo>
                  <a:lnTo>
                    <a:pt x="1357" y="347"/>
                  </a:lnTo>
                  <a:lnTo>
                    <a:pt x="1357" y="349"/>
                  </a:lnTo>
                  <a:lnTo>
                    <a:pt x="1359" y="349"/>
                  </a:lnTo>
                  <a:lnTo>
                    <a:pt x="1363" y="353"/>
                  </a:lnTo>
                  <a:lnTo>
                    <a:pt x="1365" y="353"/>
                  </a:lnTo>
                  <a:lnTo>
                    <a:pt x="1365" y="353"/>
                  </a:lnTo>
                  <a:lnTo>
                    <a:pt x="1363" y="353"/>
                  </a:lnTo>
                  <a:lnTo>
                    <a:pt x="1361" y="351"/>
                  </a:lnTo>
                  <a:lnTo>
                    <a:pt x="1355" y="349"/>
                  </a:lnTo>
                  <a:lnTo>
                    <a:pt x="1351" y="349"/>
                  </a:lnTo>
                  <a:lnTo>
                    <a:pt x="1349" y="349"/>
                  </a:lnTo>
                  <a:lnTo>
                    <a:pt x="1347" y="353"/>
                  </a:lnTo>
                  <a:lnTo>
                    <a:pt x="1344" y="353"/>
                  </a:lnTo>
                  <a:lnTo>
                    <a:pt x="1342" y="355"/>
                  </a:lnTo>
                  <a:lnTo>
                    <a:pt x="1342" y="355"/>
                  </a:lnTo>
                  <a:lnTo>
                    <a:pt x="1342" y="355"/>
                  </a:lnTo>
                  <a:lnTo>
                    <a:pt x="1347" y="359"/>
                  </a:lnTo>
                  <a:lnTo>
                    <a:pt x="1347" y="359"/>
                  </a:lnTo>
                  <a:lnTo>
                    <a:pt x="1349" y="361"/>
                  </a:lnTo>
                  <a:lnTo>
                    <a:pt x="1349" y="364"/>
                  </a:lnTo>
                  <a:lnTo>
                    <a:pt x="1351" y="364"/>
                  </a:lnTo>
                  <a:lnTo>
                    <a:pt x="1353" y="364"/>
                  </a:lnTo>
                  <a:lnTo>
                    <a:pt x="1355" y="364"/>
                  </a:lnTo>
                  <a:lnTo>
                    <a:pt x="1357" y="364"/>
                  </a:lnTo>
                  <a:lnTo>
                    <a:pt x="1359" y="366"/>
                  </a:lnTo>
                  <a:lnTo>
                    <a:pt x="1359" y="366"/>
                  </a:lnTo>
                  <a:lnTo>
                    <a:pt x="1359" y="368"/>
                  </a:lnTo>
                  <a:lnTo>
                    <a:pt x="1359" y="370"/>
                  </a:lnTo>
                  <a:lnTo>
                    <a:pt x="1359" y="372"/>
                  </a:lnTo>
                  <a:lnTo>
                    <a:pt x="1357" y="378"/>
                  </a:lnTo>
                  <a:lnTo>
                    <a:pt x="1357" y="380"/>
                  </a:lnTo>
                  <a:lnTo>
                    <a:pt x="1357" y="380"/>
                  </a:lnTo>
                  <a:lnTo>
                    <a:pt x="1355" y="380"/>
                  </a:lnTo>
                  <a:lnTo>
                    <a:pt x="1355" y="380"/>
                  </a:lnTo>
                  <a:lnTo>
                    <a:pt x="1353" y="378"/>
                  </a:lnTo>
                  <a:lnTo>
                    <a:pt x="1355" y="378"/>
                  </a:lnTo>
                  <a:lnTo>
                    <a:pt x="1355" y="378"/>
                  </a:lnTo>
                  <a:lnTo>
                    <a:pt x="1353" y="378"/>
                  </a:lnTo>
                  <a:lnTo>
                    <a:pt x="1344" y="378"/>
                  </a:lnTo>
                  <a:lnTo>
                    <a:pt x="1342" y="378"/>
                  </a:lnTo>
                  <a:lnTo>
                    <a:pt x="1338" y="380"/>
                  </a:lnTo>
                  <a:lnTo>
                    <a:pt x="1336" y="380"/>
                  </a:lnTo>
                  <a:lnTo>
                    <a:pt x="1332" y="382"/>
                  </a:lnTo>
                  <a:lnTo>
                    <a:pt x="1332" y="380"/>
                  </a:lnTo>
                  <a:lnTo>
                    <a:pt x="1334" y="380"/>
                  </a:lnTo>
                  <a:lnTo>
                    <a:pt x="1338" y="378"/>
                  </a:lnTo>
                  <a:lnTo>
                    <a:pt x="1340" y="376"/>
                  </a:lnTo>
                  <a:lnTo>
                    <a:pt x="1344" y="376"/>
                  </a:lnTo>
                  <a:lnTo>
                    <a:pt x="1349" y="376"/>
                  </a:lnTo>
                  <a:lnTo>
                    <a:pt x="1353" y="374"/>
                  </a:lnTo>
                  <a:lnTo>
                    <a:pt x="1355" y="372"/>
                  </a:lnTo>
                  <a:lnTo>
                    <a:pt x="1353" y="370"/>
                  </a:lnTo>
                  <a:lnTo>
                    <a:pt x="1351" y="368"/>
                  </a:lnTo>
                  <a:lnTo>
                    <a:pt x="1347" y="366"/>
                  </a:lnTo>
                  <a:lnTo>
                    <a:pt x="1344" y="364"/>
                  </a:lnTo>
                  <a:lnTo>
                    <a:pt x="1340" y="361"/>
                  </a:lnTo>
                  <a:lnTo>
                    <a:pt x="1336" y="357"/>
                  </a:lnTo>
                  <a:lnTo>
                    <a:pt x="1336" y="355"/>
                  </a:lnTo>
                  <a:lnTo>
                    <a:pt x="1336" y="351"/>
                  </a:lnTo>
                  <a:lnTo>
                    <a:pt x="1336" y="349"/>
                  </a:lnTo>
                  <a:lnTo>
                    <a:pt x="1336" y="347"/>
                  </a:lnTo>
                  <a:lnTo>
                    <a:pt x="1336" y="345"/>
                  </a:lnTo>
                  <a:lnTo>
                    <a:pt x="1336" y="343"/>
                  </a:lnTo>
                  <a:lnTo>
                    <a:pt x="1334" y="341"/>
                  </a:lnTo>
                  <a:lnTo>
                    <a:pt x="1332" y="337"/>
                  </a:lnTo>
                  <a:lnTo>
                    <a:pt x="1330" y="337"/>
                  </a:lnTo>
                  <a:lnTo>
                    <a:pt x="1330" y="335"/>
                  </a:lnTo>
                  <a:lnTo>
                    <a:pt x="1332" y="333"/>
                  </a:lnTo>
                  <a:lnTo>
                    <a:pt x="1332" y="331"/>
                  </a:lnTo>
                  <a:lnTo>
                    <a:pt x="1334" y="328"/>
                  </a:lnTo>
                  <a:lnTo>
                    <a:pt x="1338" y="322"/>
                  </a:lnTo>
                  <a:lnTo>
                    <a:pt x="1340" y="320"/>
                  </a:lnTo>
                  <a:lnTo>
                    <a:pt x="1344" y="316"/>
                  </a:lnTo>
                  <a:lnTo>
                    <a:pt x="1347" y="314"/>
                  </a:lnTo>
                  <a:lnTo>
                    <a:pt x="1351" y="312"/>
                  </a:lnTo>
                  <a:lnTo>
                    <a:pt x="1355" y="310"/>
                  </a:lnTo>
                  <a:lnTo>
                    <a:pt x="1355" y="308"/>
                  </a:lnTo>
                  <a:lnTo>
                    <a:pt x="1355" y="308"/>
                  </a:lnTo>
                  <a:lnTo>
                    <a:pt x="1355" y="308"/>
                  </a:lnTo>
                  <a:lnTo>
                    <a:pt x="1353" y="306"/>
                  </a:lnTo>
                  <a:lnTo>
                    <a:pt x="1340" y="306"/>
                  </a:lnTo>
                  <a:lnTo>
                    <a:pt x="1334" y="306"/>
                  </a:lnTo>
                  <a:lnTo>
                    <a:pt x="1330" y="306"/>
                  </a:lnTo>
                  <a:lnTo>
                    <a:pt x="1320" y="308"/>
                  </a:lnTo>
                  <a:lnTo>
                    <a:pt x="1316" y="308"/>
                  </a:lnTo>
                  <a:lnTo>
                    <a:pt x="1314" y="310"/>
                  </a:lnTo>
                  <a:lnTo>
                    <a:pt x="1309" y="312"/>
                  </a:lnTo>
                  <a:lnTo>
                    <a:pt x="1301" y="318"/>
                  </a:lnTo>
                  <a:lnTo>
                    <a:pt x="1301" y="318"/>
                  </a:lnTo>
                  <a:lnTo>
                    <a:pt x="1301" y="318"/>
                  </a:lnTo>
                  <a:lnTo>
                    <a:pt x="1301" y="320"/>
                  </a:lnTo>
                  <a:lnTo>
                    <a:pt x="1301" y="320"/>
                  </a:lnTo>
                  <a:lnTo>
                    <a:pt x="1297" y="322"/>
                  </a:lnTo>
                  <a:lnTo>
                    <a:pt x="1295" y="324"/>
                  </a:lnTo>
                  <a:lnTo>
                    <a:pt x="1295" y="326"/>
                  </a:lnTo>
                  <a:lnTo>
                    <a:pt x="1293" y="326"/>
                  </a:lnTo>
                  <a:lnTo>
                    <a:pt x="1293" y="328"/>
                  </a:lnTo>
                  <a:lnTo>
                    <a:pt x="1293" y="331"/>
                  </a:lnTo>
                  <a:lnTo>
                    <a:pt x="1293" y="333"/>
                  </a:lnTo>
                  <a:lnTo>
                    <a:pt x="1293" y="333"/>
                  </a:lnTo>
                  <a:lnTo>
                    <a:pt x="1289" y="337"/>
                  </a:lnTo>
                  <a:lnTo>
                    <a:pt x="1287" y="341"/>
                  </a:lnTo>
                  <a:lnTo>
                    <a:pt x="1287" y="343"/>
                  </a:lnTo>
                  <a:lnTo>
                    <a:pt x="1285" y="345"/>
                  </a:lnTo>
                  <a:lnTo>
                    <a:pt x="1285" y="345"/>
                  </a:lnTo>
                  <a:lnTo>
                    <a:pt x="1285" y="347"/>
                  </a:lnTo>
                  <a:lnTo>
                    <a:pt x="1285" y="349"/>
                  </a:lnTo>
                  <a:lnTo>
                    <a:pt x="1285" y="349"/>
                  </a:lnTo>
                  <a:lnTo>
                    <a:pt x="1287" y="351"/>
                  </a:lnTo>
                  <a:lnTo>
                    <a:pt x="1289" y="351"/>
                  </a:lnTo>
                  <a:lnTo>
                    <a:pt x="1289" y="351"/>
                  </a:lnTo>
                  <a:lnTo>
                    <a:pt x="1285" y="353"/>
                  </a:lnTo>
                  <a:lnTo>
                    <a:pt x="1283" y="355"/>
                  </a:lnTo>
                  <a:lnTo>
                    <a:pt x="1283" y="357"/>
                  </a:lnTo>
                  <a:lnTo>
                    <a:pt x="1283" y="359"/>
                  </a:lnTo>
                  <a:lnTo>
                    <a:pt x="1285" y="361"/>
                  </a:lnTo>
                  <a:lnTo>
                    <a:pt x="1285" y="366"/>
                  </a:lnTo>
                  <a:lnTo>
                    <a:pt x="1285" y="368"/>
                  </a:lnTo>
                  <a:lnTo>
                    <a:pt x="1287" y="370"/>
                  </a:lnTo>
                  <a:lnTo>
                    <a:pt x="1287" y="370"/>
                  </a:lnTo>
                  <a:lnTo>
                    <a:pt x="1291" y="372"/>
                  </a:lnTo>
                  <a:lnTo>
                    <a:pt x="1297" y="374"/>
                  </a:lnTo>
                  <a:lnTo>
                    <a:pt x="1303" y="374"/>
                  </a:lnTo>
                  <a:lnTo>
                    <a:pt x="1311" y="376"/>
                  </a:lnTo>
                  <a:lnTo>
                    <a:pt x="1314" y="376"/>
                  </a:lnTo>
                  <a:lnTo>
                    <a:pt x="1316" y="376"/>
                  </a:lnTo>
                  <a:lnTo>
                    <a:pt x="1318" y="378"/>
                  </a:lnTo>
                  <a:lnTo>
                    <a:pt x="1320" y="380"/>
                  </a:lnTo>
                  <a:lnTo>
                    <a:pt x="1324" y="380"/>
                  </a:lnTo>
                  <a:lnTo>
                    <a:pt x="1324" y="382"/>
                  </a:lnTo>
                  <a:lnTo>
                    <a:pt x="1318" y="382"/>
                  </a:lnTo>
                  <a:lnTo>
                    <a:pt x="1314" y="382"/>
                  </a:lnTo>
                  <a:lnTo>
                    <a:pt x="1311" y="382"/>
                  </a:lnTo>
                  <a:lnTo>
                    <a:pt x="1307" y="382"/>
                  </a:lnTo>
                  <a:lnTo>
                    <a:pt x="1305" y="380"/>
                  </a:lnTo>
                  <a:lnTo>
                    <a:pt x="1301" y="380"/>
                  </a:lnTo>
                  <a:lnTo>
                    <a:pt x="1297" y="380"/>
                  </a:lnTo>
                  <a:lnTo>
                    <a:pt x="1293" y="380"/>
                  </a:lnTo>
                  <a:lnTo>
                    <a:pt x="1291" y="380"/>
                  </a:lnTo>
                  <a:lnTo>
                    <a:pt x="1291" y="380"/>
                  </a:lnTo>
                  <a:lnTo>
                    <a:pt x="1293" y="382"/>
                  </a:lnTo>
                  <a:lnTo>
                    <a:pt x="1293" y="386"/>
                  </a:lnTo>
                  <a:lnTo>
                    <a:pt x="1295" y="386"/>
                  </a:lnTo>
                  <a:lnTo>
                    <a:pt x="1299" y="392"/>
                  </a:lnTo>
                  <a:lnTo>
                    <a:pt x="1301" y="395"/>
                  </a:lnTo>
                  <a:lnTo>
                    <a:pt x="1303" y="395"/>
                  </a:lnTo>
                  <a:lnTo>
                    <a:pt x="1305" y="395"/>
                  </a:lnTo>
                  <a:lnTo>
                    <a:pt x="1309" y="397"/>
                  </a:lnTo>
                  <a:lnTo>
                    <a:pt x="1314" y="401"/>
                  </a:lnTo>
                  <a:lnTo>
                    <a:pt x="1314" y="401"/>
                  </a:lnTo>
                  <a:lnTo>
                    <a:pt x="1316" y="401"/>
                  </a:lnTo>
                  <a:lnTo>
                    <a:pt x="1316" y="399"/>
                  </a:lnTo>
                  <a:lnTo>
                    <a:pt x="1318" y="399"/>
                  </a:lnTo>
                  <a:lnTo>
                    <a:pt x="1320" y="399"/>
                  </a:lnTo>
                  <a:lnTo>
                    <a:pt x="1322" y="399"/>
                  </a:lnTo>
                  <a:lnTo>
                    <a:pt x="1326" y="399"/>
                  </a:lnTo>
                  <a:lnTo>
                    <a:pt x="1326" y="399"/>
                  </a:lnTo>
                  <a:lnTo>
                    <a:pt x="1324" y="397"/>
                  </a:lnTo>
                  <a:lnTo>
                    <a:pt x="1324" y="397"/>
                  </a:lnTo>
                  <a:lnTo>
                    <a:pt x="1324" y="397"/>
                  </a:lnTo>
                  <a:lnTo>
                    <a:pt x="1328" y="397"/>
                  </a:lnTo>
                  <a:lnTo>
                    <a:pt x="1330" y="397"/>
                  </a:lnTo>
                  <a:lnTo>
                    <a:pt x="1332" y="397"/>
                  </a:lnTo>
                  <a:lnTo>
                    <a:pt x="1334" y="395"/>
                  </a:lnTo>
                  <a:lnTo>
                    <a:pt x="1334" y="395"/>
                  </a:lnTo>
                  <a:lnTo>
                    <a:pt x="1334" y="397"/>
                  </a:lnTo>
                  <a:lnTo>
                    <a:pt x="1332" y="399"/>
                  </a:lnTo>
                  <a:lnTo>
                    <a:pt x="1334" y="399"/>
                  </a:lnTo>
                  <a:lnTo>
                    <a:pt x="1334" y="403"/>
                  </a:lnTo>
                  <a:lnTo>
                    <a:pt x="1336" y="403"/>
                  </a:lnTo>
                  <a:lnTo>
                    <a:pt x="1338" y="405"/>
                  </a:lnTo>
                  <a:lnTo>
                    <a:pt x="1342" y="405"/>
                  </a:lnTo>
                  <a:lnTo>
                    <a:pt x="1349" y="403"/>
                  </a:lnTo>
                  <a:lnTo>
                    <a:pt x="1353" y="405"/>
                  </a:lnTo>
                  <a:lnTo>
                    <a:pt x="1355" y="405"/>
                  </a:lnTo>
                  <a:lnTo>
                    <a:pt x="1357" y="405"/>
                  </a:lnTo>
                  <a:lnTo>
                    <a:pt x="1357" y="405"/>
                  </a:lnTo>
                  <a:lnTo>
                    <a:pt x="1361" y="407"/>
                  </a:lnTo>
                  <a:lnTo>
                    <a:pt x="1371" y="407"/>
                  </a:lnTo>
                  <a:lnTo>
                    <a:pt x="1375" y="407"/>
                  </a:lnTo>
                  <a:lnTo>
                    <a:pt x="1382" y="407"/>
                  </a:lnTo>
                  <a:lnTo>
                    <a:pt x="1382" y="407"/>
                  </a:lnTo>
                  <a:lnTo>
                    <a:pt x="1384" y="407"/>
                  </a:lnTo>
                  <a:lnTo>
                    <a:pt x="1390" y="409"/>
                  </a:lnTo>
                  <a:lnTo>
                    <a:pt x="1394" y="411"/>
                  </a:lnTo>
                  <a:lnTo>
                    <a:pt x="1396" y="411"/>
                  </a:lnTo>
                  <a:lnTo>
                    <a:pt x="1398" y="409"/>
                  </a:lnTo>
                  <a:lnTo>
                    <a:pt x="1404" y="409"/>
                  </a:lnTo>
                  <a:lnTo>
                    <a:pt x="1413" y="413"/>
                  </a:lnTo>
                  <a:lnTo>
                    <a:pt x="1415" y="413"/>
                  </a:lnTo>
                  <a:lnTo>
                    <a:pt x="1415" y="411"/>
                  </a:lnTo>
                  <a:lnTo>
                    <a:pt x="1413" y="411"/>
                  </a:lnTo>
                  <a:lnTo>
                    <a:pt x="1410" y="409"/>
                  </a:lnTo>
                  <a:lnTo>
                    <a:pt x="1408" y="407"/>
                  </a:lnTo>
                  <a:lnTo>
                    <a:pt x="1406" y="407"/>
                  </a:lnTo>
                  <a:lnTo>
                    <a:pt x="1406" y="407"/>
                  </a:lnTo>
                  <a:lnTo>
                    <a:pt x="1404" y="405"/>
                  </a:lnTo>
                  <a:lnTo>
                    <a:pt x="1402" y="405"/>
                  </a:lnTo>
                  <a:lnTo>
                    <a:pt x="1404" y="403"/>
                  </a:lnTo>
                  <a:lnTo>
                    <a:pt x="1410" y="405"/>
                  </a:lnTo>
                  <a:lnTo>
                    <a:pt x="1415" y="405"/>
                  </a:lnTo>
                  <a:lnTo>
                    <a:pt x="1417" y="405"/>
                  </a:lnTo>
                  <a:lnTo>
                    <a:pt x="1421" y="407"/>
                  </a:lnTo>
                  <a:lnTo>
                    <a:pt x="1423" y="407"/>
                  </a:lnTo>
                  <a:lnTo>
                    <a:pt x="1423" y="407"/>
                  </a:lnTo>
                  <a:lnTo>
                    <a:pt x="1431" y="409"/>
                  </a:lnTo>
                  <a:lnTo>
                    <a:pt x="1433" y="409"/>
                  </a:lnTo>
                  <a:lnTo>
                    <a:pt x="1435" y="409"/>
                  </a:lnTo>
                  <a:lnTo>
                    <a:pt x="1439" y="409"/>
                  </a:lnTo>
                  <a:lnTo>
                    <a:pt x="1441" y="407"/>
                  </a:lnTo>
                  <a:lnTo>
                    <a:pt x="1443" y="407"/>
                  </a:lnTo>
                  <a:lnTo>
                    <a:pt x="1443" y="405"/>
                  </a:lnTo>
                  <a:lnTo>
                    <a:pt x="1443" y="405"/>
                  </a:lnTo>
                  <a:lnTo>
                    <a:pt x="1443" y="403"/>
                  </a:lnTo>
                  <a:lnTo>
                    <a:pt x="1441" y="401"/>
                  </a:lnTo>
                  <a:lnTo>
                    <a:pt x="1441" y="399"/>
                  </a:lnTo>
                  <a:lnTo>
                    <a:pt x="1439" y="399"/>
                  </a:lnTo>
                  <a:lnTo>
                    <a:pt x="1435" y="397"/>
                  </a:lnTo>
                  <a:lnTo>
                    <a:pt x="1435" y="397"/>
                  </a:lnTo>
                  <a:lnTo>
                    <a:pt x="1435" y="395"/>
                  </a:lnTo>
                  <a:lnTo>
                    <a:pt x="1435" y="395"/>
                  </a:lnTo>
                  <a:lnTo>
                    <a:pt x="1437" y="392"/>
                  </a:lnTo>
                  <a:lnTo>
                    <a:pt x="1437" y="392"/>
                  </a:lnTo>
                  <a:lnTo>
                    <a:pt x="1439" y="390"/>
                  </a:lnTo>
                  <a:lnTo>
                    <a:pt x="1439" y="392"/>
                  </a:lnTo>
                  <a:lnTo>
                    <a:pt x="1441" y="395"/>
                  </a:lnTo>
                  <a:lnTo>
                    <a:pt x="1441" y="395"/>
                  </a:lnTo>
                  <a:lnTo>
                    <a:pt x="1443" y="395"/>
                  </a:lnTo>
                  <a:lnTo>
                    <a:pt x="1445" y="399"/>
                  </a:lnTo>
                  <a:lnTo>
                    <a:pt x="1445" y="399"/>
                  </a:lnTo>
                  <a:lnTo>
                    <a:pt x="1448" y="399"/>
                  </a:lnTo>
                  <a:lnTo>
                    <a:pt x="1450" y="401"/>
                  </a:lnTo>
                  <a:lnTo>
                    <a:pt x="1452" y="401"/>
                  </a:lnTo>
                  <a:lnTo>
                    <a:pt x="1452" y="401"/>
                  </a:lnTo>
                  <a:lnTo>
                    <a:pt x="1456" y="401"/>
                  </a:lnTo>
                  <a:lnTo>
                    <a:pt x="1458" y="401"/>
                  </a:lnTo>
                  <a:lnTo>
                    <a:pt x="1458" y="403"/>
                  </a:lnTo>
                  <a:lnTo>
                    <a:pt x="1458" y="405"/>
                  </a:lnTo>
                  <a:lnTo>
                    <a:pt x="1460" y="407"/>
                  </a:lnTo>
                  <a:lnTo>
                    <a:pt x="1460" y="409"/>
                  </a:lnTo>
                  <a:lnTo>
                    <a:pt x="1460" y="411"/>
                  </a:lnTo>
                  <a:lnTo>
                    <a:pt x="1462" y="411"/>
                  </a:lnTo>
                  <a:lnTo>
                    <a:pt x="1466" y="411"/>
                  </a:lnTo>
                  <a:lnTo>
                    <a:pt x="1468" y="411"/>
                  </a:lnTo>
                  <a:lnTo>
                    <a:pt x="1468" y="411"/>
                  </a:lnTo>
                  <a:lnTo>
                    <a:pt x="1470" y="413"/>
                  </a:lnTo>
                  <a:lnTo>
                    <a:pt x="1470" y="413"/>
                  </a:lnTo>
                  <a:lnTo>
                    <a:pt x="1468" y="415"/>
                  </a:lnTo>
                  <a:lnTo>
                    <a:pt x="1466" y="415"/>
                  </a:lnTo>
                  <a:lnTo>
                    <a:pt x="1466" y="415"/>
                  </a:lnTo>
                  <a:lnTo>
                    <a:pt x="1468" y="415"/>
                  </a:lnTo>
                  <a:lnTo>
                    <a:pt x="1468" y="417"/>
                  </a:lnTo>
                  <a:lnTo>
                    <a:pt x="1470" y="417"/>
                  </a:lnTo>
                  <a:lnTo>
                    <a:pt x="1472" y="417"/>
                  </a:lnTo>
                  <a:lnTo>
                    <a:pt x="1472" y="417"/>
                  </a:lnTo>
                  <a:lnTo>
                    <a:pt x="1474" y="415"/>
                  </a:lnTo>
                  <a:lnTo>
                    <a:pt x="1476" y="415"/>
                  </a:lnTo>
                  <a:lnTo>
                    <a:pt x="1476" y="415"/>
                  </a:lnTo>
                  <a:lnTo>
                    <a:pt x="1478" y="415"/>
                  </a:lnTo>
                  <a:lnTo>
                    <a:pt x="1478" y="415"/>
                  </a:lnTo>
                  <a:lnTo>
                    <a:pt x="1476" y="415"/>
                  </a:lnTo>
                  <a:lnTo>
                    <a:pt x="1476" y="417"/>
                  </a:lnTo>
                  <a:lnTo>
                    <a:pt x="1474" y="417"/>
                  </a:lnTo>
                  <a:lnTo>
                    <a:pt x="1474" y="419"/>
                  </a:lnTo>
                  <a:lnTo>
                    <a:pt x="1476" y="419"/>
                  </a:lnTo>
                  <a:lnTo>
                    <a:pt x="1476" y="421"/>
                  </a:lnTo>
                  <a:lnTo>
                    <a:pt x="1478" y="421"/>
                  </a:lnTo>
                  <a:lnTo>
                    <a:pt x="1481" y="421"/>
                  </a:lnTo>
                  <a:lnTo>
                    <a:pt x="1483" y="421"/>
                  </a:lnTo>
                  <a:lnTo>
                    <a:pt x="1487" y="423"/>
                  </a:lnTo>
                  <a:lnTo>
                    <a:pt x="1487" y="423"/>
                  </a:lnTo>
                  <a:lnTo>
                    <a:pt x="1489" y="426"/>
                  </a:lnTo>
                  <a:lnTo>
                    <a:pt x="1487" y="428"/>
                  </a:lnTo>
                  <a:lnTo>
                    <a:pt x="1487" y="430"/>
                  </a:lnTo>
                  <a:lnTo>
                    <a:pt x="1485" y="430"/>
                  </a:lnTo>
                  <a:lnTo>
                    <a:pt x="1483" y="432"/>
                  </a:lnTo>
                  <a:lnTo>
                    <a:pt x="1481" y="432"/>
                  </a:lnTo>
                  <a:lnTo>
                    <a:pt x="1476" y="430"/>
                  </a:lnTo>
                  <a:lnTo>
                    <a:pt x="1476" y="432"/>
                  </a:lnTo>
                  <a:lnTo>
                    <a:pt x="1474" y="432"/>
                  </a:lnTo>
                  <a:lnTo>
                    <a:pt x="1474" y="432"/>
                  </a:lnTo>
                  <a:lnTo>
                    <a:pt x="1474" y="436"/>
                  </a:lnTo>
                  <a:lnTo>
                    <a:pt x="1474" y="436"/>
                  </a:lnTo>
                  <a:lnTo>
                    <a:pt x="1474" y="436"/>
                  </a:lnTo>
                  <a:lnTo>
                    <a:pt x="1474" y="438"/>
                  </a:lnTo>
                  <a:lnTo>
                    <a:pt x="1474" y="438"/>
                  </a:lnTo>
                  <a:lnTo>
                    <a:pt x="1474" y="440"/>
                  </a:lnTo>
                  <a:lnTo>
                    <a:pt x="1476" y="440"/>
                  </a:lnTo>
                  <a:lnTo>
                    <a:pt x="1478" y="438"/>
                  </a:lnTo>
                  <a:lnTo>
                    <a:pt x="1485" y="436"/>
                  </a:lnTo>
                  <a:lnTo>
                    <a:pt x="1489" y="434"/>
                  </a:lnTo>
                  <a:lnTo>
                    <a:pt x="1489" y="434"/>
                  </a:lnTo>
                  <a:lnTo>
                    <a:pt x="1491" y="432"/>
                  </a:lnTo>
                  <a:lnTo>
                    <a:pt x="1491" y="434"/>
                  </a:lnTo>
                  <a:lnTo>
                    <a:pt x="1495" y="434"/>
                  </a:lnTo>
                  <a:lnTo>
                    <a:pt x="1495" y="434"/>
                  </a:lnTo>
                  <a:lnTo>
                    <a:pt x="1497" y="432"/>
                  </a:lnTo>
                  <a:lnTo>
                    <a:pt x="1499" y="430"/>
                  </a:lnTo>
                  <a:lnTo>
                    <a:pt x="1499" y="430"/>
                  </a:lnTo>
                  <a:lnTo>
                    <a:pt x="1501" y="430"/>
                  </a:lnTo>
                  <a:lnTo>
                    <a:pt x="1501" y="432"/>
                  </a:lnTo>
                  <a:lnTo>
                    <a:pt x="1499" y="432"/>
                  </a:lnTo>
                  <a:lnTo>
                    <a:pt x="1497" y="432"/>
                  </a:lnTo>
                  <a:lnTo>
                    <a:pt x="1499" y="434"/>
                  </a:lnTo>
                  <a:lnTo>
                    <a:pt x="1499" y="434"/>
                  </a:lnTo>
                  <a:lnTo>
                    <a:pt x="1501" y="434"/>
                  </a:lnTo>
                  <a:lnTo>
                    <a:pt x="1501" y="434"/>
                  </a:lnTo>
                  <a:lnTo>
                    <a:pt x="1499" y="436"/>
                  </a:lnTo>
                  <a:lnTo>
                    <a:pt x="1499" y="436"/>
                  </a:lnTo>
                  <a:lnTo>
                    <a:pt x="1499" y="436"/>
                  </a:lnTo>
                  <a:lnTo>
                    <a:pt x="1501" y="436"/>
                  </a:lnTo>
                  <a:lnTo>
                    <a:pt x="1501" y="436"/>
                  </a:lnTo>
                  <a:lnTo>
                    <a:pt x="1501" y="436"/>
                  </a:lnTo>
                  <a:lnTo>
                    <a:pt x="1501" y="438"/>
                  </a:lnTo>
                  <a:lnTo>
                    <a:pt x="1501" y="438"/>
                  </a:lnTo>
                  <a:lnTo>
                    <a:pt x="1505" y="442"/>
                  </a:lnTo>
                  <a:lnTo>
                    <a:pt x="1505" y="442"/>
                  </a:lnTo>
                  <a:lnTo>
                    <a:pt x="1507" y="442"/>
                  </a:lnTo>
                  <a:lnTo>
                    <a:pt x="1509" y="444"/>
                  </a:lnTo>
                  <a:lnTo>
                    <a:pt x="1511" y="442"/>
                  </a:lnTo>
                  <a:lnTo>
                    <a:pt x="1511" y="442"/>
                  </a:lnTo>
                  <a:lnTo>
                    <a:pt x="1509" y="440"/>
                  </a:lnTo>
                  <a:lnTo>
                    <a:pt x="1509" y="438"/>
                  </a:lnTo>
                  <a:lnTo>
                    <a:pt x="1511" y="438"/>
                  </a:lnTo>
                  <a:lnTo>
                    <a:pt x="1514" y="440"/>
                  </a:lnTo>
                  <a:lnTo>
                    <a:pt x="1514" y="440"/>
                  </a:lnTo>
                  <a:lnTo>
                    <a:pt x="1514" y="440"/>
                  </a:lnTo>
                  <a:lnTo>
                    <a:pt x="1514" y="442"/>
                  </a:lnTo>
                  <a:lnTo>
                    <a:pt x="1514" y="442"/>
                  </a:lnTo>
                  <a:lnTo>
                    <a:pt x="1514" y="444"/>
                  </a:lnTo>
                  <a:lnTo>
                    <a:pt x="1514" y="444"/>
                  </a:lnTo>
                  <a:lnTo>
                    <a:pt x="1514" y="446"/>
                  </a:lnTo>
                  <a:lnTo>
                    <a:pt x="1514" y="448"/>
                  </a:lnTo>
                  <a:lnTo>
                    <a:pt x="1516" y="448"/>
                  </a:lnTo>
                  <a:lnTo>
                    <a:pt x="1516" y="448"/>
                  </a:lnTo>
                  <a:lnTo>
                    <a:pt x="1518" y="448"/>
                  </a:lnTo>
                  <a:lnTo>
                    <a:pt x="1522" y="448"/>
                  </a:lnTo>
                  <a:lnTo>
                    <a:pt x="1522" y="448"/>
                  </a:lnTo>
                  <a:lnTo>
                    <a:pt x="1522" y="448"/>
                  </a:lnTo>
                  <a:lnTo>
                    <a:pt x="1522" y="450"/>
                  </a:lnTo>
                  <a:lnTo>
                    <a:pt x="1524" y="454"/>
                  </a:lnTo>
                  <a:lnTo>
                    <a:pt x="1526" y="459"/>
                  </a:lnTo>
                  <a:lnTo>
                    <a:pt x="1530" y="461"/>
                  </a:lnTo>
                  <a:lnTo>
                    <a:pt x="1532" y="465"/>
                  </a:lnTo>
                  <a:lnTo>
                    <a:pt x="1534" y="473"/>
                  </a:lnTo>
                  <a:lnTo>
                    <a:pt x="1536" y="473"/>
                  </a:lnTo>
                  <a:lnTo>
                    <a:pt x="1536" y="473"/>
                  </a:lnTo>
                  <a:lnTo>
                    <a:pt x="1536" y="475"/>
                  </a:lnTo>
                  <a:lnTo>
                    <a:pt x="1534" y="477"/>
                  </a:lnTo>
                  <a:lnTo>
                    <a:pt x="1532" y="477"/>
                  </a:lnTo>
                  <a:lnTo>
                    <a:pt x="1530" y="479"/>
                  </a:lnTo>
                  <a:lnTo>
                    <a:pt x="1528" y="479"/>
                  </a:lnTo>
                  <a:lnTo>
                    <a:pt x="1526" y="483"/>
                  </a:lnTo>
                  <a:lnTo>
                    <a:pt x="1526" y="483"/>
                  </a:lnTo>
                  <a:lnTo>
                    <a:pt x="1526" y="485"/>
                  </a:lnTo>
                  <a:lnTo>
                    <a:pt x="1526" y="487"/>
                  </a:lnTo>
                  <a:lnTo>
                    <a:pt x="1522" y="487"/>
                  </a:lnTo>
                  <a:lnTo>
                    <a:pt x="1522" y="487"/>
                  </a:lnTo>
                  <a:lnTo>
                    <a:pt x="1520" y="490"/>
                  </a:lnTo>
                  <a:lnTo>
                    <a:pt x="1520" y="490"/>
                  </a:lnTo>
                  <a:lnTo>
                    <a:pt x="1518" y="492"/>
                  </a:lnTo>
                  <a:lnTo>
                    <a:pt x="1511" y="496"/>
                  </a:lnTo>
                  <a:lnTo>
                    <a:pt x="1505" y="500"/>
                  </a:lnTo>
                  <a:lnTo>
                    <a:pt x="1505" y="500"/>
                  </a:lnTo>
                  <a:lnTo>
                    <a:pt x="1505" y="500"/>
                  </a:lnTo>
                  <a:lnTo>
                    <a:pt x="1505" y="502"/>
                  </a:lnTo>
                  <a:lnTo>
                    <a:pt x="1507" y="504"/>
                  </a:lnTo>
                  <a:lnTo>
                    <a:pt x="1511" y="506"/>
                  </a:lnTo>
                  <a:lnTo>
                    <a:pt x="1514" y="508"/>
                  </a:lnTo>
                  <a:lnTo>
                    <a:pt x="1516" y="510"/>
                  </a:lnTo>
                  <a:lnTo>
                    <a:pt x="1516" y="512"/>
                  </a:lnTo>
                  <a:lnTo>
                    <a:pt x="1518" y="514"/>
                  </a:lnTo>
                  <a:lnTo>
                    <a:pt x="1518" y="516"/>
                  </a:lnTo>
                  <a:lnTo>
                    <a:pt x="1516" y="516"/>
                  </a:lnTo>
                  <a:lnTo>
                    <a:pt x="1514" y="514"/>
                  </a:lnTo>
                  <a:lnTo>
                    <a:pt x="1511" y="514"/>
                  </a:lnTo>
                  <a:lnTo>
                    <a:pt x="1509" y="516"/>
                  </a:lnTo>
                  <a:lnTo>
                    <a:pt x="1507" y="516"/>
                  </a:lnTo>
                  <a:lnTo>
                    <a:pt x="1505" y="518"/>
                  </a:lnTo>
                  <a:lnTo>
                    <a:pt x="1503" y="518"/>
                  </a:lnTo>
                  <a:lnTo>
                    <a:pt x="1503" y="518"/>
                  </a:lnTo>
                  <a:lnTo>
                    <a:pt x="1501" y="518"/>
                  </a:lnTo>
                  <a:lnTo>
                    <a:pt x="1499" y="518"/>
                  </a:lnTo>
                  <a:lnTo>
                    <a:pt x="1497" y="518"/>
                  </a:lnTo>
                  <a:lnTo>
                    <a:pt x="1497" y="518"/>
                  </a:lnTo>
                  <a:lnTo>
                    <a:pt x="1495" y="518"/>
                  </a:lnTo>
                  <a:lnTo>
                    <a:pt x="1495" y="520"/>
                  </a:lnTo>
                  <a:lnTo>
                    <a:pt x="1493" y="520"/>
                  </a:lnTo>
                  <a:lnTo>
                    <a:pt x="1487" y="520"/>
                  </a:lnTo>
                  <a:lnTo>
                    <a:pt x="1485" y="520"/>
                  </a:lnTo>
                  <a:lnTo>
                    <a:pt x="1487" y="520"/>
                  </a:lnTo>
                  <a:lnTo>
                    <a:pt x="1489" y="525"/>
                  </a:lnTo>
                  <a:lnTo>
                    <a:pt x="1491" y="525"/>
                  </a:lnTo>
                  <a:lnTo>
                    <a:pt x="1491" y="527"/>
                  </a:lnTo>
                  <a:lnTo>
                    <a:pt x="1493" y="527"/>
                  </a:lnTo>
                  <a:lnTo>
                    <a:pt x="1491" y="527"/>
                  </a:lnTo>
                  <a:lnTo>
                    <a:pt x="1491" y="529"/>
                  </a:lnTo>
                  <a:lnTo>
                    <a:pt x="1491" y="529"/>
                  </a:lnTo>
                  <a:lnTo>
                    <a:pt x="1491" y="531"/>
                  </a:lnTo>
                  <a:lnTo>
                    <a:pt x="1491" y="531"/>
                  </a:lnTo>
                  <a:lnTo>
                    <a:pt x="1489" y="529"/>
                  </a:lnTo>
                  <a:lnTo>
                    <a:pt x="1489" y="529"/>
                  </a:lnTo>
                  <a:lnTo>
                    <a:pt x="1489" y="529"/>
                  </a:lnTo>
                  <a:lnTo>
                    <a:pt x="1489" y="529"/>
                  </a:lnTo>
                  <a:lnTo>
                    <a:pt x="1491" y="527"/>
                  </a:lnTo>
                  <a:lnTo>
                    <a:pt x="1489" y="527"/>
                  </a:lnTo>
                  <a:lnTo>
                    <a:pt x="1489" y="525"/>
                  </a:lnTo>
                  <a:lnTo>
                    <a:pt x="1485" y="523"/>
                  </a:lnTo>
                  <a:lnTo>
                    <a:pt x="1483" y="520"/>
                  </a:lnTo>
                  <a:lnTo>
                    <a:pt x="1476" y="518"/>
                  </a:lnTo>
                  <a:lnTo>
                    <a:pt x="1472" y="518"/>
                  </a:lnTo>
                  <a:lnTo>
                    <a:pt x="1468" y="516"/>
                  </a:lnTo>
                  <a:lnTo>
                    <a:pt x="1468" y="516"/>
                  </a:lnTo>
                  <a:lnTo>
                    <a:pt x="1464" y="516"/>
                  </a:lnTo>
                  <a:lnTo>
                    <a:pt x="1464" y="516"/>
                  </a:lnTo>
                  <a:lnTo>
                    <a:pt x="1464" y="516"/>
                  </a:lnTo>
                  <a:lnTo>
                    <a:pt x="1462" y="518"/>
                  </a:lnTo>
                  <a:lnTo>
                    <a:pt x="1462" y="518"/>
                  </a:lnTo>
                  <a:lnTo>
                    <a:pt x="1462" y="518"/>
                  </a:lnTo>
                  <a:lnTo>
                    <a:pt x="1464" y="523"/>
                  </a:lnTo>
                  <a:lnTo>
                    <a:pt x="1464" y="523"/>
                  </a:lnTo>
                  <a:lnTo>
                    <a:pt x="1462" y="523"/>
                  </a:lnTo>
                  <a:lnTo>
                    <a:pt x="1456" y="525"/>
                  </a:lnTo>
                  <a:lnTo>
                    <a:pt x="1454" y="527"/>
                  </a:lnTo>
                  <a:lnTo>
                    <a:pt x="1454" y="527"/>
                  </a:lnTo>
                  <a:lnTo>
                    <a:pt x="1454" y="529"/>
                  </a:lnTo>
                  <a:lnTo>
                    <a:pt x="1452" y="531"/>
                  </a:lnTo>
                  <a:lnTo>
                    <a:pt x="1452" y="533"/>
                  </a:lnTo>
                  <a:lnTo>
                    <a:pt x="1452" y="533"/>
                  </a:lnTo>
                  <a:lnTo>
                    <a:pt x="1452" y="535"/>
                  </a:lnTo>
                  <a:lnTo>
                    <a:pt x="1452" y="535"/>
                  </a:lnTo>
                  <a:lnTo>
                    <a:pt x="1454" y="539"/>
                  </a:lnTo>
                  <a:lnTo>
                    <a:pt x="1454" y="539"/>
                  </a:lnTo>
                  <a:lnTo>
                    <a:pt x="1458" y="541"/>
                  </a:lnTo>
                  <a:lnTo>
                    <a:pt x="1458" y="541"/>
                  </a:lnTo>
                  <a:lnTo>
                    <a:pt x="1460" y="541"/>
                  </a:lnTo>
                  <a:lnTo>
                    <a:pt x="1462" y="541"/>
                  </a:lnTo>
                  <a:lnTo>
                    <a:pt x="1462" y="543"/>
                  </a:lnTo>
                  <a:lnTo>
                    <a:pt x="1464" y="543"/>
                  </a:lnTo>
                  <a:lnTo>
                    <a:pt x="1466" y="543"/>
                  </a:lnTo>
                  <a:lnTo>
                    <a:pt x="1468" y="543"/>
                  </a:lnTo>
                  <a:lnTo>
                    <a:pt x="1470" y="545"/>
                  </a:lnTo>
                  <a:lnTo>
                    <a:pt x="1472" y="545"/>
                  </a:lnTo>
                  <a:lnTo>
                    <a:pt x="1474" y="543"/>
                  </a:lnTo>
                  <a:lnTo>
                    <a:pt x="1474" y="543"/>
                  </a:lnTo>
                  <a:lnTo>
                    <a:pt x="1476" y="543"/>
                  </a:lnTo>
                  <a:lnTo>
                    <a:pt x="1476" y="543"/>
                  </a:lnTo>
                  <a:lnTo>
                    <a:pt x="1481" y="541"/>
                  </a:lnTo>
                  <a:lnTo>
                    <a:pt x="1483" y="541"/>
                  </a:lnTo>
                  <a:lnTo>
                    <a:pt x="1485" y="541"/>
                  </a:lnTo>
                  <a:lnTo>
                    <a:pt x="1487" y="541"/>
                  </a:lnTo>
                  <a:lnTo>
                    <a:pt x="1487" y="537"/>
                  </a:lnTo>
                  <a:lnTo>
                    <a:pt x="1491" y="537"/>
                  </a:lnTo>
                  <a:lnTo>
                    <a:pt x="1493" y="539"/>
                  </a:lnTo>
                  <a:lnTo>
                    <a:pt x="1493" y="539"/>
                  </a:lnTo>
                  <a:lnTo>
                    <a:pt x="1497" y="539"/>
                  </a:lnTo>
                  <a:lnTo>
                    <a:pt x="1499" y="539"/>
                  </a:lnTo>
                  <a:lnTo>
                    <a:pt x="1501" y="539"/>
                  </a:lnTo>
                  <a:lnTo>
                    <a:pt x="1501" y="537"/>
                  </a:lnTo>
                  <a:lnTo>
                    <a:pt x="1501" y="535"/>
                  </a:lnTo>
                  <a:lnTo>
                    <a:pt x="1499" y="533"/>
                  </a:lnTo>
                  <a:lnTo>
                    <a:pt x="1499" y="533"/>
                  </a:lnTo>
                  <a:lnTo>
                    <a:pt x="1499" y="531"/>
                  </a:lnTo>
                  <a:lnTo>
                    <a:pt x="1499" y="531"/>
                  </a:lnTo>
                  <a:lnTo>
                    <a:pt x="1501" y="531"/>
                  </a:lnTo>
                  <a:lnTo>
                    <a:pt x="1501" y="531"/>
                  </a:lnTo>
                  <a:lnTo>
                    <a:pt x="1501" y="531"/>
                  </a:lnTo>
                  <a:lnTo>
                    <a:pt x="1503" y="531"/>
                  </a:lnTo>
                  <a:lnTo>
                    <a:pt x="1503" y="533"/>
                  </a:lnTo>
                  <a:lnTo>
                    <a:pt x="1503" y="533"/>
                  </a:lnTo>
                  <a:lnTo>
                    <a:pt x="1503" y="535"/>
                  </a:lnTo>
                  <a:lnTo>
                    <a:pt x="1505" y="535"/>
                  </a:lnTo>
                  <a:lnTo>
                    <a:pt x="1505" y="535"/>
                  </a:lnTo>
                  <a:lnTo>
                    <a:pt x="1507" y="535"/>
                  </a:lnTo>
                  <a:lnTo>
                    <a:pt x="1509" y="535"/>
                  </a:lnTo>
                  <a:lnTo>
                    <a:pt x="1509" y="539"/>
                  </a:lnTo>
                  <a:lnTo>
                    <a:pt x="1509" y="539"/>
                  </a:lnTo>
                  <a:lnTo>
                    <a:pt x="1509" y="541"/>
                  </a:lnTo>
                  <a:lnTo>
                    <a:pt x="1511" y="541"/>
                  </a:lnTo>
                  <a:lnTo>
                    <a:pt x="1511" y="539"/>
                  </a:lnTo>
                  <a:lnTo>
                    <a:pt x="1511" y="539"/>
                  </a:lnTo>
                  <a:lnTo>
                    <a:pt x="1514" y="537"/>
                  </a:lnTo>
                  <a:lnTo>
                    <a:pt x="1514" y="537"/>
                  </a:lnTo>
                  <a:lnTo>
                    <a:pt x="1514" y="537"/>
                  </a:lnTo>
                  <a:lnTo>
                    <a:pt x="1516" y="537"/>
                  </a:lnTo>
                  <a:lnTo>
                    <a:pt x="1516" y="537"/>
                  </a:lnTo>
                  <a:lnTo>
                    <a:pt x="1520" y="537"/>
                  </a:lnTo>
                  <a:lnTo>
                    <a:pt x="1522" y="537"/>
                  </a:lnTo>
                  <a:lnTo>
                    <a:pt x="1522" y="537"/>
                  </a:lnTo>
                  <a:lnTo>
                    <a:pt x="1520" y="541"/>
                  </a:lnTo>
                  <a:lnTo>
                    <a:pt x="1520" y="541"/>
                  </a:lnTo>
                  <a:lnTo>
                    <a:pt x="1520" y="541"/>
                  </a:lnTo>
                  <a:lnTo>
                    <a:pt x="1522" y="543"/>
                  </a:lnTo>
                  <a:lnTo>
                    <a:pt x="1524" y="543"/>
                  </a:lnTo>
                  <a:lnTo>
                    <a:pt x="1526" y="547"/>
                  </a:lnTo>
                  <a:lnTo>
                    <a:pt x="1530" y="549"/>
                  </a:lnTo>
                  <a:lnTo>
                    <a:pt x="1530" y="549"/>
                  </a:lnTo>
                  <a:lnTo>
                    <a:pt x="1530" y="549"/>
                  </a:lnTo>
                  <a:lnTo>
                    <a:pt x="1532" y="551"/>
                  </a:lnTo>
                  <a:lnTo>
                    <a:pt x="1532" y="554"/>
                  </a:lnTo>
                  <a:lnTo>
                    <a:pt x="1534" y="554"/>
                  </a:lnTo>
                  <a:lnTo>
                    <a:pt x="1536" y="551"/>
                  </a:lnTo>
                  <a:lnTo>
                    <a:pt x="1538" y="551"/>
                  </a:lnTo>
                  <a:lnTo>
                    <a:pt x="1538" y="551"/>
                  </a:lnTo>
                  <a:lnTo>
                    <a:pt x="1538" y="554"/>
                  </a:lnTo>
                  <a:lnTo>
                    <a:pt x="1536" y="554"/>
                  </a:lnTo>
                  <a:lnTo>
                    <a:pt x="1536" y="556"/>
                  </a:lnTo>
                  <a:lnTo>
                    <a:pt x="1536" y="556"/>
                  </a:lnTo>
                  <a:lnTo>
                    <a:pt x="1536" y="556"/>
                  </a:lnTo>
                  <a:lnTo>
                    <a:pt x="1542" y="556"/>
                  </a:lnTo>
                  <a:lnTo>
                    <a:pt x="1544" y="556"/>
                  </a:lnTo>
                  <a:lnTo>
                    <a:pt x="1544" y="558"/>
                  </a:lnTo>
                  <a:lnTo>
                    <a:pt x="1547" y="558"/>
                  </a:lnTo>
                  <a:lnTo>
                    <a:pt x="1547" y="560"/>
                  </a:lnTo>
                  <a:lnTo>
                    <a:pt x="1547" y="560"/>
                  </a:lnTo>
                  <a:lnTo>
                    <a:pt x="1549" y="560"/>
                  </a:lnTo>
                  <a:lnTo>
                    <a:pt x="1549" y="560"/>
                  </a:lnTo>
                  <a:lnTo>
                    <a:pt x="1547" y="560"/>
                  </a:lnTo>
                  <a:lnTo>
                    <a:pt x="1544" y="562"/>
                  </a:lnTo>
                  <a:lnTo>
                    <a:pt x="1544" y="562"/>
                  </a:lnTo>
                  <a:lnTo>
                    <a:pt x="1542" y="562"/>
                  </a:lnTo>
                  <a:lnTo>
                    <a:pt x="1540" y="562"/>
                  </a:lnTo>
                  <a:lnTo>
                    <a:pt x="1540" y="564"/>
                  </a:lnTo>
                  <a:lnTo>
                    <a:pt x="1542" y="564"/>
                  </a:lnTo>
                  <a:lnTo>
                    <a:pt x="1544" y="568"/>
                  </a:lnTo>
                  <a:lnTo>
                    <a:pt x="1547" y="570"/>
                  </a:lnTo>
                  <a:lnTo>
                    <a:pt x="1549" y="570"/>
                  </a:lnTo>
                  <a:lnTo>
                    <a:pt x="1551" y="572"/>
                  </a:lnTo>
                  <a:lnTo>
                    <a:pt x="1555" y="570"/>
                  </a:lnTo>
                  <a:lnTo>
                    <a:pt x="1555" y="570"/>
                  </a:lnTo>
                  <a:lnTo>
                    <a:pt x="1553" y="572"/>
                  </a:lnTo>
                  <a:lnTo>
                    <a:pt x="1553" y="572"/>
                  </a:lnTo>
                  <a:lnTo>
                    <a:pt x="1555" y="572"/>
                  </a:lnTo>
                  <a:lnTo>
                    <a:pt x="1557" y="574"/>
                  </a:lnTo>
                  <a:lnTo>
                    <a:pt x="1561" y="574"/>
                  </a:lnTo>
                  <a:lnTo>
                    <a:pt x="1563" y="576"/>
                  </a:lnTo>
                  <a:lnTo>
                    <a:pt x="1565" y="578"/>
                  </a:lnTo>
                  <a:lnTo>
                    <a:pt x="1567" y="578"/>
                  </a:lnTo>
                  <a:lnTo>
                    <a:pt x="1569" y="576"/>
                  </a:lnTo>
                  <a:lnTo>
                    <a:pt x="1571" y="576"/>
                  </a:lnTo>
                  <a:lnTo>
                    <a:pt x="1573" y="578"/>
                  </a:lnTo>
                  <a:lnTo>
                    <a:pt x="1575" y="578"/>
                  </a:lnTo>
                  <a:lnTo>
                    <a:pt x="1577" y="582"/>
                  </a:lnTo>
                  <a:lnTo>
                    <a:pt x="1582" y="584"/>
                  </a:lnTo>
                  <a:lnTo>
                    <a:pt x="1582" y="584"/>
                  </a:lnTo>
                  <a:lnTo>
                    <a:pt x="1586" y="587"/>
                  </a:lnTo>
                  <a:lnTo>
                    <a:pt x="1588" y="589"/>
                  </a:lnTo>
                  <a:lnTo>
                    <a:pt x="1590" y="589"/>
                  </a:lnTo>
                  <a:lnTo>
                    <a:pt x="1592" y="589"/>
                  </a:lnTo>
                  <a:lnTo>
                    <a:pt x="1604" y="591"/>
                  </a:lnTo>
                  <a:lnTo>
                    <a:pt x="1606" y="591"/>
                  </a:lnTo>
                  <a:lnTo>
                    <a:pt x="1606" y="593"/>
                  </a:lnTo>
                  <a:lnTo>
                    <a:pt x="1608" y="593"/>
                  </a:lnTo>
                  <a:lnTo>
                    <a:pt x="1615" y="595"/>
                  </a:lnTo>
                  <a:lnTo>
                    <a:pt x="1617" y="595"/>
                  </a:lnTo>
                  <a:lnTo>
                    <a:pt x="1619" y="597"/>
                  </a:lnTo>
                  <a:lnTo>
                    <a:pt x="1621" y="597"/>
                  </a:lnTo>
                  <a:lnTo>
                    <a:pt x="1621" y="597"/>
                  </a:lnTo>
                  <a:lnTo>
                    <a:pt x="1623" y="597"/>
                  </a:lnTo>
                  <a:lnTo>
                    <a:pt x="1625" y="597"/>
                  </a:lnTo>
                  <a:lnTo>
                    <a:pt x="1625" y="595"/>
                  </a:lnTo>
                  <a:lnTo>
                    <a:pt x="1623" y="593"/>
                  </a:lnTo>
                  <a:lnTo>
                    <a:pt x="1623" y="593"/>
                  </a:lnTo>
                  <a:lnTo>
                    <a:pt x="1625" y="591"/>
                  </a:lnTo>
                  <a:lnTo>
                    <a:pt x="1625" y="591"/>
                  </a:lnTo>
                  <a:lnTo>
                    <a:pt x="1625" y="589"/>
                  </a:lnTo>
                  <a:lnTo>
                    <a:pt x="1625" y="589"/>
                  </a:lnTo>
                  <a:lnTo>
                    <a:pt x="1625" y="589"/>
                  </a:lnTo>
                  <a:lnTo>
                    <a:pt x="1621" y="587"/>
                  </a:lnTo>
                  <a:lnTo>
                    <a:pt x="1621" y="587"/>
                  </a:lnTo>
                  <a:lnTo>
                    <a:pt x="1619" y="584"/>
                  </a:lnTo>
                  <a:lnTo>
                    <a:pt x="1619" y="582"/>
                  </a:lnTo>
                  <a:lnTo>
                    <a:pt x="1617" y="580"/>
                  </a:lnTo>
                  <a:lnTo>
                    <a:pt x="1615" y="580"/>
                  </a:lnTo>
                  <a:lnTo>
                    <a:pt x="1613" y="578"/>
                  </a:lnTo>
                  <a:lnTo>
                    <a:pt x="1610" y="578"/>
                  </a:lnTo>
                  <a:lnTo>
                    <a:pt x="1608" y="576"/>
                  </a:lnTo>
                  <a:lnTo>
                    <a:pt x="1606" y="576"/>
                  </a:lnTo>
                  <a:lnTo>
                    <a:pt x="1606" y="574"/>
                  </a:lnTo>
                  <a:lnTo>
                    <a:pt x="1604" y="574"/>
                  </a:lnTo>
                  <a:lnTo>
                    <a:pt x="1600" y="572"/>
                  </a:lnTo>
                  <a:lnTo>
                    <a:pt x="1600" y="572"/>
                  </a:lnTo>
                  <a:lnTo>
                    <a:pt x="1602" y="570"/>
                  </a:lnTo>
                  <a:lnTo>
                    <a:pt x="1602" y="570"/>
                  </a:lnTo>
                  <a:lnTo>
                    <a:pt x="1600" y="570"/>
                  </a:lnTo>
                  <a:lnTo>
                    <a:pt x="1598" y="570"/>
                  </a:lnTo>
                  <a:lnTo>
                    <a:pt x="1594" y="568"/>
                  </a:lnTo>
                  <a:lnTo>
                    <a:pt x="1594" y="568"/>
                  </a:lnTo>
                  <a:lnTo>
                    <a:pt x="1592" y="564"/>
                  </a:lnTo>
                  <a:lnTo>
                    <a:pt x="1590" y="562"/>
                  </a:lnTo>
                  <a:lnTo>
                    <a:pt x="1588" y="560"/>
                  </a:lnTo>
                  <a:lnTo>
                    <a:pt x="1586" y="560"/>
                  </a:lnTo>
                  <a:lnTo>
                    <a:pt x="1584" y="556"/>
                  </a:lnTo>
                  <a:lnTo>
                    <a:pt x="1584" y="556"/>
                  </a:lnTo>
                  <a:lnTo>
                    <a:pt x="1588" y="556"/>
                  </a:lnTo>
                  <a:lnTo>
                    <a:pt x="1590" y="556"/>
                  </a:lnTo>
                  <a:lnTo>
                    <a:pt x="1594" y="558"/>
                  </a:lnTo>
                  <a:lnTo>
                    <a:pt x="1600" y="562"/>
                  </a:lnTo>
                  <a:lnTo>
                    <a:pt x="1600" y="562"/>
                  </a:lnTo>
                  <a:lnTo>
                    <a:pt x="1600" y="562"/>
                  </a:lnTo>
                  <a:lnTo>
                    <a:pt x="1600" y="562"/>
                  </a:lnTo>
                  <a:lnTo>
                    <a:pt x="1600" y="558"/>
                  </a:lnTo>
                  <a:lnTo>
                    <a:pt x="1598" y="556"/>
                  </a:lnTo>
                  <a:lnTo>
                    <a:pt x="1598" y="556"/>
                  </a:lnTo>
                  <a:lnTo>
                    <a:pt x="1600" y="558"/>
                  </a:lnTo>
                  <a:lnTo>
                    <a:pt x="1604" y="562"/>
                  </a:lnTo>
                  <a:lnTo>
                    <a:pt x="1606" y="564"/>
                  </a:lnTo>
                  <a:lnTo>
                    <a:pt x="1608" y="566"/>
                  </a:lnTo>
                  <a:lnTo>
                    <a:pt x="1610" y="566"/>
                  </a:lnTo>
                  <a:lnTo>
                    <a:pt x="1610" y="566"/>
                  </a:lnTo>
                  <a:lnTo>
                    <a:pt x="1610" y="566"/>
                  </a:lnTo>
                  <a:lnTo>
                    <a:pt x="1613" y="568"/>
                  </a:lnTo>
                  <a:lnTo>
                    <a:pt x="1613" y="568"/>
                  </a:lnTo>
                  <a:lnTo>
                    <a:pt x="1615" y="568"/>
                  </a:lnTo>
                  <a:lnTo>
                    <a:pt x="1615" y="570"/>
                  </a:lnTo>
                  <a:lnTo>
                    <a:pt x="1615" y="570"/>
                  </a:lnTo>
                  <a:lnTo>
                    <a:pt x="1615" y="570"/>
                  </a:lnTo>
                  <a:lnTo>
                    <a:pt x="1617" y="570"/>
                  </a:lnTo>
                  <a:lnTo>
                    <a:pt x="1617" y="570"/>
                  </a:lnTo>
                  <a:lnTo>
                    <a:pt x="1617" y="566"/>
                  </a:lnTo>
                  <a:lnTo>
                    <a:pt x="1617" y="566"/>
                  </a:lnTo>
                  <a:lnTo>
                    <a:pt x="1617" y="568"/>
                  </a:lnTo>
                  <a:lnTo>
                    <a:pt x="1619" y="570"/>
                  </a:lnTo>
                  <a:lnTo>
                    <a:pt x="1619" y="572"/>
                  </a:lnTo>
                  <a:lnTo>
                    <a:pt x="1621" y="572"/>
                  </a:lnTo>
                  <a:lnTo>
                    <a:pt x="1623" y="572"/>
                  </a:lnTo>
                  <a:lnTo>
                    <a:pt x="1623" y="572"/>
                  </a:lnTo>
                  <a:lnTo>
                    <a:pt x="1623" y="570"/>
                  </a:lnTo>
                  <a:lnTo>
                    <a:pt x="1621" y="570"/>
                  </a:lnTo>
                  <a:lnTo>
                    <a:pt x="1623" y="570"/>
                  </a:lnTo>
                  <a:lnTo>
                    <a:pt x="1625" y="572"/>
                  </a:lnTo>
                  <a:lnTo>
                    <a:pt x="1627" y="572"/>
                  </a:lnTo>
                  <a:lnTo>
                    <a:pt x="1627" y="574"/>
                  </a:lnTo>
                  <a:lnTo>
                    <a:pt x="1627" y="574"/>
                  </a:lnTo>
                  <a:lnTo>
                    <a:pt x="1629" y="574"/>
                  </a:lnTo>
                  <a:lnTo>
                    <a:pt x="1629" y="574"/>
                  </a:lnTo>
                  <a:lnTo>
                    <a:pt x="1629" y="574"/>
                  </a:lnTo>
                  <a:lnTo>
                    <a:pt x="1631" y="574"/>
                  </a:lnTo>
                  <a:lnTo>
                    <a:pt x="1633" y="576"/>
                  </a:lnTo>
                  <a:lnTo>
                    <a:pt x="1635" y="578"/>
                  </a:lnTo>
                  <a:lnTo>
                    <a:pt x="1637" y="580"/>
                  </a:lnTo>
                  <a:lnTo>
                    <a:pt x="1637" y="580"/>
                  </a:lnTo>
                  <a:lnTo>
                    <a:pt x="1639" y="580"/>
                  </a:lnTo>
                  <a:lnTo>
                    <a:pt x="1639" y="578"/>
                  </a:lnTo>
                  <a:lnTo>
                    <a:pt x="1637" y="574"/>
                  </a:lnTo>
                  <a:lnTo>
                    <a:pt x="1637" y="574"/>
                  </a:lnTo>
                  <a:lnTo>
                    <a:pt x="1641" y="574"/>
                  </a:lnTo>
                  <a:lnTo>
                    <a:pt x="1641" y="574"/>
                  </a:lnTo>
                  <a:lnTo>
                    <a:pt x="1643" y="574"/>
                  </a:lnTo>
                  <a:lnTo>
                    <a:pt x="1643" y="574"/>
                  </a:lnTo>
                  <a:lnTo>
                    <a:pt x="1643" y="574"/>
                  </a:lnTo>
                  <a:lnTo>
                    <a:pt x="1643" y="574"/>
                  </a:lnTo>
                  <a:lnTo>
                    <a:pt x="1643" y="572"/>
                  </a:lnTo>
                  <a:lnTo>
                    <a:pt x="1641" y="570"/>
                  </a:lnTo>
                  <a:lnTo>
                    <a:pt x="1641" y="570"/>
                  </a:lnTo>
                  <a:lnTo>
                    <a:pt x="1639" y="566"/>
                  </a:lnTo>
                  <a:lnTo>
                    <a:pt x="1639" y="566"/>
                  </a:lnTo>
                  <a:lnTo>
                    <a:pt x="1639" y="566"/>
                  </a:lnTo>
                  <a:lnTo>
                    <a:pt x="1639" y="566"/>
                  </a:lnTo>
                  <a:lnTo>
                    <a:pt x="1639" y="564"/>
                  </a:lnTo>
                  <a:lnTo>
                    <a:pt x="1639" y="562"/>
                  </a:lnTo>
                  <a:lnTo>
                    <a:pt x="1639" y="558"/>
                  </a:lnTo>
                  <a:lnTo>
                    <a:pt x="1637" y="558"/>
                  </a:lnTo>
                  <a:lnTo>
                    <a:pt x="1637" y="556"/>
                  </a:lnTo>
                  <a:lnTo>
                    <a:pt x="1637" y="556"/>
                  </a:lnTo>
                  <a:lnTo>
                    <a:pt x="1639" y="558"/>
                  </a:lnTo>
                  <a:lnTo>
                    <a:pt x="1641" y="560"/>
                  </a:lnTo>
                  <a:lnTo>
                    <a:pt x="1641" y="560"/>
                  </a:lnTo>
                  <a:lnTo>
                    <a:pt x="1643" y="566"/>
                  </a:lnTo>
                  <a:lnTo>
                    <a:pt x="1643" y="566"/>
                  </a:lnTo>
                  <a:lnTo>
                    <a:pt x="1646" y="566"/>
                  </a:lnTo>
                  <a:lnTo>
                    <a:pt x="1646" y="566"/>
                  </a:lnTo>
                  <a:lnTo>
                    <a:pt x="1648" y="564"/>
                  </a:lnTo>
                  <a:lnTo>
                    <a:pt x="1648" y="562"/>
                  </a:lnTo>
                  <a:lnTo>
                    <a:pt x="1646" y="560"/>
                  </a:lnTo>
                  <a:lnTo>
                    <a:pt x="1646" y="558"/>
                  </a:lnTo>
                  <a:lnTo>
                    <a:pt x="1648" y="558"/>
                  </a:lnTo>
                  <a:lnTo>
                    <a:pt x="1648" y="556"/>
                  </a:lnTo>
                  <a:lnTo>
                    <a:pt x="1648" y="554"/>
                  </a:lnTo>
                  <a:lnTo>
                    <a:pt x="1646" y="551"/>
                  </a:lnTo>
                  <a:lnTo>
                    <a:pt x="1646" y="551"/>
                  </a:lnTo>
                  <a:lnTo>
                    <a:pt x="1643" y="551"/>
                  </a:lnTo>
                  <a:lnTo>
                    <a:pt x="1643" y="551"/>
                  </a:lnTo>
                  <a:lnTo>
                    <a:pt x="1643" y="551"/>
                  </a:lnTo>
                  <a:lnTo>
                    <a:pt x="1643" y="549"/>
                  </a:lnTo>
                  <a:lnTo>
                    <a:pt x="1643" y="549"/>
                  </a:lnTo>
                  <a:lnTo>
                    <a:pt x="1643" y="549"/>
                  </a:lnTo>
                  <a:lnTo>
                    <a:pt x="1641" y="549"/>
                  </a:lnTo>
                  <a:lnTo>
                    <a:pt x="1639" y="549"/>
                  </a:lnTo>
                  <a:lnTo>
                    <a:pt x="1637" y="549"/>
                  </a:lnTo>
                  <a:lnTo>
                    <a:pt x="1637" y="549"/>
                  </a:lnTo>
                  <a:lnTo>
                    <a:pt x="1637" y="547"/>
                  </a:lnTo>
                  <a:lnTo>
                    <a:pt x="1637" y="547"/>
                  </a:lnTo>
                  <a:lnTo>
                    <a:pt x="1637" y="547"/>
                  </a:lnTo>
                  <a:lnTo>
                    <a:pt x="1635" y="545"/>
                  </a:lnTo>
                  <a:lnTo>
                    <a:pt x="1635" y="545"/>
                  </a:lnTo>
                  <a:lnTo>
                    <a:pt x="1631" y="543"/>
                  </a:lnTo>
                  <a:lnTo>
                    <a:pt x="1631" y="543"/>
                  </a:lnTo>
                  <a:lnTo>
                    <a:pt x="1633" y="543"/>
                  </a:lnTo>
                  <a:lnTo>
                    <a:pt x="1635" y="543"/>
                  </a:lnTo>
                  <a:lnTo>
                    <a:pt x="1637" y="543"/>
                  </a:lnTo>
                  <a:lnTo>
                    <a:pt x="1639" y="539"/>
                  </a:lnTo>
                  <a:lnTo>
                    <a:pt x="1637" y="539"/>
                  </a:lnTo>
                  <a:lnTo>
                    <a:pt x="1637" y="539"/>
                  </a:lnTo>
                  <a:lnTo>
                    <a:pt x="1633" y="539"/>
                  </a:lnTo>
                  <a:lnTo>
                    <a:pt x="1631" y="539"/>
                  </a:lnTo>
                  <a:lnTo>
                    <a:pt x="1633" y="537"/>
                  </a:lnTo>
                  <a:lnTo>
                    <a:pt x="1635" y="537"/>
                  </a:lnTo>
                  <a:lnTo>
                    <a:pt x="1635" y="535"/>
                  </a:lnTo>
                  <a:lnTo>
                    <a:pt x="1633" y="533"/>
                  </a:lnTo>
                  <a:lnTo>
                    <a:pt x="1633" y="533"/>
                  </a:lnTo>
                  <a:lnTo>
                    <a:pt x="1631" y="533"/>
                  </a:lnTo>
                  <a:lnTo>
                    <a:pt x="1631" y="533"/>
                  </a:lnTo>
                  <a:lnTo>
                    <a:pt x="1629" y="531"/>
                  </a:lnTo>
                  <a:lnTo>
                    <a:pt x="1627" y="529"/>
                  </a:lnTo>
                  <a:lnTo>
                    <a:pt x="1625" y="531"/>
                  </a:lnTo>
                  <a:lnTo>
                    <a:pt x="1623" y="531"/>
                  </a:lnTo>
                  <a:lnTo>
                    <a:pt x="1623" y="533"/>
                  </a:lnTo>
                  <a:lnTo>
                    <a:pt x="1623" y="533"/>
                  </a:lnTo>
                  <a:lnTo>
                    <a:pt x="1621" y="533"/>
                  </a:lnTo>
                  <a:lnTo>
                    <a:pt x="1621" y="533"/>
                  </a:lnTo>
                  <a:lnTo>
                    <a:pt x="1623" y="531"/>
                  </a:lnTo>
                  <a:lnTo>
                    <a:pt x="1623" y="531"/>
                  </a:lnTo>
                  <a:lnTo>
                    <a:pt x="1621" y="529"/>
                  </a:lnTo>
                  <a:lnTo>
                    <a:pt x="1619" y="527"/>
                  </a:lnTo>
                  <a:lnTo>
                    <a:pt x="1617" y="527"/>
                  </a:lnTo>
                  <a:lnTo>
                    <a:pt x="1617" y="527"/>
                  </a:lnTo>
                  <a:lnTo>
                    <a:pt x="1617" y="531"/>
                  </a:lnTo>
                  <a:lnTo>
                    <a:pt x="1615" y="531"/>
                  </a:lnTo>
                  <a:lnTo>
                    <a:pt x="1615" y="531"/>
                  </a:lnTo>
                  <a:lnTo>
                    <a:pt x="1615" y="527"/>
                  </a:lnTo>
                  <a:lnTo>
                    <a:pt x="1613" y="525"/>
                  </a:lnTo>
                  <a:lnTo>
                    <a:pt x="1613" y="525"/>
                  </a:lnTo>
                  <a:lnTo>
                    <a:pt x="1613" y="525"/>
                  </a:lnTo>
                  <a:lnTo>
                    <a:pt x="1613" y="525"/>
                  </a:lnTo>
                  <a:lnTo>
                    <a:pt x="1613" y="525"/>
                  </a:lnTo>
                  <a:lnTo>
                    <a:pt x="1610" y="525"/>
                  </a:lnTo>
                  <a:lnTo>
                    <a:pt x="1610" y="525"/>
                  </a:lnTo>
                  <a:lnTo>
                    <a:pt x="1610" y="523"/>
                  </a:lnTo>
                  <a:lnTo>
                    <a:pt x="1610" y="520"/>
                  </a:lnTo>
                  <a:lnTo>
                    <a:pt x="1608" y="520"/>
                  </a:lnTo>
                  <a:lnTo>
                    <a:pt x="1606" y="518"/>
                  </a:lnTo>
                  <a:lnTo>
                    <a:pt x="1606" y="518"/>
                  </a:lnTo>
                  <a:lnTo>
                    <a:pt x="1606" y="518"/>
                  </a:lnTo>
                  <a:lnTo>
                    <a:pt x="1608" y="516"/>
                  </a:lnTo>
                  <a:lnTo>
                    <a:pt x="1608" y="516"/>
                  </a:lnTo>
                  <a:lnTo>
                    <a:pt x="1606" y="516"/>
                  </a:lnTo>
                  <a:lnTo>
                    <a:pt x="1606" y="514"/>
                  </a:lnTo>
                  <a:lnTo>
                    <a:pt x="1606" y="514"/>
                  </a:lnTo>
                  <a:lnTo>
                    <a:pt x="1606" y="514"/>
                  </a:lnTo>
                  <a:lnTo>
                    <a:pt x="1604" y="512"/>
                  </a:lnTo>
                  <a:lnTo>
                    <a:pt x="1602" y="512"/>
                  </a:lnTo>
                  <a:lnTo>
                    <a:pt x="1602" y="512"/>
                  </a:lnTo>
                  <a:lnTo>
                    <a:pt x="1600" y="512"/>
                  </a:lnTo>
                  <a:lnTo>
                    <a:pt x="1598" y="514"/>
                  </a:lnTo>
                  <a:lnTo>
                    <a:pt x="1598" y="514"/>
                  </a:lnTo>
                  <a:lnTo>
                    <a:pt x="1598" y="514"/>
                  </a:lnTo>
                  <a:lnTo>
                    <a:pt x="1598" y="512"/>
                  </a:lnTo>
                  <a:lnTo>
                    <a:pt x="1598" y="508"/>
                  </a:lnTo>
                  <a:lnTo>
                    <a:pt x="1598" y="508"/>
                  </a:lnTo>
                  <a:lnTo>
                    <a:pt x="1598" y="508"/>
                  </a:lnTo>
                  <a:lnTo>
                    <a:pt x="1596" y="508"/>
                  </a:lnTo>
                  <a:lnTo>
                    <a:pt x="1594" y="506"/>
                  </a:lnTo>
                  <a:lnTo>
                    <a:pt x="1594" y="506"/>
                  </a:lnTo>
                  <a:lnTo>
                    <a:pt x="1594" y="504"/>
                  </a:lnTo>
                  <a:lnTo>
                    <a:pt x="1594" y="502"/>
                  </a:lnTo>
                  <a:lnTo>
                    <a:pt x="1594" y="502"/>
                  </a:lnTo>
                  <a:lnTo>
                    <a:pt x="1590" y="500"/>
                  </a:lnTo>
                  <a:lnTo>
                    <a:pt x="1588" y="500"/>
                  </a:lnTo>
                  <a:lnTo>
                    <a:pt x="1586" y="500"/>
                  </a:lnTo>
                  <a:lnTo>
                    <a:pt x="1586" y="500"/>
                  </a:lnTo>
                  <a:lnTo>
                    <a:pt x="1590" y="498"/>
                  </a:lnTo>
                  <a:lnTo>
                    <a:pt x="1590" y="498"/>
                  </a:lnTo>
                  <a:lnTo>
                    <a:pt x="1594" y="500"/>
                  </a:lnTo>
                  <a:lnTo>
                    <a:pt x="1598" y="504"/>
                  </a:lnTo>
                  <a:lnTo>
                    <a:pt x="1600" y="504"/>
                  </a:lnTo>
                  <a:lnTo>
                    <a:pt x="1602" y="506"/>
                  </a:lnTo>
                  <a:lnTo>
                    <a:pt x="1606" y="506"/>
                  </a:lnTo>
                  <a:lnTo>
                    <a:pt x="1606" y="506"/>
                  </a:lnTo>
                  <a:lnTo>
                    <a:pt x="1606" y="504"/>
                  </a:lnTo>
                  <a:lnTo>
                    <a:pt x="1608" y="504"/>
                  </a:lnTo>
                  <a:lnTo>
                    <a:pt x="1606" y="502"/>
                  </a:lnTo>
                  <a:lnTo>
                    <a:pt x="1604" y="500"/>
                  </a:lnTo>
                  <a:lnTo>
                    <a:pt x="1600" y="498"/>
                  </a:lnTo>
                  <a:lnTo>
                    <a:pt x="1600" y="496"/>
                  </a:lnTo>
                  <a:lnTo>
                    <a:pt x="1598" y="494"/>
                  </a:lnTo>
                  <a:lnTo>
                    <a:pt x="1598" y="492"/>
                  </a:lnTo>
                  <a:lnTo>
                    <a:pt x="1600" y="494"/>
                  </a:lnTo>
                  <a:lnTo>
                    <a:pt x="1602" y="494"/>
                  </a:lnTo>
                  <a:lnTo>
                    <a:pt x="1606" y="496"/>
                  </a:lnTo>
                  <a:lnTo>
                    <a:pt x="1606" y="496"/>
                  </a:lnTo>
                  <a:lnTo>
                    <a:pt x="1608" y="496"/>
                  </a:lnTo>
                  <a:lnTo>
                    <a:pt x="1608" y="496"/>
                  </a:lnTo>
                  <a:lnTo>
                    <a:pt x="1608" y="494"/>
                  </a:lnTo>
                  <a:lnTo>
                    <a:pt x="1606" y="492"/>
                  </a:lnTo>
                  <a:lnTo>
                    <a:pt x="1606" y="490"/>
                  </a:lnTo>
                  <a:lnTo>
                    <a:pt x="1608" y="492"/>
                  </a:lnTo>
                  <a:lnTo>
                    <a:pt x="1610" y="492"/>
                  </a:lnTo>
                  <a:lnTo>
                    <a:pt x="1613" y="492"/>
                  </a:lnTo>
                  <a:lnTo>
                    <a:pt x="1613" y="490"/>
                  </a:lnTo>
                  <a:lnTo>
                    <a:pt x="1610" y="490"/>
                  </a:lnTo>
                  <a:lnTo>
                    <a:pt x="1610" y="490"/>
                  </a:lnTo>
                  <a:lnTo>
                    <a:pt x="1613" y="490"/>
                  </a:lnTo>
                  <a:lnTo>
                    <a:pt x="1615" y="492"/>
                  </a:lnTo>
                  <a:lnTo>
                    <a:pt x="1615" y="492"/>
                  </a:lnTo>
                  <a:lnTo>
                    <a:pt x="1615" y="494"/>
                  </a:lnTo>
                  <a:lnTo>
                    <a:pt x="1619" y="498"/>
                  </a:lnTo>
                  <a:lnTo>
                    <a:pt x="1619" y="498"/>
                  </a:lnTo>
                  <a:lnTo>
                    <a:pt x="1621" y="498"/>
                  </a:lnTo>
                  <a:lnTo>
                    <a:pt x="1623" y="500"/>
                  </a:lnTo>
                  <a:lnTo>
                    <a:pt x="1625" y="500"/>
                  </a:lnTo>
                  <a:lnTo>
                    <a:pt x="1627" y="500"/>
                  </a:lnTo>
                  <a:lnTo>
                    <a:pt x="1627" y="500"/>
                  </a:lnTo>
                  <a:lnTo>
                    <a:pt x="1629" y="500"/>
                  </a:lnTo>
                  <a:lnTo>
                    <a:pt x="1629" y="500"/>
                  </a:lnTo>
                  <a:lnTo>
                    <a:pt x="1631" y="500"/>
                  </a:lnTo>
                  <a:lnTo>
                    <a:pt x="1627" y="502"/>
                  </a:lnTo>
                  <a:lnTo>
                    <a:pt x="1627" y="504"/>
                  </a:lnTo>
                  <a:lnTo>
                    <a:pt x="1627" y="504"/>
                  </a:lnTo>
                  <a:lnTo>
                    <a:pt x="1631" y="504"/>
                  </a:lnTo>
                  <a:lnTo>
                    <a:pt x="1633" y="504"/>
                  </a:lnTo>
                  <a:lnTo>
                    <a:pt x="1635" y="504"/>
                  </a:lnTo>
                  <a:lnTo>
                    <a:pt x="1639" y="502"/>
                  </a:lnTo>
                  <a:lnTo>
                    <a:pt x="1641" y="500"/>
                  </a:lnTo>
                  <a:lnTo>
                    <a:pt x="1643" y="498"/>
                  </a:lnTo>
                  <a:lnTo>
                    <a:pt x="1646" y="498"/>
                  </a:lnTo>
                  <a:lnTo>
                    <a:pt x="1648" y="496"/>
                  </a:lnTo>
                  <a:lnTo>
                    <a:pt x="1648" y="496"/>
                  </a:lnTo>
                  <a:lnTo>
                    <a:pt x="1646" y="498"/>
                  </a:lnTo>
                  <a:lnTo>
                    <a:pt x="1643" y="500"/>
                  </a:lnTo>
                  <a:lnTo>
                    <a:pt x="1643" y="502"/>
                  </a:lnTo>
                  <a:lnTo>
                    <a:pt x="1641" y="504"/>
                  </a:lnTo>
                  <a:lnTo>
                    <a:pt x="1639" y="504"/>
                  </a:lnTo>
                  <a:lnTo>
                    <a:pt x="1637" y="506"/>
                  </a:lnTo>
                  <a:lnTo>
                    <a:pt x="1635" y="506"/>
                  </a:lnTo>
                  <a:lnTo>
                    <a:pt x="1635" y="508"/>
                  </a:lnTo>
                  <a:lnTo>
                    <a:pt x="1633" y="510"/>
                  </a:lnTo>
                  <a:lnTo>
                    <a:pt x="1635" y="510"/>
                  </a:lnTo>
                  <a:lnTo>
                    <a:pt x="1635" y="510"/>
                  </a:lnTo>
                  <a:lnTo>
                    <a:pt x="1635" y="512"/>
                  </a:lnTo>
                  <a:lnTo>
                    <a:pt x="1637" y="514"/>
                  </a:lnTo>
                  <a:lnTo>
                    <a:pt x="1637" y="514"/>
                  </a:lnTo>
                  <a:lnTo>
                    <a:pt x="1637" y="516"/>
                  </a:lnTo>
                  <a:lnTo>
                    <a:pt x="1639" y="518"/>
                  </a:lnTo>
                  <a:lnTo>
                    <a:pt x="1641" y="520"/>
                  </a:lnTo>
                  <a:lnTo>
                    <a:pt x="1643" y="523"/>
                  </a:lnTo>
                  <a:lnTo>
                    <a:pt x="1643" y="523"/>
                  </a:lnTo>
                  <a:lnTo>
                    <a:pt x="1646" y="525"/>
                  </a:lnTo>
                  <a:lnTo>
                    <a:pt x="1648" y="520"/>
                  </a:lnTo>
                  <a:lnTo>
                    <a:pt x="1650" y="518"/>
                  </a:lnTo>
                  <a:lnTo>
                    <a:pt x="1650" y="518"/>
                  </a:lnTo>
                  <a:lnTo>
                    <a:pt x="1650" y="518"/>
                  </a:lnTo>
                  <a:lnTo>
                    <a:pt x="1650" y="520"/>
                  </a:lnTo>
                  <a:lnTo>
                    <a:pt x="1650" y="523"/>
                  </a:lnTo>
                  <a:lnTo>
                    <a:pt x="1650" y="525"/>
                  </a:lnTo>
                  <a:lnTo>
                    <a:pt x="1652" y="525"/>
                  </a:lnTo>
                  <a:lnTo>
                    <a:pt x="1654" y="525"/>
                  </a:lnTo>
                  <a:lnTo>
                    <a:pt x="1654" y="525"/>
                  </a:lnTo>
                  <a:lnTo>
                    <a:pt x="1656" y="525"/>
                  </a:lnTo>
                  <a:lnTo>
                    <a:pt x="1656" y="525"/>
                  </a:lnTo>
                  <a:lnTo>
                    <a:pt x="1656" y="527"/>
                  </a:lnTo>
                  <a:lnTo>
                    <a:pt x="1658" y="527"/>
                  </a:lnTo>
                  <a:lnTo>
                    <a:pt x="1660" y="529"/>
                  </a:lnTo>
                  <a:lnTo>
                    <a:pt x="1662" y="527"/>
                  </a:lnTo>
                  <a:lnTo>
                    <a:pt x="1662" y="525"/>
                  </a:lnTo>
                  <a:lnTo>
                    <a:pt x="1662" y="523"/>
                  </a:lnTo>
                  <a:lnTo>
                    <a:pt x="1662" y="514"/>
                  </a:lnTo>
                  <a:lnTo>
                    <a:pt x="1664" y="512"/>
                  </a:lnTo>
                  <a:lnTo>
                    <a:pt x="1660" y="512"/>
                  </a:lnTo>
                  <a:lnTo>
                    <a:pt x="1658" y="512"/>
                  </a:lnTo>
                  <a:lnTo>
                    <a:pt x="1658" y="512"/>
                  </a:lnTo>
                  <a:lnTo>
                    <a:pt x="1662" y="510"/>
                  </a:lnTo>
                  <a:lnTo>
                    <a:pt x="1662" y="510"/>
                  </a:lnTo>
                  <a:lnTo>
                    <a:pt x="1662" y="508"/>
                  </a:lnTo>
                  <a:lnTo>
                    <a:pt x="1662" y="508"/>
                  </a:lnTo>
                  <a:lnTo>
                    <a:pt x="1664" y="510"/>
                  </a:lnTo>
                  <a:lnTo>
                    <a:pt x="1666" y="512"/>
                  </a:lnTo>
                  <a:lnTo>
                    <a:pt x="1668" y="512"/>
                  </a:lnTo>
                  <a:lnTo>
                    <a:pt x="1670" y="512"/>
                  </a:lnTo>
                  <a:lnTo>
                    <a:pt x="1672" y="512"/>
                  </a:lnTo>
                  <a:lnTo>
                    <a:pt x="1672" y="512"/>
                  </a:lnTo>
                  <a:lnTo>
                    <a:pt x="1674" y="510"/>
                  </a:lnTo>
                  <a:lnTo>
                    <a:pt x="1676" y="508"/>
                  </a:lnTo>
                  <a:lnTo>
                    <a:pt x="1676" y="508"/>
                  </a:lnTo>
                  <a:lnTo>
                    <a:pt x="1676" y="506"/>
                  </a:lnTo>
                  <a:lnTo>
                    <a:pt x="1676" y="506"/>
                  </a:lnTo>
                  <a:lnTo>
                    <a:pt x="1676" y="506"/>
                  </a:lnTo>
                  <a:lnTo>
                    <a:pt x="1674" y="504"/>
                  </a:lnTo>
                  <a:lnTo>
                    <a:pt x="1674" y="504"/>
                  </a:lnTo>
                  <a:lnTo>
                    <a:pt x="1674" y="504"/>
                  </a:lnTo>
                  <a:lnTo>
                    <a:pt x="1676" y="504"/>
                  </a:lnTo>
                  <a:lnTo>
                    <a:pt x="1679" y="504"/>
                  </a:lnTo>
                  <a:lnTo>
                    <a:pt x="1681" y="504"/>
                  </a:lnTo>
                  <a:lnTo>
                    <a:pt x="1683" y="504"/>
                  </a:lnTo>
                  <a:lnTo>
                    <a:pt x="1683" y="502"/>
                  </a:lnTo>
                  <a:lnTo>
                    <a:pt x="1679" y="500"/>
                  </a:lnTo>
                  <a:lnTo>
                    <a:pt x="1674" y="498"/>
                  </a:lnTo>
                  <a:lnTo>
                    <a:pt x="1674" y="498"/>
                  </a:lnTo>
                  <a:lnTo>
                    <a:pt x="1676" y="498"/>
                  </a:lnTo>
                  <a:lnTo>
                    <a:pt x="1676" y="496"/>
                  </a:lnTo>
                  <a:lnTo>
                    <a:pt x="1674" y="494"/>
                  </a:lnTo>
                  <a:lnTo>
                    <a:pt x="1674" y="494"/>
                  </a:lnTo>
                  <a:lnTo>
                    <a:pt x="1676" y="494"/>
                  </a:lnTo>
                  <a:lnTo>
                    <a:pt x="1679" y="494"/>
                  </a:lnTo>
                  <a:lnTo>
                    <a:pt x="1681" y="496"/>
                  </a:lnTo>
                  <a:lnTo>
                    <a:pt x="1683" y="496"/>
                  </a:lnTo>
                  <a:lnTo>
                    <a:pt x="1685" y="496"/>
                  </a:lnTo>
                  <a:lnTo>
                    <a:pt x="1689" y="496"/>
                  </a:lnTo>
                  <a:lnTo>
                    <a:pt x="1689" y="494"/>
                  </a:lnTo>
                  <a:lnTo>
                    <a:pt x="1687" y="492"/>
                  </a:lnTo>
                  <a:lnTo>
                    <a:pt x="1681" y="490"/>
                  </a:lnTo>
                  <a:lnTo>
                    <a:pt x="1681" y="490"/>
                  </a:lnTo>
                  <a:lnTo>
                    <a:pt x="1683" y="487"/>
                  </a:lnTo>
                  <a:lnTo>
                    <a:pt x="1685" y="487"/>
                  </a:lnTo>
                  <a:lnTo>
                    <a:pt x="1687" y="490"/>
                  </a:lnTo>
                  <a:lnTo>
                    <a:pt x="1689" y="492"/>
                  </a:lnTo>
                  <a:lnTo>
                    <a:pt x="1691" y="490"/>
                  </a:lnTo>
                  <a:lnTo>
                    <a:pt x="1693" y="490"/>
                  </a:lnTo>
                  <a:lnTo>
                    <a:pt x="1693" y="490"/>
                  </a:lnTo>
                  <a:lnTo>
                    <a:pt x="1691" y="487"/>
                  </a:lnTo>
                  <a:lnTo>
                    <a:pt x="1689" y="485"/>
                  </a:lnTo>
                  <a:lnTo>
                    <a:pt x="1685" y="481"/>
                  </a:lnTo>
                  <a:lnTo>
                    <a:pt x="1683" y="479"/>
                  </a:lnTo>
                  <a:lnTo>
                    <a:pt x="1681" y="479"/>
                  </a:lnTo>
                  <a:lnTo>
                    <a:pt x="1676" y="483"/>
                  </a:lnTo>
                  <a:lnTo>
                    <a:pt x="1674" y="481"/>
                  </a:lnTo>
                  <a:lnTo>
                    <a:pt x="1672" y="481"/>
                  </a:lnTo>
                  <a:lnTo>
                    <a:pt x="1672" y="481"/>
                  </a:lnTo>
                  <a:lnTo>
                    <a:pt x="1670" y="481"/>
                  </a:lnTo>
                  <a:lnTo>
                    <a:pt x="1668" y="481"/>
                  </a:lnTo>
                  <a:lnTo>
                    <a:pt x="1666" y="481"/>
                  </a:lnTo>
                  <a:lnTo>
                    <a:pt x="1662" y="483"/>
                  </a:lnTo>
                  <a:lnTo>
                    <a:pt x="1660" y="485"/>
                  </a:lnTo>
                  <a:lnTo>
                    <a:pt x="1658" y="485"/>
                  </a:lnTo>
                  <a:lnTo>
                    <a:pt x="1664" y="481"/>
                  </a:lnTo>
                  <a:lnTo>
                    <a:pt x="1664" y="479"/>
                  </a:lnTo>
                  <a:lnTo>
                    <a:pt x="1664" y="479"/>
                  </a:lnTo>
                  <a:lnTo>
                    <a:pt x="1666" y="477"/>
                  </a:lnTo>
                  <a:lnTo>
                    <a:pt x="1666" y="475"/>
                  </a:lnTo>
                  <a:lnTo>
                    <a:pt x="1668" y="475"/>
                  </a:lnTo>
                  <a:lnTo>
                    <a:pt x="1664" y="473"/>
                  </a:lnTo>
                  <a:lnTo>
                    <a:pt x="1660" y="471"/>
                  </a:lnTo>
                  <a:lnTo>
                    <a:pt x="1660" y="471"/>
                  </a:lnTo>
                  <a:lnTo>
                    <a:pt x="1658" y="473"/>
                  </a:lnTo>
                  <a:lnTo>
                    <a:pt x="1656" y="473"/>
                  </a:lnTo>
                  <a:lnTo>
                    <a:pt x="1656" y="473"/>
                  </a:lnTo>
                  <a:lnTo>
                    <a:pt x="1654" y="473"/>
                  </a:lnTo>
                  <a:lnTo>
                    <a:pt x="1652" y="475"/>
                  </a:lnTo>
                  <a:lnTo>
                    <a:pt x="1650" y="475"/>
                  </a:lnTo>
                  <a:lnTo>
                    <a:pt x="1648" y="473"/>
                  </a:lnTo>
                  <a:lnTo>
                    <a:pt x="1646" y="473"/>
                  </a:lnTo>
                  <a:lnTo>
                    <a:pt x="1643" y="471"/>
                  </a:lnTo>
                  <a:lnTo>
                    <a:pt x="1646" y="471"/>
                  </a:lnTo>
                  <a:lnTo>
                    <a:pt x="1648" y="473"/>
                  </a:lnTo>
                  <a:lnTo>
                    <a:pt x="1650" y="471"/>
                  </a:lnTo>
                  <a:lnTo>
                    <a:pt x="1654" y="471"/>
                  </a:lnTo>
                  <a:lnTo>
                    <a:pt x="1654" y="469"/>
                  </a:lnTo>
                  <a:lnTo>
                    <a:pt x="1656" y="467"/>
                  </a:lnTo>
                  <a:lnTo>
                    <a:pt x="1654" y="465"/>
                  </a:lnTo>
                  <a:lnTo>
                    <a:pt x="1652" y="465"/>
                  </a:lnTo>
                  <a:lnTo>
                    <a:pt x="1648" y="463"/>
                  </a:lnTo>
                  <a:lnTo>
                    <a:pt x="1646" y="461"/>
                  </a:lnTo>
                  <a:lnTo>
                    <a:pt x="1646" y="461"/>
                  </a:lnTo>
                  <a:lnTo>
                    <a:pt x="1641" y="461"/>
                  </a:lnTo>
                  <a:lnTo>
                    <a:pt x="1639" y="461"/>
                  </a:lnTo>
                  <a:lnTo>
                    <a:pt x="1639" y="461"/>
                  </a:lnTo>
                  <a:lnTo>
                    <a:pt x="1639" y="459"/>
                  </a:lnTo>
                  <a:lnTo>
                    <a:pt x="1639" y="459"/>
                  </a:lnTo>
                  <a:lnTo>
                    <a:pt x="1641" y="456"/>
                  </a:lnTo>
                  <a:lnTo>
                    <a:pt x="1641" y="456"/>
                  </a:lnTo>
                  <a:lnTo>
                    <a:pt x="1641" y="454"/>
                  </a:lnTo>
                  <a:lnTo>
                    <a:pt x="1639" y="454"/>
                  </a:lnTo>
                  <a:lnTo>
                    <a:pt x="1639" y="456"/>
                  </a:lnTo>
                  <a:lnTo>
                    <a:pt x="1635" y="459"/>
                  </a:lnTo>
                  <a:lnTo>
                    <a:pt x="1633" y="459"/>
                  </a:lnTo>
                  <a:lnTo>
                    <a:pt x="1633" y="461"/>
                  </a:lnTo>
                  <a:lnTo>
                    <a:pt x="1633" y="463"/>
                  </a:lnTo>
                  <a:lnTo>
                    <a:pt x="1633" y="465"/>
                  </a:lnTo>
                  <a:lnTo>
                    <a:pt x="1633" y="465"/>
                  </a:lnTo>
                  <a:lnTo>
                    <a:pt x="1631" y="463"/>
                  </a:lnTo>
                  <a:lnTo>
                    <a:pt x="1631" y="461"/>
                  </a:lnTo>
                  <a:lnTo>
                    <a:pt x="1633" y="459"/>
                  </a:lnTo>
                  <a:lnTo>
                    <a:pt x="1633" y="456"/>
                  </a:lnTo>
                  <a:lnTo>
                    <a:pt x="1631" y="456"/>
                  </a:lnTo>
                  <a:lnTo>
                    <a:pt x="1629" y="456"/>
                  </a:lnTo>
                  <a:lnTo>
                    <a:pt x="1629" y="456"/>
                  </a:lnTo>
                  <a:lnTo>
                    <a:pt x="1627" y="459"/>
                  </a:lnTo>
                  <a:lnTo>
                    <a:pt x="1625" y="456"/>
                  </a:lnTo>
                  <a:lnTo>
                    <a:pt x="1627" y="454"/>
                  </a:lnTo>
                  <a:lnTo>
                    <a:pt x="1627" y="454"/>
                  </a:lnTo>
                  <a:lnTo>
                    <a:pt x="1625" y="454"/>
                  </a:lnTo>
                  <a:lnTo>
                    <a:pt x="1623" y="456"/>
                  </a:lnTo>
                  <a:lnTo>
                    <a:pt x="1621" y="461"/>
                  </a:lnTo>
                  <a:lnTo>
                    <a:pt x="1621" y="461"/>
                  </a:lnTo>
                  <a:lnTo>
                    <a:pt x="1619" y="461"/>
                  </a:lnTo>
                  <a:lnTo>
                    <a:pt x="1619" y="461"/>
                  </a:lnTo>
                  <a:lnTo>
                    <a:pt x="1619" y="459"/>
                  </a:lnTo>
                  <a:lnTo>
                    <a:pt x="1619" y="459"/>
                  </a:lnTo>
                  <a:lnTo>
                    <a:pt x="1621" y="454"/>
                  </a:lnTo>
                  <a:lnTo>
                    <a:pt x="1621" y="452"/>
                  </a:lnTo>
                  <a:lnTo>
                    <a:pt x="1623" y="450"/>
                  </a:lnTo>
                  <a:lnTo>
                    <a:pt x="1619" y="450"/>
                  </a:lnTo>
                  <a:lnTo>
                    <a:pt x="1617" y="450"/>
                  </a:lnTo>
                  <a:lnTo>
                    <a:pt x="1617" y="454"/>
                  </a:lnTo>
                  <a:lnTo>
                    <a:pt x="1617" y="454"/>
                  </a:lnTo>
                  <a:lnTo>
                    <a:pt x="1615" y="456"/>
                  </a:lnTo>
                  <a:lnTo>
                    <a:pt x="1615" y="452"/>
                  </a:lnTo>
                  <a:lnTo>
                    <a:pt x="1615" y="452"/>
                  </a:lnTo>
                  <a:lnTo>
                    <a:pt x="1613" y="454"/>
                  </a:lnTo>
                  <a:lnTo>
                    <a:pt x="1613" y="454"/>
                  </a:lnTo>
                  <a:lnTo>
                    <a:pt x="1613" y="454"/>
                  </a:lnTo>
                  <a:lnTo>
                    <a:pt x="1613" y="452"/>
                  </a:lnTo>
                  <a:lnTo>
                    <a:pt x="1613" y="450"/>
                  </a:lnTo>
                  <a:lnTo>
                    <a:pt x="1613" y="450"/>
                  </a:lnTo>
                  <a:lnTo>
                    <a:pt x="1610" y="448"/>
                  </a:lnTo>
                  <a:lnTo>
                    <a:pt x="1610" y="446"/>
                  </a:lnTo>
                  <a:lnTo>
                    <a:pt x="1615" y="446"/>
                  </a:lnTo>
                  <a:lnTo>
                    <a:pt x="1615" y="446"/>
                  </a:lnTo>
                  <a:lnTo>
                    <a:pt x="1615" y="444"/>
                  </a:lnTo>
                  <a:lnTo>
                    <a:pt x="1613" y="444"/>
                  </a:lnTo>
                  <a:lnTo>
                    <a:pt x="1610" y="444"/>
                  </a:lnTo>
                  <a:lnTo>
                    <a:pt x="1608" y="444"/>
                  </a:lnTo>
                  <a:lnTo>
                    <a:pt x="1606" y="444"/>
                  </a:lnTo>
                  <a:lnTo>
                    <a:pt x="1604" y="444"/>
                  </a:lnTo>
                  <a:lnTo>
                    <a:pt x="1602" y="444"/>
                  </a:lnTo>
                  <a:lnTo>
                    <a:pt x="1602" y="442"/>
                  </a:lnTo>
                  <a:lnTo>
                    <a:pt x="1600" y="442"/>
                  </a:lnTo>
                  <a:lnTo>
                    <a:pt x="1598" y="444"/>
                  </a:lnTo>
                  <a:lnTo>
                    <a:pt x="1598" y="444"/>
                  </a:lnTo>
                  <a:lnTo>
                    <a:pt x="1596" y="442"/>
                  </a:lnTo>
                  <a:lnTo>
                    <a:pt x="1594" y="442"/>
                  </a:lnTo>
                  <a:lnTo>
                    <a:pt x="1594" y="440"/>
                  </a:lnTo>
                  <a:lnTo>
                    <a:pt x="1594" y="440"/>
                  </a:lnTo>
                  <a:lnTo>
                    <a:pt x="1592" y="438"/>
                  </a:lnTo>
                  <a:lnTo>
                    <a:pt x="1590" y="438"/>
                  </a:lnTo>
                  <a:lnTo>
                    <a:pt x="1584" y="438"/>
                  </a:lnTo>
                  <a:lnTo>
                    <a:pt x="1577" y="436"/>
                  </a:lnTo>
                  <a:lnTo>
                    <a:pt x="1577" y="436"/>
                  </a:lnTo>
                  <a:lnTo>
                    <a:pt x="1577" y="434"/>
                  </a:lnTo>
                  <a:lnTo>
                    <a:pt x="1580" y="436"/>
                  </a:lnTo>
                  <a:lnTo>
                    <a:pt x="1586" y="436"/>
                  </a:lnTo>
                  <a:lnTo>
                    <a:pt x="1588" y="436"/>
                  </a:lnTo>
                  <a:lnTo>
                    <a:pt x="1590" y="436"/>
                  </a:lnTo>
                  <a:lnTo>
                    <a:pt x="1590" y="436"/>
                  </a:lnTo>
                  <a:lnTo>
                    <a:pt x="1592" y="436"/>
                  </a:lnTo>
                  <a:lnTo>
                    <a:pt x="1596" y="436"/>
                  </a:lnTo>
                  <a:lnTo>
                    <a:pt x="1598" y="438"/>
                  </a:lnTo>
                  <a:lnTo>
                    <a:pt x="1600" y="436"/>
                  </a:lnTo>
                  <a:lnTo>
                    <a:pt x="1600" y="434"/>
                  </a:lnTo>
                  <a:lnTo>
                    <a:pt x="1600" y="432"/>
                  </a:lnTo>
                  <a:lnTo>
                    <a:pt x="1600" y="430"/>
                  </a:lnTo>
                  <a:lnTo>
                    <a:pt x="1596" y="428"/>
                  </a:lnTo>
                  <a:lnTo>
                    <a:pt x="1592" y="428"/>
                  </a:lnTo>
                  <a:lnTo>
                    <a:pt x="1592" y="428"/>
                  </a:lnTo>
                  <a:lnTo>
                    <a:pt x="1584" y="430"/>
                  </a:lnTo>
                  <a:lnTo>
                    <a:pt x="1582" y="430"/>
                  </a:lnTo>
                  <a:lnTo>
                    <a:pt x="1588" y="426"/>
                  </a:lnTo>
                  <a:lnTo>
                    <a:pt x="1592" y="426"/>
                  </a:lnTo>
                  <a:lnTo>
                    <a:pt x="1594" y="428"/>
                  </a:lnTo>
                  <a:lnTo>
                    <a:pt x="1598" y="426"/>
                  </a:lnTo>
                  <a:lnTo>
                    <a:pt x="1600" y="428"/>
                  </a:lnTo>
                  <a:lnTo>
                    <a:pt x="1602" y="428"/>
                  </a:lnTo>
                  <a:lnTo>
                    <a:pt x="1604" y="428"/>
                  </a:lnTo>
                  <a:lnTo>
                    <a:pt x="1606" y="428"/>
                  </a:lnTo>
                  <a:lnTo>
                    <a:pt x="1608" y="428"/>
                  </a:lnTo>
                  <a:lnTo>
                    <a:pt x="1615" y="428"/>
                  </a:lnTo>
                  <a:lnTo>
                    <a:pt x="1615" y="428"/>
                  </a:lnTo>
                  <a:lnTo>
                    <a:pt x="1617" y="428"/>
                  </a:lnTo>
                  <a:lnTo>
                    <a:pt x="1617" y="426"/>
                  </a:lnTo>
                  <a:lnTo>
                    <a:pt x="1615" y="426"/>
                  </a:lnTo>
                  <a:lnTo>
                    <a:pt x="1615" y="423"/>
                  </a:lnTo>
                  <a:lnTo>
                    <a:pt x="1615" y="423"/>
                  </a:lnTo>
                  <a:lnTo>
                    <a:pt x="1610" y="421"/>
                  </a:lnTo>
                  <a:lnTo>
                    <a:pt x="1608" y="419"/>
                  </a:lnTo>
                  <a:lnTo>
                    <a:pt x="1606" y="419"/>
                  </a:lnTo>
                  <a:lnTo>
                    <a:pt x="1600" y="419"/>
                  </a:lnTo>
                  <a:lnTo>
                    <a:pt x="1600" y="419"/>
                  </a:lnTo>
                  <a:lnTo>
                    <a:pt x="1598" y="419"/>
                  </a:lnTo>
                  <a:lnTo>
                    <a:pt x="1596" y="419"/>
                  </a:lnTo>
                  <a:lnTo>
                    <a:pt x="1590" y="417"/>
                  </a:lnTo>
                  <a:lnTo>
                    <a:pt x="1586" y="417"/>
                  </a:lnTo>
                  <a:lnTo>
                    <a:pt x="1582" y="419"/>
                  </a:lnTo>
                  <a:lnTo>
                    <a:pt x="1580" y="419"/>
                  </a:lnTo>
                  <a:lnTo>
                    <a:pt x="1580" y="417"/>
                  </a:lnTo>
                  <a:lnTo>
                    <a:pt x="1582" y="417"/>
                  </a:lnTo>
                  <a:lnTo>
                    <a:pt x="1586" y="415"/>
                  </a:lnTo>
                  <a:lnTo>
                    <a:pt x="1588" y="415"/>
                  </a:lnTo>
                  <a:lnTo>
                    <a:pt x="1592" y="415"/>
                  </a:lnTo>
                  <a:lnTo>
                    <a:pt x="1592" y="415"/>
                  </a:lnTo>
                  <a:lnTo>
                    <a:pt x="1594" y="415"/>
                  </a:lnTo>
                  <a:lnTo>
                    <a:pt x="1594" y="413"/>
                  </a:lnTo>
                  <a:lnTo>
                    <a:pt x="1596" y="413"/>
                  </a:lnTo>
                  <a:lnTo>
                    <a:pt x="1596" y="413"/>
                  </a:lnTo>
                  <a:lnTo>
                    <a:pt x="1600" y="413"/>
                  </a:lnTo>
                  <a:lnTo>
                    <a:pt x="1606" y="413"/>
                  </a:lnTo>
                  <a:lnTo>
                    <a:pt x="1608" y="413"/>
                  </a:lnTo>
                  <a:lnTo>
                    <a:pt x="1608" y="413"/>
                  </a:lnTo>
                  <a:lnTo>
                    <a:pt x="1608" y="413"/>
                  </a:lnTo>
                  <a:lnTo>
                    <a:pt x="1608" y="411"/>
                  </a:lnTo>
                  <a:lnTo>
                    <a:pt x="1608" y="411"/>
                  </a:lnTo>
                  <a:lnTo>
                    <a:pt x="1606" y="407"/>
                  </a:lnTo>
                  <a:lnTo>
                    <a:pt x="1606" y="405"/>
                  </a:lnTo>
                  <a:lnTo>
                    <a:pt x="1600" y="401"/>
                  </a:lnTo>
                  <a:lnTo>
                    <a:pt x="1598" y="399"/>
                  </a:lnTo>
                  <a:lnTo>
                    <a:pt x="1596" y="399"/>
                  </a:lnTo>
                  <a:lnTo>
                    <a:pt x="1596" y="399"/>
                  </a:lnTo>
                  <a:lnTo>
                    <a:pt x="1594" y="399"/>
                  </a:lnTo>
                  <a:lnTo>
                    <a:pt x="1592" y="401"/>
                  </a:lnTo>
                  <a:lnTo>
                    <a:pt x="1592" y="403"/>
                  </a:lnTo>
                  <a:lnTo>
                    <a:pt x="1592" y="403"/>
                  </a:lnTo>
                  <a:lnTo>
                    <a:pt x="1594" y="403"/>
                  </a:lnTo>
                  <a:lnTo>
                    <a:pt x="1594" y="403"/>
                  </a:lnTo>
                  <a:lnTo>
                    <a:pt x="1592" y="405"/>
                  </a:lnTo>
                  <a:lnTo>
                    <a:pt x="1592" y="405"/>
                  </a:lnTo>
                  <a:lnTo>
                    <a:pt x="1590" y="405"/>
                  </a:lnTo>
                  <a:lnTo>
                    <a:pt x="1588" y="405"/>
                  </a:lnTo>
                  <a:lnTo>
                    <a:pt x="1588" y="407"/>
                  </a:lnTo>
                  <a:lnTo>
                    <a:pt x="1586" y="409"/>
                  </a:lnTo>
                  <a:lnTo>
                    <a:pt x="1584" y="407"/>
                  </a:lnTo>
                  <a:lnTo>
                    <a:pt x="1582" y="407"/>
                  </a:lnTo>
                  <a:lnTo>
                    <a:pt x="1586" y="405"/>
                  </a:lnTo>
                  <a:lnTo>
                    <a:pt x="1586" y="405"/>
                  </a:lnTo>
                  <a:lnTo>
                    <a:pt x="1586" y="403"/>
                  </a:lnTo>
                  <a:lnTo>
                    <a:pt x="1586" y="403"/>
                  </a:lnTo>
                  <a:lnTo>
                    <a:pt x="1586" y="401"/>
                  </a:lnTo>
                  <a:lnTo>
                    <a:pt x="1586" y="401"/>
                  </a:lnTo>
                  <a:lnTo>
                    <a:pt x="1584" y="401"/>
                  </a:lnTo>
                  <a:lnTo>
                    <a:pt x="1580" y="403"/>
                  </a:lnTo>
                  <a:lnTo>
                    <a:pt x="1575" y="403"/>
                  </a:lnTo>
                  <a:lnTo>
                    <a:pt x="1573" y="403"/>
                  </a:lnTo>
                  <a:lnTo>
                    <a:pt x="1571" y="405"/>
                  </a:lnTo>
                  <a:lnTo>
                    <a:pt x="1569" y="405"/>
                  </a:lnTo>
                  <a:lnTo>
                    <a:pt x="1567" y="405"/>
                  </a:lnTo>
                  <a:lnTo>
                    <a:pt x="1567" y="405"/>
                  </a:lnTo>
                  <a:lnTo>
                    <a:pt x="1573" y="403"/>
                  </a:lnTo>
                  <a:lnTo>
                    <a:pt x="1575" y="401"/>
                  </a:lnTo>
                  <a:lnTo>
                    <a:pt x="1577" y="399"/>
                  </a:lnTo>
                  <a:lnTo>
                    <a:pt x="1582" y="399"/>
                  </a:lnTo>
                  <a:lnTo>
                    <a:pt x="1586" y="399"/>
                  </a:lnTo>
                  <a:lnTo>
                    <a:pt x="1586" y="399"/>
                  </a:lnTo>
                  <a:lnTo>
                    <a:pt x="1588" y="397"/>
                  </a:lnTo>
                  <a:lnTo>
                    <a:pt x="1590" y="397"/>
                  </a:lnTo>
                  <a:lnTo>
                    <a:pt x="1590" y="397"/>
                  </a:lnTo>
                  <a:lnTo>
                    <a:pt x="1592" y="395"/>
                  </a:lnTo>
                  <a:lnTo>
                    <a:pt x="1592" y="395"/>
                  </a:lnTo>
                  <a:lnTo>
                    <a:pt x="1592" y="392"/>
                  </a:lnTo>
                  <a:lnTo>
                    <a:pt x="1592" y="392"/>
                  </a:lnTo>
                  <a:lnTo>
                    <a:pt x="1590" y="392"/>
                  </a:lnTo>
                  <a:lnTo>
                    <a:pt x="1590" y="390"/>
                  </a:lnTo>
                  <a:lnTo>
                    <a:pt x="1584" y="388"/>
                  </a:lnTo>
                  <a:lnTo>
                    <a:pt x="1582" y="388"/>
                  </a:lnTo>
                  <a:lnTo>
                    <a:pt x="1580" y="386"/>
                  </a:lnTo>
                  <a:lnTo>
                    <a:pt x="1577" y="386"/>
                  </a:lnTo>
                  <a:lnTo>
                    <a:pt x="1577" y="386"/>
                  </a:lnTo>
                  <a:lnTo>
                    <a:pt x="1575" y="386"/>
                  </a:lnTo>
                  <a:lnTo>
                    <a:pt x="1573" y="386"/>
                  </a:lnTo>
                  <a:lnTo>
                    <a:pt x="1571" y="386"/>
                  </a:lnTo>
                  <a:lnTo>
                    <a:pt x="1569" y="384"/>
                  </a:lnTo>
                  <a:lnTo>
                    <a:pt x="1567" y="386"/>
                  </a:lnTo>
                  <a:lnTo>
                    <a:pt x="1563" y="386"/>
                  </a:lnTo>
                  <a:lnTo>
                    <a:pt x="1561" y="388"/>
                  </a:lnTo>
                  <a:lnTo>
                    <a:pt x="1557" y="390"/>
                  </a:lnTo>
                  <a:lnTo>
                    <a:pt x="1555" y="392"/>
                  </a:lnTo>
                  <a:lnTo>
                    <a:pt x="1553" y="392"/>
                  </a:lnTo>
                  <a:lnTo>
                    <a:pt x="1549" y="401"/>
                  </a:lnTo>
                  <a:lnTo>
                    <a:pt x="1549" y="403"/>
                  </a:lnTo>
                  <a:lnTo>
                    <a:pt x="1549" y="403"/>
                  </a:lnTo>
                  <a:lnTo>
                    <a:pt x="1551" y="397"/>
                  </a:lnTo>
                  <a:lnTo>
                    <a:pt x="1551" y="395"/>
                  </a:lnTo>
                  <a:lnTo>
                    <a:pt x="1549" y="392"/>
                  </a:lnTo>
                  <a:lnTo>
                    <a:pt x="1549" y="392"/>
                  </a:lnTo>
                  <a:lnTo>
                    <a:pt x="1549" y="392"/>
                  </a:lnTo>
                  <a:lnTo>
                    <a:pt x="1547" y="392"/>
                  </a:lnTo>
                  <a:lnTo>
                    <a:pt x="1547" y="395"/>
                  </a:lnTo>
                  <a:lnTo>
                    <a:pt x="1544" y="397"/>
                  </a:lnTo>
                  <a:lnTo>
                    <a:pt x="1544" y="397"/>
                  </a:lnTo>
                  <a:lnTo>
                    <a:pt x="1542" y="397"/>
                  </a:lnTo>
                  <a:lnTo>
                    <a:pt x="1540" y="397"/>
                  </a:lnTo>
                  <a:lnTo>
                    <a:pt x="1542" y="395"/>
                  </a:lnTo>
                  <a:lnTo>
                    <a:pt x="1544" y="395"/>
                  </a:lnTo>
                  <a:lnTo>
                    <a:pt x="1544" y="392"/>
                  </a:lnTo>
                  <a:lnTo>
                    <a:pt x="1547" y="392"/>
                  </a:lnTo>
                  <a:lnTo>
                    <a:pt x="1549" y="390"/>
                  </a:lnTo>
                  <a:lnTo>
                    <a:pt x="1551" y="390"/>
                  </a:lnTo>
                  <a:lnTo>
                    <a:pt x="1553" y="390"/>
                  </a:lnTo>
                  <a:lnTo>
                    <a:pt x="1557" y="386"/>
                  </a:lnTo>
                  <a:lnTo>
                    <a:pt x="1559" y="384"/>
                  </a:lnTo>
                  <a:lnTo>
                    <a:pt x="1559" y="384"/>
                  </a:lnTo>
                  <a:lnTo>
                    <a:pt x="1559" y="380"/>
                  </a:lnTo>
                  <a:lnTo>
                    <a:pt x="1559" y="380"/>
                  </a:lnTo>
                  <a:lnTo>
                    <a:pt x="1557" y="378"/>
                  </a:lnTo>
                  <a:lnTo>
                    <a:pt x="1557" y="378"/>
                  </a:lnTo>
                  <a:lnTo>
                    <a:pt x="1555" y="378"/>
                  </a:lnTo>
                  <a:lnTo>
                    <a:pt x="1553" y="380"/>
                  </a:lnTo>
                  <a:lnTo>
                    <a:pt x="1551" y="382"/>
                  </a:lnTo>
                  <a:lnTo>
                    <a:pt x="1549" y="382"/>
                  </a:lnTo>
                  <a:lnTo>
                    <a:pt x="1544" y="380"/>
                  </a:lnTo>
                  <a:lnTo>
                    <a:pt x="1540" y="380"/>
                  </a:lnTo>
                  <a:lnTo>
                    <a:pt x="1538" y="382"/>
                  </a:lnTo>
                  <a:lnTo>
                    <a:pt x="1536" y="384"/>
                  </a:lnTo>
                  <a:lnTo>
                    <a:pt x="1536" y="386"/>
                  </a:lnTo>
                  <a:lnTo>
                    <a:pt x="1530" y="386"/>
                  </a:lnTo>
                  <a:lnTo>
                    <a:pt x="1532" y="384"/>
                  </a:lnTo>
                  <a:lnTo>
                    <a:pt x="1534" y="384"/>
                  </a:lnTo>
                  <a:lnTo>
                    <a:pt x="1536" y="382"/>
                  </a:lnTo>
                  <a:lnTo>
                    <a:pt x="1540" y="380"/>
                  </a:lnTo>
                  <a:lnTo>
                    <a:pt x="1540" y="378"/>
                  </a:lnTo>
                  <a:lnTo>
                    <a:pt x="1542" y="378"/>
                  </a:lnTo>
                  <a:lnTo>
                    <a:pt x="1547" y="378"/>
                  </a:lnTo>
                  <a:lnTo>
                    <a:pt x="1547" y="378"/>
                  </a:lnTo>
                  <a:lnTo>
                    <a:pt x="1549" y="378"/>
                  </a:lnTo>
                  <a:lnTo>
                    <a:pt x="1551" y="374"/>
                  </a:lnTo>
                  <a:lnTo>
                    <a:pt x="1551" y="374"/>
                  </a:lnTo>
                  <a:lnTo>
                    <a:pt x="1551" y="372"/>
                  </a:lnTo>
                  <a:lnTo>
                    <a:pt x="1551" y="372"/>
                  </a:lnTo>
                  <a:lnTo>
                    <a:pt x="1549" y="370"/>
                  </a:lnTo>
                  <a:lnTo>
                    <a:pt x="1547" y="370"/>
                  </a:lnTo>
                  <a:lnTo>
                    <a:pt x="1544" y="368"/>
                  </a:lnTo>
                  <a:lnTo>
                    <a:pt x="1542" y="366"/>
                  </a:lnTo>
                  <a:lnTo>
                    <a:pt x="1538" y="366"/>
                  </a:lnTo>
                  <a:lnTo>
                    <a:pt x="1534" y="366"/>
                  </a:lnTo>
                  <a:lnTo>
                    <a:pt x="1532" y="366"/>
                  </a:lnTo>
                  <a:lnTo>
                    <a:pt x="1532" y="366"/>
                  </a:lnTo>
                  <a:close/>
                  <a:moveTo>
                    <a:pt x="3930" y="215"/>
                  </a:moveTo>
                  <a:lnTo>
                    <a:pt x="3932" y="215"/>
                  </a:lnTo>
                  <a:lnTo>
                    <a:pt x="3932" y="215"/>
                  </a:lnTo>
                  <a:lnTo>
                    <a:pt x="3936" y="215"/>
                  </a:lnTo>
                  <a:lnTo>
                    <a:pt x="3939" y="215"/>
                  </a:lnTo>
                  <a:lnTo>
                    <a:pt x="3939" y="215"/>
                  </a:lnTo>
                  <a:lnTo>
                    <a:pt x="3939" y="215"/>
                  </a:lnTo>
                  <a:lnTo>
                    <a:pt x="3941" y="213"/>
                  </a:lnTo>
                  <a:lnTo>
                    <a:pt x="3943" y="211"/>
                  </a:lnTo>
                  <a:lnTo>
                    <a:pt x="3943" y="211"/>
                  </a:lnTo>
                  <a:lnTo>
                    <a:pt x="3943" y="209"/>
                  </a:lnTo>
                  <a:lnTo>
                    <a:pt x="3932" y="213"/>
                  </a:lnTo>
                  <a:lnTo>
                    <a:pt x="3926" y="213"/>
                  </a:lnTo>
                  <a:lnTo>
                    <a:pt x="3924" y="215"/>
                  </a:lnTo>
                  <a:lnTo>
                    <a:pt x="3926" y="215"/>
                  </a:lnTo>
                  <a:lnTo>
                    <a:pt x="3930" y="215"/>
                  </a:lnTo>
                  <a:close/>
                  <a:moveTo>
                    <a:pt x="3901" y="128"/>
                  </a:moveTo>
                  <a:lnTo>
                    <a:pt x="3903" y="126"/>
                  </a:lnTo>
                  <a:lnTo>
                    <a:pt x="3899" y="124"/>
                  </a:lnTo>
                  <a:lnTo>
                    <a:pt x="3887" y="122"/>
                  </a:lnTo>
                  <a:lnTo>
                    <a:pt x="3881" y="120"/>
                  </a:lnTo>
                  <a:lnTo>
                    <a:pt x="3875" y="120"/>
                  </a:lnTo>
                  <a:lnTo>
                    <a:pt x="3870" y="120"/>
                  </a:lnTo>
                  <a:lnTo>
                    <a:pt x="3866" y="122"/>
                  </a:lnTo>
                  <a:lnTo>
                    <a:pt x="3864" y="122"/>
                  </a:lnTo>
                  <a:lnTo>
                    <a:pt x="3866" y="126"/>
                  </a:lnTo>
                  <a:lnTo>
                    <a:pt x="3868" y="128"/>
                  </a:lnTo>
                  <a:lnTo>
                    <a:pt x="3873" y="128"/>
                  </a:lnTo>
                  <a:lnTo>
                    <a:pt x="3881" y="132"/>
                  </a:lnTo>
                  <a:lnTo>
                    <a:pt x="3885" y="132"/>
                  </a:lnTo>
                  <a:lnTo>
                    <a:pt x="3887" y="132"/>
                  </a:lnTo>
                  <a:lnTo>
                    <a:pt x="3891" y="132"/>
                  </a:lnTo>
                  <a:lnTo>
                    <a:pt x="3895" y="130"/>
                  </a:lnTo>
                  <a:lnTo>
                    <a:pt x="3897" y="128"/>
                  </a:lnTo>
                  <a:lnTo>
                    <a:pt x="3901" y="128"/>
                  </a:lnTo>
                  <a:close/>
                  <a:moveTo>
                    <a:pt x="2720" y="132"/>
                  </a:moveTo>
                  <a:lnTo>
                    <a:pt x="2720" y="134"/>
                  </a:lnTo>
                  <a:lnTo>
                    <a:pt x="2720" y="136"/>
                  </a:lnTo>
                  <a:lnTo>
                    <a:pt x="2720" y="136"/>
                  </a:lnTo>
                  <a:lnTo>
                    <a:pt x="2720" y="138"/>
                  </a:lnTo>
                  <a:lnTo>
                    <a:pt x="2720" y="138"/>
                  </a:lnTo>
                  <a:lnTo>
                    <a:pt x="2722" y="141"/>
                  </a:lnTo>
                  <a:lnTo>
                    <a:pt x="2722" y="143"/>
                  </a:lnTo>
                  <a:lnTo>
                    <a:pt x="2722" y="145"/>
                  </a:lnTo>
                  <a:lnTo>
                    <a:pt x="2724" y="147"/>
                  </a:lnTo>
                  <a:lnTo>
                    <a:pt x="2726" y="151"/>
                  </a:lnTo>
                  <a:lnTo>
                    <a:pt x="2728" y="151"/>
                  </a:lnTo>
                  <a:lnTo>
                    <a:pt x="2730" y="149"/>
                  </a:lnTo>
                  <a:lnTo>
                    <a:pt x="2732" y="147"/>
                  </a:lnTo>
                  <a:lnTo>
                    <a:pt x="2732" y="145"/>
                  </a:lnTo>
                  <a:lnTo>
                    <a:pt x="2732" y="145"/>
                  </a:lnTo>
                  <a:lnTo>
                    <a:pt x="2736" y="145"/>
                  </a:lnTo>
                  <a:lnTo>
                    <a:pt x="2738" y="145"/>
                  </a:lnTo>
                  <a:lnTo>
                    <a:pt x="2738" y="147"/>
                  </a:lnTo>
                  <a:lnTo>
                    <a:pt x="2736" y="149"/>
                  </a:lnTo>
                  <a:lnTo>
                    <a:pt x="2736" y="151"/>
                  </a:lnTo>
                  <a:lnTo>
                    <a:pt x="2736" y="151"/>
                  </a:lnTo>
                  <a:lnTo>
                    <a:pt x="2736" y="153"/>
                  </a:lnTo>
                  <a:lnTo>
                    <a:pt x="2738" y="155"/>
                  </a:lnTo>
                  <a:lnTo>
                    <a:pt x="2738" y="155"/>
                  </a:lnTo>
                  <a:lnTo>
                    <a:pt x="2740" y="155"/>
                  </a:lnTo>
                  <a:lnTo>
                    <a:pt x="2743" y="155"/>
                  </a:lnTo>
                  <a:lnTo>
                    <a:pt x="2743" y="155"/>
                  </a:lnTo>
                  <a:lnTo>
                    <a:pt x="2743" y="157"/>
                  </a:lnTo>
                  <a:lnTo>
                    <a:pt x="2740" y="157"/>
                  </a:lnTo>
                  <a:lnTo>
                    <a:pt x="2730" y="155"/>
                  </a:lnTo>
                  <a:lnTo>
                    <a:pt x="2730" y="155"/>
                  </a:lnTo>
                  <a:lnTo>
                    <a:pt x="2728" y="155"/>
                  </a:lnTo>
                  <a:lnTo>
                    <a:pt x="2732" y="157"/>
                  </a:lnTo>
                  <a:lnTo>
                    <a:pt x="2736" y="159"/>
                  </a:lnTo>
                  <a:lnTo>
                    <a:pt x="2734" y="159"/>
                  </a:lnTo>
                  <a:lnTo>
                    <a:pt x="2734" y="161"/>
                  </a:lnTo>
                  <a:lnTo>
                    <a:pt x="2734" y="163"/>
                  </a:lnTo>
                  <a:lnTo>
                    <a:pt x="2736" y="163"/>
                  </a:lnTo>
                  <a:lnTo>
                    <a:pt x="2736" y="165"/>
                  </a:lnTo>
                  <a:lnTo>
                    <a:pt x="2738" y="165"/>
                  </a:lnTo>
                  <a:lnTo>
                    <a:pt x="2740" y="167"/>
                  </a:lnTo>
                  <a:lnTo>
                    <a:pt x="2745" y="169"/>
                  </a:lnTo>
                  <a:lnTo>
                    <a:pt x="2747" y="174"/>
                  </a:lnTo>
                  <a:lnTo>
                    <a:pt x="2749" y="174"/>
                  </a:lnTo>
                  <a:lnTo>
                    <a:pt x="2751" y="176"/>
                  </a:lnTo>
                  <a:lnTo>
                    <a:pt x="2751" y="176"/>
                  </a:lnTo>
                  <a:lnTo>
                    <a:pt x="2753" y="178"/>
                  </a:lnTo>
                  <a:lnTo>
                    <a:pt x="2761" y="178"/>
                  </a:lnTo>
                  <a:lnTo>
                    <a:pt x="2765" y="178"/>
                  </a:lnTo>
                  <a:lnTo>
                    <a:pt x="2767" y="176"/>
                  </a:lnTo>
                  <a:lnTo>
                    <a:pt x="2769" y="176"/>
                  </a:lnTo>
                  <a:lnTo>
                    <a:pt x="2771" y="174"/>
                  </a:lnTo>
                  <a:lnTo>
                    <a:pt x="2773" y="174"/>
                  </a:lnTo>
                  <a:lnTo>
                    <a:pt x="2776" y="172"/>
                  </a:lnTo>
                  <a:lnTo>
                    <a:pt x="2773" y="172"/>
                  </a:lnTo>
                  <a:lnTo>
                    <a:pt x="2771" y="169"/>
                  </a:lnTo>
                  <a:lnTo>
                    <a:pt x="2773" y="167"/>
                  </a:lnTo>
                  <a:lnTo>
                    <a:pt x="2773" y="167"/>
                  </a:lnTo>
                  <a:lnTo>
                    <a:pt x="2773" y="165"/>
                  </a:lnTo>
                  <a:lnTo>
                    <a:pt x="2773" y="163"/>
                  </a:lnTo>
                  <a:lnTo>
                    <a:pt x="2773" y="163"/>
                  </a:lnTo>
                  <a:lnTo>
                    <a:pt x="2776" y="163"/>
                  </a:lnTo>
                  <a:lnTo>
                    <a:pt x="2776" y="163"/>
                  </a:lnTo>
                  <a:lnTo>
                    <a:pt x="2778" y="163"/>
                  </a:lnTo>
                  <a:lnTo>
                    <a:pt x="2778" y="165"/>
                  </a:lnTo>
                  <a:lnTo>
                    <a:pt x="2780" y="165"/>
                  </a:lnTo>
                  <a:lnTo>
                    <a:pt x="2780" y="165"/>
                  </a:lnTo>
                  <a:lnTo>
                    <a:pt x="2782" y="165"/>
                  </a:lnTo>
                  <a:lnTo>
                    <a:pt x="2784" y="163"/>
                  </a:lnTo>
                  <a:lnTo>
                    <a:pt x="2784" y="161"/>
                  </a:lnTo>
                  <a:lnTo>
                    <a:pt x="2786" y="161"/>
                  </a:lnTo>
                  <a:lnTo>
                    <a:pt x="2786" y="163"/>
                  </a:lnTo>
                  <a:lnTo>
                    <a:pt x="2786" y="165"/>
                  </a:lnTo>
                  <a:lnTo>
                    <a:pt x="2784" y="165"/>
                  </a:lnTo>
                  <a:lnTo>
                    <a:pt x="2784" y="167"/>
                  </a:lnTo>
                  <a:lnTo>
                    <a:pt x="2784" y="167"/>
                  </a:lnTo>
                  <a:lnTo>
                    <a:pt x="2786" y="169"/>
                  </a:lnTo>
                  <a:lnTo>
                    <a:pt x="2786" y="169"/>
                  </a:lnTo>
                  <a:lnTo>
                    <a:pt x="2790" y="172"/>
                  </a:lnTo>
                  <a:lnTo>
                    <a:pt x="2794" y="169"/>
                  </a:lnTo>
                  <a:lnTo>
                    <a:pt x="2796" y="169"/>
                  </a:lnTo>
                  <a:lnTo>
                    <a:pt x="2800" y="165"/>
                  </a:lnTo>
                  <a:lnTo>
                    <a:pt x="2802" y="165"/>
                  </a:lnTo>
                  <a:lnTo>
                    <a:pt x="2806" y="165"/>
                  </a:lnTo>
                  <a:lnTo>
                    <a:pt x="2804" y="165"/>
                  </a:lnTo>
                  <a:lnTo>
                    <a:pt x="2800" y="169"/>
                  </a:lnTo>
                  <a:lnTo>
                    <a:pt x="2802" y="172"/>
                  </a:lnTo>
                  <a:lnTo>
                    <a:pt x="2804" y="172"/>
                  </a:lnTo>
                  <a:lnTo>
                    <a:pt x="2806" y="174"/>
                  </a:lnTo>
                  <a:lnTo>
                    <a:pt x="2809" y="174"/>
                  </a:lnTo>
                  <a:lnTo>
                    <a:pt x="2811" y="172"/>
                  </a:lnTo>
                  <a:lnTo>
                    <a:pt x="2809" y="174"/>
                  </a:lnTo>
                  <a:lnTo>
                    <a:pt x="2806" y="174"/>
                  </a:lnTo>
                  <a:lnTo>
                    <a:pt x="2796" y="174"/>
                  </a:lnTo>
                  <a:lnTo>
                    <a:pt x="2792" y="174"/>
                  </a:lnTo>
                  <a:lnTo>
                    <a:pt x="2792" y="176"/>
                  </a:lnTo>
                  <a:lnTo>
                    <a:pt x="2790" y="176"/>
                  </a:lnTo>
                  <a:lnTo>
                    <a:pt x="2790" y="178"/>
                  </a:lnTo>
                  <a:lnTo>
                    <a:pt x="2790" y="178"/>
                  </a:lnTo>
                  <a:lnTo>
                    <a:pt x="2788" y="178"/>
                  </a:lnTo>
                  <a:lnTo>
                    <a:pt x="2786" y="178"/>
                  </a:lnTo>
                  <a:lnTo>
                    <a:pt x="2780" y="180"/>
                  </a:lnTo>
                  <a:lnTo>
                    <a:pt x="2769" y="182"/>
                  </a:lnTo>
                  <a:lnTo>
                    <a:pt x="2769" y="184"/>
                  </a:lnTo>
                  <a:lnTo>
                    <a:pt x="2767" y="184"/>
                  </a:lnTo>
                  <a:lnTo>
                    <a:pt x="2765" y="182"/>
                  </a:lnTo>
                  <a:lnTo>
                    <a:pt x="2763" y="182"/>
                  </a:lnTo>
                  <a:lnTo>
                    <a:pt x="2763" y="182"/>
                  </a:lnTo>
                  <a:lnTo>
                    <a:pt x="2761" y="184"/>
                  </a:lnTo>
                  <a:lnTo>
                    <a:pt x="2761" y="184"/>
                  </a:lnTo>
                  <a:lnTo>
                    <a:pt x="2761" y="188"/>
                  </a:lnTo>
                  <a:lnTo>
                    <a:pt x="2763" y="188"/>
                  </a:lnTo>
                  <a:lnTo>
                    <a:pt x="2763" y="190"/>
                  </a:lnTo>
                  <a:lnTo>
                    <a:pt x="2765" y="192"/>
                  </a:lnTo>
                  <a:lnTo>
                    <a:pt x="2767" y="192"/>
                  </a:lnTo>
                  <a:lnTo>
                    <a:pt x="2776" y="192"/>
                  </a:lnTo>
                  <a:lnTo>
                    <a:pt x="2778" y="192"/>
                  </a:lnTo>
                  <a:lnTo>
                    <a:pt x="2782" y="190"/>
                  </a:lnTo>
                  <a:lnTo>
                    <a:pt x="2786" y="190"/>
                  </a:lnTo>
                  <a:lnTo>
                    <a:pt x="2788" y="188"/>
                  </a:lnTo>
                  <a:lnTo>
                    <a:pt x="2792" y="190"/>
                  </a:lnTo>
                  <a:lnTo>
                    <a:pt x="2796" y="190"/>
                  </a:lnTo>
                  <a:lnTo>
                    <a:pt x="2802" y="188"/>
                  </a:lnTo>
                  <a:lnTo>
                    <a:pt x="2806" y="188"/>
                  </a:lnTo>
                  <a:lnTo>
                    <a:pt x="2806" y="188"/>
                  </a:lnTo>
                  <a:lnTo>
                    <a:pt x="2809" y="190"/>
                  </a:lnTo>
                  <a:lnTo>
                    <a:pt x="2809" y="190"/>
                  </a:lnTo>
                  <a:lnTo>
                    <a:pt x="2802" y="190"/>
                  </a:lnTo>
                  <a:lnTo>
                    <a:pt x="2798" y="192"/>
                  </a:lnTo>
                  <a:lnTo>
                    <a:pt x="2780" y="194"/>
                  </a:lnTo>
                  <a:lnTo>
                    <a:pt x="2776" y="198"/>
                  </a:lnTo>
                  <a:lnTo>
                    <a:pt x="2773" y="198"/>
                  </a:lnTo>
                  <a:lnTo>
                    <a:pt x="2773" y="198"/>
                  </a:lnTo>
                  <a:lnTo>
                    <a:pt x="2771" y="198"/>
                  </a:lnTo>
                  <a:lnTo>
                    <a:pt x="2767" y="198"/>
                  </a:lnTo>
                  <a:lnTo>
                    <a:pt x="2767" y="198"/>
                  </a:lnTo>
                  <a:lnTo>
                    <a:pt x="2765" y="200"/>
                  </a:lnTo>
                  <a:lnTo>
                    <a:pt x="2765" y="203"/>
                  </a:lnTo>
                  <a:lnTo>
                    <a:pt x="2767" y="203"/>
                  </a:lnTo>
                  <a:lnTo>
                    <a:pt x="2767" y="205"/>
                  </a:lnTo>
                  <a:lnTo>
                    <a:pt x="2769" y="207"/>
                  </a:lnTo>
                  <a:lnTo>
                    <a:pt x="2771" y="209"/>
                  </a:lnTo>
                  <a:lnTo>
                    <a:pt x="2773" y="209"/>
                  </a:lnTo>
                  <a:lnTo>
                    <a:pt x="2776" y="211"/>
                  </a:lnTo>
                  <a:lnTo>
                    <a:pt x="2782" y="213"/>
                  </a:lnTo>
                  <a:lnTo>
                    <a:pt x="2788" y="219"/>
                  </a:lnTo>
                  <a:lnTo>
                    <a:pt x="2794" y="223"/>
                  </a:lnTo>
                  <a:lnTo>
                    <a:pt x="2796" y="223"/>
                  </a:lnTo>
                  <a:lnTo>
                    <a:pt x="2798" y="223"/>
                  </a:lnTo>
                  <a:lnTo>
                    <a:pt x="2800" y="225"/>
                  </a:lnTo>
                  <a:lnTo>
                    <a:pt x="2800" y="227"/>
                  </a:lnTo>
                  <a:lnTo>
                    <a:pt x="2804" y="227"/>
                  </a:lnTo>
                  <a:lnTo>
                    <a:pt x="2809" y="227"/>
                  </a:lnTo>
                  <a:lnTo>
                    <a:pt x="2811" y="225"/>
                  </a:lnTo>
                  <a:lnTo>
                    <a:pt x="2809" y="223"/>
                  </a:lnTo>
                  <a:lnTo>
                    <a:pt x="2809" y="221"/>
                  </a:lnTo>
                  <a:lnTo>
                    <a:pt x="2809" y="221"/>
                  </a:lnTo>
                  <a:lnTo>
                    <a:pt x="2811" y="219"/>
                  </a:lnTo>
                  <a:lnTo>
                    <a:pt x="2813" y="217"/>
                  </a:lnTo>
                  <a:lnTo>
                    <a:pt x="2811" y="215"/>
                  </a:lnTo>
                  <a:lnTo>
                    <a:pt x="2811" y="213"/>
                  </a:lnTo>
                  <a:lnTo>
                    <a:pt x="2813" y="211"/>
                  </a:lnTo>
                  <a:lnTo>
                    <a:pt x="2815" y="209"/>
                  </a:lnTo>
                  <a:lnTo>
                    <a:pt x="2817" y="203"/>
                  </a:lnTo>
                  <a:lnTo>
                    <a:pt x="2821" y="200"/>
                  </a:lnTo>
                  <a:lnTo>
                    <a:pt x="2825" y="200"/>
                  </a:lnTo>
                  <a:lnTo>
                    <a:pt x="2827" y="200"/>
                  </a:lnTo>
                  <a:lnTo>
                    <a:pt x="2827" y="198"/>
                  </a:lnTo>
                  <a:lnTo>
                    <a:pt x="2829" y="194"/>
                  </a:lnTo>
                  <a:lnTo>
                    <a:pt x="2829" y="192"/>
                  </a:lnTo>
                  <a:lnTo>
                    <a:pt x="2829" y="186"/>
                  </a:lnTo>
                  <a:lnTo>
                    <a:pt x="2829" y="186"/>
                  </a:lnTo>
                  <a:lnTo>
                    <a:pt x="2829" y="184"/>
                  </a:lnTo>
                  <a:lnTo>
                    <a:pt x="2831" y="184"/>
                  </a:lnTo>
                  <a:lnTo>
                    <a:pt x="2833" y="184"/>
                  </a:lnTo>
                  <a:lnTo>
                    <a:pt x="2835" y="184"/>
                  </a:lnTo>
                  <a:lnTo>
                    <a:pt x="2837" y="182"/>
                  </a:lnTo>
                  <a:lnTo>
                    <a:pt x="2837" y="182"/>
                  </a:lnTo>
                  <a:lnTo>
                    <a:pt x="2837" y="180"/>
                  </a:lnTo>
                  <a:lnTo>
                    <a:pt x="2837" y="178"/>
                  </a:lnTo>
                  <a:lnTo>
                    <a:pt x="2837" y="176"/>
                  </a:lnTo>
                  <a:lnTo>
                    <a:pt x="2839" y="174"/>
                  </a:lnTo>
                  <a:lnTo>
                    <a:pt x="2844" y="169"/>
                  </a:lnTo>
                  <a:lnTo>
                    <a:pt x="2846" y="167"/>
                  </a:lnTo>
                  <a:lnTo>
                    <a:pt x="2846" y="167"/>
                  </a:lnTo>
                  <a:lnTo>
                    <a:pt x="2848" y="165"/>
                  </a:lnTo>
                  <a:lnTo>
                    <a:pt x="2848" y="165"/>
                  </a:lnTo>
                  <a:lnTo>
                    <a:pt x="2858" y="165"/>
                  </a:lnTo>
                  <a:lnTo>
                    <a:pt x="2862" y="163"/>
                  </a:lnTo>
                  <a:lnTo>
                    <a:pt x="2866" y="163"/>
                  </a:lnTo>
                  <a:lnTo>
                    <a:pt x="2868" y="163"/>
                  </a:lnTo>
                  <a:lnTo>
                    <a:pt x="2870" y="161"/>
                  </a:lnTo>
                  <a:lnTo>
                    <a:pt x="2870" y="161"/>
                  </a:lnTo>
                  <a:lnTo>
                    <a:pt x="2870" y="161"/>
                  </a:lnTo>
                  <a:lnTo>
                    <a:pt x="2866" y="159"/>
                  </a:lnTo>
                  <a:lnTo>
                    <a:pt x="2862" y="157"/>
                  </a:lnTo>
                  <a:lnTo>
                    <a:pt x="2858" y="155"/>
                  </a:lnTo>
                  <a:lnTo>
                    <a:pt x="2862" y="153"/>
                  </a:lnTo>
                  <a:lnTo>
                    <a:pt x="2860" y="151"/>
                  </a:lnTo>
                  <a:lnTo>
                    <a:pt x="2858" y="151"/>
                  </a:lnTo>
                  <a:lnTo>
                    <a:pt x="2854" y="149"/>
                  </a:lnTo>
                  <a:lnTo>
                    <a:pt x="2854" y="151"/>
                  </a:lnTo>
                  <a:lnTo>
                    <a:pt x="2854" y="151"/>
                  </a:lnTo>
                  <a:lnTo>
                    <a:pt x="2850" y="153"/>
                  </a:lnTo>
                  <a:lnTo>
                    <a:pt x="2848" y="149"/>
                  </a:lnTo>
                  <a:lnTo>
                    <a:pt x="2844" y="149"/>
                  </a:lnTo>
                  <a:lnTo>
                    <a:pt x="2839" y="149"/>
                  </a:lnTo>
                  <a:lnTo>
                    <a:pt x="2837" y="149"/>
                  </a:lnTo>
                  <a:lnTo>
                    <a:pt x="2835" y="147"/>
                  </a:lnTo>
                  <a:lnTo>
                    <a:pt x="2833" y="147"/>
                  </a:lnTo>
                  <a:lnTo>
                    <a:pt x="2833" y="147"/>
                  </a:lnTo>
                  <a:lnTo>
                    <a:pt x="2833" y="145"/>
                  </a:lnTo>
                  <a:lnTo>
                    <a:pt x="2835" y="145"/>
                  </a:lnTo>
                  <a:lnTo>
                    <a:pt x="2835" y="143"/>
                  </a:lnTo>
                  <a:lnTo>
                    <a:pt x="2835" y="143"/>
                  </a:lnTo>
                  <a:lnTo>
                    <a:pt x="2835" y="141"/>
                  </a:lnTo>
                  <a:lnTo>
                    <a:pt x="2833" y="138"/>
                  </a:lnTo>
                  <a:lnTo>
                    <a:pt x="2833" y="138"/>
                  </a:lnTo>
                  <a:lnTo>
                    <a:pt x="2831" y="136"/>
                  </a:lnTo>
                  <a:lnTo>
                    <a:pt x="2829" y="134"/>
                  </a:lnTo>
                  <a:lnTo>
                    <a:pt x="2827" y="134"/>
                  </a:lnTo>
                  <a:lnTo>
                    <a:pt x="2827" y="134"/>
                  </a:lnTo>
                  <a:lnTo>
                    <a:pt x="2821" y="141"/>
                  </a:lnTo>
                  <a:lnTo>
                    <a:pt x="2819" y="143"/>
                  </a:lnTo>
                  <a:lnTo>
                    <a:pt x="2819" y="141"/>
                  </a:lnTo>
                  <a:lnTo>
                    <a:pt x="2819" y="138"/>
                  </a:lnTo>
                  <a:lnTo>
                    <a:pt x="2819" y="136"/>
                  </a:lnTo>
                  <a:lnTo>
                    <a:pt x="2819" y="136"/>
                  </a:lnTo>
                  <a:lnTo>
                    <a:pt x="2821" y="134"/>
                  </a:lnTo>
                  <a:lnTo>
                    <a:pt x="2823" y="132"/>
                  </a:lnTo>
                  <a:lnTo>
                    <a:pt x="2821" y="128"/>
                  </a:lnTo>
                  <a:lnTo>
                    <a:pt x="2819" y="126"/>
                  </a:lnTo>
                  <a:lnTo>
                    <a:pt x="2817" y="126"/>
                  </a:lnTo>
                  <a:lnTo>
                    <a:pt x="2813" y="124"/>
                  </a:lnTo>
                  <a:lnTo>
                    <a:pt x="2809" y="124"/>
                  </a:lnTo>
                  <a:lnTo>
                    <a:pt x="2809" y="124"/>
                  </a:lnTo>
                  <a:lnTo>
                    <a:pt x="2806" y="124"/>
                  </a:lnTo>
                  <a:lnTo>
                    <a:pt x="2806" y="126"/>
                  </a:lnTo>
                  <a:lnTo>
                    <a:pt x="2806" y="126"/>
                  </a:lnTo>
                  <a:lnTo>
                    <a:pt x="2802" y="122"/>
                  </a:lnTo>
                  <a:lnTo>
                    <a:pt x="2800" y="120"/>
                  </a:lnTo>
                  <a:lnTo>
                    <a:pt x="2798" y="120"/>
                  </a:lnTo>
                  <a:lnTo>
                    <a:pt x="2796" y="122"/>
                  </a:lnTo>
                  <a:lnTo>
                    <a:pt x="2796" y="124"/>
                  </a:lnTo>
                  <a:lnTo>
                    <a:pt x="2796" y="126"/>
                  </a:lnTo>
                  <a:lnTo>
                    <a:pt x="2794" y="128"/>
                  </a:lnTo>
                  <a:lnTo>
                    <a:pt x="2792" y="130"/>
                  </a:lnTo>
                  <a:lnTo>
                    <a:pt x="2792" y="132"/>
                  </a:lnTo>
                  <a:lnTo>
                    <a:pt x="2792" y="132"/>
                  </a:lnTo>
                  <a:lnTo>
                    <a:pt x="2792" y="136"/>
                  </a:lnTo>
                  <a:lnTo>
                    <a:pt x="2792" y="138"/>
                  </a:lnTo>
                  <a:lnTo>
                    <a:pt x="2794" y="143"/>
                  </a:lnTo>
                  <a:lnTo>
                    <a:pt x="2798" y="151"/>
                  </a:lnTo>
                  <a:lnTo>
                    <a:pt x="2800" y="155"/>
                  </a:lnTo>
                  <a:lnTo>
                    <a:pt x="2798" y="155"/>
                  </a:lnTo>
                  <a:lnTo>
                    <a:pt x="2792" y="149"/>
                  </a:lnTo>
                  <a:lnTo>
                    <a:pt x="2792" y="149"/>
                  </a:lnTo>
                  <a:lnTo>
                    <a:pt x="2790" y="147"/>
                  </a:lnTo>
                  <a:lnTo>
                    <a:pt x="2786" y="141"/>
                  </a:lnTo>
                  <a:lnTo>
                    <a:pt x="2784" y="136"/>
                  </a:lnTo>
                  <a:lnTo>
                    <a:pt x="2782" y="132"/>
                  </a:lnTo>
                  <a:lnTo>
                    <a:pt x="2778" y="130"/>
                  </a:lnTo>
                  <a:lnTo>
                    <a:pt x="2773" y="128"/>
                  </a:lnTo>
                  <a:lnTo>
                    <a:pt x="2771" y="130"/>
                  </a:lnTo>
                  <a:lnTo>
                    <a:pt x="2769" y="134"/>
                  </a:lnTo>
                  <a:lnTo>
                    <a:pt x="2767" y="136"/>
                  </a:lnTo>
                  <a:lnTo>
                    <a:pt x="2765" y="136"/>
                  </a:lnTo>
                  <a:lnTo>
                    <a:pt x="2765" y="138"/>
                  </a:lnTo>
                  <a:lnTo>
                    <a:pt x="2767" y="141"/>
                  </a:lnTo>
                  <a:lnTo>
                    <a:pt x="2767" y="143"/>
                  </a:lnTo>
                  <a:lnTo>
                    <a:pt x="2767" y="143"/>
                  </a:lnTo>
                  <a:lnTo>
                    <a:pt x="2765" y="143"/>
                  </a:lnTo>
                  <a:lnTo>
                    <a:pt x="2763" y="143"/>
                  </a:lnTo>
                  <a:lnTo>
                    <a:pt x="2761" y="141"/>
                  </a:lnTo>
                  <a:lnTo>
                    <a:pt x="2761" y="141"/>
                  </a:lnTo>
                  <a:lnTo>
                    <a:pt x="2757" y="138"/>
                  </a:lnTo>
                  <a:lnTo>
                    <a:pt x="2757" y="138"/>
                  </a:lnTo>
                  <a:lnTo>
                    <a:pt x="2757" y="136"/>
                  </a:lnTo>
                  <a:lnTo>
                    <a:pt x="2755" y="136"/>
                  </a:lnTo>
                  <a:lnTo>
                    <a:pt x="2745" y="136"/>
                  </a:lnTo>
                  <a:lnTo>
                    <a:pt x="2753" y="132"/>
                  </a:lnTo>
                  <a:lnTo>
                    <a:pt x="2763" y="132"/>
                  </a:lnTo>
                  <a:lnTo>
                    <a:pt x="2765" y="130"/>
                  </a:lnTo>
                  <a:lnTo>
                    <a:pt x="2765" y="130"/>
                  </a:lnTo>
                  <a:lnTo>
                    <a:pt x="2765" y="128"/>
                  </a:lnTo>
                  <a:lnTo>
                    <a:pt x="2765" y="128"/>
                  </a:lnTo>
                  <a:lnTo>
                    <a:pt x="2761" y="126"/>
                  </a:lnTo>
                  <a:lnTo>
                    <a:pt x="2753" y="128"/>
                  </a:lnTo>
                  <a:lnTo>
                    <a:pt x="2749" y="130"/>
                  </a:lnTo>
                  <a:lnTo>
                    <a:pt x="2747" y="130"/>
                  </a:lnTo>
                  <a:lnTo>
                    <a:pt x="2740" y="128"/>
                  </a:lnTo>
                  <a:lnTo>
                    <a:pt x="2740" y="128"/>
                  </a:lnTo>
                  <a:lnTo>
                    <a:pt x="2740" y="130"/>
                  </a:lnTo>
                  <a:lnTo>
                    <a:pt x="2743" y="132"/>
                  </a:lnTo>
                  <a:lnTo>
                    <a:pt x="2740" y="132"/>
                  </a:lnTo>
                  <a:lnTo>
                    <a:pt x="2738" y="130"/>
                  </a:lnTo>
                  <a:lnTo>
                    <a:pt x="2732" y="128"/>
                  </a:lnTo>
                  <a:lnTo>
                    <a:pt x="2728" y="128"/>
                  </a:lnTo>
                  <a:lnTo>
                    <a:pt x="2726" y="128"/>
                  </a:lnTo>
                  <a:lnTo>
                    <a:pt x="2726" y="130"/>
                  </a:lnTo>
                  <a:lnTo>
                    <a:pt x="2726" y="132"/>
                  </a:lnTo>
                  <a:lnTo>
                    <a:pt x="2724" y="130"/>
                  </a:lnTo>
                  <a:lnTo>
                    <a:pt x="2722" y="128"/>
                  </a:lnTo>
                  <a:lnTo>
                    <a:pt x="2720" y="128"/>
                  </a:lnTo>
                  <a:lnTo>
                    <a:pt x="2720" y="128"/>
                  </a:lnTo>
                  <a:lnTo>
                    <a:pt x="2718" y="130"/>
                  </a:lnTo>
                  <a:lnTo>
                    <a:pt x="2718" y="130"/>
                  </a:lnTo>
                  <a:lnTo>
                    <a:pt x="2720" y="132"/>
                  </a:lnTo>
                  <a:close/>
                  <a:moveTo>
                    <a:pt x="3873" y="114"/>
                  </a:moveTo>
                  <a:lnTo>
                    <a:pt x="3877" y="114"/>
                  </a:lnTo>
                  <a:lnTo>
                    <a:pt x="3879" y="116"/>
                  </a:lnTo>
                  <a:lnTo>
                    <a:pt x="3881" y="116"/>
                  </a:lnTo>
                  <a:lnTo>
                    <a:pt x="3893" y="120"/>
                  </a:lnTo>
                  <a:lnTo>
                    <a:pt x="3901" y="122"/>
                  </a:lnTo>
                  <a:lnTo>
                    <a:pt x="3906" y="122"/>
                  </a:lnTo>
                  <a:lnTo>
                    <a:pt x="3912" y="120"/>
                  </a:lnTo>
                  <a:lnTo>
                    <a:pt x="3914" y="118"/>
                  </a:lnTo>
                  <a:lnTo>
                    <a:pt x="3916" y="118"/>
                  </a:lnTo>
                  <a:lnTo>
                    <a:pt x="3920" y="118"/>
                  </a:lnTo>
                  <a:lnTo>
                    <a:pt x="3932" y="116"/>
                  </a:lnTo>
                  <a:lnTo>
                    <a:pt x="3951" y="114"/>
                  </a:lnTo>
                  <a:lnTo>
                    <a:pt x="3953" y="114"/>
                  </a:lnTo>
                  <a:lnTo>
                    <a:pt x="3955" y="112"/>
                  </a:lnTo>
                  <a:lnTo>
                    <a:pt x="3953" y="112"/>
                  </a:lnTo>
                  <a:lnTo>
                    <a:pt x="3953" y="110"/>
                  </a:lnTo>
                  <a:lnTo>
                    <a:pt x="3951" y="105"/>
                  </a:lnTo>
                  <a:lnTo>
                    <a:pt x="3951" y="105"/>
                  </a:lnTo>
                  <a:lnTo>
                    <a:pt x="3949" y="105"/>
                  </a:lnTo>
                  <a:lnTo>
                    <a:pt x="3951" y="101"/>
                  </a:lnTo>
                  <a:lnTo>
                    <a:pt x="3953" y="101"/>
                  </a:lnTo>
                  <a:lnTo>
                    <a:pt x="3959" y="99"/>
                  </a:lnTo>
                  <a:lnTo>
                    <a:pt x="3959" y="99"/>
                  </a:lnTo>
                  <a:lnTo>
                    <a:pt x="3961" y="99"/>
                  </a:lnTo>
                  <a:lnTo>
                    <a:pt x="3961" y="97"/>
                  </a:lnTo>
                  <a:lnTo>
                    <a:pt x="3961" y="97"/>
                  </a:lnTo>
                  <a:lnTo>
                    <a:pt x="3959" y="95"/>
                  </a:lnTo>
                  <a:lnTo>
                    <a:pt x="3955" y="95"/>
                  </a:lnTo>
                  <a:lnTo>
                    <a:pt x="3947" y="91"/>
                  </a:lnTo>
                  <a:lnTo>
                    <a:pt x="3945" y="89"/>
                  </a:lnTo>
                  <a:lnTo>
                    <a:pt x="3943" y="89"/>
                  </a:lnTo>
                  <a:lnTo>
                    <a:pt x="3943" y="87"/>
                  </a:lnTo>
                  <a:lnTo>
                    <a:pt x="3943" y="87"/>
                  </a:lnTo>
                  <a:lnTo>
                    <a:pt x="3939" y="83"/>
                  </a:lnTo>
                  <a:lnTo>
                    <a:pt x="3936" y="83"/>
                  </a:lnTo>
                  <a:lnTo>
                    <a:pt x="3934" y="83"/>
                  </a:lnTo>
                  <a:lnTo>
                    <a:pt x="3934" y="81"/>
                  </a:lnTo>
                  <a:lnTo>
                    <a:pt x="3932" y="81"/>
                  </a:lnTo>
                  <a:lnTo>
                    <a:pt x="3922" y="81"/>
                  </a:lnTo>
                  <a:lnTo>
                    <a:pt x="3922" y="83"/>
                  </a:lnTo>
                  <a:lnTo>
                    <a:pt x="3918" y="85"/>
                  </a:lnTo>
                  <a:lnTo>
                    <a:pt x="3916" y="85"/>
                  </a:lnTo>
                  <a:lnTo>
                    <a:pt x="3912" y="87"/>
                  </a:lnTo>
                  <a:lnTo>
                    <a:pt x="3908" y="87"/>
                  </a:lnTo>
                  <a:lnTo>
                    <a:pt x="3906" y="87"/>
                  </a:lnTo>
                  <a:lnTo>
                    <a:pt x="3901" y="89"/>
                  </a:lnTo>
                  <a:lnTo>
                    <a:pt x="3899" y="89"/>
                  </a:lnTo>
                  <a:lnTo>
                    <a:pt x="3897" y="89"/>
                  </a:lnTo>
                  <a:lnTo>
                    <a:pt x="3893" y="89"/>
                  </a:lnTo>
                  <a:lnTo>
                    <a:pt x="3891" y="91"/>
                  </a:lnTo>
                  <a:lnTo>
                    <a:pt x="3889" y="93"/>
                  </a:lnTo>
                  <a:lnTo>
                    <a:pt x="3889" y="93"/>
                  </a:lnTo>
                  <a:lnTo>
                    <a:pt x="3887" y="95"/>
                  </a:lnTo>
                  <a:lnTo>
                    <a:pt x="3887" y="97"/>
                  </a:lnTo>
                  <a:lnTo>
                    <a:pt x="3889" y="97"/>
                  </a:lnTo>
                  <a:lnTo>
                    <a:pt x="3895" y="97"/>
                  </a:lnTo>
                  <a:lnTo>
                    <a:pt x="3891" y="99"/>
                  </a:lnTo>
                  <a:lnTo>
                    <a:pt x="3889" y="101"/>
                  </a:lnTo>
                  <a:lnTo>
                    <a:pt x="3887" y="105"/>
                  </a:lnTo>
                  <a:lnTo>
                    <a:pt x="3881" y="105"/>
                  </a:lnTo>
                  <a:lnTo>
                    <a:pt x="3877" y="108"/>
                  </a:lnTo>
                  <a:lnTo>
                    <a:pt x="3873" y="110"/>
                  </a:lnTo>
                  <a:lnTo>
                    <a:pt x="3870" y="112"/>
                  </a:lnTo>
                  <a:lnTo>
                    <a:pt x="3873" y="114"/>
                  </a:lnTo>
                  <a:close/>
                  <a:moveTo>
                    <a:pt x="3840" y="209"/>
                  </a:moveTo>
                  <a:lnTo>
                    <a:pt x="3842" y="209"/>
                  </a:lnTo>
                  <a:lnTo>
                    <a:pt x="3846" y="207"/>
                  </a:lnTo>
                  <a:lnTo>
                    <a:pt x="3846" y="207"/>
                  </a:lnTo>
                  <a:lnTo>
                    <a:pt x="3844" y="207"/>
                  </a:lnTo>
                  <a:lnTo>
                    <a:pt x="3840" y="207"/>
                  </a:lnTo>
                  <a:lnTo>
                    <a:pt x="3838" y="207"/>
                  </a:lnTo>
                  <a:lnTo>
                    <a:pt x="3838" y="209"/>
                  </a:lnTo>
                  <a:lnTo>
                    <a:pt x="3838" y="209"/>
                  </a:lnTo>
                  <a:lnTo>
                    <a:pt x="3840" y="209"/>
                  </a:lnTo>
                  <a:close/>
                  <a:moveTo>
                    <a:pt x="3850" y="85"/>
                  </a:moveTo>
                  <a:lnTo>
                    <a:pt x="3866" y="87"/>
                  </a:lnTo>
                  <a:lnTo>
                    <a:pt x="3873" y="85"/>
                  </a:lnTo>
                  <a:lnTo>
                    <a:pt x="3870" y="83"/>
                  </a:lnTo>
                  <a:lnTo>
                    <a:pt x="3864" y="83"/>
                  </a:lnTo>
                  <a:lnTo>
                    <a:pt x="3850" y="83"/>
                  </a:lnTo>
                  <a:lnTo>
                    <a:pt x="3848" y="85"/>
                  </a:lnTo>
                  <a:lnTo>
                    <a:pt x="3848" y="85"/>
                  </a:lnTo>
                  <a:lnTo>
                    <a:pt x="3850" y="85"/>
                  </a:lnTo>
                  <a:close/>
                  <a:moveTo>
                    <a:pt x="3953" y="225"/>
                  </a:moveTo>
                  <a:lnTo>
                    <a:pt x="3955" y="225"/>
                  </a:lnTo>
                  <a:lnTo>
                    <a:pt x="3955" y="227"/>
                  </a:lnTo>
                  <a:lnTo>
                    <a:pt x="3957" y="227"/>
                  </a:lnTo>
                  <a:lnTo>
                    <a:pt x="3957" y="227"/>
                  </a:lnTo>
                  <a:lnTo>
                    <a:pt x="3955" y="223"/>
                  </a:lnTo>
                  <a:lnTo>
                    <a:pt x="3953" y="225"/>
                  </a:lnTo>
                  <a:close/>
                  <a:moveTo>
                    <a:pt x="3802" y="277"/>
                  </a:moveTo>
                  <a:lnTo>
                    <a:pt x="3807" y="277"/>
                  </a:lnTo>
                  <a:lnTo>
                    <a:pt x="3807" y="277"/>
                  </a:lnTo>
                  <a:lnTo>
                    <a:pt x="3809" y="275"/>
                  </a:lnTo>
                  <a:lnTo>
                    <a:pt x="3807" y="273"/>
                  </a:lnTo>
                  <a:lnTo>
                    <a:pt x="3807" y="273"/>
                  </a:lnTo>
                  <a:lnTo>
                    <a:pt x="3802" y="275"/>
                  </a:lnTo>
                  <a:lnTo>
                    <a:pt x="3802" y="273"/>
                  </a:lnTo>
                  <a:lnTo>
                    <a:pt x="3800" y="273"/>
                  </a:lnTo>
                  <a:lnTo>
                    <a:pt x="3800" y="275"/>
                  </a:lnTo>
                  <a:lnTo>
                    <a:pt x="3796" y="275"/>
                  </a:lnTo>
                  <a:lnTo>
                    <a:pt x="3796" y="277"/>
                  </a:lnTo>
                  <a:lnTo>
                    <a:pt x="3798" y="277"/>
                  </a:lnTo>
                  <a:lnTo>
                    <a:pt x="3802" y="277"/>
                  </a:lnTo>
                  <a:close/>
                  <a:moveTo>
                    <a:pt x="3943" y="238"/>
                  </a:moveTo>
                  <a:lnTo>
                    <a:pt x="3945" y="238"/>
                  </a:lnTo>
                  <a:lnTo>
                    <a:pt x="3943" y="236"/>
                  </a:lnTo>
                  <a:lnTo>
                    <a:pt x="3939" y="236"/>
                  </a:lnTo>
                  <a:lnTo>
                    <a:pt x="3936" y="236"/>
                  </a:lnTo>
                  <a:lnTo>
                    <a:pt x="3932" y="236"/>
                  </a:lnTo>
                  <a:lnTo>
                    <a:pt x="3928" y="238"/>
                  </a:lnTo>
                  <a:lnTo>
                    <a:pt x="3926" y="236"/>
                  </a:lnTo>
                  <a:lnTo>
                    <a:pt x="3926" y="238"/>
                  </a:lnTo>
                  <a:lnTo>
                    <a:pt x="3926" y="238"/>
                  </a:lnTo>
                  <a:lnTo>
                    <a:pt x="3930" y="240"/>
                  </a:lnTo>
                  <a:lnTo>
                    <a:pt x="3932" y="240"/>
                  </a:lnTo>
                  <a:lnTo>
                    <a:pt x="3936" y="240"/>
                  </a:lnTo>
                  <a:lnTo>
                    <a:pt x="3939" y="242"/>
                  </a:lnTo>
                  <a:lnTo>
                    <a:pt x="3941" y="240"/>
                  </a:lnTo>
                  <a:lnTo>
                    <a:pt x="3941" y="238"/>
                  </a:lnTo>
                  <a:lnTo>
                    <a:pt x="3943" y="238"/>
                  </a:lnTo>
                  <a:lnTo>
                    <a:pt x="3943" y="238"/>
                  </a:lnTo>
                  <a:close/>
                  <a:moveTo>
                    <a:pt x="3957" y="116"/>
                  </a:moveTo>
                  <a:lnTo>
                    <a:pt x="3951" y="118"/>
                  </a:lnTo>
                  <a:lnTo>
                    <a:pt x="3941" y="120"/>
                  </a:lnTo>
                  <a:lnTo>
                    <a:pt x="3939" y="118"/>
                  </a:lnTo>
                  <a:lnTo>
                    <a:pt x="3936" y="120"/>
                  </a:lnTo>
                  <a:lnTo>
                    <a:pt x="3932" y="118"/>
                  </a:lnTo>
                  <a:lnTo>
                    <a:pt x="3928" y="118"/>
                  </a:lnTo>
                  <a:lnTo>
                    <a:pt x="3926" y="120"/>
                  </a:lnTo>
                  <a:lnTo>
                    <a:pt x="3926" y="120"/>
                  </a:lnTo>
                  <a:lnTo>
                    <a:pt x="3924" y="122"/>
                  </a:lnTo>
                  <a:lnTo>
                    <a:pt x="3920" y="120"/>
                  </a:lnTo>
                  <a:lnTo>
                    <a:pt x="3920" y="120"/>
                  </a:lnTo>
                  <a:lnTo>
                    <a:pt x="3918" y="122"/>
                  </a:lnTo>
                  <a:lnTo>
                    <a:pt x="3916" y="122"/>
                  </a:lnTo>
                  <a:lnTo>
                    <a:pt x="3912" y="124"/>
                  </a:lnTo>
                  <a:lnTo>
                    <a:pt x="3910" y="128"/>
                  </a:lnTo>
                  <a:lnTo>
                    <a:pt x="3908" y="130"/>
                  </a:lnTo>
                  <a:lnTo>
                    <a:pt x="3903" y="132"/>
                  </a:lnTo>
                  <a:lnTo>
                    <a:pt x="3897" y="134"/>
                  </a:lnTo>
                  <a:lnTo>
                    <a:pt x="3893" y="138"/>
                  </a:lnTo>
                  <a:lnTo>
                    <a:pt x="3895" y="141"/>
                  </a:lnTo>
                  <a:lnTo>
                    <a:pt x="3899" y="138"/>
                  </a:lnTo>
                  <a:lnTo>
                    <a:pt x="3903" y="141"/>
                  </a:lnTo>
                  <a:lnTo>
                    <a:pt x="3910" y="141"/>
                  </a:lnTo>
                  <a:lnTo>
                    <a:pt x="3912" y="145"/>
                  </a:lnTo>
                  <a:lnTo>
                    <a:pt x="3914" y="147"/>
                  </a:lnTo>
                  <a:lnTo>
                    <a:pt x="3916" y="149"/>
                  </a:lnTo>
                  <a:lnTo>
                    <a:pt x="3916" y="149"/>
                  </a:lnTo>
                  <a:lnTo>
                    <a:pt x="3916" y="151"/>
                  </a:lnTo>
                  <a:lnTo>
                    <a:pt x="3918" y="151"/>
                  </a:lnTo>
                  <a:lnTo>
                    <a:pt x="3922" y="153"/>
                  </a:lnTo>
                  <a:lnTo>
                    <a:pt x="3922" y="153"/>
                  </a:lnTo>
                  <a:lnTo>
                    <a:pt x="3926" y="151"/>
                  </a:lnTo>
                  <a:lnTo>
                    <a:pt x="3928" y="151"/>
                  </a:lnTo>
                  <a:lnTo>
                    <a:pt x="3930" y="153"/>
                  </a:lnTo>
                  <a:lnTo>
                    <a:pt x="3932" y="155"/>
                  </a:lnTo>
                  <a:lnTo>
                    <a:pt x="3941" y="153"/>
                  </a:lnTo>
                  <a:lnTo>
                    <a:pt x="3941" y="153"/>
                  </a:lnTo>
                  <a:lnTo>
                    <a:pt x="3947" y="155"/>
                  </a:lnTo>
                  <a:lnTo>
                    <a:pt x="3947" y="155"/>
                  </a:lnTo>
                  <a:lnTo>
                    <a:pt x="3949" y="157"/>
                  </a:lnTo>
                  <a:lnTo>
                    <a:pt x="3953" y="159"/>
                  </a:lnTo>
                  <a:lnTo>
                    <a:pt x="3957" y="159"/>
                  </a:lnTo>
                  <a:lnTo>
                    <a:pt x="3959" y="159"/>
                  </a:lnTo>
                  <a:lnTo>
                    <a:pt x="3961" y="159"/>
                  </a:lnTo>
                  <a:lnTo>
                    <a:pt x="3965" y="159"/>
                  </a:lnTo>
                  <a:lnTo>
                    <a:pt x="3967" y="161"/>
                  </a:lnTo>
                  <a:lnTo>
                    <a:pt x="3969" y="161"/>
                  </a:lnTo>
                  <a:lnTo>
                    <a:pt x="3976" y="159"/>
                  </a:lnTo>
                  <a:lnTo>
                    <a:pt x="3984" y="159"/>
                  </a:lnTo>
                  <a:lnTo>
                    <a:pt x="3986" y="159"/>
                  </a:lnTo>
                  <a:lnTo>
                    <a:pt x="3990" y="155"/>
                  </a:lnTo>
                  <a:lnTo>
                    <a:pt x="3990" y="153"/>
                  </a:lnTo>
                  <a:lnTo>
                    <a:pt x="3990" y="151"/>
                  </a:lnTo>
                  <a:lnTo>
                    <a:pt x="3988" y="151"/>
                  </a:lnTo>
                  <a:lnTo>
                    <a:pt x="3986" y="151"/>
                  </a:lnTo>
                  <a:lnTo>
                    <a:pt x="3982" y="147"/>
                  </a:lnTo>
                  <a:lnTo>
                    <a:pt x="3978" y="145"/>
                  </a:lnTo>
                  <a:lnTo>
                    <a:pt x="3980" y="145"/>
                  </a:lnTo>
                  <a:lnTo>
                    <a:pt x="3980" y="145"/>
                  </a:lnTo>
                  <a:lnTo>
                    <a:pt x="3984" y="145"/>
                  </a:lnTo>
                  <a:lnTo>
                    <a:pt x="3986" y="145"/>
                  </a:lnTo>
                  <a:lnTo>
                    <a:pt x="3988" y="145"/>
                  </a:lnTo>
                  <a:lnTo>
                    <a:pt x="3988" y="143"/>
                  </a:lnTo>
                  <a:lnTo>
                    <a:pt x="3988" y="138"/>
                  </a:lnTo>
                  <a:lnTo>
                    <a:pt x="3988" y="138"/>
                  </a:lnTo>
                  <a:lnTo>
                    <a:pt x="3988" y="138"/>
                  </a:lnTo>
                  <a:lnTo>
                    <a:pt x="3988" y="136"/>
                  </a:lnTo>
                  <a:lnTo>
                    <a:pt x="3988" y="134"/>
                  </a:lnTo>
                  <a:lnTo>
                    <a:pt x="3990" y="134"/>
                  </a:lnTo>
                  <a:lnTo>
                    <a:pt x="3990" y="132"/>
                  </a:lnTo>
                  <a:lnTo>
                    <a:pt x="3990" y="130"/>
                  </a:lnTo>
                  <a:lnTo>
                    <a:pt x="3992" y="130"/>
                  </a:lnTo>
                  <a:lnTo>
                    <a:pt x="3992" y="126"/>
                  </a:lnTo>
                  <a:lnTo>
                    <a:pt x="3990" y="126"/>
                  </a:lnTo>
                  <a:lnTo>
                    <a:pt x="3988" y="124"/>
                  </a:lnTo>
                  <a:lnTo>
                    <a:pt x="3986" y="124"/>
                  </a:lnTo>
                  <a:lnTo>
                    <a:pt x="3984" y="124"/>
                  </a:lnTo>
                  <a:lnTo>
                    <a:pt x="3984" y="122"/>
                  </a:lnTo>
                  <a:lnTo>
                    <a:pt x="3982" y="122"/>
                  </a:lnTo>
                  <a:lnTo>
                    <a:pt x="3976" y="120"/>
                  </a:lnTo>
                  <a:lnTo>
                    <a:pt x="3972" y="120"/>
                  </a:lnTo>
                  <a:lnTo>
                    <a:pt x="3972" y="120"/>
                  </a:lnTo>
                  <a:lnTo>
                    <a:pt x="3969" y="122"/>
                  </a:lnTo>
                  <a:lnTo>
                    <a:pt x="3972" y="124"/>
                  </a:lnTo>
                  <a:lnTo>
                    <a:pt x="3969" y="126"/>
                  </a:lnTo>
                  <a:lnTo>
                    <a:pt x="3967" y="126"/>
                  </a:lnTo>
                  <a:lnTo>
                    <a:pt x="3965" y="126"/>
                  </a:lnTo>
                  <a:lnTo>
                    <a:pt x="3961" y="126"/>
                  </a:lnTo>
                  <a:lnTo>
                    <a:pt x="3959" y="130"/>
                  </a:lnTo>
                  <a:lnTo>
                    <a:pt x="3959" y="130"/>
                  </a:lnTo>
                  <a:lnTo>
                    <a:pt x="3957" y="130"/>
                  </a:lnTo>
                  <a:lnTo>
                    <a:pt x="3959" y="126"/>
                  </a:lnTo>
                  <a:lnTo>
                    <a:pt x="3959" y="126"/>
                  </a:lnTo>
                  <a:lnTo>
                    <a:pt x="3961" y="124"/>
                  </a:lnTo>
                  <a:lnTo>
                    <a:pt x="3961" y="122"/>
                  </a:lnTo>
                  <a:lnTo>
                    <a:pt x="3963" y="122"/>
                  </a:lnTo>
                  <a:lnTo>
                    <a:pt x="3961" y="120"/>
                  </a:lnTo>
                  <a:lnTo>
                    <a:pt x="3959" y="118"/>
                  </a:lnTo>
                  <a:lnTo>
                    <a:pt x="3957" y="116"/>
                  </a:lnTo>
                  <a:close/>
                  <a:moveTo>
                    <a:pt x="3947" y="233"/>
                  </a:moveTo>
                  <a:lnTo>
                    <a:pt x="3947" y="233"/>
                  </a:lnTo>
                  <a:lnTo>
                    <a:pt x="3947" y="236"/>
                  </a:lnTo>
                  <a:lnTo>
                    <a:pt x="3945" y="238"/>
                  </a:lnTo>
                  <a:lnTo>
                    <a:pt x="3945" y="238"/>
                  </a:lnTo>
                  <a:lnTo>
                    <a:pt x="3947" y="240"/>
                  </a:lnTo>
                  <a:lnTo>
                    <a:pt x="3947" y="240"/>
                  </a:lnTo>
                  <a:lnTo>
                    <a:pt x="3947" y="240"/>
                  </a:lnTo>
                  <a:lnTo>
                    <a:pt x="3949" y="238"/>
                  </a:lnTo>
                  <a:lnTo>
                    <a:pt x="3951" y="236"/>
                  </a:lnTo>
                  <a:lnTo>
                    <a:pt x="3951" y="236"/>
                  </a:lnTo>
                  <a:lnTo>
                    <a:pt x="3949" y="233"/>
                  </a:lnTo>
                  <a:lnTo>
                    <a:pt x="3947" y="233"/>
                  </a:lnTo>
                  <a:close/>
                  <a:moveTo>
                    <a:pt x="3730" y="264"/>
                  </a:moveTo>
                  <a:lnTo>
                    <a:pt x="3730" y="264"/>
                  </a:lnTo>
                  <a:lnTo>
                    <a:pt x="3730" y="264"/>
                  </a:lnTo>
                  <a:lnTo>
                    <a:pt x="3734" y="264"/>
                  </a:lnTo>
                  <a:lnTo>
                    <a:pt x="3734" y="267"/>
                  </a:lnTo>
                  <a:lnTo>
                    <a:pt x="3734" y="267"/>
                  </a:lnTo>
                  <a:lnTo>
                    <a:pt x="3736" y="262"/>
                  </a:lnTo>
                  <a:lnTo>
                    <a:pt x="3739" y="264"/>
                  </a:lnTo>
                  <a:lnTo>
                    <a:pt x="3739" y="262"/>
                  </a:lnTo>
                  <a:lnTo>
                    <a:pt x="3739" y="262"/>
                  </a:lnTo>
                  <a:lnTo>
                    <a:pt x="3739" y="260"/>
                  </a:lnTo>
                  <a:lnTo>
                    <a:pt x="3739" y="258"/>
                  </a:lnTo>
                  <a:lnTo>
                    <a:pt x="3736" y="258"/>
                  </a:lnTo>
                  <a:lnTo>
                    <a:pt x="3734" y="258"/>
                  </a:lnTo>
                  <a:lnTo>
                    <a:pt x="3734" y="260"/>
                  </a:lnTo>
                  <a:lnTo>
                    <a:pt x="3734" y="262"/>
                  </a:lnTo>
                  <a:lnTo>
                    <a:pt x="3732" y="262"/>
                  </a:lnTo>
                  <a:lnTo>
                    <a:pt x="3732" y="260"/>
                  </a:lnTo>
                  <a:lnTo>
                    <a:pt x="3728" y="262"/>
                  </a:lnTo>
                  <a:lnTo>
                    <a:pt x="3728" y="264"/>
                  </a:lnTo>
                  <a:lnTo>
                    <a:pt x="3730" y="264"/>
                  </a:lnTo>
                  <a:close/>
                  <a:moveTo>
                    <a:pt x="3691" y="335"/>
                  </a:moveTo>
                  <a:lnTo>
                    <a:pt x="3699" y="337"/>
                  </a:lnTo>
                  <a:lnTo>
                    <a:pt x="3699" y="337"/>
                  </a:lnTo>
                  <a:lnTo>
                    <a:pt x="3699" y="335"/>
                  </a:lnTo>
                  <a:lnTo>
                    <a:pt x="3701" y="331"/>
                  </a:lnTo>
                  <a:lnTo>
                    <a:pt x="3699" y="328"/>
                  </a:lnTo>
                  <a:lnTo>
                    <a:pt x="3697" y="326"/>
                  </a:lnTo>
                  <a:lnTo>
                    <a:pt x="3695" y="326"/>
                  </a:lnTo>
                  <a:lnTo>
                    <a:pt x="3687" y="331"/>
                  </a:lnTo>
                  <a:lnTo>
                    <a:pt x="3687" y="333"/>
                  </a:lnTo>
                  <a:lnTo>
                    <a:pt x="3689" y="333"/>
                  </a:lnTo>
                  <a:lnTo>
                    <a:pt x="3691" y="335"/>
                  </a:lnTo>
                  <a:close/>
                  <a:moveTo>
                    <a:pt x="3670" y="341"/>
                  </a:moveTo>
                  <a:lnTo>
                    <a:pt x="3668" y="343"/>
                  </a:lnTo>
                  <a:lnTo>
                    <a:pt x="3666" y="343"/>
                  </a:lnTo>
                  <a:lnTo>
                    <a:pt x="3662" y="345"/>
                  </a:lnTo>
                  <a:lnTo>
                    <a:pt x="3662" y="347"/>
                  </a:lnTo>
                  <a:lnTo>
                    <a:pt x="3662" y="347"/>
                  </a:lnTo>
                  <a:lnTo>
                    <a:pt x="3666" y="347"/>
                  </a:lnTo>
                  <a:lnTo>
                    <a:pt x="3673" y="347"/>
                  </a:lnTo>
                  <a:lnTo>
                    <a:pt x="3675" y="347"/>
                  </a:lnTo>
                  <a:lnTo>
                    <a:pt x="3679" y="345"/>
                  </a:lnTo>
                  <a:lnTo>
                    <a:pt x="3681" y="343"/>
                  </a:lnTo>
                  <a:lnTo>
                    <a:pt x="3683" y="343"/>
                  </a:lnTo>
                  <a:lnTo>
                    <a:pt x="3683" y="341"/>
                  </a:lnTo>
                  <a:lnTo>
                    <a:pt x="3683" y="341"/>
                  </a:lnTo>
                  <a:lnTo>
                    <a:pt x="3675" y="339"/>
                  </a:lnTo>
                  <a:lnTo>
                    <a:pt x="3673" y="339"/>
                  </a:lnTo>
                  <a:lnTo>
                    <a:pt x="3670" y="341"/>
                  </a:lnTo>
                  <a:close/>
                  <a:moveTo>
                    <a:pt x="584" y="1745"/>
                  </a:moveTo>
                  <a:lnTo>
                    <a:pt x="581" y="1745"/>
                  </a:lnTo>
                  <a:lnTo>
                    <a:pt x="584" y="1745"/>
                  </a:lnTo>
                  <a:lnTo>
                    <a:pt x="584" y="1747"/>
                  </a:lnTo>
                  <a:lnTo>
                    <a:pt x="584" y="1745"/>
                  </a:lnTo>
                  <a:lnTo>
                    <a:pt x="586" y="1745"/>
                  </a:lnTo>
                  <a:lnTo>
                    <a:pt x="588" y="1745"/>
                  </a:lnTo>
                  <a:lnTo>
                    <a:pt x="586" y="1745"/>
                  </a:lnTo>
                  <a:lnTo>
                    <a:pt x="584" y="1745"/>
                  </a:lnTo>
                  <a:close/>
                  <a:moveTo>
                    <a:pt x="3652" y="314"/>
                  </a:moveTo>
                  <a:lnTo>
                    <a:pt x="3652" y="314"/>
                  </a:lnTo>
                  <a:lnTo>
                    <a:pt x="3654" y="316"/>
                  </a:lnTo>
                  <a:lnTo>
                    <a:pt x="3660" y="316"/>
                  </a:lnTo>
                  <a:lnTo>
                    <a:pt x="3660" y="316"/>
                  </a:lnTo>
                  <a:lnTo>
                    <a:pt x="3654" y="314"/>
                  </a:lnTo>
                  <a:lnTo>
                    <a:pt x="3652" y="314"/>
                  </a:lnTo>
                  <a:close/>
                  <a:moveTo>
                    <a:pt x="3652" y="136"/>
                  </a:moveTo>
                  <a:lnTo>
                    <a:pt x="3656" y="136"/>
                  </a:lnTo>
                  <a:lnTo>
                    <a:pt x="3658" y="136"/>
                  </a:lnTo>
                  <a:lnTo>
                    <a:pt x="3660" y="138"/>
                  </a:lnTo>
                  <a:lnTo>
                    <a:pt x="3662" y="138"/>
                  </a:lnTo>
                  <a:lnTo>
                    <a:pt x="3673" y="138"/>
                  </a:lnTo>
                  <a:lnTo>
                    <a:pt x="3673" y="138"/>
                  </a:lnTo>
                  <a:lnTo>
                    <a:pt x="3668" y="136"/>
                  </a:lnTo>
                  <a:lnTo>
                    <a:pt x="3656" y="134"/>
                  </a:lnTo>
                  <a:lnTo>
                    <a:pt x="3656" y="134"/>
                  </a:lnTo>
                  <a:lnTo>
                    <a:pt x="3654" y="134"/>
                  </a:lnTo>
                  <a:lnTo>
                    <a:pt x="3652" y="132"/>
                  </a:lnTo>
                  <a:lnTo>
                    <a:pt x="3650" y="134"/>
                  </a:lnTo>
                  <a:lnTo>
                    <a:pt x="3652" y="134"/>
                  </a:lnTo>
                  <a:lnTo>
                    <a:pt x="3652" y="136"/>
                  </a:lnTo>
                  <a:close/>
                  <a:moveTo>
                    <a:pt x="3693" y="95"/>
                  </a:moveTo>
                  <a:lnTo>
                    <a:pt x="3708" y="95"/>
                  </a:lnTo>
                  <a:lnTo>
                    <a:pt x="3712" y="93"/>
                  </a:lnTo>
                  <a:lnTo>
                    <a:pt x="3712" y="93"/>
                  </a:lnTo>
                  <a:lnTo>
                    <a:pt x="3714" y="91"/>
                  </a:lnTo>
                  <a:lnTo>
                    <a:pt x="3712" y="91"/>
                  </a:lnTo>
                  <a:lnTo>
                    <a:pt x="3703" y="91"/>
                  </a:lnTo>
                  <a:lnTo>
                    <a:pt x="3695" y="91"/>
                  </a:lnTo>
                  <a:lnTo>
                    <a:pt x="3695" y="93"/>
                  </a:lnTo>
                  <a:lnTo>
                    <a:pt x="3693" y="95"/>
                  </a:lnTo>
                  <a:lnTo>
                    <a:pt x="3693" y="95"/>
                  </a:lnTo>
                  <a:lnTo>
                    <a:pt x="3693" y="95"/>
                  </a:lnTo>
                  <a:close/>
                  <a:moveTo>
                    <a:pt x="3755" y="300"/>
                  </a:moveTo>
                  <a:lnTo>
                    <a:pt x="3757" y="300"/>
                  </a:lnTo>
                  <a:lnTo>
                    <a:pt x="3757" y="300"/>
                  </a:lnTo>
                  <a:lnTo>
                    <a:pt x="3757" y="300"/>
                  </a:lnTo>
                  <a:lnTo>
                    <a:pt x="3759" y="300"/>
                  </a:lnTo>
                  <a:lnTo>
                    <a:pt x="3757" y="297"/>
                  </a:lnTo>
                  <a:lnTo>
                    <a:pt x="3751" y="297"/>
                  </a:lnTo>
                  <a:lnTo>
                    <a:pt x="3749" y="297"/>
                  </a:lnTo>
                  <a:lnTo>
                    <a:pt x="3747" y="297"/>
                  </a:lnTo>
                  <a:lnTo>
                    <a:pt x="3753" y="300"/>
                  </a:lnTo>
                  <a:lnTo>
                    <a:pt x="3755" y="300"/>
                  </a:lnTo>
                  <a:close/>
                  <a:moveTo>
                    <a:pt x="3743" y="300"/>
                  </a:moveTo>
                  <a:lnTo>
                    <a:pt x="3745" y="300"/>
                  </a:lnTo>
                  <a:lnTo>
                    <a:pt x="3745" y="297"/>
                  </a:lnTo>
                  <a:lnTo>
                    <a:pt x="3745" y="297"/>
                  </a:lnTo>
                  <a:lnTo>
                    <a:pt x="3745" y="297"/>
                  </a:lnTo>
                  <a:lnTo>
                    <a:pt x="3743" y="297"/>
                  </a:lnTo>
                  <a:lnTo>
                    <a:pt x="3741" y="297"/>
                  </a:lnTo>
                  <a:lnTo>
                    <a:pt x="3741" y="297"/>
                  </a:lnTo>
                  <a:lnTo>
                    <a:pt x="3741" y="297"/>
                  </a:lnTo>
                  <a:lnTo>
                    <a:pt x="3743" y="300"/>
                  </a:lnTo>
                  <a:close/>
                  <a:moveTo>
                    <a:pt x="3992" y="132"/>
                  </a:moveTo>
                  <a:lnTo>
                    <a:pt x="3990" y="134"/>
                  </a:lnTo>
                  <a:lnTo>
                    <a:pt x="3994" y="134"/>
                  </a:lnTo>
                  <a:lnTo>
                    <a:pt x="3996" y="132"/>
                  </a:lnTo>
                  <a:lnTo>
                    <a:pt x="3994" y="132"/>
                  </a:lnTo>
                  <a:lnTo>
                    <a:pt x="3992" y="132"/>
                  </a:lnTo>
                  <a:lnTo>
                    <a:pt x="3992" y="132"/>
                  </a:lnTo>
                  <a:lnTo>
                    <a:pt x="3992" y="132"/>
                  </a:lnTo>
                  <a:close/>
                  <a:moveTo>
                    <a:pt x="4497" y="295"/>
                  </a:moveTo>
                  <a:lnTo>
                    <a:pt x="4499" y="297"/>
                  </a:lnTo>
                  <a:lnTo>
                    <a:pt x="4501" y="300"/>
                  </a:lnTo>
                  <a:lnTo>
                    <a:pt x="4506" y="304"/>
                  </a:lnTo>
                  <a:lnTo>
                    <a:pt x="4508" y="304"/>
                  </a:lnTo>
                  <a:lnTo>
                    <a:pt x="4508" y="304"/>
                  </a:lnTo>
                  <a:lnTo>
                    <a:pt x="4510" y="302"/>
                  </a:lnTo>
                  <a:lnTo>
                    <a:pt x="4506" y="297"/>
                  </a:lnTo>
                  <a:lnTo>
                    <a:pt x="4499" y="295"/>
                  </a:lnTo>
                  <a:lnTo>
                    <a:pt x="4497" y="293"/>
                  </a:lnTo>
                  <a:lnTo>
                    <a:pt x="4497" y="295"/>
                  </a:lnTo>
                  <a:lnTo>
                    <a:pt x="4497" y="295"/>
                  </a:lnTo>
                  <a:close/>
                  <a:moveTo>
                    <a:pt x="4660" y="271"/>
                  </a:moveTo>
                  <a:lnTo>
                    <a:pt x="4664" y="273"/>
                  </a:lnTo>
                  <a:lnTo>
                    <a:pt x="4666" y="273"/>
                  </a:lnTo>
                  <a:lnTo>
                    <a:pt x="4671" y="275"/>
                  </a:lnTo>
                  <a:lnTo>
                    <a:pt x="4673" y="275"/>
                  </a:lnTo>
                  <a:lnTo>
                    <a:pt x="4677" y="277"/>
                  </a:lnTo>
                  <a:lnTo>
                    <a:pt x="4677" y="279"/>
                  </a:lnTo>
                  <a:lnTo>
                    <a:pt x="4681" y="279"/>
                  </a:lnTo>
                  <a:lnTo>
                    <a:pt x="4691" y="279"/>
                  </a:lnTo>
                  <a:lnTo>
                    <a:pt x="4699" y="279"/>
                  </a:lnTo>
                  <a:lnTo>
                    <a:pt x="4704" y="279"/>
                  </a:lnTo>
                  <a:lnTo>
                    <a:pt x="4710" y="277"/>
                  </a:lnTo>
                  <a:lnTo>
                    <a:pt x="4714" y="275"/>
                  </a:lnTo>
                  <a:lnTo>
                    <a:pt x="4714" y="275"/>
                  </a:lnTo>
                  <a:lnTo>
                    <a:pt x="4716" y="269"/>
                  </a:lnTo>
                  <a:lnTo>
                    <a:pt x="4716" y="269"/>
                  </a:lnTo>
                  <a:lnTo>
                    <a:pt x="4714" y="269"/>
                  </a:lnTo>
                  <a:lnTo>
                    <a:pt x="4714" y="271"/>
                  </a:lnTo>
                  <a:lnTo>
                    <a:pt x="4712" y="271"/>
                  </a:lnTo>
                  <a:lnTo>
                    <a:pt x="4712" y="269"/>
                  </a:lnTo>
                  <a:lnTo>
                    <a:pt x="4710" y="269"/>
                  </a:lnTo>
                  <a:lnTo>
                    <a:pt x="4706" y="267"/>
                  </a:lnTo>
                  <a:lnTo>
                    <a:pt x="4699" y="267"/>
                  </a:lnTo>
                  <a:lnTo>
                    <a:pt x="4691" y="267"/>
                  </a:lnTo>
                  <a:lnTo>
                    <a:pt x="4689" y="267"/>
                  </a:lnTo>
                  <a:lnTo>
                    <a:pt x="4685" y="267"/>
                  </a:lnTo>
                  <a:lnTo>
                    <a:pt x="4683" y="264"/>
                  </a:lnTo>
                  <a:lnTo>
                    <a:pt x="4683" y="264"/>
                  </a:lnTo>
                  <a:lnTo>
                    <a:pt x="4683" y="264"/>
                  </a:lnTo>
                  <a:lnTo>
                    <a:pt x="4683" y="262"/>
                  </a:lnTo>
                  <a:lnTo>
                    <a:pt x="4683" y="260"/>
                  </a:lnTo>
                  <a:lnTo>
                    <a:pt x="4669" y="260"/>
                  </a:lnTo>
                  <a:lnTo>
                    <a:pt x="4669" y="260"/>
                  </a:lnTo>
                  <a:lnTo>
                    <a:pt x="4662" y="262"/>
                  </a:lnTo>
                  <a:lnTo>
                    <a:pt x="4660" y="262"/>
                  </a:lnTo>
                  <a:lnTo>
                    <a:pt x="4658" y="260"/>
                  </a:lnTo>
                  <a:lnTo>
                    <a:pt x="4658" y="258"/>
                  </a:lnTo>
                  <a:lnTo>
                    <a:pt x="4656" y="256"/>
                  </a:lnTo>
                  <a:lnTo>
                    <a:pt x="4654" y="256"/>
                  </a:lnTo>
                  <a:lnTo>
                    <a:pt x="4652" y="260"/>
                  </a:lnTo>
                  <a:lnTo>
                    <a:pt x="4652" y="262"/>
                  </a:lnTo>
                  <a:lnTo>
                    <a:pt x="4650" y="264"/>
                  </a:lnTo>
                  <a:lnTo>
                    <a:pt x="4650" y="267"/>
                  </a:lnTo>
                  <a:lnTo>
                    <a:pt x="4658" y="271"/>
                  </a:lnTo>
                  <a:lnTo>
                    <a:pt x="4660" y="271"/>
                  </a:lnTo>
                  <a:close/>
                  <a:moveTo>
                    <a:pt x="4567" y="304"/>
                  </a:moveTo>
                  <a:lnTo>
                    <a:pt x="4570" y="304"/>
                  </a:lnTo>
                  <a:lnTo>
                    <a:pt x="4578" y="302"/>
                  </a:lnTo>
                  <a:lnTo>
                    <a:pt x="4578" y="300"/>
                  </a:lnTo>
                  <a:lnTo>
                    <a:pt x="4578" y="295"/>
                  </a:lnTo>
                  <a:lnTo>
                    <a:pt x="4578" y="295"/>
                  </a:lnTo>
                  <a:lnTo>
                    <a:pt x="4578" y="293"/>
                  </a:lnTo>
                  <a:lnTo>
                    <a:pt x="4576" y="293"/>
                  </a:lnTo>
                  <a:lnTo>
                    <a:pt x="4574" y="293"/>
                  </a:lnTo>
                  <a:lnTo>
                    <a:pt x="4567" y="293"/>
                  </a:lnTo>
                  <a:lnTo>
                    <a:pt x="4567" y="293"/>
                  </a:lnTo>
                  <a:lnTo>
                    <a:pt x="4565" y="295"/>
                  </a:lnTo>
                  <a:lnTo>
                    <a:pt x="4563" y="295"/>
                  </a:lnTo>
                  <a:lnTo>
                    <a:pt x="4565" y="302"/>
                  </a:lnTo>
                  <a:lnTo>
                    <a:pt x="4567" y="304"/>
                  </a:lnTo>
                  <a:close/>
                  <a:moveTo>
                    <a:pt x="4557" y="316"/>
                  </a:moveTo>
                  <a:lnTo>
                    <a:pt x="4559" y="318"/>
                  </a:lnTo>
                  <a:lnTo>
                    <a:pt x="4561" y="318"/>
                  </a:lnTo>
                  <a:lnTo>
                    <a:pt x="4563" y="318"/>
                  </a:lnTo>
                  <a:lnTo>
                    <a:pt x="4567" y="316"/>
                  </a:lnTo>
                  <a:lnTo>
                    <a:pt x="4572" y="316"/>
                  </a:lnTo>
                  <a:lnTo>
                    <a:pt x="4574" y="316"/>
                  </a:lnTo>
                  <a:lnTo>
                    <a:pt x="4580" y="318"/>
                  </a:lnTo>
                  <a:lnTo>
                    <a:pt x="4586" y="320"/>
                  </a:lnTo>
                  <a:lnTo>
                    <a:pt x="4592" y="320"/>
                  </a:lnTo>
                  <a:lnTo>
                    <a:pt x="4596" y="322"/>
                  </a:lnTo>
                  <a:lnTo>
                    <a:pt x="4598" y="322"/>
                  </a:lnTo>
                  <a:lnTo>
                    <a:pt x="4603" y="322"/>
                  </a:lnTo>
                  <a:lnTo>
                    <a:pt x="4609" y="322"/>
                  </a:lnTo>
                  <a:lnTo>
                    <a:pt x="4611" y="322"/>
                  </a:lnTo>
                  <a:lnTo>
                    <a:pt x="4613" y="322"/>
                  </a:lnTo>
                  <a:lnTo>
                    <a:pt x="4611" y="316"/>
                  </a:lnTo>
                  <a:lnTo>
                    <a:pt x="4611" y="314"/>
                  </a:lnTo>
                  <a:lnTo>
                    <a:pt x="4611" y="312"/>
                  </a:lnTo>
                  <a:lnTo>
                    <a:pt x="4600" y="306"/>
                  </a:lnTo>
                  <a:lnTo>
                    <a:pt x="4596" y="306"/>
                  </a:lnTo>
                  <a:lnTo>
                    <a:pt x="4594" y="304"/>
                  </a:lnTo>
                  <a:lnTo>
                    <a:pt x="4590" y="304"/>
                  </a:lnTo>
                  <a:lnTo>
                    <a:pt x="4586" y="304"/>
                  </a:lnTo>
                  <a:lnTo>
                    <a:pt x="4582" y="304"/>
                  </a:lnTo>
                  <a:lnTo>
                    <a:pt x="4580" y="304"/>
                  </a:lnTo>
                  <a:lnTo>
                    <a:pt x="4578" y="304"/>
                  </a:lnTo>
                  <a:lnTo>
                    <a:pt x="4576" y="306"/>
                  </a:lnTo>
                  <a:lnTo>
                    <a:pt x="4576" y="308"/>
                  </a:lnTo>
                  <a:lnTo>
                    <a:pt x="4572" y="312"/>
                  </a:lnTo>
                  <a:lnTo>
                    <a:pt x="4572" y="312"/>
                  </a:lnTo>
                  <a:lnTo>
                    <a:pt x="4567" y="316"/>
                  </a:lnTo>
                  <a:lnTo>
                    <a:pt x="4565" y="316"/>
                  </a:lnTo>
                  <a:lnTo>
                    <a:pt x="4561" y="316"/>
                  </a:lnTo>
                  <a:lnTo>
                    <a:pt x="4557" y="316"/>
                  </a:lnTo>
                  <a:close/>
                  <a:moveTo>
                    <a:pt x="4520" y="267"/>
                  </a:moveTo>
                  <a:lnTo>
                    <a:pt x="4522" y="269"/>
                  </a:lnTo>
                  <a:lnTo>
                    <a:pt x="4526" y="271"/>
                  </a:lnTo>
                  <a:lnTo>
                    <a:pt x="4528" y="273"/>
                  </a:lnTo>
                  <a:lnTo>
                    <a:pt x="4530" y="273"/>
                  </a:lnTo>
                  <a:lnTo>
                    <a:pt x="4532" y="277"/>
                  </a:lnTo>
                  <a:lnTo>
                    <a:pt x="4534" y="279"/>
                  </a:lnTo>
                  <a:lnTo>
                    <a:pt x="4534" y="279"/>
                  </a:lnTo>
                  <a:lnTo>
                    <a:pt x="4547" y="281"/>
                  </a:lnTo>
                  <a:lnTo>
                    <a:pt x="4547" y="283"/>
                  </a:lnTo>
                  <a:lnTo>
                    <a:pt x="4549" y="283"/>
                  </a:lnTo>
                  <a:lnTo>
                    <a:pt x="4551" y="283"/>
                  </a:lnTo>
                  <a:lnTo>
                    <a:pt x="4553" y="281"/>
                  </a:lnTo>
                  <a:lnTo>
                    <a:pt x="4555" y="281"/>
                  </a:lnTo>
                  <a:lnTo>
                    <a:pt x="4555" y="277"/>
                  </a:lnTo>
                  <a:lnTo>
                    <a:pt x="4555" y="275"/>
                  </a:lnTo>
                  <a:lnTo>
                    <a:pt x="4557" y="275"/>
                  </a:lnTo>
                  <a:lnTo>
                    <a:pt x="4557" y="275"/>
                  </a:lnTo>
                  <a:lnTo>
                    <a:pt x="4559" y="275"/>
                  </a:lnTo>
                  <a:lnTo>
                    <a:pt x="4563" y="277"/>
                  </a:lnTo>
                  <a:lnTo>
                    <a:pt x="4565" y="277"/>
                  </a:lnTo>
                  <a:lnTo>
                    <a:pt x="4570" y="277"/>
                  </a:lnTo>
                  <a:lnTo>
                    <a:pt x="4572" y="277"/>
                  </a:lnTo>
                  <a:lnTo>
                    <a:pt x="4582" y="275"/>
                  </a:lnTo>
                  <a:lnTo>
                    <a:pt x="4584" y="275"/>
                  </a:lnTo>
                  <a:lnTo>
                    <a:pt x="4588" y="273"/>
                  </a:lnTo>
                  <a:lnTo>
                    <a:pt x="4590" y="273"/>
                  </a:lnTo>
                  <a:lnTo>
                    <a:pt x="4592" y="275"/>
                  </a:lnTo>
                  <a:lnTo>
                    <a:pt x="4594" y="277"/>
                  </a:lnTo>
                  <a:lnTo>
                    <a:pt x="4594" y="277"/>
                  </a:lnTo>
                  <a:lnTo>
                    <a:pt x="4596" y="279"/>
                  </a:lnTo>
                  <a:lnTo>
                    <a:pt x="4598" y="279"/>
                  </a:lnTo>
                  <a:lnTo>
                    <a:pt x="4600" y="277"/>
                  </a:lnTo>
                  <a:lnTo>
                    <a:pt x="4603" y="277"/>
                  </a:lnTo>
                  <a:lnTo>
                    <a:pt x="4607" y="275"/>
                  </a:lnTo>
                  <a:lnTo>
                    <a:pt x="4605" y="271"/>
                  </a:lnTo>
                  <a:lnTo>
                    <a:pt x="4600" y="271"/>
                  </a:lnTo>
                  <a:lnTo>
                    <a:pt x="4600" y="269"/>
                  </a:lnTo>
                  <a:lnTo>
                    <a:pt x="4594" y="262"/>
                  </a:lnTo>
                  <a:lnTo>
                    <a:pt x="4594" y="262"/>
                  </a:lnTo>
                  <a:lnTo>
                    <a:pt x="4592" y="260"/>
                  </a:lnTo>
                  <a:lnTo>
                    <a:pt x="4592" y="254"/>
                  </a:lnTo>
                  <a:lnTo>
                    <a:pt x="4594" y="254"/>
                  </a:lnTo>
                  <a:lnTo>
                    <a:pt x="4598" y="252"/>
                  </a:lnTo>
                  <a:lnTo>
                    <a:pt x="4605" y="252"/>
                  </a:lnTo>
                  <a:lnTo>
                    <a:pt x="4605" y="254"/>
                  </a:lnTo>
                  <a:lnTo>
                    <a:pt x="4605" y="254"/>
                  </a:lnTo>
                  <a:lnTo>
                    <a:pt x="4603" y="256"/>
                  </a:lnTo>
                  <a:lnTo>
                    <a:pt x="4600" y="258"/>
                  </a:lnTo>
                  <a:lnTo>
                    <a:pt x="4600" y="260"/>
                  </a:lnTo>
                  <a:lnTo>
                    <a:pt x="4600" y="264"/>
                  </a:lnTo>
                  <a:lnTo>
                    <a:pt x="4603" y="264"/>
                  </a:lnTo>
                  <a:lnTo>
                    <a:pt x="4605" y="267"/>
                  </a:lnTo>
                  <a:lnTo>
                    <a:pt x="4607" y="271"/>
                  </a:lnTo>
                  <a:lnTo>
                    <a:pt x="4611" y="271"/>
                  </a:lnTo>
                  <a:lnTo>
                    <a:pt x="4615" y="271"/>
                  </a:lnTo>
                  <a:lnTo>
                    <a:pt x="4619" y="273"/>
                  </a:lnTo>
                  <a:lnTo>
                    <a:pt x="4623" y="271"/>
                  </a:lnTo>
                  <a:lnTo>
                    <a:pt x="4625" y="271"/>
                  </a:lnTo>
                  <a:lnTo>
                    <a:pt x="4631" y="264"/>
                  </a:lnTo>
                  <a:lnTo>
                    <a:pt x="4631" y="264"/>
                  </a:lnTo>
                  <a:lnTo>
                    <a:pt x="4629" y="262"/>
                  </a:lnTo>
                  <a:lnTo>
                    <a:pt x="4631" y="260"/>
                  </a:lnTo>
                  <a:lnTo>
                    <a:pt x="4633" y="258"/>
                  </a:lnTo>
                  <a:lnTo>
                    <a:pt x="4640" y="258"/>
                  </a:lnTo>
                  <a:lnTo>
                    <a:pt x="4638" y="256"/>
                  </a:lnTo>
                  <a:lnTo>
                    <a:pt x="4638" y="256"/>
                  </a:lnTo>
                  <a:lnTo>
                    <a:pt x="4615" y="248"/>
                  </a:lnTo>
                  <a:lnTo>
                    <a:pt x="4613" y="248"/>
                  </a:lnTo>
                  <a:lnTo>
                    <a:pt x="4609" y="250"/>
                  </a:lnTo>
                  <a:lnTo>
                    <a:pt x="4609" y="250"/>
                  </a:lnTo>
                  <a:lnTo>
                    <a:pt x="4605" y="250"/>
                  </a:lnTo>
                  <a:lnTo>
                    <a:pt x="4600" y="248"/>
                  </a:lnTo>
                  <a:lnTo>
                    <a:pt x="4598" y="248"/>
                  </a:lnTo>
                  <a:lnTo>
                    <a:pt x="4590" y="244"/>
                  </a:lnTo>
                  <a:lnTo>
                    <a:pt x="4588" y="242"/>
                  </a:lnTo>
                  <a:lnTo>
                    <a:pt x="4584" y="240"/>
                  </a:lnTo>
                  <a:lnTo>
                    <a:pt x="4582" y="242"/>
                  </a:lnTo>
                  <a:lnTo>
                    <a:pt x="4578" y="244"/>
                  </a:lnTo>
                  <a:lnTo>
                    <a:pt x="4576" y="246"/>
                  </a:lnTo>
                  <a:lnTo>
                    <a:pt x="4576" y="246"/>
                  </a:lnTo>
                  <a:lnTo>
                    <a:pt x="4576" y="248"/>
                  </a:lnTo>
                  <a:lnTo>
                    <a:pt x="4576" y="250"/>
                  </a:lnTo>
                  <a:lnTo>
                    <a:pt x="4576" y="252"/>
                  </a:lnTo>
                  <a:lnTo>
                    <a:pt x="4576" y="252"/>
                  </a:lnTo>
                  <a:lnTo>
                    <a:pt x="4576" y="254"/>
                  </a:lnTo>
                  <a:lnTo>
                    <a:pt x="4574" y="254"/>
                  </a:lnTo>
                  <a:lnTo>
                    <a:pt x="4572" y="254"/>
                  </a:lnTo>
                  <a:lnTo>
                    <a:pt x="4572" y="254"/>
                  </a:lnTo>
                  <a:lnTo>
                    <a:pt x="4570" y="254"/>
                  </a:lnTo>
                  <a:lnTo>
                    <a:pt x="4570" y="254"/>
                  </a:lnTo>
                  <a:lnTo>
                    <a:pt x="4567" y="250"/>
                  </a:lnTo>
                  <a:lnTo>
                    <a:pt x="4565" y="250"/>
                  </a:lnTo>
                  <a:lnTo>
                    <a:pt x="4565" y="250"/>
                  </a:lnTo>
                  <a:lnTo>
                    <a:pt x="4563" y="250"/>
                  </a:lnTo>
                  <a:lnTo>
                    <a:pt x="4559" y="246"/>
                  </a:lnTo>
                  <a:lnTo>
                    <a:pt x="4555" y="244"/>
                  </a:lnTo>
                  <a:lnTo>
                    <a:pt x="4551" y="242"/>
                  </a:lnTo>
                  <a:lnTo>
                    <a:pt x="4549" y="242"/>
                  </a:lnTo>
                  <a:lnTo>
                    <a:pt x="4549" y="240"/>
                  </a:lnTo>
                  <a:lnTo>
                    <a:pt x="4547" y="240"/>
                  </a:lnTo>
                  <a:lnTo>
                    <a:pt x="4545" y="240"/>
                  </a:lnTo>
                  <a:lnTo>
                    <a:pt x="4541" y="240"/>
                  </a:lnTo>
                  <a:lnTo>
                    <a:pt x="4537" y="242"/>
                  </a:lnTo>
                  <a:lnTo>
                    <a:pt x="4534" y="242"/>
                  </a:lnTo>
                  <a:lnTo>
                    <a:pt x="4534" y="244"/>
                  </a:lnTo>
                  <a:lnTo>
                    <a:pt x="4534" y="244"/>
                  </a:lnTo>
                  <a:lnTo>
                    <a:pt x="4530" y="244"/>
                  </a:lnTo>
                  <a:lnTo>
                    <a:pt x="4528" y="244"/>
                  </a:lnTo>
                  <a:lnTo>
                    <a:pt x="4528" y="246"/>
                  </a:lnTo>
                  <a:lnTo>
                    <a:pt x="4526" y="248"/>
                  </a:lnTo>
                  <a:lnTo>
                    <a:pt x="4528" y="250"/>
                  </a:lnTo>
                  <a:lnTo>
                    <a:pt x="4530" y="252"/>
                  </a:lnTo>
                  <a:lnTo>
                    <a:pt x="4524" y="250"/>
                  </a:lnTo>
                  <a:lnTo>
                    <a:pt x="4524" y="252"/>
                  </a:lnTo>
                  <a:lnTo>
                    <a:pt x="4522" y="258"/>
                  </a:lnTo>
                  <a:lnTo>
                    <a:pt x="4524" y="262"/>
                  </a:lnTo>
                  <a:lnTo>
                    <a:pt x="4522" y="262"/>
                  </a:lnTo>
                  <a:lnTo>
                    <a:pt x="4520" y="262"/>
                  </a:lnTo>
                  <a:lnTo>
                    <a:pt x="4518" y="264"/>
                  </a:lnTo>
                  <a:lnTo>
                    <a:pt x="4520" y="264"/>
                  </a:lnTo>
                  <a:lnTo>
                    <a:pt x="4520" y="267"/>
                  </a:lnTo>
                  <a:close/>
                  <a:moveTo>
                    <a:pt x="4747" y="242"/>
                  </a:moveTo>
                  <a:lnTo>
                    <a:pt x="4745" y="240"/>
                  </a:lnTo>
                  <a:lnTo>
                    <a:pt x="4745" y="240"/>
                  </a:lnTo>
                  <a:lnTo>
                    <a:pt x="4745" y="240"/>
                  </a:lnTo>
                  <a:lnTo>
                    <a:pt x="4743" y="240"/>
                  </a:lnTo>
                  <a:lnTo>
                    <a:pt x="4741" y="240"/>
                  </a:lnTo>
                  <a:lnTo>
                    <a:pt x="4745" y="242"/>
                  </a:lnTo>
                  <a:lnTo>
                    <a:pt x="4747" y="242"/>
                  </a:lnTo>
                  <a:close/>
                  <a:moveTo>
                    <a:pt x="4693" y="225"/>
                  </a:moveTo>
                  <a:lnTo>
                    <a:pt x="4695" y="223"/>
                  </a:lnTo>
                  <a:lnTo>
                    <a:pt x="4697" y="221"/>
                  </a:lnTo>
                  <a:lnTo>
                    <a:pt x="4687" y="223"/>
                  </a:lnTo>
                  <a:lnTo>
                    <a:pt x="4683" y="225"/>
                  </a:lnTo>
                  <a:lnTo>
                    <a:pt x="4683" y="225"/>
                  </a:lnTo>
                  <a:lnTo>
                    <a:pt x="4693" y="225"/>
                  </a:lnTo>
                  <a:lnTo>
                    <a:pt x="4693" y="225"/>
                  </a:lnTo>
                  <a:close/>
                  <a:moveTo>
                    <a:pt x="4856" y="386"/>
                  </a:moveTo>
                  <a:lnTo>
                    <a:pt x="4858" y="386"/>
                  </a:lnTo>
                  <a:lnTo>
                    <a:pt x="4856" y="384"/>
                  </a:lnTo>
                  <a:lnTo>
                    <a:pt x="4856" y="382"/>
                  </a:lnTo>
                  <a:lnTo>
                    <a:pt x="4854" y="382"/>
                  </a:lnTo>
                  <a:lnTo>
                    <a:pt x="4854" y="382"/>
                  </a:lnTo>
                  <a:lnTo>
                    <a:pt x="4854" y="384"/>
                  </a:lnTo>
                  <a:lnTo>
                    <a:pt x="4854" y="386"/>
                  </a:lnTo>
                  <a:lnTo>
                    <a:pt x="4856" y="386"/>
                  </a:lnTo>
                  <a:close/>
                  <a:moveTo>
                    <a:pt x="4961" y="413"/>
                  </a:moveTo>
                  <a:lnTo>
                    <a:pt x="4963" y="413"/>
                  </a:lnTo>
                  <a:lnTo>
                    <a:pt x="4968" y="415"/>
                  </a:lnTo>
                  <a:lnTo>
                    <a:pt x="4974" y="417"/>
                  </a:lnTo>
                  <a:lnTo>
                    <a:pt x="4978" y="417"/>
                  </a:lnTo>
                  <a:lnTo>
                    <a:pt x="4980" y="417"/>
                  </a:lnTo>
                  <a:lnTo>
                    <a:pt x="4980" y="415"/>
                  </a:lnTo>
                  <a:lnTo>
                    <a:pt x="4980" y="413"/>
                  </a:lnTo>
                  <a:lnTo>
                    <a:pt x="4980" y="413"/>
                  </a:lnTo>
                  <a:lnTo>
                    <a:pt x="4982" y="413"/>
                  </a:lnTo>
                  <a:lnTo>
                    <a:pt x="4982" y="411"/>
                  </a:lnTo>
                  <a:lnTo>
                    <a:pt x="4982" y="411"/>
                  </a:lnTo>
                  <a:lnTo>
                    <a:pt x="4982" y="409"/>
                  </a:lnTo>
                  <a:lnTo>
                    <a:pt x="4968" y="407"/>
                  </a:lnTo>
                  <a:lnTo>
                    <a:pt x="4963" y="407"/>
                  </a:lnTo>
                  <a:lnTo>
                    <a:pt x="4963" y="407"/>
                  </a:lnTo>
                  <a:lnTo>
                    <a:pt x="4959" y="409"/>
                  </a:lnTo>
                  <a:lnTo>
                    <a:pt x="4959" y="409"/>
                  </a:lnTo>
                  <a:lnTo>
                    <a:pt x="4959" y="411"/>
                  </a:lnTo>
                  <a:lnTo>
                    <a:pt x="4959" y="411"/>
                  </a:lnTo>
                  <a:lnTo>
                    <a:pt x="4961" y="413"/>
                  </a:lnTo>
                  <a:close/>
                  <a:moveTo>
                    <a:pt x="5116" y="386"/>
                  </a:moveTo>
                  <a:lnTo>
                    <a:pt x="5116" y="386"/>
                  </a:lnTo>
                  <a:lnTo>
                    <a:pt x="5120" y="384"/>
                  </a:lnTo>
                  <a:lnTo>
                    <a:pt x="5128" y="384"/>
                  </a:lnTo>
                  <a:lnTo>
                    <a:pt x="5130" y="382"/>
                  </a:lnTo>
                  <a:lnTo>
                    <a:pt x="5132" y="382"/>
                  </a:lnTo>
                  <a:lnTo>
                    <a:pt x="5132" y="382"/>
                  </a:lnTo>
                  <a:lnTo>
                    <a:pt x="5137" y="382"/>
                  </a:lnTo>
                  <a:lnTo>
                    <a:pt x="5139" y="384"/>
                  </a:lnTo>
                  <a:lnTo>
                    <a:pt x="5141" y="384"/>
                  </a:lnTo>
                  <a:lnTo>
                    <a:pt x="5145" y="382"/>
                  </a:lnTo>
                  <a:lnTo>
                    <a:pt x="5153" y="380"/>
                  </a:lnTo>
                  <a:lnTo>
                    <a:pt x="5159" y="380"/>
                  </a:lnTo>
                  <a:lnTo>
                    <a:pt x="5163" y="380"/>
                  </a:lnTo>
                  <a:lnTo>
                    <a:pt x="5168" y="378"/>
                  </a:lnTo>
                  <a:lnTo>
                    <a:pt x="5168" y="376"/>
                  </a:lnTo>
                  <a:lnTo>
                    <a:pt x="5168" y="374"/>
                  </a:lnTo>
                  <a:lnTo>
                    <a:pt x="5168" y="374"/>
                  </a:lnTo>
                  <a:lnTo>
                    <a:pt x="5163" y="372"/>
                  </a:lnTo>
                  <a:lnTo>
                    <a:pt x="5161" y="372"/>
                  </a:lnTo>
                  <a:lnTo>
                    <a:pt x="5159" y="370"/>
                  </a:lnTo>
                  <a:lnTo>
                    <a:pt x="5159" y="370"/>
                  </a:lnTo>
                  <a:lnTo>
                    <a:pt x="5157" y="370"/>
                  </a:lnTo>
                  <a:lnTo>
                    <a:pt x="5155" y="368"/>
                  </a:lnTo>
                  <a:lnTo>
                    <a:pt x="5155" y="368"/>
                  </a:lnTo>
                  <a:lnTo>
                    <a:pt x="5149" y="366"/>
                  </a:lnTo>
                  <a:lnTo>
                    <a:pt x="5147" y="366"/>
                  </a:lnTo>
                  <a:lnTo>
                    <a:pt x="5145" y="366"/>
                  </a:lnTo>
                  <a:lnTo>
                    <a:pt x="5143" y="366"/>
                  </a:lnTo>
                  <a:lnTo>
                    <a:pt x="5141" y="366"/>
                  </a:lnTo>
                  <a:lnTo>
                    <a:pt x="5139" y="366"/>
                  </a:lnTo>
                  <a:lnTo>
                    <a:pt x="5137" y="366"/>
                  </a:lnTo>
                  <a:lnTo>
                    <a:pt x="5135" y="368"/>
                  </a:lnTo>
                  <a:lnTo>
                    <a:pt x="5132" y="368"/>
                  </a:lnTo>
                  <a:lnTo>
                    <a:pt x="5132" y="368"/>
                  </a:lnTo>
                  <a:lnTo>
                    <a:pt x="5130" y="368"/>
                  </a:lnTo>
                  <a:lnTo>
                    <a:pt x="5128" y="370"/>
                  </a:lnTo>
                  <a:lnTo>
                    <a:pt x="5126" y="370"/>
                  </a:lnTo>
                  <a:lnTo>
                    <a:pt x="5122" y="372"/>
                  </a:lnTo>
                  <a:lnTo>
                    <a:pt x="5116" y="376"/>
                  </a:lnTo>
                  <a:lnTo>
                    <a:pt x="5116" y="376"/>
                  </a:lnTo>
                  <a:lnTo>
                    <a:pt x="5114" y="378"/>
                  </a:lnTo>
                  <a:lnTo>
                    <a:pt x="5114" y="380"/>
                  </a:lnTo>
                  <a:lnTo>
                    <a:pt x="5114" y="380"/>
                  </a:lnTo>
                  <a:lnTo>
                    <a:pt x="5116" y="386"/>
                  </a:lnTo>
                  <a:close/>
                  <a:moveTo>
                    <a:pt x="3996" y="165"/>
                  </a:moveTo>
                  <a:lnTo>
                    <a:pt x="3996" y="167"/>
                  </a:lnTo>
                  <a:lnTo>
                    <a:pt x="3994" y="169"/>
                  </a:lnTo>
                  <a:lnTo>
                    <a:pt x="3994" y="169"/>
                  </a:lnTo>
                  <a:lnTo>
                    <a:pt x="3994" y="172"/>
                  </a:lnTo>
                  <a:lnTo>
                    <a:pt x="3992" y="174"/>
                  </a:lnTo>
                  <a:lnTo>
                    <a:pt x="3992" y="174"/>
                  </a:lnTo>
                  <a:lnTo>
                    <a:pt x="3988" y="178"/>
                  </a:lnTo>
                  <a:lnTo>
                    <a:pt x="3986" y="180"/>
                  </a:lnTo>
                  <a:lnTo>
                    <a:pt x="3984" y="182"/>
                  </a:lnTo>
                  <a:lnTo>
                    <a:pt x="3982" y="184"/>
                  </a:lnTo>
                  <a:lnTo>
                    <a:pt x="3984" y="186"/>
                  </a:lnTo>
                  <a:lnTo>
                    <a:pt x="3986" y="186"/>
                  </a:lnTo>
                  <a:lnTo>
                    <a:pt x="3990" y="186"/>
                  </a:lnTo>
                  <a:lnTo>
                    <a:pt x="3994" y="186"/>
                  </a:lnTo>
                  <a:lnTo>
                    <a:pt x="4000" y="184"/>
                  </a:lnTo>
                  <a:lnTo>
                    <a:pt x="4007" y="180"/>
                  </a:lnTo>
                  <a:lnTo>
                    <a:pt x="4009" y="180"/>
                  </a:lnTo>
                  <a:lnTo>
                    <a:pt x="4017" y="180"/>
                  </a:lnTo>
                  <a:lnTo>
                    <a:pt x="4023" y="178"/>
                  </a:lnTo>
                  <a:lnTo>
                    <a:pt x="4029" y="178"/>
                  </a:lnTo>
                  <a:lnTo>
                    <a:pt x="4029" y="180"/>
                  </a:lnTo>
                  <a:lnTo>
                    <a:pt x="4031" y="180"/>
                  </a:lnTo>
                  <a:lnTo>
                    <a:pt x="4031" y="180"/>
                  </a:lnTo>
                  <a:lnTo>
                    <a:pt x="4035" y="178"/>
                  </a:lnTo>
                  <a:lnTo>
                    <a:pt x="4046" y="178"/>
                  </a:lnTo>
                  <a:lnTo>
                    <a:pt x="4054" y="176"/>
                  </a:lnTo>
                  <a:lnTo>
                    <a:pt x="4056" y="174"/>
                  </a:lnTo>
                  <a:lnTo>
                    <a:pt x="4060" y="174"/>
                  </a:lnTo>
                  <a:lnTo>
                    <a:pt x="4060" y="174"/>
                  </a:lnTo>
                  <a:lnTo>
                    <a:pt x="4068" y="169"/>
                  </a:lnTo>
                  <a:lnTo>
                    <a:pt x="4068" y="167"/>
                  </a:lnTo>
                  <a:lnTo>
                    <a:pt x="4068" y="165"/>
                  </a:lnTo>
                  <a:lnTo>
                    <a:pt x="4066" y="163"/>
                  </a:lnTo>
                  <a:lnTo>
                    <a:pt x="4066" y="161"/>
                  </a:lnTo>
                  <a:lnTo>
                    <a:pt x="4066" y="159"/>
                  </a:lnTo>
                  <a:lnTo>
                    <a:pt x="4064" y="159"/>
                  </a:lnTo>
                  <a:lnTo>
                    <a:pt x="4062" y="159"/>
                  </a:lnTo>
                  <a:lnTo>
                    <a:pt x="4058" y="159"/>
                  </a:lnTo>
                  <a:lnTo>
                    <a:pt x="4056" y="157"/>
                  </a:lnTo>
                  <a:lnTo>
                    <a:pt x="4056" y="157"/>
                  </a:lnTo>
                  <a:lnTo>
                    <a:pt x="4056" y="155"/>
                  </a:lnTo>
                  <a:lnTo>
                    <a:pt x="4054" y="155"/>
                  </a:lnTo>
                  <a:lnTo>
                    <a:pt x="4050" y="153"/>
                  </a:lnTo>
                  <a:lnTo>
                    <a:pt x="4050" y="153"/>
                  </a:lnTo>
                  <a:lnTo>
                    <a:pt x="4048" y="151"/>
                  </a:lnTo>
                  <a:lnTo>
                    <a:pt x="4046" y="149"/>
                  </a:lnTo>
                  <a:lnTo>
                    <a:pt x="4044" y="149"/>
                  </a:lnTo>
                  <a:lnTo>
                    <a:pt x="4042" y="151"/>
                  </a:lnTo>
                  <a:lnTo>
                    <a:pt x="4038" y="151"/>
                  </a:lnTo>
                  <a:lnTo>
                    <a:pt x="4035" y="153"/>
                  </a:lnTo>
                  <a:lnTo>
                    <a:pt x="4033" y="153"/>
                  </a:lnTo>
                  <a:lnTo>
                    <a:pt x="4033" y="153"/>
                  </a:lnTo>
                  <a:lnTo>
                    <a:pt x="4031" y="155"/>
                  </a:lnTo>
                  <a:lnTo>
                    <a:pt x="4029" y="157"/>
                  </a:lnTo>
                  <a:lnTo>
                    <a:pt x="4027" y="159"/>
                  </a:lnTo>
                  <a:lnTo>
                    <a:pt x="4027" y="157"/>
                  </a:lnTo>
                  <a:lnTo>
                    <a:pt x="4031" y="151"/>
                  </a:lnTo>
                  <a:lnTo>
                    <a:pt x="4031" y="149"/>
                  </a:lnTo>
                  <a:lnTo>
                    <a:pt x="4033" y="147"/>
                  </a:lnTo>
                  <a:lnTo>
                    <a:pt x="4033" y="145"/>
                  </a:lnTo>
                  <a:lnTo>
                    <a:pt x="4035" y="145"/>
                  </a:lnTo>
                  <a:lnTo>
                    <a:pt x="4035" y="145"/>
                  </a:lnTo>
                  <a:lnTo>
                    <a:pt x="4035" y="143"/>
                  </a:lnTo>
                  <a:lnTo>
                    <a:pt x="4031" y="143"/>
                  </a:lnTo>
                  <a:lnTo>
                    <a:pt x="4027" y="141"/>
                  </a:lnTo>
                  <a:lnTo>
                    <a:pt x="4025" y="141"/>
                  </a:lnTo>
                  <a:lnTo>
                    <a:pt x="4023" y="141"/>
                  </a:lnTo>
                  <a:lnTo>
                    <a:pt x="4023" y="143"/>
                  </a:lnTo>
                  <a:lnTo>
                    <a:pt x="4023" y="145"/>
                  </a:lnTo>
                  <a:lnTo>
                    <a:pt x="4025" y="147"/>
                  </a:lnTo>
                  <a:lnTo>
                    <a:pt x="4023" y="147"/>
                  </a:lnTo>
                  <a:lnTo>
                    <a:pt x="4021" y="147"/>
                  </a:lnTo>
                  <a:lnTo>
                    <a:pt x="4019" y="145"/>
                  </a:lnTo>
                  <a:lnTo>
                    <a:pt x="4019" y="143"/>
                  </a:lnTo>
                  <a:lnTo>
                    <a:pt x="4017" y="143"/>
                  </a:lnTo>
                  <a:lnTo>
                    <a:pt x="4015" y="143"/>
                  </a:lnTo>
                  <a:lnTo>
                    <a:pt x="4015" y="143"/>
                  </a:lnTo>
                  <a:lnTo>
                    <a:pt x="4015" y="145"/>
                  </a:lnTo>
                  <a:lnTo>
                    <a:pt x="4015" y="147"/>
                  </a:lnTo>
                  <a:lnTo>
                    <a:pt x="4011" y="147"/>
                  </a:lnTo>
                  <a:lnTo>
                    <a:pt x="4009" y="147"/>
                  </a:lnTo>
                  <a:lnTo>
                    <a:pt x="4009" y="149"/>
                  </a:lnTo>
                  <a:lnTo>
                    <a:pt x="4007" y="151"/>
                  </a:lnTo>
                  <a:lnTo>
                    <a:pt x="4007" y="151"/>
                  </a:lnTo>
                  <a:lnTo>
                    <a:pt x="4007" y="153"/>
                  </a:lnTo>
                  <a:lnTo>
                    <a:pt x="4007" y="153"/>
                  </a:lnTo>
                  <a:lnTo>
                    <a:pt x="4005" y="155"/>
                  </a:lnTo>
                  <a:lnTo>
                    <a:pt x="4005" y="157"/>
                  </a:lnTo>
                  <a:lnTo>
                    <a:pt x="4005" y="157"/>
                  </a:lnTo>
                  <a:lnTo>
                    <a:pt x="4005" y="159"/>
                  </a:lnTo>
                  <a:lnTo>
                    <a:pt x="4007" y="161"/>
                  </a:lnTo>
                  <a:lnTo>
                    <a:pt x="4005" y="161"/>
                  </a:lnTo>
                  <a:lnTo>
                    <a:pt x="4000" y="161"/>
                  </a:lnTo>
                  <a:lnTo>
                    <a:pt x="4000" y="161"/>
                  </a:lnTo>
                  <a:lnTo>
                    <a:pt x="3998" y="161"/>
                  </a:lnTo>
                  <a:lnTo>
                    <a:pt x="3996" y="163"/>
                  </a:lnTo>
                  <a:lnTo>
                    <a:pt x="3996" y="165"/>
                  </a:lnTo>
                  <a:close/>
                  <a:moveTo>
                    <a:pt x="4864" y="428"/>
                  </a:moveTo>
                  <a:lnTo>
                    <a:pt x="4864" y="430"/>
                  </a:lnTo>
                  <a:lnTo>
                    <a:pt x="4864" y="430"/>
                  </a:lnTo>
                  <a:lnTo>
                    <a:pt x="4866" y="430"/>
                  </a:lnTo>
                  <a:lnTo>
                    <a:pt x="4869" y="432"/>
                  </a:lnTo>
                  <a:lnTo>
                    <a:pt x="4869" y="432"/>
                  </a:lnTo>
                  <a:lnTo>
                    <a:pt x="4869" y="434"/>
                  </a:lnTo>
                  <a:lnTo>
                    <a:pt x="4869" y="434"/>
                  </a:lnTo>
                  <a:lnTo>
                    <a:pt x="4869" y="434"/>
                  </a:lnTo>
                  <a:lnTo>
                    <a:pt x="4869" y="432"/>
                  </a:lnTo>
                  <a:lnTo>
                    <a:pt x="4869" y="432"/>
                  </a:lnTo>
                  <a:lnTo>
                    <a:pt x="4866" y="430"/>
                  </a:lnTo>
                  <a:lnTo>
                    <a:pt x="4866" y="428"/>
                  </a:lnTo>
                  <a:lnTo>
                    <a:pt x="4866" y="423"/>
                  </a:lnTo>
                  <a:lnTo>
                    <a:pt x="4866" y="423"/>
                  </a:lnTo>
                  <a:lnTo>
                    <a:pt x="4866" y="421"/>
                  </a:lnTo>
                  <a:lnTo>
                    <a:pt x="4869" y="421"/>
                  </a:lnTo>
                  <a:lnTo>
                    <a:pt x="4871" y="419"/>
                  </a:lnTo>
                  <a:lnTo>
                    <a:pt x="4871" y="417"/>
                  </a:lnTo>
                  <a:lnTo>
                    <a:pt x="4869" y="415"/>
                  </a:lnTo>
                  <a:lnTo>
                    <a:pt x="4869" y="415"/>
                  </a:lnTo>
                  <a:lnTo>
                    <a:pt x="4869" y="417"/>
                  </a:lnTo>
                  <a:lnTo>
                    <a:pt x="4866" y="417"/>
                  </a:lnTo>
                  <a:lnTo>
                    <a:pt x="4862" y="419"/>
                  </a:lnTo>
                  <a:lnTo>
                    <a:pt x="4862" y="421"/>
                  </a:lnTo>
                  <a:lnTo>
                    <a:pt x="4864" y="423"/>
                  </a:lnTo>
                  <a:lnTo>
                    <a:pt x="4864" y="428"/>
                  </a:lnTo>
                  <a:close/>
                  <a:moveTo>
                    <a:pt x="4530" y="366"/>
                  </a:moveTo>
                  <a:lnTo>
                    <a:pt x="4524" y="366"/>
                  </a:lnTo>
                  <a:lnTo>
                    <a:pt x="4522" y="366"/>
                  </a:lnTo>
                  <a:lnTo>
                    <a:pt x="4522" y="366"/>
                  </a:lnTo>
                  <a:lnTo>
                    <a:pt x="4520" y="368"/>
                  </a:lnTo>
                  <a:lnTo>
                    <a:pt x="4520" y="368"/>
                  </a:lnTo>
                  <a:lnTo>
                    <a:pt x="4520" y="368"/>
                  </a:lnTo>
                  <a:lnTo>
                    <a:pt x="4524" y="370"/>
                  </a:lnTo>
                  <a:lnTo>
                    <a:pt x="4524" y="370"/>
                  </a:lnTo>
                  <a:lnTo>
                    <a:pt x="4526" y="368"/>
                  </a:lnTo>
                  <a:lnTo>
                    <a:pt x="4526" y="368"/>
                  </a:lnTo>
                  <a:lnTo>
                    <a:pt x="4526" y="370"/>
                  </a:lnTo>
                  <a:lnTo>
                    <a:pt x="4528" y="370"/>
                  </a:lnTo>
                  <a:lnTo>
                    <a:pt x="4530" y="370"/>
                  </a:lnTo>
                  <a:lnTo>
                    <a:pt x="4532" y="368"/>
                  </a:lnTo>
                  <a:lnTo>
                    <a:pt x="4532" y="368"/>
                  </a:lnTo>
                  <a:lnTo>
                    <a:pt x="4532" y="366"/>
                  </a:lnTo>
                  <a:lnTo>
                    <a:pt x="4530" y="366"/>
                  </a:lnTo>
                  <a:close/>
                  <a:moveTo>
                    <a:pt x="4099" y="205"/>
                  </a:moveTo>
                  <a:lnTo>
                    <a:pt x="4099" y="205"/>
                  </a:lnTo>
                  <a:lnTo>
                    <a:pt x="4097" y="205"/>
                  </a:lnTo>
                  <a:lnTo>
                    <a:pt x="4095" y="207"/>
                  </a:lnTo>
                  <a:lnTo>
                    <a:pt x="4095" y="209"/>
                  </a:lnTo>
                  <a:lnTo>
                    <a:pt x="4097" y="209"/>
                  </a:lnTo>
                  <a:lnTo>
                    <a:pt x="4101" y="207"/>
                  </a:lnTo>
                  <a:lnTo>
                    <a:pt x="4101" y="207"/>
                  </a:lnTo>
                  <a:lnTo>
                    <a:pt x="4101" y="205"/>
                  </a:lnTo>
                  <a:lnTo>
                    <a:pt x="4099" y="205"/>
                  </a:lnTo>
                  <a:close/>
                  <a:moveTo>
                    <a:pt x="4165" y="229"/>
                  </a:moveTo>
                  <a:lnTo>
                    <a:pt x="4167" y="229"/>
                  </a:lnTo>
                  <a:lnTo>
                    <a:pt x="4169" y="229"/>
                  </a:lnTo>
                  <a:lnTo>
                    <a:pt x="4172" y="231"/>
                  </a:lnTo>
                  <a:lnTo>
                    <a:pt x="4172" y="231"/>
                  </a:lnTo>
                  <a:lnTo>
                    <a:pt x="4172" y="229"/>
                  </a:lnTo>
                  <a:lnTo>
                    <a:pt x="4172" y="229"/>
                  </a:lnTo>
                  <a:lnTo>
                    <a:pt x="4172" y="229"/>
                  </a:lnTo>
                  <a:lnTo>
                    <a:pt x="4172" y="227"/>
                  </a:lnTo>
                  <a:lnTo>
                    <a:pt x="4169" y="227"/>
                  </a:lnTo>
                  <a:lnTo>
                    <a:pt x="4169" y="225"/>
                  </a:lnTo>
                  <a:lnTo>
                    <a:pt x="4167" y="227"/>
                  </a:lnTo>
                  <a:lnTo>
                    <a:pt x="4163" y="225"/>
                  </a:lnTo>
                  <a:lnTo>
                    <a:pt x="4163" y="225"/>
                  </a:lnTo>
                  <a:lnTo>
                    <a:pt x="4163" y="227"/>
                  </a:lnTo>
                  <a:lnTo>
                    <a:pt x="4165" y="229"/>
                  </a:lnTo>
                  <a:close/>
                  <a:moveTo>
                    <a:pt x="4081" y="178"/>
                  </a:moveTo>
                  <a:lnTo>
                    <a:pt x="4085" y="178"/>
                  </a:lnTo>
                  <a:lnTo>
                    <a:pt x="4085" y="178"/>
                  </a:lnTo>
                  <a:lnTo>
                    <a:pt x="4087" y="178"/>
                  </a:lnTo>
                  <a:lnTo>
                    <a:pt x="4087" y="178"/>
                  </a:lnTo>
                  <a:lnTo>
                    <a:pt x="4087" y="176"/>
                  </a:lnTo>
                  <a:lnTo>
                    <a:pt x="4087" y="176"/>
                  </a:lnTo>
                  <a:lnTo>
                    <a:pt x="4087" y="176"/>
                  </a:lnTo>
                  <a:lnTo>
                    <a:pt x="4085" y="174"/>
                  </a:lnTo>
                  <a:lnTo>
                    <a:pt x="4083" y="176"/>
                  </a:lnTo>
                  <a:lnTo>
                    <a:pt x="4079" y="178"/>
                  </a:lnTo>
                  <a:lnTo>
                    <a:pt x="4079" y="178"/>
                  </a:lnTo>
                  <a:lnTo>
                    <a:pt x="4079" y="180"/>
                  </a:lnTo>
                  <a:lnTo>
                    <a:pt x="4081" y="178"/>
                  </a:lnTo>
                  <a:close/>
                  <a:moveTo>
                    <a:pt x="4083" y="180"/>
                  </a:moveTo>
                  <a:lnTo>
                    <a:pt x="4091" y="182"/>
                  </a:lnTo>
                  <a:lnTo>
                    <a:pt x="4097" y="182"/>
                  </a:lnTo>
                  <a:lnTo>
                    <a:pt x="4099" y="184"/>
                  </a:lnTo>
                  <a:lnTo>
                    <a:pt x="4101" y="182"/>
                  </a:lnTo>
                  <a:lnTo>
                    <a:pt x="4101" y="182"/>
                  </a:lnTo>
                  <a:lnTo>
                    <a:pt x="4099" y="180"/>
                  </a:lnTo>
                  <a:lnTo>
                    <a:pt x="4099" y="180"/>
                  </a:lnTo>
                  <a:lnTo>
                    <a:pt x="4085" y="180"/>
                  </a:lnTo>
                  <a:lnTo>
                    <a:pt x="4083" y="180"/>
                  </a:lnTo>
                  <a:close/>
                  <a:moveTo>
                    <a:pt x="3648" y="316"/>
                  </a:moveTo>
                  <a:lnTo>
                    <a:pt x="3648" y="316"/>
                  </a:lnTo>
                  <a:lnTo>
                    <a:pt x="3650" y="314"/>
                  </a:lnTo>
                  <a:lnTo>
                    <a:pt x="3650" y="314"/>
                  </a:lnTo>
                  <a:lnTo>
                    <a:pt x="3650" y="312"/>
                  </a:lnTo>
                  <a:lnTo>
                    <a:pt x="3644" y="314"/>
                  </a:lnTo>
                  <a:lnTo>
                    <a:pt x="3642" y="316"/>
                  </a:lnTo>
                  <a:lnTo>
                    <a:pt x="3640" y="316"/>
                  </a:lnTo>
                  <a:lnTo>
                    <a:pt x="3644" y="316"/>
                  </a:lnTo>
                  <a:lnTo>
                    <a:pt x="3648" y="316"/>
                  </a:lnTo>
                  <a:close/>
                  <a:moveTo>
                    <a:pt x="4506" y="262"/>
                  </a:moveTo>
                  <a:lnTo>
                    <a:pt x="4506" y="260"/>
                  </a:lnTo>
                  <a:lnTo>
                    <a:pt x="4506" y="258"/>
                  </a:lnTo>
                  <a:lnTo>
                    <a:pt x="4506" y="258"/>
                  </a:lnTo>
                  <a:lnTo>
                    <a:pt x="4508" y="256"/>
                  </a:lnTo>
                  <a:lnTo>
                    <a:pt x="4508" y="256"/>
                  </a:lnTo>
                  <a:lnTo>
                    <a:pt x="4504" y="254"/>
                  </a:lnTo>
                  <a:lnTo>
                    <a:pt x="4504" y="252"/>
                  </a:lnTo>
                  <a:lnTo>
                    <a:pt x="4501" y="250"/>
                  </a:lnTo>
                  <a:lnTo>
                    <a:pt x="4501" y="248"/>
                  </a:lnTo>
                  <a:lnTo>
                    <a:pt x="4499" y="252"/>
                  </a:lnTo>
                  <a:lnTo>
                    <a:pt x="4499" y="252"/>
                  </a:lnTo>
                  <a:lnTo>
                    <a:pt x="4499" y="254"/>
                  </a:lnTo>
                  <a:lnTo>
                    <a:pt x="4499" y="256"/>
                  </a:lnTo>
                  <a:lnTo>
                    <a:pt x="4499" y="258"/>
                  </a:lnTo>
                  <a:lnTo>
                    <a:pt x="4497" y="260"/>
                  </a:lnTo>
                  <a:lnTo>
                    <a:pt x="4497" y="262"/>
                  </a:lnTo>
                  <a:lnTo>
                    <a:pt x="4501" y="262"/>
                  </a:lnTo>
                  <a:lnTo>
                    <a:pt x="4506" y="262"/>
                  </a:lnTo>
                  <a:close/>
                  <a:moveTo>
                    <a:pt x="4341" y="306"/>
                  </a:moveTo>
                  <a:lnTo>
                    <a:pt x="4343" y="306"/>
                  </a:lnTo>
                  <a:lnTo>
                    <a:pt x="4343" y="304"/>
                  </a:lnTo>
                  <a:lnTo>
                    <a:pt x="4343" y="304"/>
                  </a:lnTo>
                  <a:lnTo>
                    <a:pt x="4343" y="304"/>
                  </a:lnTo>
                  <a:lnTo>
                    <a:pt x="4341" y="302"/>
                  </a:lnTo>
                  <a:lnTo>
                    <a:pt x="4339" y="304"/>
                  </a:lnTo>
                  <a:lnTo>
                    <a:pt x="4339" y="304"/>
                  </a:lnTo>
                  <a:lnTo>
                    <a:pt x="4339" y="304"/>
                  </a:lnTo>
                  <a:lnTo>
                    <a:pt x="4341" y="306"/>
                  </a:lnTo>
                  <a:close/>
                  <a:moveTo>
                    <a:pt x="4277" y="326"/>
                  </a:moveTo>
                  <a:lnTo>
                    <a:pt x="4281" y="326"/>
                  </a:lnTo>
                  <a:lnTo>
                    <a:pt x="4281" y="326"/>
                  </a:lnTo>
                  <a:lnTo>
                    <a:pt x="4279" y="324"/>
                  </a:lnTo>
                  <a:lnTo>
                    <a:pt x="4277" y="324"/>
                  </a:lnTo>
                  <a:lnTo>
                    <a:pt x="4275" y="324"/>
                  </a:lnTo>
                  <a:lnTo>
                    <a:pt x="4273" y="324"/>
                  </a:lnTo>
                  <a:lnTo>
                    <a:pt x="4275" y="326"/>
                  </a:lnTo>
                  <a:lnTo>
                    <a:pt x="4277" y="326"/>
                  </a:lnTo>
                  <a:close/>
                  <a:moveTo>
                    <a:pt x="1433" y="706"/>
                  </a:moveTo>
                  <a:lnTo>
                    <a:pt x="1433" y="706"/>
                  </a:lnTo>
                  <a:lnTo>
                    <a:pt x="1433" y="706"/>
                  </a:lnTo>
                  <a:lnTo>
                    <a:pt x="1433" y="706"/>
                  </a:lnTo>
                  <a:lnTo>
                    <a:pt x="1433" y="704"/>
                  </a:lnTo>
                  <a:lnTo>
                    <a:pt x="1433" y="704"/>
                  </a:lnTo>
                  <a:lnTo>
                    <a:pt x="1433" y="704"/>
                  </a:lnTo>
                  <a:lnTo>
                    <a:pt x="1433" y="702"/>
                  </a:lnTo>
                  <a:lnTo>
                    <a:pt x="1431" y="702"/>
                  </a:lnTo>
                  <a:lnTo>
                    <a:pt x="1431" y="704"/>
                  </a:lnTo>
                  <a:lnTo>
                    <a:pt x="1431" y="704"/>
                  </a:lnTo>
                  <a:lnTo>
                    <a:pt x="1433" y="704"/>
                  </a:lnTo>
                  <a:lnTo>
                    <a:pt x="1431" y="706"/>
                  </a:lnTo>
                  <a:lnTo>
                    <a:pt x="1433" y="706"/>
                  </a:lnTo>
                  <a:close/>
                  <a:moveTo>
                    <a:pt x="3213" y="103"/>
                  </a:moveTo>
                  <a:lnTo>
                    <a:pt x="3217" y="105"/>
                  </a:lnTo>
                  <a:lnTo>
                    <a:pt x="3221" y="103"/>
                  </a:lnTo>
                  <a:lnTo>
                    <a:pt x="3223" y="105"/>
                  </a:lnTo>
                  <a:lnTo>
                    <a:pt x="3223" y="108"/>
                  </a:lnTo>
                  <a:lnTo>
                    <a:pt x="3225" y="108"/>
                  </a:lnTo>
                  <a:lnTo>
                    <a:pt x="3227" y="108"/>
                  </a:lnTo>
                  <a:lnTo>
                    <a:pt x="3229" y="108"/>
                  </a:lnTo>
                  <a:lnTo>
                    <a:pt x="3231" y="105"/>
                  </a:lnTo>
                  <a:lnTo>
                    <a:pt x="3231" y="103"/>
                  </a:lnTo>
                  <a:lnTo>
                    <a:pt x="3237" y="103"/>
                  </a:lnTo>
                  <a:lnTo>
                    <a:pt x="3240" y="103"/>
                  </a:lnTo>
                  <a:lnTo>
                    <a:pt x="3240" y="101"/>
                  </a:lnTo>
                  <a:lnTo>
                    <a:pt x="3242" y="103"/>
                  </a:lnTo>
                  <a:lnTo>
                    <a:pt x="3242" y="99"/>
                  </a:lnTo>
                  <a:lnTo>
                    <a:pt x="3244" y="99"/>
                  </a:lnTo>
                  <a:lnTo>
                    <a:pt x="3246" y="97"/>
                  </a:lnTo>
                  <a:lnTo>
                    <a:pt x="3246" y="97"/>
                  </a:lnTo>
                  <a:lnTo>
                    <a:pt x="3248" y="97"/>
                  </a:lnTo>
                  <a:lnTo>
                    <a:pt x="3252" y="101"/>
                  </a:lnTo>
                  <a:lnTo>
                    <a:pt x="3260" y="101"/>
                  </a:lnTo>
                  <a:lnTo>
                    <a:pt x="3260" y="101"/>
                  </a:lnTo>
                  <a:lnTo>
                    <a:pt x="3260" y="99"/>
                  </a:lnTo>
                  <a:lnTo>
                    <a:pt x="3258" y="97"/>
                  </a:lnTo>
                  <a:lnTo>
                    <a:pt x="3258" y="95"/>
                  </a:lnTo>
                  <a:lnTo>
                    <a:pt x="3256" y="95"/>
                  </a:lnTo>
                  <a:lnTo>
                    <a:pt x="3254" y="95"/>
                  </a:lnTo>
                  <a:lnTo>
                    <a:pt x="3250" y="95"/>
                  </a:lnTo>
                  <a:lnTo>
                    <a:pt x="3244" y="95"/>
                  </a:lnTo>
                  <a:lnTo>
                    <a:pt x="3242" y="95"/>
                  </a:lnTo>
                  <a:lnTo>
                    <a:pt x="3237" y="95"/>
                  </a:lnTo>
                  <a:lnTo>
                    <a:pt x="3233" y="97"/>
                  </a:lnTo>
                  <a:lnTo>
                    <a:pt x="3227" y="99"/>
                  </a:lnTo>
                  <a:lnTo>
                    <a:pt x="3211" y="101"/>
                  </a:lnTo>
                  <a:lnTo>
                    <a:pt x="3207" y="103"/>
                  </a:lnTo>
                  <a:lnTo>
                    <a:pt x="3211" y="103"/>
                  </a:lnTo>
                  <a:lnTo>
                    <a:pt x="3213" y="103"/>
                  </a:lnTo>
                  <a:close/>
                  <a:moveTo>
                    <a:pt x="3266" y="105"/>
                  </a:moveTo>
                  <a:lnTo>
                    <a:pt x="3260" y="105"/>
                  </a:lnTo>
                  <a:lnTo>
                    <a:pt x="3258" y="103"/>
                  </a:lnTo>
                  <a:lnTo>
                    <a:pt x="3256" y="103"/>
                  </a:lnTo>
                  <a:lnTo>
                    <a:pt x="3256" y="103"/>
                  </a:lnTo>
                  <a:lnTo>
                    <a:pt x="3254" y="105"/>
                  </a:lnTo>
                  <a:lnTo>
                    <a:pt x="3250" y="105"/>
                  </a:lnTo>
                  <a:lnTo>
                    <a:pt x="3246" y="105"/>
                  </a:lnTo>
                  <a:lnTo>
                    <a:pt x="3242" y="108"/>
                  </a:lnTo>
                  <a:lnTo>
                    <a:pt x="3231" y="112"/>
                  </a:lnTo>
                  <a:lnTo>
                    <a:pt x="3233" y="114"/>
                  </a:lnTo>
                  <a:lnTo>
                    <a:pt x="3233" y="114"/>
                  </a:lnTo>
                  <a:lnTo>
                    <a:pt x="3235" y="116"/>
                  </a:lnTo>
                  <a:lnTo>
                    <a:pt x="3240" y="116"/>
                  </a:lnTo>
                  <a:lnTo>
                    <a:pt x="3242" y="116"/>
                  </a:lnTo>
                  <a:lnTo>
                    <a:pt x="3244" y="116"/>
                  </a:lnTo>
                  <a:lnTo>
                    <a:pt x="3246" y="114"/>
                  </a:lnTo>
                  <a:lnTo>
                    <a:pt x="3250" y="114"/>
                  </a:lnTo>
                  <a:lnTo>
                    <a:pt x="3250" y="116"/>
                  </a:lnTo>
                  <a:lnTo>
                    <a:pt x="3248" y="118"/>
                  </a:lnTo>
                  <a:lnTo>
                    <a:pt x="3246" y="118"/>
                  </a:lnTo>
                  <a:lnTo>
                    <a:pt x="3248" y="120"/>
                  </a:lnTo>
                  <a:lnTo>
                    <a:pt x="3250" y="120"/>
                  </a:lnTo>
                  <a:lnTo>
                    <a:pt x="3252" y="120"/>
                  </a:lnTo>
                  <a:lnTo>
                    <a:pt x="3252" y="118"/>
                  </a:lnTo>
                  <a:lnTo>
                    <a:pt x="3254" y="118"/>
                  </a:lnTo>
                  <a:lnTo>
                    <a:pt x="3256" y="120"/>
                  </a:lnTo>
                  <a:lnTo>
                    <a:pt x="3258" y="118"/>
                  </a:lnTo>
                  <a:lnTo>
                    <a:pt x="3258" y="118"/>
                  </a:lnTo>
                  <a:lnTo>
                    <a:pt x="3258" y="116"/>
                  </a:lnTo>
                  <a:lnTo>
                    <a:pt x="3258" y="116"/>
                  </a:lnTo>
                  <a:lnTo>
                    <a:pt x="3262" y="118"/>
                  </a:lnTo>
                  <a:lnTo>
                    <a:pt x="3264" y="118"/>
                  </a:lnTo>
                  <a:lnTo>
                    <a:pt x="3264" y="118"/>
                  </a:lnTo>
                  <a:lnTo>
                    <a:pt x="3264" y="116"/>
                  </a:lnTo>
                  <a:lnTo>
                    <a:pt x="3264" y="114"/>
                  </a:lnTo>
                  <a:lnTo>
                    <a:pt x="3264" y="114"/>
                  </a:lnTo>
                  <a:lnTo>
                    <a:pt x="3264" y="114"/>
                  </a:lnTo>
                  <a:lnTo>
                    <a:pt x="3260" y="114"/>
                  </a:lnTo>
                  <a:lnTo>
                    <a:pt x="3260" y="112"/>
                  </a:lnTo>
                  <a:lnTo>
                    <a:pt x="3262" y="112"/>
                  </a:lnTo>
                  <a:lnTo>
                    <a:pt x="3264" y="110"/>
                  </a:lnTo>
                  <a:lnTo>
                    <a:pt x="3272" y="110"/>
                  </a:lnTo>
                  <a:lnTo>
                    <a:pt x="3277" y="108"/>
                  </a:lnTo>
                  <a:lnTo>
                    <a:pt x="3277" y="108"/>
                  </a:lnTo>
                  <a:lnTo>
                    <a:pt x="3277" y="105"/>
                  </a:lnTo>
                  <a:lnTo>
                    <a:pt x="3283" y="105"/>
                  </a:lnTo>
                  <a:lnTo>
                    <a:pt x="3293" y="105"/>
                  </a:lnTo>
                  <a:lnTo>
                    <a:pt x="3295" y="103"/>
                  </a:lnTo>
                  <a:lnTo>
                    <a:pt x="3303" y="99"/>
                  </a:lnTo>
                  <a:lnTo>
                    <a:pt x="3301" y="97"/>
                  </a:lnTo>
                  <a:lnTo>
                    <a:pt x="3299" y="97"/>
                  </a:lnTo>
                  <a:lnTo>
                    <a:pt x="3293" y="93"/>
                  </a:lnTo>
                  <a:lnTo>
                    <a:pt x="3291" y="93"/>
                  </a:lnTo>
                  <a:lnTo>
                    <a:pt x="3285" y="93"/>
                  </a:lnTo>
                  <a:lnTo>
                    <a:pt x="3283" y="91"/>
                  </a:lnTo>
                  <a:lnTo>
                    <a:pt x="3281" y="93"/>
                  </a:lnTo>
                  <a:lnTo>
                    <a:pt x="3272" y="93"/>
                  </a:lnTo>
                  <a:lnTo>
                    <a:pt x="3268" y="95"/>
                  </a:lnTo>
                  <a:lnTo>
                    <a:pt x="3266" y="99"/>
                  </a:lnTo>
                  <a:lnTo>
                    <a:pt x="3268" y="101"/>
                  </a:lnTo>
                  <a:lnTo>
                    <a:pt x="3268" y="103"/>
                  </a:lnTo>
                  <a:lnTo>
                    <a:pt x="3266" y="105"/>
                  </a:lnTo>
                  <a:close/>
                  <a:moveTo>
                    <a:pt x="3176" y="487"/>
                  </a:moveTo>
                  <a:lnTo>
                    <a:pt x="3176" y="487"/>
                  </a:lnTo>
                  <a:lnTo>
                    <a:pt x="3176" y="487"/>
                  </a:lnTo>
                  <a:lnTo>
                    <a:pt x="3174" y="485"/>
                  </a:lnTo>
                  <a:lnTo>
                    <a:pt x="3174" y="485"/>
                  </a:lnTo>
                  <a:lnTo>
                    <a:pt x="3171" y="485"/>
                  </a:lnTo>
                  <a:lnTo>
                    <a:pt x="3171" y="485"/>
                  </a:lnTo>
                  <a:lnTo>
                    <a:pt x="3171" y="487"/>
                  </a:lnTo>
                  <a:lnTo>
                    <a:pt x="3176" y="487"/>
                  </a:lnTo>
                  <a:close/>
                  <a:moveTo>
                    <a:pt x="3029" y="118"/>
                  </a:moveTo>
                  <a:lnTo>
                    <a:pt x="3046" y="116"/>
                  </a:lnTo>
                  <a:lnTo>
                    <a:pt x="3046" y="116"/>
                  </a:lnTo>
                  <a:lnTo>
                    <a:pt x="3042" y="114"/>
                  </a:lnTo>
                  <a:lnTo>
                    <a:pt x="3037" y="116"/>
                  </a:lnTo>
                  <a:lnTo>
                    <a:pt x="3037" y="116"/>
                  </a:lnTo>
                  <a:lnTo>
                    <a:pt x="3015" y="118"/>
                  </a:lnTo>
                  <a:lnTo>
                    <a:pt x="3017" y="120"/>
                  </a:lnTo>
                  <a:lnTo>
                    <a:pt x="3029" y="118"/>
                  </a:lnTo>
                  <a:close/>
                  <a:moveTo>
                    <a:pt x="3324" y="374"/>
                  </a:moveTo>
                  <a:lnTo>
                    <a:pt x="3324" y="374"/>
                  </a:lnTo>
                  <a:lnTo>
                    <a:pt x="3324" y="374"/>
                  </a:lnTo>
                  <a:lnTo>
                    <a:pt x="3324" y="374"/>
                  </a:lnTo>
                  <a:close/>
                  <a:moveTo>
                    <a:pt x="3264" y="419"/>
                  </a:moveTo>
                  <a:lnTo>
                    <a:pt x="3262" y="419"/>
                  </a:lnTo>
                  <a:lnTo>
                    <a:pt x="3260" y="421"/>
                  </a:lnTo>
                  <a:lnTo>
                    <a:pt x="3256" y="423"/>
                  </a:lnTo>
                  <a:lnTo>
                    <a:pt x="3256" y="426"/>
                  </a:lnTo>
                  <a:lnTo>
                    <a:pt x="3254" y="428"/>
                  </a:lnTo>
                  <a:lnTo>
                    <a:pt x="3254" y="430"/>
                  </a:lnTo>
                  <a:lnTo>
                    <a:pt x="3254" y="430"/>
                  </a:lnTo>
                  <a:lnTo>
                    <a:pt x="3254" y="432"/>
                  </a:lnTo>
                  <a:lnTo>
                    <a:pt x="3256" y="434"/>
                  </a:lnTo>
                  <a:lnTo>
                    <a:pt x="3256" y="436"/>
                  </a:lnTo>
                  <a:lnTo>
                    <a:pt x="3260" y="438"/>
                  </a:lnTo>
                  <a:lnTo>
                    <a:pt x="3264" y="438"/>
                  </a:lnTo>
                  <a:lnTo>
                    <a:pt x="3268" y="438"/>
                  </a:lnTo>
                  <a:lnTo>
                    <a:pt x="3275" y="436"/>
                  </a:lnTo>
                  <a:lnTo>
                    <a:pt x="3277" y="432"/>
                  </a:lnTo>
                  <a:lnTo>
                    <a:pt x="3279" y="430"/>
                  </a:lnTo>
                  <a:lnTo>
                    <a:pt x="3281" y="428"/>
                  </a:lnTo>
                  <a:lnTo>
                    <a:pt x="3281" y="430"/>
                  </a:lnTo>
                  <a:lnTo>
                    <a:pt x="3281" y="432"/>
                  </a:lnTo>
                  <a:lnTo>
                    <a:pt x="3283" y="430"/>
                  </a:lnTo>
                  <a:lnTo>
                    <a:pt x="3283" y="430"/>
                  </a:lnTo>
                  <a:lnTo>
                    <a:pt x="3283" y="428"/>
                  </a:lnTo>
                  <a:lnTo>
                    <a:pt x="3281" y="426"/>
                  </a:lnTo>
                  <a:lnTo>
                    <a:pt x="3279" y="423"/>
                  </a:lnTo>
                  <a:lnTo>
                    <a:pt x="3268" y="419"/>
                  </a:lnTo>
                  <a:lnTo>
                    <a:pt x="3264" y="419"/>
                  </a:lnTo>
                  <a:close/>
                  <a:moveTo>
                    <a:pt x="2973" y="157"/>
                  </a:moveTo>
                  <a:lnTo>
                    <a:pt x="2978" y="157"/>
                  </a:lnTo>
                  <a:lnTo>
                    <a:pt x="2984" y="159"/>
                  </a:lnTo>
                  <a:lnTo>
                    <a:pt x="2990" y="157"/>
                  </a:lnTo>
                  <a:lnTo>
                    <a:pt x="2990" y="157"/>
                  </a:lnTo>
                  <a:lnTo>
                    <a:pt x="2984" y="157"/>
                  </a:lnTo>
                  <a:lnTo>
                    <a:pt x="2980" y="157"/>
                  </a:lnTo>
                  <a:lnTo>
                    <a:pt x="2978" y="155"/>
                  </a:lnTo>
                  <a:lnTo>
                    <a:pt x="2973" y="155"/>
                  </a:lnTo>
                  <a:lnTo>
                    <a:pt x="2971" y="155"/>
                  </a:lnTo>
                  <a:lnTo>
                    <a:pt x="2971" y="157"/>
                  </a:lnTo>
                  <a:lnTo>
                    <a:pt x="2967" y="157"/>
                  </a:lnTo>
                  <a:lnTo>
                    <a:pt x="2963" y="159"/>
                  </a:lnTo>
                  <a:lnTo>
                    <a:pt x="2965" y="159"/>
                  </a:lnTo>
                  <a:lnTo>
                    <a:pt x="2973" y="157"/>
                  </a:lnTo>
                  <a:close/>
                  <a:moveTo>
                    <a:pt x="3324" y="376"/>
                  </a:moveTo>
                  <a:lnTo>
                    <a:pt x="3324" y="376"/>
                  </a:lnTo>
                  <a:lnTo>
                    <a:pt x="3324" y="374"/>
                  </a:lnTo>
                  <a:lnTo>
                    <a:pt x="3324" y="374"/>
                  </a:lnTo>
                  <a:lnTo>
                    <a:pt x="3322" y="374"/>
                  </a:lnTo>
                  <a:lnTo>
                    <a:pt x="3320" y="372"/>
                  </a:lnTo>
                  <a:lnTo>
                    <a:pt x="3318" y="370"/>
                  </a:lnTo>
                  <a:lnTo>
                    <a:pt x="3318" y="370"/>
                  </a:lnTo>
                  <a:lnTo>
                    <a:pt x="3318" y="372"/>
                  </a:lnTo>
                  <a:lnTo>
                    <a:pt x="3318" y="372"/>
                  </a:lnTo>
                  <a:lnTo>
                    <a:pt x="3316" y="372"/>
                  </a:lnTo>
                  <a:lnTo>
                    <a:pt x="3316" y="372"/>
                  </a:lnTo>
                  <a:lnTo>
                    <a:pt x="3312" y="372"/>
                  </a:lnTo>
                  <a:lnTo>
                    <a:pt x="3312" y="372"/>
                  </a:lnTo>
                  <a:lnTo>
                    <a:pt x="3312" y="374"/>
                  </a:lnTo>
                  <a:lnTo>
                    <a:pt x="3312" y="374"/>
                  </a:lnTo>
                  <a:lnTo>
                    <a:pt x="3314" y="374"/>
                  </a:lnTo>
                  <a:lnTo>
                    <a:pt x="3316" y="374"/>
                  </a:lnTo>
                  <a:lnTo>
                    <a:pt x="3318" y="376"/>
                  </a:lnTo>
                  <a:lnTo>
                    <a:pt x="3320" y="378"/>
                  </a:lnTo>
                  <a:lnTo>
                    <a:pt x="3320" y="378"/>
                  </a:lnTo>
                  <a:lnTo>
                    <a:pt x="3322" y="380"/>
                  </a:lnTo>
                  <a:lnTo>
                    <a:pt x="3322" y="380"/>
                  </a:lnTo>
                  <a:lnTo>
                    <a:pt x="3322" y="382"/>
                  </a:lnTo>
                  <a:lnTo>
                    <a:pt x="3324" y="382"/>
                  </a:lnTo>
                  <a:lnTo>
                    <a:pt x="3324" y="380"/>
                  </a:lnTo>
                  <a:lnTo>
                    <a:pt x="3322" y="380"/>
                  </a:lnTo>
                  <a:lnTo>
                    <a:pt x="3322" y="380"/>
                  </a:lnTo>
                  <a:lnTo>
                    <a:pt x="3324" y="376"/>
                  </a:lnTo>
                  <a:close/>
                  <a:moveTo>
                    <a:pt x="3281" y="120"/>
                  </a:moveTo>
                  <a:lnTo>
                    <a:pt x="3281" y="118"/>
                  </a:lnTo>
                  <a:lnTo>
                    <a:pt x="3283" y="116"/>
                  </a:lnTo>
                  <a:lnTo>
                    <a:pt x="3283" y="116"/>
                  </a:lnTo>
                  <a:lnTo>
                    <a:pt x="3283" y="116"/>
                  </a:lnTo>
                  <a:lnTo>
                    <a:pt x="3277" y="116"/>
                  </a:lnTo>
                  <a:lnTo>
                    <a:pt x="3272" y="118"/>
                  </a:lnTo>
                  <a:lnTo>
                    <a:pt x="3272" y="118"/>
                  </a:lnTo>
                  <a:lnTo>
                    <a:pt x="3279" y="120"/>
                  </a:lnTo>
                  <a:lnTo>
                    <a:pt x="3281" y="120"/>
                  </a:lnTo>
                  <a:close/>
                  <a:moveTo>
                    <a:pt x="3295" y="124"/>
                  </a:moveTo>
                  <a:lnTo>
                    <a:pt x="3299" y="124"/>
                  </a:lnTo>
                  <a:lnTo>
                    <a:pt x="3299" y="124"/>
                  </a:lnTo>
                  <a:lnTo>
                    <a:pt x="3299" y="124"/>
                  </a:lnTo>
                  <a:lnTo>
                    <a:pt x="3297" y="124"/>
                  </a:lnTo>
                  <a:lnTo>
                    <a:pt x="3297" y="122"/>
                  </a:lnTo>
                  <a:lnTo>
                    <a:pt x="3297" y="122"/>
                  </a:lnTo>
                  <a:lnTo>
                    <a:pt x="3297" y="120"/>
                  </a:lnTo>
                  <a:lnTo>
                    <a:pt x="3293" y="120"/>
                  </a:lnTo>
                  <a:lnTo>
                    <a:pt x="3289" y="120"/>
                  </a:lnTo>
                  <a:lnTo>
                    <a:pt x="3287" y="122"/>
                  </a:lnTo>
                  <a:lnTo>
                    <a:pt x="3281" y="122"/>
                  </a:lnTo>
                  <a:lnTo>
                    <a:pt x="3285" y="124"/>
                  </a:lnTo>
                  <a:lnTo>
                    <a:pt x="3295" y="124"/>
                  </a:lnTo>
                  <a:close/>
                  <a:moveTo>
                    <a:pt x="3285" y="87"/>
                  </a:moveTo>
                  <a:lnTo>
                    <a:pt x="3287" y="89"/>
                  </a:lnTo>
                  <a:lnTo>
                    <a:pt x="3289" y="89"/>
                  </a:lnTo>
                  <a:lnTo>
                    <a:pt x="3289" y="89"/>
                  </a:lnTo>
                  <a:lnTo>
                    <a:pt x="3291" y="87"/>
                  </a:lnTo>
                  <a:lnTo>
                    <a:pt x="3293" y="87"/>
                  </a:lnTo>
                  <a:lnTo>
                    <a:pt x="3291" y="85"/>
                  </a:lnTo>
                  <a:lnTo>
                    <a:pt x="3289" y="85"/>
                  </a:lnTo>
                  <a:lnTo>
                    <a:pt x="3287" y="85"/>
                  </a:lnTo>
                  <a:lnTo>
                    <a:pt x="3287" y="85"/>
                  </a:lnTo>
                  <a:lnTo>
                    <a:pt x="3287" y="85"/>
                  </a:lnTo>
                  <a:lnTo>
                    <a:pt x="3285" y="85"/>
                  </a:lnTo>
                  <a:lnTo>
                    <a:pt x="3285" y="85"/>
                  </a:lnTo>
                  <a:lnTo>
                    <a:pt x="3285" y="87"/>
                  </a:lnTo>
                  <a:lnTo>
                    <a:pt x="3285" y="87"/>
                  </a:lnTo>
                  <a:close/>
                  <a:moveTo>
                    <a:pt x="2833" y="112"/>
                  </a:moveTo>
                  <a:lnTo>
                    <a:pt x="2831" y="112"/>
                  </a:lnTo>
                  <a:lnTo>
                    <a:pt x="2827" y="112"/>
                  </a:lnTo>
                  <a:lnTo>
                    <a:pt x="2825" y="112"/>
                  </a:lnTo>
                  <a:lnTo>
                    <a:pt x="2825" y="114"/>
                  </a:lnTo>
                  <a:lnTo>
                    <a:pt x="2831" y="114"/>
                  </a:lnTo>
                  <a:lnTo>
                    <a:pt x="2833" y="112"/>
                  </a:lnTo>
                  <a:close/>
                  <a:moveTo>
                    <a:pt x="2895" y="392"/>
                  </a:moveTo>
                  <a:lnTo>
                    <a:pt x="2899" y="388"/>
                  </a:lnTo>
                  <a:lnTo>
                    <a:pt x="2899" y="388"/>
                  </a:lnTo>
                  <a:lnTo>
                    <a:pt x="2899" y="386"/>
                  </a:lnTo>
                  <a:lnTo>
                    <a:pt x="2901" y="386"/>
                  </a:lnTo>
                  <a:lnTo>
                    <a:pt x="2899" y="384"/>
                  </a:lnTo>
                  <a:lnTo>
                    <a:pt x="2899" y="386"/>
                  </a:lnTo>
                  <a:lnTo>
                    <a:pt x="2897" y="386"/>
                  </a:lnTo>
                  <a:lnTo>
                    <a:pt x="2893" y="388"/>
                  </a:lnTo>
                  <a:lnTo>
                    <a:pt x="2893" y="388"/>
                  </a:lnTo>
                  <a:lnTo>
                    <a:pt x="2889" y="388"/>
                  </a:lnTo>
                  <a:lnTo>
                    <a:pt x="2887" y="388"/>
                  </a:lnTo>
                  <a:lnTo>
                    <a:pt x="2885" y="390"/>
                  </a:lnTo>
                  <a:lnTo>
                    <a:pt x="2883" y="390"/>
                  </a:lnTo>
                  <a:lnTo>
                    <a:pt x="2883" y="390"/>
                  </a:lnTo>
                  <a:lnTo>
                    <a:pt x="2881" y="390"/>
                  </a:lnTo>
                  <a:lnTo>
                    <a:pt x="2881" y="390"/>
                  </a:lnTo>
                  <a:lnTo>
                    <a:pt x="2883" y="392"/>
                  </a:lnTo>
                  <a:lnTo>
                    <a:pt x="2885" y="395"/>
                  </a:lnTo>
                  <a:lnTo>
                    <a:pt x="2887" y="395"/>
                  </a:lnTo>
                  <a:lnTo>
                    <a:pt x="2889" y="395"/>
                  </a:lnTo>
                  <a:lnTo>
                    <a:pt x="2889" y="392"/>
                  </a:lnTo>
                  <a:lnTo>
                    <a:pt x="2889" y="392"/>
                  </a:lnTo>
                  <a:lnTo>
                    <a:pt x="2891" y="392"/>
                  </a:lnTo>
                  <a:lnTo>
                    <a:pt x="2893" y="392"/>
                  </a:lnTo>
                  <a:lnTo>
                    <a:pt x="2893" y="392"/>
                  </a:lnTo>
                  <a:lnTo>
                    <a:pt x="2895" y="392"/>
                  </a:lnTo>
                  <a:close/>
                  <a:moveTo>
                    <a:pt x="2903" y="395"/>
                  </a:moveTo>
                  <a:lnTo>
                    <a:pt x="2903" y="395"/>
                  </a:lnTo>
                  <a:lnTo>
                    <a:pt x="2903" y="392"/>
                  </a:lnTo>
                  <a:lnTo>
                    <a:pt x="2903" y="392"/>
                  </a:lnTo>
                  <a:lnTo>
                    <a:pt x="2901" y="390"/>
                  </a:lnTo>
                  <a:lnTo>
                    <a:pt x="2897" y="395"/>
                  </a:lnTo>
                  <a:lnTo>
                    <a:pt x="2897" y="395"/>
                  </a:lnTo>
                  <a:lnTo>
                    <a:pt x="2895" y="395"/>
                  </a:lnTo>
                  <a:lnTo>
                    <a:pt x="2893" y="395"/>
                  </a:lnTo>
                  <a:lnTo>
                    <a:pt x="2893" y="397"/>
                  </a:lnTo>
                  <a:lnTo>
                    <a:pt x="2893" y="397"/>
                  </a:lnTo>
                  <a:lnTo>
                    <a:pt x="2895" y="399"/>
                  </a:lnTo>
                  <a:lnTo>
                    <a:pt x="2895" y="397"/>
                  </a:lnTo>
                  <a:lnTo>
                    <a:pt x="2895" y="397"/>
                  </a:lnTo>
                  <a:lnTo>
                    <a:pt x="2895" y="399"/>
                  </a:lnTo>
                  <a:lnTo>
                    <a:pt x="2897" y="399"/>
                  </a:lnTo>
                  <a:lnTo>
                    <a:pt x="2897" y="399"/>
                  </a:lnTo>
                  <a:lnTo>
                    <a:pt x="2899" y="399"/>
                  </a:lnTo>
                  <a:lnTo>
                    <a:pt x="2899" y="399"/>
                  </a:lnTo>
                  <a:lnTo>
                    <a:pt x="2901" y="397"/>
                  </a:lnTo>
                  <a:lnTo>
                    <a:pt x="2903" y="395"/>
                  </a:lnTo>
                  <a:close/>
                  <a:moveTo>
                    <a:pt x="2860" y="401"/>
                  </a:moveTo>
                  <a:lnTo>
                    <a:pt x="2858" y="401"/>
                  </a:lnTo>
                  <a:lnTo>
                    <a:pt x="2858" y="403"/>
                  </a:lnTo>
                  <a:lnTo>
                    <a:pt x="2858" y="403"/>
                  </a:lnTo>
                  <a:lnTo>
                    <a:pt x="2858" y="405"/>
                  </a:lnTo>
                  <a:lnTo>
                    <a:pt x="2860" y="405"/>
                  </a:lnTo>
                  <a:lnTo>
                    <a:pt x="2860" y="405"/>
                  </a:lnTo>
                  <a:lnTo>
                    <a:pt x="2860" y="405"/>
                  </a:lnTo>
                  <a:lnTo>
                    <a:pt x="2862" y="405"/>
                  </a:lnTo>
                  <a:lnTo>
                    <a:pt x="2862" y="405"/>
                  </a:lnTo>
                  <a:lnTo>
                    <a:pt x="2862" y="401"/>
                  </a:lnTo>
                  <a:lnTo>
                    <a:pt x="2862" y="401"/>
                  </a:lnTo>
                  <a:lnTo>
                    <a:pt x="2860" y="401"/>
                  </a:lnTo>
                  <a:close/>
                  <a:moveTo>
                    <a:pt x="2905" y="388"/>
                  </a:moveTo>
                  <a:lnTo>
                    <a:pt x="2905" y="388"/>
                  </a:lnTo>
                  <a:lnTo>
                    <a:pt x="2905" y="388"/>
                  </a:lnTo>
                  <a:lnTo>
                    <a:pt x="2903" y="388"/>
                  </a:lnTo>
                  <a:lnTo>
                    <a:pt x="2903" y="390"/>
                  </a:lnTo>
                  <a:lnTo>
                    <a:pt x="2903" y="390"/>
                  </a:lnTo>
                  <a:lnTo>
                    <a:pt x="2905" y="392"/>
                  </a:lnTo>
                  <a:lnTo>
                    <a:pt x="2905" y="392"/>
                  </a:lnTo>
                  <a:lnTo>
                    <a:pt x="2910" y="392"/>
                  </a:lnTo>
                  <a:lnTo>
                    <a:pt x="2910" y="390"/>
                  </a:lnTo>
                  <a:lnTo>
                    <a:pt x="2908" y="388"/>
                  </a:lnTo>
                  <a:lnTo>
                    <a:pt x="2905" y="388"/>
                  </a:lnTo>
                  <a:close/>
                  <a:moveTo>
                    <a:pt x="2943" y="159"/>
                  </a:moveTo>
                  <a:lnTo>
                    <a:pt x="2943" y="161"/>
                  </a:lnTo>
                  <a:lnTo>
                    <a:pt x="2943" y="163"/>
                  </a:lnTo>
                  <a:lnTo>
                    <a:pt x="2947" y="165"/>
                  </a:lnTo>
                  <a:lnTo>
                    <a:pt x="2949" y="165"/>
                  </a:lnTo>
                  <a:lnTo>
                    <a:pt x="2951" y="163"/>
                  </a:lnTo>
                  <a:lnTo>
                    <a:pt x="2949" y="163"/>
                  </a:lnTo>
                  <a:lnTo>
                    <a:pt x="2945" y="159"/>
                  </a:lnTo>
                  <a:lnTo>
                    <a:pt x="2943" y="159"/>
                  </a:lnTo>
                  <a:close/>
                  <a:moveTo>
                    <a:pt x="2827" y="120"/>
                  </a:moveTo>
                  <a:lnTo>
                    <a:pt x="2835" y="122"/>
                  </a:lnTo>
                  <a:lnTo>
                    <a:pt x="2833" y="122"/>
                  </a:lnTo>
                  <a:lnTo>
                    <a:pt x="2831" y="124"/>
                  </a:lnTo>
                  <a:lnTo>
                    <a:pt x="2827" y="124"/>
                  </a:lnTo>
                  <a:lnTo>
                    <a:pt x="2827" y="126"/>
                  </a:lnTo>
                  <a:lnTo>
                    <a:pt x="2827" y="126"/>
                  </a:lnTo>
                  <a:lnTo>
                    <a:pt x="2829" y="128"/>
                  </a:lnTo>
                  <a:lnTo>
                    <a:pt x="2833" y="130"/>
                  </a:lnTo>
                  <a:lnTo>
                    <a:pt x="2837" y="130"/>
                  </a:lnTo>
                  <a:lnTo>
                    <a:pt x="2844" y="130"/>
                  </a:lnTo>
                  <a:lnTo>
                    <a:pt x="2846" y="130"/>
                  </a:lnTo>
                  <a:lnTo>
                    <a:pt x="2850" y="130"/>
                  </a:lnTo>
                  <a:lnTo>
                    <a:pt x="2854" y="130"/>
                  </a:lnTo>
                  <a:lnTo>
                    <a:pt x="2858" y="130"/>
                  </a:lnTo>
                  <a:lnTo>
                    <a:pt x="2862" y="130"/>
                  </a:lnTo>
                  <a:lnTo>
                    <a:pt x="2862" y="132"/>
                  </a:lnTo>
                  <a:lnTo>
                    <a:pt x="2860" y="132"/>
                  </a:lnTo>
                  <a:lnTo>
                    <a:pt x="2858" y="134"/>
                  </a:lnTo>
                  <a:lnTo>
                    <a:pt x="2854" y="134"/>
                  </a:lnTo>
                  <a:lnTo>
                    <a:pt x="2852" y="134"/>
                  </a:lnTo>
                  <a:lnTo>
                    <a:pt x="2850" y="134"/>
                  </a:lnTo>
                  <a:lnTo>
                    <a:pt x="2848" y="134"/>
                  </a:lnTo>
                  <a:lnTo>
                    <a:pt x="2848" y="134"/>
                  </a:lnTo>
                  <a:lnTo>
                    <a:pt x="2850" y="136"/>
                  </a:lnTo>
                  <a:lnTo>
                    <a:pt x="2854" y="138"/>
                  </a:lnTo>
                  <a:lnTo>
                    <a:pt x="2858" y="138"/>
                  </a:lnTo>
                  <a:lnTo>
                    <a:pt x="2862" y="141"/>
                  </a:lnTo>
                  <a:lnTo>
                    <a:pt x="2862" y="141"/>
                  </a:lnTo>
                  <a:lnTo>
                    <a:pt x="2864" y="141"/>
                  </a:lnTo>
                  <a:lnTo>
                    <a:pt x="2879" y="143"/>
                  </a:lnTo>
                  <a:lnTo>
                    <a:pt x="2893" y="141"/>
                  </a:lnTo>
                  <a:lnTo>
                    <a:pt x="2889" y="145"/>
                  </a:lnTo>
                  <a:lnTo>
                    <a:pt x="2891" y="147"/>
                  </a:lnTo>
                  <a:lnTo>
                    <a:pt x="2893" y="147"/>
                  </a:lnTo>
                  <a:lnTo>
                    <a:pt x="2905" y="147"/>
                  </a:lnTo>
                  <a:lnTo>
                    <a:pt x="2908" y="149"/>
                  </a:lnTo>
                  <a:lnTo>
                    <a:pt x="2910" y="147"/>
                  </a:lnTo>
                  <a:lnTo>
                    <a:pt x="2912" y="147"/>
                  </a:lnTo>
                  <a:lnTo>
                    <a:pt x="2914" y="145"/>
                  </a:lnTo>
                  <a:lnTo>
                    <a:pt x="2920" y="143"/>
                  </a:lnTo>
                  <a:lnTo>
                    <a:pt x="2920" y="143"/>
                  </a:lnTo>
                  <a:lnTo>
                    <a:pt x="2924" y="143"/>
                  </a:lnTo>
                  <a:lnTo>
                    <a:pt x="2926" y="143"/>
                  </a:lnTo>
                  <a:lnTo>
                    <a:pt x="2932" y="141"/>
                  </a:lnTo>
                  <a:lnTo>
                    <a:pt x="2932" y="141"/>
                  </a:lnTo>
                  <a:lnTo>
                    <a:pt x="2936" y="136"/>
                  </a:lnTo>
                  <a:lnTo>
                    <a:pt x="2936" y="134"/>
                  </a:lnTo>
                  <a:lnTo>
                    <a:pt x="2940" y="132"/>
                  </a:lnTo>
                  <a:lnTo>
                    <a:pt x="2953" y="126"/>
                  </a:lnTo>
                  <a:lnTo>
                    <a:pt x="2955" y="126"/>
                  </a:lnTo>
                  <a:lnTo>
                    <a:pt x="2953" y="120"/>
                  </a:lnTo>
                  <a:lnTo>
                    <a:pt x="2951" y="118"/>
                  </a:lnTo>
                  <a:lnTo>
                    <a:pt x="2949" y="118"/>
                  </a:lnTo>
                  <a:lnTo>
                    <a:pt x="2943" y="116"/>
                  </a:lnTo>
                  <a:lnTo>
                    <a:pt x="2934" y="116"/>
                  </a:lnTo>
                  <a:lnTo>
                    <a:pt x="2934" y="116"/>
                  </a:lnTo>
                  <a:lnTo>
                    <a:pt x="2932" y="116"/>
                  </a:lnTo>
                  <a:lnTo>
                    <a:pt x="2930" y="114"/>
                  </a:lnTo>
                  <a:lnTo>
                    <a:pt x="2922" y="114"/>
                  </a:lnTo>
                  <a:lnTo>
                    <a:pt x="2920" y="112"/>
                  </a:lnTo>
                  <a:lnTo>
                    <a:pt x="2920" y="112"/>
                  </a:lnTo>
                  <a:lnTo>
                    <a:pt x="2918" y="114"/>
                  </a:lnTo>
                  <a:lnTo>
                    <a:pt x="2916" y="114"/>
                  </a:lnTo>
                  <a:lnTo>
                    <a:pt x="2914" y="112"/>
                  </a:lnTo>
                  <a:lnTo>
                    <a:pt x="2914" y="110"/>
                  </a:lnTo>
                  <a:lnTo>
                    <a:pt x="2912" y="112"/>
                  </a:lnTo>
                  <a:lnTo>
                    <a:pt x="2912" y="112"/>
                  </a:lnTo>
                  <a:lnTo>
                    <a:pt x="2910" y="114"/>
                  </a:lnTo>
                  <a:lnTo>
                    <a:pt x="2908" y="112"/>
                  </a:lnTo>
                  <a:lnTo>
                    <a:pt x="2905" y="114"/>
                  </a:lnTo>
                  <a:lnTo>
                    <a:pt x="2903" y="116"/>
                  </a:lnTo>
                  <a:lnTo>
                    <a:pt x="2899" y="116"/>
                  </a:lnTo>
                  <a:lnTo>
                    <a:pt x="2895" y="116"/>
                  </a:lnTo>
                  <a:lnTo>
                    <a:pt x="2897" y="112"/>
                  </a:lnTo>
                  <a:lnTo>
                    <a:pt x="2897" y="110"/>
                  </a:lnTo>
                  <a:lnTo>
                    <a:pt x="2899" y="108"/>
                  </a:lnTo>
                  <a:lnTo>
                    <a:pt x="2897" y="108"/>
                  </a:lnTo>
                  <a:lnTo>
                    <a:pt x="2895" y="108"/>
                  </a:lnTo>
                  <a:lnTo>
                    <a:pt x="2893" y="108"/>
                  </a:lnTo>
                  <a:lnTo>
                    <a:pt x="2891" y="108"/>
                  </a:lnTo>
                  <a:lnTo>
                    <a:pt x="2889" y="110"/>
                  </a:lnTo>
                  <a:lnTo>
                    <a:pt x="2887" y="110"/>
                  </a:lnTo>
                  <a:lnTo>
                    <a:pt x="2887" y="110"/>
                  </a:lnTo>
                  <a:lnTo>
                    <a:pt x="2887" y="110"/>
                  </a:lnTo>
                  <a:lnTo>
                    <a:pt x="2887" y="112"/>
                  </a:lnTo>
                  <a:lnTo>
                    <a:pt x="2887" y="116"/>
                  </a:lnTo>
                  <a:lnTo>
                    <a:pt x="2885" y="120"/>
                  </a:lnTo>
                  <a:lnTo>
                    <a:pt x="2885" y="120"/>
                  </a:lnTo>
                  <a:lnTo>
                    <a:pt x="2883" y="120"/>
                  </a:lnTo>
                  <a:lnTo>
                    <a:pt x="2879" y="118"/>
                  </a:lnTo>
                  <a:lnTo>
                    <a:pt x="2877" y="118"/>
                  </a:lnTo>
                  <a:lnTo>
                    <a:pt x="2877" y="118"/>
                  </a:lnTo>
                  <a:lnTo>
                    <a:pt x="2875" y="116"/>
                  </a:lnTo>
                  <a:lnTo>
                    <a:pt x="2875" y="114"/>
                  </a:lnTo>
                  <a:lnTo>
                    <a:pt x="2866" y="114"/>
                  </a:lnTo>
                  <a:lnTo>
                    <a:pt x="2864" y="114"/>
                  </a:lnTo>
                  <a:lnTo>
                    <a:pt x="2862" y="112"/>
                  </a:lnTo>
                  <a:lnTo>
                    <a:pt x="2858" y="110"/>
                  </a:lnTo>
                  <a:lnTo>
                    <a:pt x="2856" y="110"/>
                  </a:lnTo>
                  <a:lnTo>
                    <a:pt x="2854" y="108"/>
                  </a:lnTo>
                  <a:lnTo>
                    <a:pt x="2850" y="108"/>
                  </a:lnTo>
                  <a:lnTo>
                    <a:pt x="2848" y="108"/>
                  </a:lnTo>
                  <a:lnTo>
                    <a:pt x="2846" y="108"/>
                  </a:lnTo>
                  <a:lnTo>
                    <a:pt x="2848" y="110"/>
                  </a:lnTo>
                  <a:lnTo>
                    <a:pt x="2848" y="112"/>
                  </a:lnTo>
                  <a:lnTo>
                    <a:pt x="2850" y="112"/>
                  </a:lnTo>
                  <a:lnTo>
                    <a:pt x="2848" y="114"/>
                  </a:lnTo>
                  <a:lnTo>
                    <a:pt x="2848" y="116"/>
                  </a:lnTo>
                  <a:lnTo>
                    <a:pt x="2846" y="114"/>
                  </a:lnTo>
                  <a:lnTo>
                    <a:pt x="2842" y="112"/>
                  </a:lnTo>
                  <a:lnTo>
                    <a:pt x="2842" y="112"/>
                  </a:lnTo>
                  <a:lnTo>
                    <a:pt x="2839" y="112"/>
                  </a:lnTo>
                  <a:lnTo>
                    <a:pt x="2839" y="112"/>
                  </a:lnTo>
                  <a:lnTo>
                    <a:pt x="2839" y="114"/>
                  </a:lnTo>
                  <a:lnTo>
                    <a:pt x="2842" y="116"/>
                  </a:lnTo>
                  <a:lnTo>
                    <a:pt x="2846" y="118"/>
                  </a:lnTo>
                  <a:lnTo>
                    <a:pt x="2842" y="118"/>
                  </a:lnTo>
                  <a:lnTo>
                    <a:pt x="2839" y="118"/>
                  </a:lnTo>
                  <a:lnTo>
                    <a:pt x="2837" y="116"/>
                  </a:lnTo>
                  <a:lnTo>
                    <a:pt x="2833" y="116"/>
                  </a:lnTo>
                  <a:lnTo>
                    <a:pt x="2825" y="116"/>
                  </a:lnTo>
                  <a:lnTo>
                    <a:pt x="2821" y="118"/>
                  </a:lnTo>
                  <a:lnTo>
                    <a:pt x="2825" y="120"/>
                  </a:lnTo>
                  <a:lnTo>
                    <a:pt x="2827" y="120"/>
                  </a:lnTo>
                  <a:close/>
                  <a:moveTo>
                    <a:pt x="2922" y="192"/>
                  </a:moveTo>
                  <a:lnTo>
                    <a:pt x="2916" y="190"/>
                  </a:lnTo>
                  <a:lnTo>
                    <a:pt x="2912" y="188"/>
                  </a:lnTo>
                  <a:lnTo>
                    <a:pt x="2908" y="190"/>
                  </a:lnTo>
                  <a:lnTo>
                    <a:pt x="2903" y="188"/>
                  </a:lnTo>
                  <a:lnTo>
                    <a:pt x="2899" y="186"/>
                  </a:lnTo>
                  <a:lnTo>
                    <a:pt x="2895" y="186"/>
                  </a:lnTo>
                  <a:lnTo>
                    <a:pt x="2897" y="182"/>
                  </a:lnTo>
                  <a:lnTo>
                    <a:pt x="2899" y="182"/>
                  </a:lnTo>
                  <a:lnTo>
                    <a:pt x="2901" y="180"/>
                  </a:lnTo>
                  <a:lnTo>
                    <a:pt x="2899" y="180"/>
                  </a:lnTo>
                  <a:lnTo>
                    <a:pt x="2895" y="178"/>
                  </a:lnTo>
                  <a:lnTo>
                    <a:pt x="2893" y="178"/>
                  </a:lnTo>
                  <a:lnTo>
                    <a:pt x="2891" y="178"/>
                  </a:lnTo>
                  <a:lnTo>
                    <a:pt x="2887" y="178"/>
                  </a:lnTo>
                  <a:lnTo>
                    <a:pt x="2885" y="178"/>
                  </a:lnTo>
                  <a:lnTo>
                    <a:pt x="2883" y="172"/>
                  </a:lnTo>
                  <a:lnTo>
                    <a:pt x="2881" y="167"/>
                  </a:lnTo>
                  <a:lnTo>
                    <a:pt x="2877" y="167"/>
                  </a:lnTo>
                  <a:lnTo>
                    <a:pt x="2875" y="167"/>
                  </a:lnTo>
                  <a:lnTo>
                    <a:pt x="2872" y="167"/>
                  </a:lnTo>
                  <a:lnTo>
                    <a:pt x="2866" y="167"/>
                  </a:lnTo>
                  <a:lnTo>
                    <a:pt x="2856" y="169"/>
                  </a:lnTo>
                  <a:lnTo>
                    <a:pt x="2854" y="169"/>
                  </a:lnTo>
                  <a:lnTo>
                    <a:pt x="2856" y="172"/>
                  </a:lnTo>
                  <a:lnTo>
                    <a:pt x="2860" y="172"/>
                  </a:lnTo>
                  <a:lnTo>
                    <a:pt x="2858" y="176"/>
                  </a:lnTo>
                  <a:lnTo>
                    <a:pt x="2862" y="178"/>
                  </a:lnTo>
                  <a:lnTo>
                    <a:pt x="2864" y="180"/>
                  </a:lnTo>
                  <a:lnTo>
                    <a:pt x="2866" y="184"/>
                  </a:lnTo>
                  <a:lnTo>
                    <a:pt x="2868" y="184"/>
                  </a:lnTo>
                  <a:lnTo>
                    <a:pt x="2875" y="188"/>
                  </a:lnTo>
                  <a:lnTo>
                    <a:pt x="2875" y="188"/>
                  </a:lnTo>
                  <a:lnTo>
                    <a:pt x="2872" y="190"/>
                  </a:lnTo>
                  <a:lnTo>
                    <a:pt x="2870" y="192"/>
                  </a:lnTo>
                  <a:lnTo>
                    <a:pt x="2868" y="194"/>
                  </a:lnTo>
                  <a:lnTo>
                    <a:pt x="2868" y="196"/>
                  </a:lnTo>
                  <a:lnTo>
                    <a:pt x="2864" y="198"/>
                  </a:lnTo>
                  <a:lnTo>
                    <a:pt x="2864" y="200"/>
                  </a:lnTo>
                  <a:lnTo>
                    <a:pt x="2866" y="203"/>
                  </a:lnTo>
                  <a:lnTo>
                    <a:pt x="2879" y="200"/>
                  </a:lnTo>
                  <a:lnTo>
                    <a:pt x="2881" y="200"/>
                  </a:lnTo>
                  <a:lnTo>
                    <a:pt x="2883" y="198"/>
                  </a:lnTo>
                  <a:lnTo>
                    <a:pt x="2885" y="198"/>
                  </a:lnTo>
                  <a:lnTo>
                    <a:pt x="2887" y="198"/>
                  </a:lnTo>
                  <a:lnTo>
                    <a:pt x="2889" y="198"/>
                  </a:lnTo>
                  <a:lnTo>
                    <a:pt x="2889" y="198"/>
                  </a:lnTo>
                  <a:lnTo>
                    <a:pt x="2891" y="198"/>
                  </a:lnTo>
                  <a:lnTo>
                    <a:pt x="2889" y="200"/>
                  </a:lnTo>
                  <a:lnTo>
                    <a:pt x="2887" y="203"/>
                  </a:lnTo>
                  <a:lnTo>
                    <a:pt x="2887" y="205"/>
                  </a:lnTo>
                  <a:lnTo>
                    <a:pt x="2887" y="205"/>
                  </a:lnTo>
                  <a:lnTo>
                    <a:pt x="2887" y="207"/>
                  </a:lnTo>
                  <a:lnTo>
                    <a:pt x="2887" y="207"/>
                  </a:lnTo>
                  <a:lnTo>
                    <a:pt x="2891" y="207"/>
                  </a:lnTo>
                  <a:lnTo>
                    <a:pt x="2893" y="207"/>
                  </a:lnTo>
                  <a:lnTo>
                    <a:pt x="2895" y="205"/>
                  </a:lnTo>
                  <a:lnTo>
                    <a:pt x="2895" y="205"/>
                  </a:lnTo>
                  <a:lnTo>
                    <a:pt x="2899" y="205"/>
                  </a:lnTo>
                  <a:lnTo>
                    <a:pt x="2901" y="203"/>
                  </a:lnTo>
                  <a:lnTo>
                    <a:pt x="2905" y="200"/>
                  </a:lnTo>
                  <a:lnTo>
                    <a:pt x="2905" y="200"/>
                  </a:lnTo>
                  <a:lnTo>
                    <a:pt x="2908" y="198"/>
                  </a:lnTo>
                  <a:lnTo>
                    <a:pt x="2910" y="196"/>
                  </a:lnTo>
                  <a:lnTo>
                    <a:pt x="2910" y="196"/>
                  </a:lnTo>
                  <a:lnTo>
                    <a:pt x="2922" y="192"/>
                  </a:lnTo>
                  <a:close/>
                  <a:moveTo>
                    <a:pt x="2934" y="378"/>
                  </a:moveTo>
                  <a:lnTo>
                    <a:pt x="2930" y="378"/>
                  </a:lnTo>
                  <a:lnTo>
                    <a:pt x="2928" y="378"/>
                  </a:lnTo>
                  <a:lnTo>
                    <a:pt x="2928" y="380"/>
                  </a:lnTo>
                  <a:lnTo>
                    <a:pt x="2928" y="380"/>
                  </a:lnTo>
                  <a:lnTo>
                    <a:pt x="2930" y="380"/>
                  </a:lnTo>
                  <a:lnTo>
                    <a:pt x="2930" y="382"/>
                  </a:lnTo>
                  <a:lnTo>
                    <a:pt x="2934" y="382"/>
                  </a:lnTo>
                  <a:lnTo>
                    <a:pt x="2934" y="382"/>
                  </a:lnTo>
                  <a:lnTo>
                    <a:pt x="2936" y="382"/>
                  </a:lnTo>
                  <a:lnTo>
                    <a:pt x="2938" y="382"/>
                  </a:lnTo>
                  <a:lnTo>
                    <a:pt x="2938" y="380"/>
                  </a:lnTo>
                  <a:lnTo>
                    <a:pt x="2938" y="380"/>
                  </a:lnTo>
                  <a:lnTo>
                    <a:pt x="2936" y="378"/>
                  </a:lnTo>
                  <a:lnTo>
                    <a:pt x="2934" y="378"/>
                  </a:lnTo>
                  <a:close/>
                  <a:moveTo>
                    <a:pt x="3343" y="108"/>
                  </a:moveTo>
                  <a:lnTo>
                    <a:pt x="3343" y="105"/>
                  </a:lnTo>
                  <a:lnTo>
                    <a:pt x="3343" y="105"/>
                  </a:lnTo>
                  <a:lnTo>
                    <a:pt x="3338" y="103"/>
                  </a:lnTo>
                  <a:lnTo>
                    <a:pt x="3338" y="103"/>
                  </a:lnTo>
                  <a:lnTo>
                    <a:pt x="3334" y="103"/>
                  </a:lnTo>
                  <a:lnTo>
                    <a:pt x="3334" y="103"/>
                  </a:lnTo>
                  <a:lnTo>
                    <a:pt x="3334" y="105"/>
                  </a:lnTo>
                  <a:lnTo>
                    <a:pt x="3334" y="105"/>
                  </a:lnTo>
                  <a:lnTo>
                    <a:pt x="3334" y="105"/>
                  </a:lnTo>
                  <a:lnTo>
                    <a:pt x="3334" y="108"/>
                  </a:lnTo>
                  <a:lnTo>
                    <a:pt x="3341" y="110"/>
                  </a:lnTo>
                  <a:lnTo>
                    <a:pt x="3343" y="108"/>
                  </a:lnTo>
                  <a:close/>
                  <a:moveTo>
                    <a:pt x="3361" y="118"/>
                  </a:moveTo>
                  <a:lnTo>
                    <a:pt x="3361" y="120"/>
                  </a:lnTo>
                  <a:lnTo>
                    <a:pt x="3367" y="120"/>
                  </a:lnTo>
                  <a:lnTo>
                    <a:pt x="3380" y="120"/>
                  </a:lnTo>
                  <a:lnTo>
                    <a:pt x="3380" y="120"/>
                  </a:lnTo>
                  <a:lnTo>
                    <a:pt x="3380" y="118"/>
                  </a:lnTo>
                  <a:lnTo>
                    <a:pt x="3380" y="116"/>
                  </a:lnTo>
                  <a:lnTo>
                    <a:pt x="3380" y="112"/>
                  </a:lnTo>
                  <a:lnTo>
                    <a:pt x="3380" y="112"/>
                  </a:lnTo>
                  <a:lnTo>
                    <a:pt x="3378" y="110"/>
                  </a:lnTo>
                  <a:lnTo>
                    <a:pt x="3376" y="110"/>
                  </a:lnTo>
                  <a:lnTo>
                    <a:pt x="3374" y="112"/>
                  </a:lnTo>
                  <a:lnTo>
                    <a:pt x="3365" y="112"/>
                  </a:lnTo>
                  <a:lnTo>
                    <a:pt x="3365" y="112"/>
                  </a:lnTo>
                  <a:lnTo>
                    <a:pt x="3365" y="116"/>
                  </a:lnTo>
                  <a:lnTo>
                    <a:pt x="3363" y="118"/>
                  </a:lnTo>
                  <a:lnTo>
                    <a:pt x="3361" y="118"/>
                  </a:lnTo>
                  <a:close/>
                  <a:moveTo>
                    <a:pt x="3396" y="87"/>
                  </a:moveTo>
                  <a:lnTo>
                    <a:pt x="3394" y="85"/>
                  </a:lnTo>
                  <a:lnTo>
                    <a:pt x="3394" y="85"/>
                  </a:lnTo>
                  <a:lnTo>
                    <a:pt x="3388" y="89"/>
                  </a:lnTo>
                  <a:lnTo>
                    <a:pt x="3384" y="89"/>
                  </a:lnTo>
                  <a:lnTo>
                    <a:pt x="3382" y="89"/>
                  </a:lnTo>
                  <a:lnTo>
                    <a:pt x="3384" y="93"/>
                  </a:lnTo>
                  <a:lnTo>
                    <a:pt x="3390" y="93"/>
                  </a:lnTo>
                  <a:lnTo>
                    <a:pt x="3392" y="97"/>
                  </a:lnTo>
                  <a:lnTo>
                    <a:pt x="3398" y="97"/>
                  </a:lnTo>
                  <a:lnTo>
                    <a:pt x="3402" y="97"/>
                  </a:lnTo>
                  <a:lnTo>
                    <a:pt x="3407" y="97"/>
                  </a:lnTo>
                  <a:lnTo>
                    <a:pt x="3407" y="95"/>
                  </a:lnTo>
                  <a:lnTo>
                    <a:pt x="3407" y="93"/>
                  </a:lnTo>
                  <a:lnTo>
                    <a:pt x="3404" y="91"/>
                  </a:lnTo>
                  <a:lnTo>
                    <a:pt x="3404" y="89"/>
                  </a:lnTo>
                  <a:lnTo>
                    <a:pt x="3402" y="89"/>
                  </a:lnTo>
                  <a:lnTo>
                    <a:pt x="3400" y="87"/>
                  </a:lnTo>
                  <a:lnTo>
                    <a:pt x="3396" y="87"/>
                  </a:lnTo>
                  <a:close/>
                  <a:moveTo>
                    <a:pt x="3409" y="81"/>
                  </a:moveTo>
                  <a:lnTo>
                    <a:pt x="3413" y="79"/>
                  </a:lnTo>
                  <a:lnTo>
                    <a:pt x="3413" y="79"/>
                  </a:lnTo>
                  <a:lnTo>
                    <a:pt x="3411" y="77"/>
                  </a:lnTo>
                  <a:lnTo>
                    <a:pt x="3409" y="77"/>
                  </a:lnTo>
                  <a:lnTo>
                    <a:pt x="3407" y="77"/>
                  </a:lnTo>
                  <a:lnTo>
                    <a:pt x="3402" y="77"/>
                  </a:lnTo>
                  <a:lnTo>
                    <a:pt x="3402" y="79"/>
                  </a:lnTo>
                  <a:lnTo>
                    <a:pt x="3404" y="79"/>
                  </a:lnTo>
                  <a:lnTo>
                    <a:pt x="3409" y="81"/>
                  </a:lnTo>
                  <a:close/>
                  <a:moveTo>
                    <a:pt x="3353" y="116"/>
                  </a:moveTo>
                  <a:lnTo>
                    <a:pt x="3357" y="114"/>
                  </a:lnTo>
                  <a:lnTo>
                    <a:pt x="3357" y="112"/>
                  </a:lnTo>
                  <a:lnTo>
                    <a:pt x="3355" y="112"/>
                  </a:lnTo>
                  <a:lnTo>
                    <a:pt x="3353" y="112"/>
                  </a:lnTo>
                  <a:lnTo>
                    <a:pt x="3351" y="112"/>
                  </a:lnTo>
                  <a:lnTo>
                    <a:pt x="3351" y="114"/>
                  </a:lnTo>
                  <a:lnTo>
                    <a:pt x="3351" y="116"/>
                  </a:lnTo>
                  <a:lnTo>
                    <a:pt x="3353" y="116"/>
                  </a:lnTo>
                  <a:close/>
                  <a:moveTo>
                    <a:pt x="3380" y="105"/>
                  </a:moveTo>
                  <a:lnTo>
                    <a:pt x="3380" y="108"/>
                  </a:lnTo>
                  <a:lnTo>
                    <a:pt x="3380" y="108"/>
                  </a:lnTo>
                  <a:lnTo>
                    <a:pt x="3382" y="110"/>
                  </a:lnTo>
                  <a:lnTo>
                    <a:pt x="3382" y="110"/>
                  </a:lnTo>
                  <a:lnTo>
                    <a:pt x="3382" y="112"/>
                  </a:lnTo>
                  <a:lnTo>
                    <a:pt x="3384" y="116"/>
                  </a:lnTo>
                  <a:lnTo>
                    <a:pt x="3384" y="118"/>
                  </a:lnTo>
                  <a:lnTo>
                    <a:pt x="3384" y="118"/>
                  </a:lnTo>
                  <a:lnTo>
                    <a:pt x="3390" y="120"/>
                  </a:lnTo>
                  <a:lnTo>
                    <a:pt x="3392" y="118"/>
                  </a:lnTo>
                  <a:lnTo>
                    <a:pt x="3396" y="116"/>
                  </a:lnTo>
                  <a:lnTo>
                    <a:pt x="3396" y="116"/>
                  </a:lnTo>
                  <a:lnTo>
                    <a:pt x="3398" y="114"/>
                  </a:lnTo>
                  <a:lnTo>
                    <a:pt x="3398" y="112"/>
                  </a:lnTo>
                  <a:lnTo>
                    <a:pt x="3398" y="112"/>
                  </a:lnTo>
                  <a:lnTo>
                    <a:pt x="3411" y="112"/>
                  </a:lnTo>
                  <a:lnTo>
                    <a:pt x="3409" y="110"/>
                  </a:lnTo>
                  <a:lnTo>
                    <a:pt x="3407" y="110"/>
                  </a:lnTo>
                  <a:lnTo>
                    <a:pt x="3400" y="108"/>
                  </a:lnTo>
                  <a:lnTo>
                    <a:pt x="3386" y="108"/>
                  </a:lnTo>
                  <a:lnTo>
                    <a:pt x="3380" y="105"/>
                  </a:lnTo>
                  <a:close/>
                  <a:moveTo>
                    <a:pt x="3417" y="413"/>
                  </a:moveTo>
                  <a:lnTo>
                    <a:pt x="3417" y="413"/>
                  </a:lnTo>
                  <a:lnTo>
                    <a:pt x="3419" y="415"/>
                  </a:lnTo>
                  <a:lnTo>
                    <a:pt x="3421" y="415"/>
                  </a:lnTo>
                  <a:lnTo>
                    <a:pt x="3423" y="413"/>
                  </a:lnTo>
                  <a:lnTo>
                    <a:pt x="3425" y="415"/>
                  </a:lnTo>
                  <a:lnTo>
                    <a:pt x="3427" y="413"/>
                  </a:lnTo>
                  <a:lnTo>
                    <a:pt x="3427" y="413"/>
                  </a:lnTo>
                  <a:lnTo>
                    <a:pt x="3429" y="411"/>
                  </a:lnTo>
                  <a:lnTo>
                    <a:pt x="3429" y="409"/>
                  </a:lnTo>
                  <a:lnTo>
                    <a:pt x="3429" y="409"/>
                  </a:lnTo>
                  <a:lnTo>
                    <a:pt x="3427" y="407"/>
                  </a:lnTo>
                  <a:lnTo>
                    <a:pt x="3425" y="407"/>
                  </a:lnTo>
                  <a:lnTo>
                    <a:pt x="3421" y="405"/>
                  </a:lnTo>
                  <a:lnTo>
                    <a:pt x="3417" y="401"/>
                  </a:lnTo>
                  <a:lnTo>
                    <a:pt x="3415" y="401"/>
                  </a:lnTo>
                  <a:lnTo>
                    <a:pt x="3413" y="399"/>
                  </a:lnTo>
                  <a:lnTo>
                    <a:pt x="3413" y="397"/>
                  </a:lnTo>
                  <a:lnTo>
                    <a:pt x="3409" y="395"/>
                  </a:lnTo>
                  <a:lnTo>
                    <a:pt x="3409" y="395"/>
                  </a:lnTo>
                  <a:lnTo>
                    <a:pt x="3409" y="395"/>
                  </a:lnTo>
                  <a:lnTo>
                    <a:pt x="3404" y="397"/>
                  </a:lnTo>
                  <a:lnTo>
                    <a:pt x="3402" y="397"/>
                  </a:lnTo>
                  <a:lnTo>
                    <a:pt x="3402" y="399"/>
                  </a:lnTo>
                  <a:lnTo>
                    <a:pt x="3400" y="399"/>
                  </a:lnTo>
                  <a:lnTo>
                    <a:pt x="3400" y="401"/>
                  </a:lnTo>
                  <a:lnTo>
                    <a:pt x="3400" y="403"/>
                  </a:lnTo>
                  <a:lnTo>
                    <a:pt x="3402" y="403"/>
                  </a:lnTo>
                  <a:lnTo>
                    <a:pt x="3402" y="405"/>
                  </a:lnTo>
                  <a:lnTo>
                    <a:pt x="3402" y="405"/>
                  </a:lnTo>
                  <a:lnTo>
                    <a:pt x="3407" y="409"/>
                  </a:lnTo>
                  <a:lnTo>
                    <a:pt x="3409" y="409"/>
                  </a:lnTo>
                  <a:lnTo>
                    <a:pt x="3409" y="409"/>
                  </a:lnTo>
                  <a:lnTo>
                    <a:pt x="3409" y="409"/>
                  </a:lnTo>
                  <a:lnTo>
                    <a:pt x="3411" y="409"/>
                  </a:lnTo>
                  <a:lnTo>
                    <a:pt x="3413" y="409"/>
                  </a:lnTo>
                  <a:lnTo>
                    <a:pt x="3415" y="409"/>
                  </a:lnTo>
                  <a:lnTo>
                    <a:pt x="3415" y="411"/>
                  </a:lnTo>
                  <a:lnTo>
                    <a:pt x="3415" y="413"/>
                  </a:lnTo>
                  <a:lnTo>
                    <a:pt x="3417" y="413"/>
                  </a:lnTo>
                  <a:close/>
                  <a:moveTo>
                    <a:pt x="3565" y="326"/>
                  </a:moveTo>
                  <a:lnTo>
                    <a:pt x="3569" y="326"/>
                  </a:lnTo>
                  <a:lnTo>
                    <a:pt x="3569" y="326"/>
                  </a:lnTo>
                  <a:lnTo>
                    <a:pt x="3574" y="326"/>
                  </a:lnTo>
                  <a:lnTo>
                    <a:pt x="3578" y="324"/>
                  </a:lnTo>
                  <a:lnTo>
                    <a:pt x="3584" y="324"/>
                  </a:lnTo>
                  <a:lnTo>
                    <a:pt x="3588" y="324"/>
                  </a:lnTo>
                  <a:lnTo>
                    <a:pt x="3588" y="322"/>
                  </a:lnTo>
                  <a:lnTo>
                    <a:pt x="3588" y="320"/>
                  </a:lnTo>
                  <a:lnTo>
                    <a:pt x="3586" y="318"/>
                  </a:lnTo>
                  <a:lnTo>
                    <a:pt x="3584" y="318"/>
                  </a:lnTo>
                  <a:lnTo>
                    <a:pt x="3582" y="316"/>
                  </a:lnTo>
                  <a:lnTo>
                    <a:pt x="3580" y="316"/>
                  </a:lnTo>
                  <a:lnTo>
                    <a:pt x="3580" y="314"/>
                  </a:lnTo>
                  <a:lnTo>
                    <a:pt x="3578" y="314"/>
                  </a:lnTo>
                  <a:lnTo>
                    <a:pt x="3569" y="316"/>
                  </a:lnTo>
                  <a:lnTo>
                    <a:pt x="3567" y="316"/>
                  </a:lnTo>
                  <a:lnTo>
                    <a:pt x="3565" y="318"/>
                  </a:lnTo>
                  <a:lnTo>
                    <a:pt x="3565" y="322"/>
                  </a:lnTo>
                  <a:lnTo>
                    <a:pt x="3563" y="324"/>
                  </a:lnTo>
                  <a:lnTo>
                    <a:pt x="3563" y="324"/>
                  </a:lnTo>
                  <a:lnTo>
                    <a:pt x="3563" y="326"/>
                  </a:lnTo>
                  <a:lnTo>
                    <a:pt x="3565" y="326"/>
                  </a:lnTo>
                  <a:lnTo>
                    <a:pt x="3565" y="326"/>
                  </a:lnTo>
                  <a:close/>
                  <a:moveTo>
                    <a:pt x="3495" y="229"/>
                  </a:moveTo>
                  <a:lnTo>
                    <a:pt x="3493" y="229"/>
                  </a:lnTo>
                  <a:lnTo>
                    <a:pt x="3493" y="229"/>
                  </a:lnTo>
                  <a:lnTo>
                    <a:pt x="3489" y="231"/>
                  </a:lnTo>
                  <a:lnTo>
                    <a:pt x="3485" y="233"/>
                  </a:lnTo>
                  <a:lnTo>
                    <a:pt x="3473" y="236"/>
                  </a:lnTo>
                  <a:lnTo>
                    <a:pt x="3464" y="238"/>
                  </a:lnTo>
                  <a:lnTo>
                    <a:pt x="3462" y="238"/>
                  </a:lnTo>
                  <a:lnTo>
                    <a:pt x="3456" y="238"/>
                  </a:lnTo>
                  <a:lnTo>
                    <a:pt x="3454" y="238"/>
                  </a:lnTo>
                  <a:lnTo>
                    <a:pt x="3448" y="236"/>
                  </a:lnTo>
                  <a:lnTo>
                    <a:pt x="3444" y="236"/>
                  </a:lnTo>
                  <a:lnTo>
                    <a:pt x="3440" y="236"/>
                  </a:lnTo>
                  <a:lnTo>
                    <a:pt x="3437" y="236"/>
                  </a:lnTo>
                  <a:lnTo>
                    <a:pt x="3437" y="238"/>
                  </a:lnTo>
                  <a:lnTo>
                    <a:pt x="3437" y="240"/>
                  </a:lnTo>
                  <a:lnTo>
                    <a:pt x="3437" y="242"/>
                  </a:lnTo>
                  <a:lnTo>
                    <a:pt x="3435" y="242"/>
                  </a:lnTo>
                  <a:lnTo>
                    <a:pt x="3435" y="242"/>
                  </a:lnTo>
                  <a:lnTo>
                    <a:pt x="3433" y="242"/>
                  </a:lnTo>
                  <a:lnTo>
                    <a:pt x="3431" y="242"/>
                  </a:lnTo>
                  <a:lnTo>
                    <a:pt x="3431" y="242"/>
                  </a:lnTo>
                  <a:lnTo>
                    <a:pt x="3425" y="242"/>
                  </a:lnTo>
                  <a:lnTo>
                    <a:pt x="3423" y="242"/>
                  </a:lnTo>
                  <a:lnTo>
                    <a:pt x="3423" y="246"/>
                  </a:lnTo>
                  <a:lnTo>
                    <a:pt x="3419" y="246"/>
                  </a:lnTo>
                  <a:lnTo>
                    <a:pt x="3413" y="248"/>
                  </a:lnTo>
                  <a:lnTo>
                    <a:pt x="3409" y="248"/>
                  </a:lnTo>
                  <a:lnTo>
                    <a:pt x="3407" y="248"/>
                  </a:lnTo>
                  <a:lnTo>
                    <a:pt x="3407" y="248"/>
                  </a:lnTo>
                  <a:lnTo>
                    <a:pt x="3402" y="250"/>
                  </a:lnTo>
                  <a:lnTo>
                    <a:pt x="3398" y="252"/>
                  </a:lnTo>
                  <a:lnTo>
                    <a:pt x="3394" y="254"/>
                  </a:lnTo>
                  <a:lnTo>
                    <a:pt x="3394" y="256"/>
                  </a:lnTo>
                  <a:lnTo>
                    <a:pt x="3394" y="256"/>
                  </a:lnTo>
                  <a:lnTo>
                    <a:pt x="3390" y="258"/>
                  </a:lnTo>
                  <a:lnTo>
                    <a:pt x="3390" y="260"/>
                  </a:lnTo>
                  <a:lnTo>
                    <a:pt x="3388" y="262"/>
                  </a:lnTo>
                  <a:lnTo>
                    <a:pt x="3388" y="262"/>
                  </a:lnTo>
                  <a:lnTo>
                    <a:pt x="3384" y="262"/>
                  </a:lnTo>
                  <a:lnTo>
                    <a:pt x="3380" y="262"/>
                  </a:lnTo>
                  <a:lnTo>
                    <a:pt x="3380" y="262"/>
                  </a:lnTo>
                  <a:lnTo>
                    <a:pt x="3378" y="262"/>
                  </a:lnTo>
                  <a:lnTo>
                    <a:pt x="3376" y="264"/>
                  </a:lnTo>
                  <a:lnTo>
                    <a:pt x="3376" y="264"/>
                  </a:lnTo>
                  <a:lnTo>
                    <a:pt x="3378" y="267"/>
                  </a:lnTo>
                  <a:lnTo>
                    <a:pt x="3374" y="271"/>
                  </a:lnTo>
                  <a:lnTo>
                    <a:pt x="3371" y="271"/>
                  </a:lnTo>
                  <a:lnTo>
                    <a:pt x="3369" y="269"/>
                  </a:lnTo>
                  <a:lnTo>
                    <a:pt x="3369" y="269"/>
                  </a:lnTo>
                  <a:lnTo>
                    <a:pt x="3367" y="269"/>
                  </a:lnTo>
                  <a:lnTo>
                    <a:pt x="3365" y="269"/>
                  </a:lnTo>
                  <a:lnTo>
                    <a:pt x="3363" y="269"/>
                  </a:lnTo>
                  <a:lnTo>
                    <a:pt x="3361" y="269"/>
                  </a:lnTo>
                  <a:lnTo>
                    <a:pt x="3363" y="271"/>
                  </a:lnTo>
                  <a:lnTo>
                    <a:pt x="3363" y="271"/>
                  </a:lnTo>
                  <a:lnTo>
                    <a:pt x="3365" y="273"/>
                  </a:lnTo>
                  <a:lnTo>
                    <a:pt x="3369" y="273"/>
                  </a:lnTo>
                  <a:lnTo>
                    <a:pt x="3371" y="275"/>
                  </a:lnTo>
                  <a:lnTo>
                    <a:pt x="3371" y="275"/>
                  </a:lnTo>
                  <a:lnTo>
                    <a:pt x="3367" y="277"/>
                  </a:lnTo>
                  <a:lnTo>
                    <a:pt x="3363" y="279"/>
                  </a:lnTo>
                  <a:lnTo>
                    <a:pt x="3359" y="283"/>
                  </a:lnTo>
                  <a:lnTo>
                    <a:pt x="3359" y="283"/>
                  </a:lnTo>
                  <a:lnTo>
                    <a:pt x="3359" y="285"/>
                  </a:lnTo>
                  <a:lnTo>
                    <a:pt x="3359" y="285"/>
                  </a:lnTo>
                  <a:lnTo>
                    <a:pt x="3361" y="285"/>
                  </a:lnTo>
                  <a:lnTo>
                    <a:pt x="3363" y="285"/>
                  </a:lnTo>
                  <a:lnTo>
                    <a:pt x="3367" y="287"/>
                  </a:lnTo>
                  <a:lnTo>
                    <a:pt x="3365" y="287"/>
                  </a:lnTo>
                  <a:lnTo>
                    <a:pt x="3357" y="289"/>
                  </a:lnTo>
                  <a:lnTo>
                    <a:pt x="3355" y="289"/>
                  </a:lnTo>
                  <a:lnTo>
                    <a:pt x="3351" y="295"/>
                  </a:lnTo>
                  <a:lnTo>
                    <a:pt x="3349" y="297"/>
                  </a:lnTo>
                  <a:lnTo>
                    <a:pt x="3349" y="297"/>
                  </a:lnTo>
                  <a:lnTo>
                    <a:pt x="3347" y="300"/>
                  </a:lnTo>
                  <a:lnTo>
                    <a:pt x="3345" y="302"/>
                  </a:lnTo>
                  <a:lnTo>
                    <a:pt x="3345" y="302"/>
                  </a:lnTo>
                  <a:lnTo>
                    <a:pt x="3343" y="304"/>
                  </a:lnTo>
                  <a:lnTo>
                    <a:pt x="3338" y="304"/>
                  </a:lnTo>
                  <a:lnTo>
                    <a:pt x="3336" y="306"/>
                  </a:lnTo>
                  <a:lnTo>
                    <a:pt x="3334" y="306"/>
                  </a:lnTo>
                  <a:lnTo>
                    <a:pt x="3332" y="308"/>
                  </a:lnTo>
                  <a:lnTo>
                    <a:pt x="3334" y="310"/>
                  </a:lnTo>
                  <a:lnTo>
                    <a:pt x="3338" y="314"/>
                  </a:lnTo>
                  <a:lnTo>
                    <a:pt x="3338" y="316"/>
                  </a:lnTo>
                  <a:lnTo>
                    <a:pt x="3341" y="318"/>
                  </a:lnTo>
                  <a:lnTo>
                    <a:pt x="3345" y="316"/>
                  </a:lnTo>
                  <a:lnTo>
                    <a:pt x="3347" y="316"/>
                  </a:lnTo>
                  <a:lnTo>
                    <a:pt x="3351" y="316"/>
                  </a:lnTo>
                  <a:lnTo>
                    <a:pt x="3355" y="318"/>
                  </a:lnTo>
                  <a:lnTo>
                    <a:pt x="3359" y="318"/>
                  </a:lnTo>
                  <a:lnTo>
                    <a:pt x="3365" y="318"/>
                  </a:lnTo>
                  <a:lnTo>
                    <a:pt x="3367" y="320"/>
                  </a:lnTo>
                  <a:lnTo>
                    <a:pt x="3371" y="320"/>
                  </a:lnTo>
                  <a:lnTo>
                    <a:pt x="3374" y="320"/>
                  </a:lnTo>
                  <a:lnTo>
                    <a:pt x="3378" y="318"/>
                  </a:lnTo>
                  <a:lnTo>
                    <a:pt x="3382" y="314"/>
                  </a:lnTo>
                  <a:lnTo>
                    <a:pt x="3386" y="312"/>
                  </a:lnTo>
                  <a:lnTo>
                    <a:pt x="3386" y="310"/>
                  </a:lnTo>
                  <a:lnTo>
                    <a:pt x="3386" y="308"/>
                  </a:lnTo>
                  <a:lnTo>
                    <a:pt x="3384" y="306"/>
                  </a:lnTo>
                  <a:lnTo>
                    <a:pt x="3384" y="306"/>
                  </a:lnTo>
                  <a:lnTo>
                    <a:pt x="3386" y="306"/>
                  </a:lnTo>
                  <a:lnTo>
                    <a:pt x="3388" y="308"/>
                  </a:lnTo>
                  <a:lnTo>
                    <a:pt x="3388" y="308"/>
                  </a:lnTo>
                  <a:lnTo>
                    <a:pt x="3390" y="308"/>
                  </a:lnTo>
                  <a:lnTo>
                    <a:pt x="3390" y="306"/>
                  </a:lnTo>
                  <a:lnTo>
                    <a:pt x="3392" y="306"/>
                  </a:lnTo>
                  <a:lnTo>
                    <a:pt x="3392" y="304"/>
                  </a:lnTo>
                  <a:lnTo>
                    <a:pt x="3390" y="302"/>
                  </a:lnTo>
                  <a:lnTo>
                    <a:pt x="3390" y="302"/>
                  </a:lnTo>
                  <a:lnTo>
                    <a:pt x="3400" y="297"/>
                  </a:lnTo>
                  <a:lnTo>
                    <a:pt x="3402" y="295"/>
                  </a:lnTo>
                  <a:lnTo>
                    <a:pt x="3402" y="293"/>
                  </a:lnTo>
                  <a:lnTo>
                    <a:pt x="3402" y="291"/>
                  </a:lnTo>
                  <a:lnTo>
                    <a:pt x="3400" y="289"/>
                  </a:lnTo>
                  <a:lnTo>
                    <a:pt x="3400" y="287"/>
                  </a:lnTo>
                  <a:lnTo>
                    <a:pt x="3400" y="287"/>
                  </a:lnTo>
                  <a:lnTo>
                    <a:pt x="3407" y="287"/>
                  </a:lnTo>
                  <a:lnTo>
                    <a:pt x="3409" y="287"/>
                  </a:lnTo>
                  <a:lnTo>
                    <a:pt x="3409" y="287"/>
                  </a:lnTo>
                  <a:lnTo>
                    <a:pt x="3409" y="285"/>
                  </a:lnTo>
                  <a:lnTo>
                    <a:pt x="3411" y="283"/>
                  </a:lnTo>
                  <a:lnTo>
                    <a:pt x="3411" y="283"/>
                  </a:lnTo>
                  <a:lnTo>
                    <a:pt x="3411" y="281"/>
                  </a:lnTo>
                  <a:lnTo>
                    <a:pt x="3417" y="283"/>
                  </a:lnTo>
                  <a:lnTo>
                    <a:pt x="3417" y="283"/>
                  </a:lnTo>
                  <a:lnTo>
                    <a:pt x="3419" y="283"/>
                  </a:lnTo>
                  <a:lnTo>
                    <a:pt x="3419" y="283"/>
                  </a:lnTo>
                  <a:lnTo>
                    <a:pt x="3419" y="281"/>
                  </a:lnTo>
                  <a:lnTo>
                    <a:pt x="3419" y="281"/>
                  </a:lnTo>
                  <a:lnTo>
                    <a:pt x="3421" y="281"/>
                  </a:lnTo>
                  <a:lnTo>
                    <a:pt x="3423" y="281"/>
                  </a:lnTo>
                  <a:lnTo>
                    <a:pt x="3425" y="279"/>
                  </a:lnTo>
                  <a:lnTo>
                    <a:pt x="3425" y="277"/>
                  </a:lnTo>
                  <a:lnTo>
                    <a:pt x="3427" y="277"/>
                  </a:lnTo>
                  <a:lnTo>
                    <a:pt x="3429" y="275"/>
                  </a:lnTo>
                  <a:lnTo>
                    <a:pt x="3429" y="275"/>
                  </a:lnTo>
                  <a:lnTo>
                    <a:pt x="3425" y="275"/>
                  </a:lnTo>
                  <a:lnTo>
                    <a:pt x="3425" y="273"/>
                  </a:lnTo>
                  <a:lnTo>
                    <a:pt x="3429" y="271"/>
                  </a:lnTo>
                  <a:lnTo>
                    <a:pt x="3429" y="271"/>
                  </a:lnTo>
                  <a:lnTo>
                    <a:pt x="3431" y="271"/>
                  </a:lnTo>
                  <a:lnTo>
                    <a:pt x="3431" y="271"/>
                  </a:lnTo>
                  <a:lnTo>
                    <a:pt x="3433" y="271"/>
                  </a:lnTo>
                  <a:lnTo>
                    <a:pt x="3435" y="269"/>
                  </a:lnTo>
                  <a:lnTo>
                    <a:pt x="3437" y="267"/>
                  </a:lnTo>
                  <a:lnTo>
                    <a:pt x="3440" y="264"/>
                  </a:lnTo>
                  <a:lnTo>
                    <a:pt x="3442" y="264"/>
                  </a:lnTo>
                  <a:lnTo>
                    <a:pt x="3444" y="264"/>
                  </a:lnTo>
                  <a:lnTo>
                    <a:pt x="3446" y="264"/>
                  </a:lnTo>
                  <a:lnTo>
                    <a:pt x="3452" y="260"/>
                  </a:lnTo>
                  <a:lnTo>
                    <a:pt x="3464" y="256"/>
                  </a:lnTo>
                  <a:lnTo>
                    <a:pt x="3468" y="256"/>
                  </a:lnTo>
                  <a:lnTo>
                    <a:pt x="3475" y="254"/>
                  </a:lnTo>
                  <a:lnTo>
                    <a:pt x="3477" y="254"/>
                  </a:lnTo>
                  <a:lnTo>
                    <a:pt x="3483" y="252"/>
                  </a:lnTo>
                  <a:lnTo>
                    <a:pt x="3489" y="250"/>
                  </a:lnTo>
                  <a:lnTo>
                    <a:pt x="3495" y="250"/>
                  </a:lnTo>
                  <a:lnTo>
                    <a:pt x="3501" y="248"/>
                  </a:lnTo>
                  <a:lnTo>
                    <a:pt x="3512" y="246"/>
                  </a:lnTo>
                  <a:lnTo>
                    <a:pt x="3516" y="244"/>
                  </a:lnTo>
                  <a:lnTo>
                    <a:pt x="3520" y="242"/>
                  </a:lnTo>
                  <a:lnTo>
                    <a:pt x="3524" y="242"/>
                  </a:lnTo>
                  <a:lnTo>
                    <a:pt x="3526" y="240"/>
                  </a:lnTo>
                  <a:lnTo>
                    <a:pt x="3532" y="238"/>
                  </a:lnTo>
                  <a:lnTo>
                    <a:pt x="3539" y="236"/>
                  </a:lnTo>
                  <a:lnTo>
                    <a:pt x="3539" y="236"/>
                  </a:lnTo>
                  <a:lnTo>
                    <a:pt x="3545" y="231"/>
                  </a:lnTo>
                  <a:lnTo>
                    <a:pt x="3549" y="227"/>
                  </a:lnTo>
                  <a:lnTo>
                    <a:pt x="3549" y="227"/>
                  </a:lnTo>
                  <a:lnTo>
                    <a:pt x="3549" y="225"/>
                  </a:lnTo>
                  <a:lnTo>
                    <a:pt x="3549" y="223"/>
                  </a:lnTo>
                  <a:lnTo>
                    <a:pt x="3549" y="223"/>
                  </a:lnTo>
                  <a:lnTo>
                    <a:pt x="3549" y="221"/>
                  </a:lnTo>
                  <a:lnTo>
                    <a:pt x="3547" y="219"/>
                  </a:lnTo>
                  <a:lnTo>
                    <a:pt x="3543" y="217"/>
                  </a:lnTo>
                  <a:lnTo>
                    <a:pt x="3536" y="215"/>
                  </a:lnTo>
                  <a:lnTo>
                    <a:pt x="3530" y="215"/>
                  </a:lnTo>
                  <a:lnTo>
                    <a:pt x="3528" y="215"/>
                  </a:lnTo>
                  <a:lnTo>
                    <a:pt x="3526" y="217"/>
                  </a:lnTo>
                  <a:lnTo>
                    <a:pt x="3520" y="217"/>
                  </a:lnTo>
                  <a:lnTo>
                    <a:pt x="3512" y="221"/>
                  </a:lnTo>
                  <a:lnTo>
                    <a:pt x="3508" y="223"/>
                  </a:lnTo>
                  <a:lnTo>
                    <a:pt x="3508" y="225"/>
                  </a:lnTo>
                  <a:lnTo>
                    <a:pt x="3506" y="227"/>
                  </a:lnTo>
                  <a:lnTo>
                    <a:pt x="3503" y="227"/>
                  </a:lnTo>
                  <a:lnTo>
                    <a:pt x="3501" y="227"/>
                  </a:lnTo>
                  <a:lnTo>
                    <a:pt x="3501" y="227"/>
                  </a:lnTo>
                  <a:lnTo>
                    <a:pt x="3497" y="229"/>
                  </a:lnTo>
                  <a:lnTo>
                    <a:pt x="3495" y="229"/>
                  </a:lnTo>
                  <a:close/>
                  <a:moveTo>
                    <a:pt x="3301" y="353"/>
                  </a:moveTo>
                  <a:lnTo>
                    <a:pt x="3301" y="355"/>
                  </a:lnTo>
                  <a:lnTo>
                    <a:pt x="3299" y="357"/>
                  </a:lnTo>
                  <a:lnTo>
                    <a:pt x="3299" y="359"/>
                  </a:lnTo>
                  <a:lnTo>
                    <a:pt x="3299" y="361"/>
                  </a:lnTo>
                  <a:lnTo>
                    <a:pt x="3301" y="364"/>
                  </a:lnTo>
                  <a:lnTo>
                    <a:pt x="3301" y="366"/>
                  </a:lnTo>
                  <a:lnTo>
                    <a:pt x="3303" y="368"/>
                  </a:lnTo>
                  <a:lnTo>
                    <a:pt x="3305" y="368"/>
                  </a:lnTo>
                  <a:lnTo>
                    <a:pt x="3308" y="370"/>
                  </a:lnTo>
                  <a:lnTo>
                    <a:pt x="3310" y="368"/>
                  </a:lnTo>
                  <a:lnTo>
                    <a:pt x="3314" y="368"/>
                  </a:lnTo>
                  <a:lnTo>
                    <a:pt x="3318" y="368"/>
                  </a:lnTo>
                  <a:lnTo>
                    <a:pt x="3320" y="368"/>
                  </a:lnTo>
                  <a:lnTo>
                    <a:pt x="3328" y="368"/>
                  </a:lnTo>
                  <a:lnTo>
                    <a:pt x="3328" y="368"/>
                  </a:lnTo>
                  <a:lnTo>
                    <a:pt x="3326" y="368"/>
                  </a:lnTo>
                  <a:lnTo>
                    <a:pt x="3326" y="370"/>
                  </a:lnTo>
                  <a:lnTo>
                    <a:pt x="3328" y="372"/>
                  </a:lnTo>
                  <a:lnTo>
                    <a:pt x="3330" y="372"/>
                  </a:lnTo>
                  <a:lnTo>
                    <a:pt x="3330" y="372"/>
                  </a:lnTo>
                  <a:lnTo>
                    <a:pt x="3330" y="374"/>
                  </a:lnTo>
                  <a:lnTo>
                    <a:pt x="3334" y="376"/>
                  </a:lnTo>
                  <a:lnTo>
                    <a:pt x="3338" y="378"/>
                  </a:lnTo>
                  <a:lnTo>
                    <a:pt x="3338" y="378"/>
                  </a:lnTo>
                  <a:lnTo>
                    <a:pt x="3334" y="378"/>
                  </a:lnTo>
                  <a:lnTo>
                    <a:pt x="3334" y="378"/>
                  </a:lnTo>
                  <a:lnTo>
                    <a:pt x="3334" y="380"/>
                  </a:lnTo>
                  <a:lnTo>
                    <a:pt x="3332" y="378"/>
                  </a:lnTo>
                  <a:lnTo>
                    <a:pt x="3330" y="380"/>
                  </a:lnTo>
                  <a:lnTo>
                    <a:pt x="3330" y="380"/>
                  </a:lnTo>
                  <a:lnTo>
                    <a:pt x="3330" y="382"/>
                  </a:lnTo>
                  <a:lnTo>
                    <a:pt x="3330" y="384"/>
                  </a:lnTo>
                  <a:lnTo>
                    <a:pt x="3328" y="384"/>
                  </a:lnTo>
                  <a:lnTo>
                    <a:pt x="3328" y="384"/>
                  </a:lnTo>
                  <a:lnTo>
                    <a:pt x="3332" y="386"/>
                  </a:lnTo>
                  <a:lnTo>
                    <a:pt x="3338" y="386"/>
                  </a:lnTo>
                  <a:lnTo>
                    <a:pt x="3341" y="388"/>
                  </a:lnTo>
                  <a:lnTo>
                    <a:pt x="3343" y="388"/>
                  </a:lnTo>
                  <a:lnTo>
                    <a:pt x="3345" y="388"/>
                  </a:lnTo>
                  <a:lnTo>
                    <a:pt x="3345" y="388"/>
                  </a:lnTo>
                  <a:lnTo>
                    <a:pt x="3345" y="388"/>
                  </a:lnTo>
                  <a:lnTo>
                    <a:pt x="3349" y="388"/>
                  </a:lnTo>
                  <a:lnTo>
                    <a:pt x="3351" y="390"/>
                  </a:lnTo>
                  <a:lnTo>
                    <a:pt x="3353" y="390"/>
                  </a:lnTo>
                  <a:lnTo>
                    <a:pt x="3361" y="388"/>
                  </a:lnTo>
                  <a:lnTo>
                    <a:pt x="3361" y="390"/>
                  </a:lnTo>
                  <a:lnTo>
                    <a:pt x="3361" y="390"/>
                  </a:lnTo>
                  <a:lnTo>
                    <a:pt x="3361" y="390"/>
                  </a:lnTo>
                  <a:lnTo>
                    <a:pt x="3363" y="390"/>
                  </a:lnTo>
                  <a:lnTo>
                    <a:pt x="3363" y="390"/>
                  </a:lnTo>
                  <a:lnTo>
                    <a:pt x="3365" y="390"/>
                  </a:lnTo>
                  <a:lnTo>
                    <a:pt x="3367" y="390"/>
                  </a:lnTo>
                  <a:lnTo>
                    <a:pt x="3367" y="390"/>
                  </a:lnTo>
                  <a:lnTo>
                    <a:pt x="3371" y="392"/>
                  </a:lnTo>
                  <a:lnTo>
                    <a:pt x="3371" y="392"/>
                  </a:lnTo>
                  <a:lnTo>
                    <a:pt x="3374" y="392"/>
                  </a:lnTo>
                  <a:lnTo>
                    <a:pt x="3371" y="390"/>
                  </a:lnTo>
                  <a:lnTo>
                    <a:pt x="3369" y="390"/>
                  </a:lnTo>
                  <a:lnTo>
                    <a:pt x="3369" y="388"/>
                  </a:lnTo>
                  <a:lnTo>
                    <a:pt x="3369" y="388"/>
                  </a:lnTo>
                  <a:lnTo>
                    <a:pt x="3371" y="388"/>
                  </a:lnTo>
                  <a:lnTo>
                    <a:pt x="3374" y="388"/>
                  </a:lnTo>
                  <a:lnTo>
                    <a:pt x="3374" y="390"/>
                  </a:lnTo>
                  <a:lnTo>
                    <a:pt x="3374" y="390"/>
                  </a:lnTo>
                  <a:lnTo>
                    <a:pt x="3382" y="392"/>
                  </a:lnTo>
                  <a:lnTo>
                    <a:pt x="3382" y="390"/>
                  </a:lnTo>
                  <a:lnTo>
                    <a:pt x="3382" y="390"/>
                  </a:lnTo>
                  <a:lnTo>
                    <a:pt x="3386" y="390"/>
                  </a:lnTo>
                  <a:lnTo>
                    <a:pt x="3388" y="388"/>
                  </a:lnTo>
                  <a:lnTo>
                    <a:pt x="3386" y="386"/>
                  </a:lnTo>
                  <a:lnTo>
                    <a:pt x="3386" y="386"/>
                  </a:lnTo>
                  <a:lnTo>
                    <a:pt x="3380" y="384"/>
                  </a:lnTo>
                  <a:lnTo>
                    <a:pt x="3378" y="382"/>
                  </a:lnTo>
                  <a:lnTo>
                    <a:pt x="3371" y="378"/>
                  </a:lnTo>
                  <a:lnTo>
                    <a:pt x="3365" y="372"/>
                  </a:lnTo>
                  <a:lnTo>
                    <a:pt x="3361" y="368"/>
                  </a:lnTo>
                  <a:lnTo>
                    <a:pt x="3359" y="364"/>
                  </a:lnTo>
                  <a:lnTo>
                    <a:pt x="3359" y="361"/>
                  </a:lnTo>
                  <a:lnTo>
                    <a:pt x="3357" y="359"/>
                  </a:lnTo>
                  <a:lnTo>
                    <a:pt x="3355" y="357"/>
                  </a:lnTo>
                  <a:lnTo>
                    <a:pt x="3355" y="355"/>
                  </a:lnTo>
                  <a:lnTo>
                    <a:pt x="3357" y="351"/>
                  </a:lnTo>
                  <a:lnTo>
                    <a:pt x="3357" y="351"/>
                  </a:lnTo>
                  <a:lnTo>
                    <a:pt x="3357" y="349"/>
                  </a:lnTo>
                  <a:lnTo>
                    <a:pt x="3357" y="347"/>
                  </a:lnTo>
                  <a:lnTo>
                    <a:pt x="3357" y="345"/>
                  </a:lnTo>
                  <a:lnTo>
                    <a:pt x="3355" y="345"/>
                  </a:lnTo>
                  <a:lnTo>
                    <a:pt x="3355" y="343"/>
                  </a:lnTo>
                  <a:lnTo>
                    <a:pt x="3357" y="341"/>
                  </a:lnTo>
                  <a:lnTo>
                    <a:pt x="3357" y="341"/>
                  </a:lnTo>
                  <a:lnTo>
                    <a:pt x="3357" y="339"/>
                  </a:lnTo>
                  <a:lnTo>
                    <a:pt x="3359" y="339"/>
                  </a:lnTo>
                  <a:lnTo>
                    <a:pt x="3361" y="337"/>
                  </a:lnTo>
                  <a:lnTo>
                    <a:pt x="3361" y="337"/>
                  </a:lnTo>
                  <a:lnTo>
                    <a:pt x="3361" y="335"/>
                  </a:lnTo>
                  <a:lnTo>
                    <a:pt x="3361" y="335"/>
                  </a:lnTo>
                  <a:lnTo>
                    <a:pt x="3365" y="335"/>
                  </a:lnTo>
                  <a:lnTo>
                    <a:pt x="3367" y="333"/>
                  </a:lnTo>
                  <a:lnTo>
                    <a:pt x="3367" y="333"/>
                  </a:lnTo>
                  <a:lnTo>
                    <a:pt x="3367" y="331"/>
                  </a:lnTo>
                  <a:lnTo>
                    <a:pt x="3367" y="328"/>
                  </a:lnTo>
                  <a:lnTo>
                    <a:pt x="3367" y="326"/>
                  </a:lnTo>
                  <a:lnTo>
                    <a:pt x="3369" y="324"/>
                  </a:lnTo>
                  <a:lnTo>
                    <a:pt x="3369" y="324"/>
                  </a:lnTo>
                  <a:lnTo>
                    <a:pt x="3371" y="322"/>
                  </a:lnTo>
                  <a:lnTo>
                    <a:pt x="3369" y="322"/>
                  </a:lnTo>
                  <a:lnTo>
                    <a:pt x="3367" y="322"/>
                  </a:lnTo>
                  <a:lnTo>
                    <a:pt x="3361" y="320"/>
                  </a:lnTo>
                  <a:lnTo>
                    <a:pt x="3355" y="320"/>
                  </a:lnTo>
                  <a:lnTo>
                    <a:pt x="3353" y="318"/>
                  </a:lnTo>
                  <a:lnTo>
                    <a:pt x="3349" y="318"/>
                  </a:lnTo>
                  <a:lnTo>
                    <a:pt x="3347" y="318"/>
                  </a:lnTo>
                  <a:lnTo>
                    <a:pt x="3347" y="318"/>
                  </a:lnTo>
                  <a:lnTo>
                    <a:pt x="3341" y="320"/>
                  </a:lnTo>
                  <a:lnTo>
                    <a:pt x="3338" y="320"/>
                  </a:lnTo>
                  <a:lnTo>
                    <a:pt x="3338" y="320"/>
                  </a:lnTo>
                  <a:lnTo>
                    <a:pt x="3334" y="320"/>
                  </a:lnTo>
                  <a:lnTo>
                    <a:pt x="3332" y="320"/>
                  </a:lnTo>
                  <a:lnTo>
                    <a:pt x="3330" y="322"/>
                  </a:lnTo>
                  <a:lnTo>
                    <a:pt x="3330" y="322"/>
                  </a:lnTo>
                  <a:lnTo>
                    <a:pt x="3326" y="322"/>
                  </a:lnTo>
                  <a:lnTo>
                    <a:pt x="3326" y="324"/>
                  </a:lnTo>
                  <a:lnTo>
                    <a:pt x="3324" y="324"/>
                  </a:lnTo>
                  <a:lnTo>
                    <a:pt x="3324" y="326"/>
                  </a:lnTo>
                  <a:lnTo>
                    <a:pt x="3326" y="328"/>
                  </a:lnTo>
                  <a:lnTo>
                    <a:pt x="3326" y="328"/>
                  </a:lnTo>
                  <a:lnTo>
                    <a:pt x="3328" y="331"/>
                  </a:lnTo>
                  <a:lnTo>
                    <a:pt x="3326" y="331"/>
                  </a:lnTo>
                  <a:lnTo>
                    <a:pt x="3324" y="331"/>
                  </a:lnTo>
                  <a:lnTo>
                    <a:pt x="3322" y="331"/>
                  </a:lnTo>
                  <a:lnTo>
                    <a:pt x="3320" y="331"/>
                  </a:lnTo>
                  <a:lnTo>
                    <a:pt x="3320" y="333"/>
                  </a:lnTo>
                  <a:lnTo>
                    <a:pt x="3316" y="335"/>
                  </a:lnTo>
                  <a:lnTo>
                    <a:pt x="3316" y="335"/>
                  </a:lnTo>
                  <a:lnTo>
                    <a:pt x="3316" y="335"/>
                  </a:lnTo>
                  <a:lnTo>
                    <a:pt x="3316" y="337"/>
                  </a:lnTo>
                  <a:lnTo>
                    <a:pt x="3318" y="337"/>
                  </a:lnTo>
                  <a:lnTo>
                    <a:pt x="3320" y="337"/>
                  </a:lnTo>
                  <a:lnTo>
                    <a:pt x="3320" y="339"/>
                  </a:lnTo>
                  <a:lnTo>
                    <a:pt x="3320" y="339"/>
                  </a:lnTo>
                  <a:lnTo>
                    <a:pt x="3320" y="341"/>
                  </a:lnTo>
                  <a:lnTo>
                    <a:pt x="3318" y="343"/>
                  </a:lnTo>
                  <a:lnTo>
                    <a:pt x="3318" y="343"/>
                  </a:lnTo>
                  <a:lnTo>
                    <a:pt x="3318" y="345"/>
                  </a:lnTo>
                  <a:lnTo>
                    <a:pt x="3318" y="347"/>
                  </a:lnTo>
                  <a:lnTo>
                    <a:pt x="3316" y="347"/>
                  </a:lnTo>
                  <a:lnTo>
                    <a:pt x="3316" y="347"/>
                  </a:lnTo>
                  <a:lnTo>
                    <a:pt x="3314" y="349"/>
                  </a:lnTo>
                  <a:lnTo>
                    <a:pt x="3314" y="349"/>
                  </a:lnTo>
                  <a:lnTo>
                    <a:pt x="3312" y="351"/>
                  </a:lnTo>
                  <a:lnTo>
                    <a:pt x="3312" y="351"/>
                  </a:lnTo>
                  <a:lnTo>
                    <a:pt x="3310" y="351"/>
                  </a:lnTo>
                  <a:lnTo>
                    <a:pt x="3305" y="351"/>
                  </a:lnTo>
                  <a:lnTo>
                    <a:pt x="3305" y="351"/>
                  </a:lnTo>
                  <a:lnTo>
                    <a:pt x="3303" y="353"/>
                  </a:lnTo>
                  <a:lnTo>
                    <a:pt x="3301" y="353"/>
                  </a:lnTo>
                  <a:close/>
                  <a:moveTo>
                    <a:pt x="3407" y="122"/>
                  </a:moveTo>
                  <a:lnTo>
                    <a:pt x="3409" y="124"/>
                  </a:lnTo>
                  <a:lnTo>
                    <a:pt x="3411" y="124"/>
                  </a:lnTo>
                  <a:lnTo>
                    <a:pt x="3411" y="124"/>
                  </a:lnTo>
                  <a:lnTo>
                    <a:pt x="3413" y="124"/>
                  </a:lnTo>
                  <a:lnTo>
                    <a:pt x="3417" y="124"/>
                  </a:lnTo>
                  <a:lnTo>
                    <a:pt x="3421" y="122"/>
                  </a:lnTo>
                  <a:lnTo>
                    <a:pt x="3419" y="120"/>
                  </a:lnTo>
                  <a:lnTo>
                    <a:pt x="3415" y="118"/>
                  </a:lnTo>
                  <a:lnTo>
                    <a:pt x="3407" y="120"/>
                  </a:lnTo>
                  <a:lnTo>
                    <a:pt x="3407" y="120"/>
                  </a:lnTo>
                  <a:lnTo>
                    <a:pt x="3407" y="122"/>
                  </a:lnTo>
                  <a:close/>
                  <a:moveTo>
                    <a:pt x="3514" y="386"/>
                  </a:moveTo>
                  <a:lnTo>
                    <a:pt x="3514" y="388"/>
                  </a:lnTo>
                  <a:lnTo>
                    <a:pt x="3514" y="388"/>
                  </a:lnTo>
                  <a:lnTo>
                    <a:pt x="3514" y="390"/>
                  </a:lnTo>
                  <a:lnTo>
                    <a:pt x="3514" y="392"/>
                  </a:lnTo>
                  <a:lnTo>
                    <a:pt x="3514" y="395"/>
                  </a:lnTo>
                  <a:lnTo>
                    <a:pt x="3516" y="395"/>
                  </a:lnTo>
                  <a:lnTo>
                    <a:pt x="3516" y="392"/>
                  </a:lnTo>
                  <a:lnTo>
                    <a:pt x="3514" y="388"/>
                  </a:lnTo>
                  <a:lnTo>
                    <a:pt x="3514" y="386"/>
                  </a:lnTo>
                  <a:lnTo>
                    <a:pt x="3514" y="386"/>
                  </a:lnTo>
                  <a:close/>
                  <a:moveTo>
                    <a:pt x="3343" y="97"/>
                  </a:moveTo>
                  <a:lnTo>
                    <a:pt x="3345" y="97"/>
                  </a:lnTo>
                  <a:lnTo>
                    <a:pt x="3345" y="97"/>
                  </a:lnTo>
                  <a:lnTo>
                    <a:pt x="3347" y="97"/>
                  </a:lnTo>
                  <a:lnTo>
                    <a:pt x="3353" y="97"/>
                  </a:lnTo>
                  <a:lnTo>
                    <a:pt x="3359" y="99"/>
                  </a:lnTo>
                  <a:lnTo>
                    <a:pt x="3361" y="101"/>
                  </a:lnTo>
                  <a:lnTo>
                    <a:pt x="3363" y="101"/>
                  </a:lnTo>
                  <a:lnTo>
                    <a:pt x="3369" y="101"/>
                  </a:lnTo>
                  <a:lnTo>
                    <a:pt x="3376" y="101"/>
                  </a:lnTo>
                  <a:lnTo>
                    <a:pt x="3388" y="97"/>
                  </a:lnTo>
                  <a:lnTo>
                    <a:pt x="3388" y="97"/>
                  </a:lnTo>
                  <a:lnTo>
                    <a:pt x="3388" y="95"/>
                  </a:lnTo>
                  <a:lnTo>
                    <a:pt x="3378" y="93"/>
                  </a:lnTo>
                  <a:lnTo>
                    <a:pt x="3371" y="89"/>
                  </a:lnTo>
                  <a:lnTo>
                    <a:pt x="3367" y="89"/>
                  </a:lnTo>
                  <a:lnTo>
                    <a:pt x="3357" y="89"/>
                  </a:lnTo>
                  <a:lnTo>
                    <a:pt x="3347" y="85"/>
                  </a:lnTo>
                  <a:lnTo>
                    <a:pt x="3345" y="85"/>
                  </a:lnTo>
                  <a:lnTo>
                    <a:pt x="3343" y="91"/>
                  </a:lnTo>
                  <a:lnTo>
                    <a:pt x="3341" y="93"/>
                  </a:lnTo>
                  <a:lnTo>
                    <a:pt x="3341" y="93"/>
                  </a:lnTo>
                  <a:lnTo>
                    <a:pt x="3336" y="93"/>
                  </a:lnTo>
                  <a:lnTo>
                    <a:pt x="3336" y="95"/>
                  </a:lnTo>
                  <a:lnTo>
                    <a:pt x="3343" y="97"/>
                  </a:lnTo>
                  <a:close/>
                  <a:moveTo>
                    <a:pt x="3627" y="331"/>
                  </a:moveTo>
                  <a:lnTo>
                    <a:pt x="3629" y="331"/>
                  </a:lnTo>
                  <a:lnTo>
                    <a:pt x="3631" y="333"/>
                  </a:lnTo>
                  <a:lnTo>
                    <a:pt x="3631" y="333"/>
                  </a:lnTo>
                  <a:lnTo>
                    <a:pt x="3631" y="331"/>
                  </a:lnTo>
                  <a:lnTo>
                    <a:pt x="3631" y="331"/>
                  </a:lnTo>
                  <a:lnTo>
                    <a:pt x="3631" y="328"/>
                  </a:lnTo>
                  <a:lnTo>
                    <a:pt x="3631" y="326"/>
                  </a:lnTo>
                  <a:lnTo>
                    <a:pt x="3635" y="326"/>
                  </a:lnTo>
                  <a:lnTo>
                    <a:pt x="3631" y="326"/>
                  </a:lnTo>
                  <a:lnTo>
                    <a:pt x="3629" y="324"/>
                  </a:lnTo>
                  <a:lnTo>
                    <a:pt x="3627" y="324"/>
                  </a:lnTo>
                  <a:lnTo>
                    <a:pt x="3625" y="324"/>
                  </a:lnTo>
                  <a:lnTo>
                    <a:pt x="3623" y="326"/>
                  </a:lnTo>
                  <a:lnTo>
                    <a:pt x="3623" y="328"/>
                  </a:lnTo>
                  <a:lnTo>
                    <a:pt x="3623" y="328"/>
                  </a:lnTo>
                  <a:lnTo>
                    <a:pt x="3627" y="331"/>
                  </a:lnTo>
                  <a:close/>
                  <a:moveTo>
                    <a:pt x="3466" y="91"/>
                  </a:moveTo>
                  <a:lnTo>
                    <a:pt x="3462" y="93"/>
                  </a:lnTo>
                  <a:lnTo>
                    <a:pt x="3458" y="95"/>
                  </a:lnTo>
                  <a:lnTo>
                    <a:pt x="3458" y="95"/>
                  </a:lnTo>
                  <a:lnTo>
                    <a:pt x="3460" y="97"/>
                  </a:lnTo>
                  <a:lnTo>
                    <a:pt x="3464" y="99"/>
                  </a:lnTo>
                  <a:lnTo>
                    <a:pt x="3466" y="99"/>
                  </a:lnTo>
                  <a:lnTo>
                    <a:pt x="3470" y="99"/>
                  </a:lnTo>
                  <a:lnTo>
                    <a:pt x="3487" y="97"/>
                  </a:lnTo>
                  <a:lnTo>
                    <a:pt x="3493" y="95"/>
                  </a:lnTo>
                  <a:lnTo>
                    <a:pt x="3499" y="91"/>
                  </a:lnTo>
                  <a:lnTo>
                    <a:pt x="3499" y="91"/>
                  </a:lnTo>
                  <a:lnTo>
                    <a:pt x="3497" y="89"/>
                  </a:lnTo>
                  <a:lnTo>
                    <a:pt x="3499" y="87"/>
                  </a:lnTo>
                  <a:lnTo>
                    <a:pt x="3497" y="87"/>
                  </a:lnTo>
                  <a:lnTo>
                    <a:pt x="3495" y="85"/>
                  </a:lnTo>
                  <a:lnTo>
                    <a:pt x="3493" y="85"/>
                  </a:lnTo>
                  <a:lnTo>
                    <a:pt x="3491" y="83"/>
                  </a:lnTo>
                  <a:lnTo>
                    <a:pt x="3487" y="83"/>
                  </a:lnTo>
                  <a:lnTo>
                    <a:pt x="3483" y="83"/>
                  </a:lnTo>
                  <a:lnTo>
                    <a:pt x="3483" y="85"/>
                  </a:lnTo>
                  <a:lnTo>
                    <a:pt x="3483" y="87"/>
                  </a:lnTo>
                  <a:lnTo>
                    <a:pt x="3481" y="89"/>
                  </a:lnTo>
                  <a:lnTo>
                    <a:pt x="3481" y="89"/>
                  </a:lnTo>
                  <a:lnTo>
                    <a:pt x="3477" y="91"/>
                  </a:lnTo>
                  <a:lnTo>
                    <a:pt x="3473" y="91"/>
                  </a:lnTo>
                  <a:lnTo>
                    <a:pt x="3466" y="91"/>
                  </a:lnTo>
                  <a:close/>
                  <a:moveTo>
                    <a:pt x="3361" y="83"/>
                  </a:moveTo>
                  <a:lnTo>
                    <a:pt x="3367" y="83"/>
                  </a:lnTo>
                  <a:lnTo>
                    <a:pt x="3369" y="83"/>
                  </a:lnTo>
                  <a:lnTo>
                    <a:pt x="3371" y="83"/>
                  </a:lnTo>
                  <a:lnTo>
                    <a:pt x="3374" y="83"/>
                  </a:lnTo>
                  <a:lnTo>
                    <a:pt x="3376" y="81"/>
                  </a:lnTo>
                  <a:lnTo>
                    <a:pt x="3382" y="83"/>
                  </a:lnTo>
                  <a:lnTo>
                    <a:pt x="3386" y="85"/>
                  </a:lnTo>
                  <a:lnTo>
                    <a:pt x="3390" y="85"/>
                  </a:lnTo>
                  <a:lnTo>
                    <a:pt x="3392" y="83"/>
                  </a:lnTo>
                  <a:lnTo>
                    <a:pt x="3394" y="81"/>
                  </a:lnTo>
                  <a:lnTo>
                    <a:pt x="3392" y="79"/>
                  </a:lnTo>
                  <a:lnTo>
                    <a:pt x="3392" y="77"/>
                  </a:lnTo>
                  <a:lnTo>
                    <a:pt x="3398" y="77"/>
                  </a:lnTo>
                  <a:lnTo>
                    <a:pt x="3400" y="77"/>
                  </a:lnTo>
                  <a:lnTo>
                    <a:pt x="3400" y="74"/>
                  </a:lnTo>
                  <a:lnTo>
                    <a:pt x="3394" y="72"/>
                  </a:lnTo>
                  <a:lnTo>
                    <a:pt x="3392" y="72"/>
                  </a:lnTo>
                  <a:lnTo>
                    <a:pt x="3390" y="70"/>
                  </a:lnTo>
                  <a:lnTo>
                    <a:pt x="3390" y="70"/>
                  </a:lnTo>
                  <a:lnTo>
                    <a:pt x="3386" y="70"/>
                  </a:lnTo>
                  <a:lnTo>
                    <a:pt x="3384" y="72"/>
                  </a:lnTo>
                  <a:lnTo>
                    <a:pt x="3380" y="72"/>
                  </a:lnTo>
                  <a:lnTo>
                    <a:pt x="3378" y="72"/>
                  </a:lnTo>
                  <a:lnTo>
                    <a:pt x="3376" y="74"/>
                  </a:lnTo>
                  <a:lnTo>
                    <a:pt x="3371" y="77"/>
                  </a:lnTo>
                  <a:lnTo>
                    <a:pt x="3367" y="79"/>
                  </a:lnTo>
                  <a:lnTo>
                    <a:pt x="3361" y="79"/>
                  </a:lnTo>
                  <a:lnTo>
                    <a:pt x="3357" y="79"/>
                  </a:lnTo>
                  <a:lnTo>
                    <a:pt x="3359" y="83"/>
                  </a:lnTo>
                  <a:lnTo>
                    <a:pt x="3361" y="83"/>
                  </a:lnTo>
                  <a:close/>
                  <a:moveTo>
                    <a:pt x="3316" y="116"/>
                  </a:moveTo>
                  <a:lnTo>
                    <a:pt x="3316" y="116"/>
                  </a:lnTo>
                  <a:lnTo>
                    <a:pt x="3316" y="116"/>
                  </a:lnTo>
                  <a:lnTo>
                    <a:pt x="3320" y="116"/>
                  </a:lnTo>
                  <a:lnTo>
                    <a:pt x="3330" y="116"/>
                  </a:lnTo>
                  <a:lnTo>
                    <a:pt x="3332" y="116"/>
                  </a:lnTo>
                  <a:lnTo>
                    <a:pt x="3332" y="116"/>
                  </a:lnTo>
                  <a:lnTo>
                    <a:pt x="3334" y="114"/>
                  </a:lnTo>
                  <a:lnTo>
                    <a:pt x="3328" y="112"/>
                  </a:lnTo>
                  <a:lnTo>
                    <a:pt x="3326" y="110"/>
                  </a:lnTo>
                  <a:lnTo>
                    <a:pt x="3326" y="110"/>
                  </a:lnTo>
                  <a:lnTo>
                    <a:pt x="3324" y="110"/>
                  </a:lnTo>
                  <a:lnTo>
                    <a:pt x="3320" y="110"/>
                  </a:lnTo>
                  <a:lnTo>
                    <a:pt x="3318" y="112"/>
                  </a:lnTo>
                  <a:lnTo>
                    <a:pt x="3318" y="112"/>
                  </a:lnTo>
                  <a:lnTo>
                    <a:pt x="3316" y="112"/>
                  </a:lnTo>
                  <a:lnTo>
                    <a:pt x="3312" y="114"/>
                  </a:lnTo>
                  <a:lnTo>
                    <a:pt x="3312" y="114"/>
                  </a:lnTo>
                  <a:lnTo>
                    <a:pt x="3312" y="116"/>
                  </a:lnTo>
                  <a:lnTo>
                    <a:pt x="3316" y="116"/>
                  </a:lnTo>
                  <a:close/>
                  <a:moveTo>
                    <a:pt x="3392" y="66"/>
                  </a:moveTo>
                  <a:lnTo>
                    <a:pt x="3398" y="66"/>
                  </a:lnTo>
                  <a:lnTo>
                    <a:pt x="3413" y="64"/>
                  </a:lnTo>
                  <a:lnTo>
                    <a:pt x="3413" y="64"/>
                  </a:lnTo>
                  <a:lnTo>
                    <a:pt x="3413" y="62"/>
                  </a:lnTo>
                  <a:lnTo>
                    <a:pt x="3411" y="60"/>
                  </a:lnTo>
                  <a:lnTo>
                    <a:pt x="3394" y="62"/>
                  </a:lnTo>
                  <a:lnTo>
                    <a:pt x="3392" y="62"/>
                  </a:lnTo>
                  <a:lnTo>
                    <a:pt x="3392" y="64"/>
                  </a:lnTo>
                  <a:lnTo>
                    <a:pt x="3392" y="66"/>
                  </a:lnTo>
                  <a:lnTo>
                    <a:pt x="3392" y="66"/>
                  </a:lnTo>
                  <a:lnTo>
                    <a:pt x="3392" y="66"/>
                  </a:lnTo>
                  <a:close/>
                  <a:moveTo>
                    <a:pt x="3458" y="68"/>
                  </a:moveTo>
                  <a:lnTo>
                    <a:pt x="3458" y="68"/>
                  </a:lnTo>
                  <a:lnTo>
                    <a:pt x="3462" y="68"/>
                  </a:lnTo>
                  <a:lnTo>
                    <a:pt x="3473" y="70"/>
                  </a:lnTo>
                  <a:lnTo>
                    <a:pt x="3475" y="68"/>
                  </a:lnTo>
                  <a:lnTo>
                    <a:pt x="3477" y="68"/>
                  </a:lnTo>
                  <a:lnTo>
                    <a:pt x="3475" y="66"/>
                  </a:lnTo>
                  <a:lnTo>
                    <a:pt x="3475" y="66"/>
                  </a:lnTo>
                  <a:lnTo>
                    <a:pt x="3462" y="66"/>
                  </a:lnTo>
                  <a:lnTo>
                    <a:pt x="3454" y="66"/>
                  </a:lnTo>
                  <a:lnTo>
                    <a:pt x="3452" y="66"/>
                  </a:lnTo>
                  <a:lnTo>
                    <a:pt x="3458" y="68"/>
                  </a:lnTo>
                  <a:lnTo>
                    <a:pt x="3458" y="68"/>
                  </a:lnTo>
                  <a:close/>
                  <a:moveTo>
                    <a:pt x="3433" y="91"/>
                  </a:moveTo>
                  <a:lnTo>
                    <a:pt x="3437" y="91"/>
                  </a:lnTo>
                  <a:lnTo>
                    <a:pt x="3444" y="89"/>
                  </a:lnTo>
                  <a:lnTo>
                    <a:pt x="3444" y="87"/>
                  </a:lnTo>
                  <a:lnTo>
                    <a:pt x="3442" y="87"/>
                  </a:lnTo>
                  <a:lnTo>
                    <a:pt x="3429" y="87"/>
                  </a:lnTo>
                  <a:lnTo>
                    <a:pt x="3423" y="89"/>
                  </a:lnTo>
                  <a:lnTo>
                    <a:pt x="3423" y="89"/>
                  </a:lnTo>
                  <a:lnTo>
                    <a:pt x="3423" y="91"/>
                  </a:lnTo>
                  <a:lnTo>
                    <a:pt x="3427" y="91"/>
                  </a:lnTo>
                  <a:lnTo>
                    <a:pt x="3433" y="91"/>
                  </a:lnTo>
                  <a:close/>
                  <a:moveTo>
                    <a:pt x="3413" y="101"/>
                  </a:moveTo>
                  <a:lnTo>
                    <a:pt x="3411" y="103"/>
                  </a:lnTo>
                  <a:lnTo>
                    <a:pt x="3413" y="105"/>
                  </a:lnTo>
                  <a:lnTo>
                    <a:pt x="3413" y="105"/>
                  </a:lnTo>
                  <a:lnTo>
                    <a:pt x="3417" y="108"/>
                  </a:lnTo>
                  <a:lnTo>
                    <a:pt x="3421" y="108"/>
                  </a:lnTo>
                  <a:lnTo>
                    <a:pt x="3425" y="105"/>
                  </a:lnTo>
                  <a:lnTo>
                    <a:pt x="3431" y="108"/>
                  </a:lnTo>
                  <a:lnTo>
                    <a:pt x="3437" y="110"/>
                  </a:lnTo>
                  <a:lnTo>
                    <a:pt x="3440" y="105"/>
                  </a:lnTo>
                  <a:lnTo>
                    <a:pt x="3444" y="105"/>
                  </a:lnTo>
                  <a:lnTo>
                    <a:pt x="3446" y="103"/>
                  </a:lnTo>
                  <a:lnTo>
                    <a:pt x="3448" y="103"/>
                  </a:lnTo>
                  <a:lnTo>
                    <a:pt x="3452" y="101"/>
                  </a:lnTo>
                  <a:lnTo>
                    <a:pt x="3452" y="99"/>
                  </a:lnTo>
                  <a:lnTo>
                    <a:pt x="3454" y="99"/>
                  </a:lnTo>
                  <a:lnTo>
                    <a:pt x="3454" y="97"/>
                  </a:lnTo>
                  <a:lnTo>
                    <a:pt x="3452" y="95"/>
                  </a:lnTo>
                  <a:lnTo>
                    <a:pt x="3452" y="93"/>
                  </a:lnTo>
                  <a:lnTo>
                    <a:pt x="3448" y="93"/>
                  </a:lnTo>
                  <a:lnTo>
                    <a:pt x="3444" y="93"/>
                  </a:lnTo>
                  <a:lnTo>
                    <a:pt x="3440" y="93"/>
                  </a:lnTo>
                  <a:lnTo>
                    <a:pt x="3433" y="95"/>
                  </a:lnTo>
                  <a:lnTo>
                    <a:pt x="3429" y="95"/>
                  </a:lnTo>
                  <a:lnTo>
                    <a:pt x="3425" y="95"/>
                  </a:lnTo>
                  <a:lnTo>
                    <a:pt x="3425" y="95"/>
                  </a:lnTo>
                  <a:lnTo>
                    <a:pt x="3423" y="95"/>
                  </a:lnTo>
                  <a:lnTo>
                    <a:pt x="3417" y="95"/>
                  </a:lnTo>
                  <a:lnTo>
                    <a:pt x="3417" y="95"/>
                  </a:lnTo>
                  <a:lnTo>
                    <a:pt x="3415" y="97"/>
                  </a:lnTo>
                  <a:lnTo>
                    <a:pt x="3415" y="97"/>
                  </a:lnTo>
                  <a:lnTo>
                    <a:pt x="3413" y="99"/>
                  </a:lnTo>
                  <a:lnTo>
                    <a:pt x="3413" y="101"/>
                  </a:lnTo>
                  <a:close/>
                  <a:moveTo>
                    <a:pt x="3774" y="289"/>
                  </a:moveTo>
                  <a:lnTo>
                    <a:pt x="3776" y="289"/>
                  </a:lnTo>
                  <a:lnTo>
                    <a:pt x="3776" y="287"/>
                  </a:lnTo>
                  <a:lnTo>
                    <a:pt x="3774" y="287"/>
                  </a:lnTo>
                  <a:lnTo>
                    <a:pt x="3772" y="287"/>
                  </a:lnTo>
                  <a:lnTo>
                    <a:pt x="3769" y="289"/>
                  </a:lnTo>
                  <a:lnTo>
                    <a:pt x="3769" y="289"/>
                  </a:lnTo>
                  <a:lnTo>
                    <a:pt x="3774" y="289"/>
                  </a:lnTo>
                  <a:close/>
                  <a:moveTo>
                    <a:pt x="198" y="762"/>
                  </a:moveTo>
                  <a:lnTo>
                    <a:pt x="196" y="762"/>
                  </a:lnTo>
                  <a:lnTo>
                    <a:pt x="196" y="762"/>
                  </a:lnTo>
                  <a:lnTo>
                    <a:pt x="196" y="762"/>
                  </a:lnTo>
                  <a:lnTo>
                    <a:pt x="196" y="764"/>
                  </a:lnTo>
                  <a:lnTo>
                    <a:pt x="196" y="764"/>
                  </a:lnTo>
                  <a:lnTo>
                    <a:pt x="196" y="764"/>
                  </a:lnTo>
                  <a:lnTo>
                    <a:pt x="198" y="764"/>
                  </a:lnTo>
                  <a:lnTo>
                    <a:pt x="198" y="762"/>
                  </a:lnTo>
                  <a:lnTo>
                    <a:pt x="198" y="762"/>
                  </a:lnTo>
                  <a:lnTo>
                    <a:pt x="198" y="762"/>
                  </a:lnTo>
                  <a:lnTo>
                    <a:pt x="198" y="762"/>
                  </a:lnTo>
                  <a:close/>
                  <a:moveTo>
                    <a:pt x="295" y="1551"/>
                  </a:moveTo>
                  <a:lnTo>
                    <a:pt x="293" y="1551"/>
                  </a:lnTo>
                  <a:lnTo>
                    <a:pt x="293" y="1551"/>
                  </a:lnTo>
                  <a:lnTo>
                    <a:pt x="295" y="1553"/>
                  </a:lnTo>
                  <a:lnTo>
                    <a:pt x="295" y="1551"/>
                  </a:lnTo>
                  <a:lnTo>
                    <a:pt x="295" y="1551"/>
                  </a:lnTo>
                  <a:lnTo>
                    <a:pt x="295" y="1551"/>
                  </a:lnTo>
                  <a:lnTo>
                    <a:pt x="295" y="1553"/>
                  </a:lnTo>
                  <a:lnTo>
                    <a:pt x="295" y="1553"/>
                  </a:lnTo>
                  <a:lnTo>
                    <a:pt x="295" y="1553"/>
                  </a:lnTo>
                  <a:lnTo>
                    <a:pt x="295" y="1553"/>
                  </a:lnTo>
                  <a:lnTo>
                    <a:pt x="295" y="1553"/>
                  </a:lnTo>
                  <a:lnTo>
                    <a:pt x="295" y="1553"/>
                  </a:lnTo>
                  <a:lnTo>
                    <a:pt x="295" y="1551"/>
                  </a:lnTo>
                  <a:lnTo>
                    <a:pt x="295" y="1551"/>
                  </a:lnTo>
                  <a:close/>
                  <a:moveTo>
                    <a:pt x="241" y="743"/>
                  </a:moveTo>
                  <a:lnTo>
                    <a:pt x="239" y="743"/>
                  </a:lnTo>
                  <a:lnTo>
                    <a:pt x="239" y="743"/>
                  </a:lnTo>
                  <a:lnTo>
                    <a:pt x="237" y="743"/>
                  </a:lnTo>
                  <a:lnTo>
                    <a:pt x="237" y="743"/>
                  </a:lnTo>
                  <a:lnTo>
                    <a:pt x="235" y="739"/>
                  </a:lnTo>
                  <a:lnTo>
                    <a:pt x="235" y="739"/>
                  </a:lnTo>
                  <a:lnTo>
                    <a:pt x="235" y="737"/>
                  </a:lnTo>
                  <a:lnTo>
                    <a:pt x="233" y="737"/>
                  </a:lnTo>
                  <a:lnTo>
                    <a:pt x="231" y="737"/>
                  </a:lnTo>
                  <a:lnTo>
                    <a:pt x="231" y="737"/>
                  </a:lnTo>
                  <a:lnTo>
                    <a:pt x="227" y="739"/>
                  </a:lnTo>
                  <a:lnTo>
                    <a:pt x="225" y="741"/>
                  </a:lnTo>
                  <a:lnTo>
                    <a:pt x="223" y="741"/>
                  </a:lnTo>
                  <a:lnTo>
                    <a:pt x="221" y="741"/>
                  </a:lnTo>
                  <a:lnTo>
                    <a:pt x="221" y="741"/>
                  </a:lnTo>
                  <a:lnTo>
                    <a:pt x="219" y="746"/>
                  </a:lnTo>
                  <a:lnTo>
                    <a:pt x="216" y="746"/>
                  </a:lnTo>
                  <a:lnTo>
                    <a:pt x="214" y="746"/>
                  </a:lnTo>
                  <a:lnTo>
                    <a:pt x="214" y="748"/>
                  </a:lnTo>
                  <a:lnTo>
                    <a:pt x="214" y="748"/>
                  </a:lnTo>
                  <a:lnTo>
                    <a:pt x="216" y="750"/>
                  </a:lnTo>
                  <a:lnTo>
                    <a:pt x="216" y="750"/>
                  </a:lnTo>
                  <a:lnTo>
                    <a:pt x="216" y="750"/>
                  </a:lnTo>
                  <a:lnTo>
                    <a:pt x="221" y="750"/>
                  </a:lnTo>
                  <a:lnTo>
                    <a:pt x="221" y="750"/>
                  </a:lnTo>
                  <a:lnTo>
                    <a:pt x="223" y="750"/>
                  </a:lnTo>
                  <a:lnTo>
                    <a:pt x="223" y="750"/>
                  </a:lnTo>
                  <a:lnTo>
                    <a:pt x="225" y="748"/>
                  </a:lnTo>
                  <a:lnTo>
                    <a:pt x="225" y="748"/>
                  </a:lnTo>
                  <a:lnTo>
                    <a:pt x="227" y="746"/>
                  </a:lnTo>
                  <a:lnTo>
                    <a:pt x="235" y="746"/>
                  </a:lnTo>
                  <a:lnTo>
                    <a:pt x="235" y="746"/>
                  </a:lnTo>
                  <a:lnTo>
                    <a:pt x="237" y="743"/>
                  </a:lnTo>
                  <a:lnTo>
                    <a:pt x="241" y="746"/>
                  </a:lnTo>
                  <a:lnTo>
                    <a:pt x="241" y="746"/>
                  </a:lnTo>
                  <a:lnTo>
                    <a:pt x="241" y="743"/>
                  </a:lnTo>
                  <a:close/>
                  <a:moveTo>
                    <a:pt x="206" y="754"/>
                  </a:moveTo>
                  <a:lnTo>
                    <a:pt x="206" y="754"/>
                  </a:lnTo>
                  <a:lnTo>
                    <a:pt x="206" y="754"/>
                  </a:lnTo>
                  <a:lnTo>
                    <a:pt x="206" y="754"/>
                  </a:lnTo>
                  <a:lnTo>
                    <a:pt x="204" y="754"/>
                  </a:lnTo>
                  <a:lnTo>
                    <a:pt x="204" y="754"/>
                  </a:lnTo>
                  <a:lnTo>
                    <a:pt x="204" y="756"/>
                  </a:lnTo>
                  <a:lnTo>
                    <a:pt x="206" y="756"/>
                  </a:lnTo>
                  <a:lnTo>
                    <a:pt x="206" y="756"/>
                  </a:lnTo>
                  <a:lnTo>
                    <a:pt x="206" y="756"/>
                  </a:lnTo>
                  <a:lnTo>
                    <a:pt x="208" y="754"/>
                  </a:lnTo>
                  <a:lnTo>
                    <a:pt x="208" y="754"/>
                  </a:lnTo>
                  <a:lnTo>
                    <a:pt x="206" y="754"/>
                  </a:lnTo>
                  <a:close/>
                  <a:moveTo>
                    <a:pt x="204" y="632"/>
                  </a:moveTo>
                  <a:lnTo>
                    <a:pt x="204" y="630"/>
                  </a:lnTo>
                  <a:lnTo>
                    <a:pt x="202" y="630"/>
                  </a:lnTo>
                  <a:lnTo>
                    <a:pt x="202" y="630"/>
                  </a:lnTo>
                  <a:lnTo>
                    <a:pt x="200" y="630"/>
                  </a:lnTo>
                  <a:lnTo>
                    <a:pt x="198" y="630"/>
                  </a:lnTo>
                  <a:lnTo>
                    <a:pt x="198" y="630"/>
                  </a:lnTo>
                  <a:lnTo>
                    <a:pt x="198" y="628"/>
                  </a:lnTo>
                  <a:lnTo>
                    <a:pt x="196" y="628"/>
                  </a:lnTo>
                  <a:lnTo>
                    <a:pt x="194" y="630"/>
                  </a:lnTo>
                  <a:lnTo>
                    <a:pt x="194" y="630"/>
                  </a:lnTo>
                  <a:lnTo>
                    <a:pt x="194" y="630"/>
                  </a:lnTo>
                  <a:lnTo>
                    <a:pt x="192" y="630"/>
                  </a:lnTo>
                  <a:lnTo>
                    <a:pt x="190" y="630"/>
                  </a:lnTo>
                  <a:lnTo>
                    <a:pt x="188" y="630"/>
                  </a:lnTo>
                  <a:lnTo>
                    <a:pt x="188" y="632"/>
                  </a:lnTo>
                  <a:lnTo>
                    <a:pt x="181" y="632"/>
                  </a:lnTo>
                  <a:lnTo>
                    <a:pt x="181" y="632"/>
                  </a:lnTo>
                  <a:lnTo>
                    <a:pt x="179" y="632"/>
                  </a:lnTo>
                  <a:lnTo>
                    <a:pt x="181" y="634"/>
                  </a:lnTo>
                  <a:lnTo>
                    <a:pt x="184" y="636"/>
                  </a:lnTo>
                  <a:lnTo>
                    <a:pt x="186" y="638"/>
                  </a:lnTo>
                  <a:lnTo>
                    <a:pt x="190" y="640"/>
                  </a:lnTo>
                  <a:lnTo>
                    <a:pt x="194" y="640"/>
                  </a:lnTo>
                  <a:lnTo>
                    <a:pt x="196" y="640"/>
                  </a:lnTo>
                  <a:lnTo>
                    <a:pt x="198" y="642"/>
                  </a:lnTo>
                  <a:lnTo>
                    <a:pt x="198" y="642"/>
                  </a:lnTo>
                  <a:lnTo>
                    <a:pt x="198" y="642"/>
                  </a:lnTo>
                  <a:lnTo>
                    <a:pt x="198" y="640"/>
                  </a:lnTo>
                  <a:lnTo>
                    <a:pt x="198" y="640"/>
                  </a:lnTo>
                  <a:lnTo>
                    <a:pt x="200" y="640"/>
                  </a:lnTo>
                  <a:lnTo>
                    <a:pt x="202" y="640"/>
                  </a:lnTo>
                  <a:lnTo>
                    <a:pt x="206" y="638"/>
                  </a:lnTo>
                  <a:lnTo>
                    <a:pt x="206" y="638"/>
                  </a:lnTo>
                  <a:lnTo>
                    <a:pt x="204" y="636"/>
                  </a:lnTo>
                  <a:lnTo>
                    <a:pt x="204" y="636"/>
                  </a:lnTo>
                  <a:lnTo>
                    <a:pt x="204" y="634"/>
                  </a:lnTo>
                  <a:lnTo>
                    <a:pt x="204" y="634"/>
                  </a:lnTo>
                  <a:lnTo>
                    <a:pt x="204" y="632"/>
                  </a:lnTo>
                  <a:lnTo>
                    <a:pt x="204" y="632"/>
                  </a:lnTo>
                  <a:close/>
                  <a:moveTo>
                    <a:pt x="54" y="799"/>
                  </a:moveTo>
                  <a:lnTo>
                    <a:pt x="54" y="799"/>
                  </a:lnTo>
                  <a:lnTo>
                    <a:pt x="56" y="801"/>
                  </a:lnTo>
                  <a:lnTo>
                    <a:pt x="58" y="799"/>
                  </a:lnTo>
                  <a:lnTo>
                    <a:pt x="56" y="799"/>
                  </a:lnTo>
                  <a:lnTo>
                    <a:pt x="54" y="799"/>
                  </a:lnTo>
                  <a:close/>
                  <a:moveTo>
                    <a:pt x="148" y="706"/>
                  </a:moveTo>
                  <a:lnTo>
                    <a:pt x="148" y="706"/>
                  </a:lnTo>
                  <a:lnTo>
                    <a:pt x="146" y="706"/>
                  </a:lnTo>
                  <a:lnTo>
                    <a:pt x="146" y="706"/>
                  </a:lnTo>
                  <a:lnTo>
                    <a:pt x="148" y="708"/>
                  </a:lnTo>
                  <a:lnTo>
                    <a:pt x="148" y="708"/>
                  </a:lnTo>
                  <a:lnTo>
                    <a:pt x="151" y="706"/>
                  </a:lnTo>
                  <a:lnTo>
                    <a:pt x="151" y="706"/>
                  </a:lnTo>
                  <a:lnTo>
                    <a:pt x="148" y="706"/>
                  </a:lnTo>
                  <a:close/>
                  <a:moveTo>
                    <a:pt x="161" y="568"/>
                  </a:moveTo>
                  <a:lnTo>
                    <a:pt x="161" y="566"/>
                  </a:lnTo>
                  <a:lnTo>
                    <a:pt x="157" y="564"/>
                  </a:lnTo>
                  <a:lnTo>
                    <a:pt x="155" y="564"/>
                  </a:lnTo>
                  <a:lnTo>
                    <a:pt x="153" y="564"/>
                  </a:lnTo>
                  <a:lnTo>
                    <a:pt x="151" y="564"/>
                  </a:lnTo>
                  <a:lnTo>
                    <a:pt x="148" y="564"/>
                  </a:lnTo>
                  <a:lnTo>
                    <a:pt x="148" y="564"/>
                  </a:lnTo>
                  <a:lnTo>
                    <a:pt x="148" y="562"/>
                  </a:lnTo>
                  <a:lnTo>
                    <a:pt x="146" y="562"/>
                  </a:lnTo>
                  <a:lnTo>
                    <a:pt x="142" y="562"/>
                  </a:lnTo>
                  <a:lnTo>
                    <a:pt x="142" y="560"/>
                  </a:lnTo>
                  <a:lnTo>
                    <a:pt x="142" y="560"/>
                  </a:lnTo>
                  <a:lnTo>
                    <a:pt x="140" y="558"/>
                  </a:lnTo>
                  <a:lnTo>
                    <a:pt x="140" y="558"/>
                  </a:lnTo>
                  <a:lnTo>
                    <a:pt x="138" y="558"/>
                  </a:lnTo>
                  <a:lnTo>
                    <a:pt x="136" y="556"/>
                  </a:lnTo>
                  <a:lnTo>
                    <a:pt x="134" y="558"/>
                  </a:lnTo>
                  <a:lnTo>
                    <a:pt x="132" y="558"/>
                  </a:lnTo>
                  <a:lnTo>
                    <a:pt x="130" y="560"/>
                  </a:lnTo>
                  <a:lnTo>
                    <a:pt x="128" y="560"/>
                  </a:lnTo>
                  <a:lnTo>
                    <a:pt x="126" y="558"/>
                  </a:lnTo>
                  <a:lnTo>
                    <a:pt x="124" y="558"/>
                  </a:lnTo>
                  <a:lnTo>
                    <a:pt x="122" y="558"/>
                  </a:lnTo>
                  <a:lnTo>
                    <a:pt x="122" y="558"/>
                  </a:lnTo>
                  <a:lnTo>
                    <a:pt x="120" y="556"/>
                  </a:lnTo>
                  <a:lnTo>
                    <a:pt x="118" y="556"/>
                  </a:lnTo>
                  <a:lnTo>
                    <a:pt x="118" y="560"/>
                  </a:lnTo>
                  <a:lnTo>
                    <a:pt x="118" y="560"/>
                  </a:lnTo>
                  <a:lnTo>
                    <a:pt x="118" y="562"/>
                  </a:lnTo>
                  <a:lnTo>
                    <a:pt x="118" y="562"/>
                  </a:lnTo>
                  <a:lnTo>
                    <a:pt x="118" y="564"/>
                  </a:lnTo>
                  <a:lnTo>
                    <a:pt x="120" y="564"/>
                  </a:lnTo>
                  <a:lnTo>
                    <a:pt x="122" y="564"/>
                  </a:lnTo>
                  <a:lnTo>
                    <a:pt x="122" y="564"/>
                  </a:lnTo>
                  <a:lnTo>
                    <a:pt x="124" y="564"/>
                  </a:lnTo>
                  <a:lnTo>
                    <a:pt x="126" y="564"/>
                  </a:lnTo>
                  <a:lnTo>
                    <a:pt x="128" y="562"/>
                  </a:lnTo>
                  <a:lnTo>
                    <a:pt x="130" y="562"/>
                  </a:lnTo>
                  <a:lnTo>
                    <a:pt x="130" y="562"/>
                  </a:lnTo>
                  <a:lnTo>
                    <a:pt x="134" y="564"/>
                  </a:lnTo>
                  <a:lnTo>
                    <a:pt x="136" y="564"/>
                  </a:lnTo>
                  <a:lnTo>
                    <a:pt x="138" y="566"/>
                  </a:lnTo>
                  <a:lnTo>
                    <a:pt x="138" y="566"/>
                  </a:lnTo>
                  <a:lnTo>
                    <a:pt x="138" y="568"/>
                  </a:lnTo>
                  <a:lnTo>
                    <a:pt x="140" y="568"/>
                  </a:lnTo>
                  <a:lnTo>
                    <a:pt x="140" y="568"/>
                  </a:lnTo>
                  <a:lnTo>
                    <a:pt x="142" y="568"/>
                  </a:lnTo>
                  <a:lnTo>
                    <a:pt x="144" y="570"/>
                  </a:lnTo>
                  <a:lnTo>
                    <a:pt x="144" y="570"/>
                  </a:lnTo>
                  <a:lnTo>
                    <a:pt x="146" y="570"/>
                  </a:lnTo>
                  <a:lnTo>
                    <a:pt x="146" y="572"/>
                  </a:lnTo>
                  <a:lnTo>
                    <a:pt x="146" y="572"/>
                  </a:lnTo>
                  <a:lnTo>
                    <a:pt x="148" y="572"/>
                  </a:lnTo>
                  <a:lnTo>
                    <a:pt x="148" y="572"/>
                  </a:lnTo>
                  <a:lnTo>
                    <a:pt x="148" y="570"/>
                  </a:lnTo>
                  <a:lnTo>
                    <a:pt x="151" y="570"/>
                  </a:lnTo>
                  <a:lnTo>
                    <a:pt x="153" y="568"/>
                  </a:lnTo>
                  <a:lnTo>
                    <a:pt x="155" y="568"/>
                  </a:lnTo>
                  <a:lnTo>
                    <a:pt x="159" y="568"/>
                  </a:lnTo>
                  <a:lnTo>
                    <a:pt x="161" y="568"/>
                  </a:lnTo>
                  <a:close/>
                  <a:moveTo>
                    <a:pt x="173" y="768"/>
                  </a:moveTo>
                  <a:lnTo>
                    <a:pt x="171" y="766"/>
                  </a:lnTo>
                  <a:lnTo>
                    <a:pt x="169" y="766"/>
                  </a:lnTo>
                  <a:lnTo>
                    <a:pt x="169" y="768"/>
                  </a:lnTo>
                  <a:lnTo>
                    <a:pt x="167" y="768"/>
                  </a:lnTo>
                  <a:lnTo>
                    <a:pt x="167" y="768"/>
                  </a:lnTo>
                  <a:lnTo>
                    <a:pt x="165" y="770"/>
                  </a:lnTo>
                  <a:lnTo>
                    <a:pt x="165" y="770"/>
                  </a:lnTo>
                  <a:lnTo>
                    <a:pt x="165" y="772"/>
                  </a:lnTo>
                  <a:lnTo>
                    <a:pt x="165" y="772"/>
                  </a:lnTo>
                  <a:lnTo>
                    <a:pt x="165" y="772"/>
                  </a:lnTo>
                  <a:lnTo>
                    <a:pt x="165" y="772"/>
                  </a:lnTo>
                  <a:lnTo>
                    <a:pt x="163" y="772"/>
                  </a:lnTo>
                  <a:lnTo>
                    <a:pt x="163" y="772"/>
                  </a:lnTo>
                  <a:lnTo>
                    <a:pt x="161" y="772"/>
                  </a:lnTo>
                  <a:lnTo>
                    <a:pt x="161" y="774"/>
                  </a:lnTo>
                  <a:lnTo>
                    <a:pt x="161" y="774"/>
                  </a:lnTo>
                  <a:lnTo>
                    <a:pt x="161" y="777"/>
                  </a:lnTo>
                  <a:lnTo>
                    <a:pt x="159" y="777"/>
                  </a:lnTo>
                  <a:lnTo>
                    <a:pt x="159" y="777"/>
                  </a:lnTo>
                  <a:lnTo>
                    <a:pt x="159" y="779"/>
                  </a:lnTo>
                  <a:lnTo>
                    <a:pt x="157" y="779"/>
                  </a:lnTo>
                  <a:lnTo>
                    <a:pt x="157" y="781"/>
                  </a:lnTo>
                  <a:lnTo>
                    <a:pt x="155" y="781"/>
                  </a:lnTo>
                  <a:lnTo>
                    <a:pt x="157" y="781"/>
                  </a:lnTo>
                  <a:lnTo>
                    <a:pt x="161" y="779"/>
                  </a:lnTo>
                  <a:lnTo>
                    <a:pt x="161" y="779"/>
                  </a:lnTo>
                  <a:lnTo>
                    <a:pt x="163" y="777"/>
                  </a:lnTo>
                  <a:lnTo>
                    <a:pt x="163" y="777"/>
                  </a:lnTo>
                  <a:lnTo>
                    <a:pt x="163" y="777"/>
                  </a:lnTo>
                  <a:lnTo>
                    <a:pt x="165" y="777"/>
                  </a:lnTo>
                  <a:lnTo>
                    <a:pt x="165" y="774"/>
                  </a:lnTo>
                  <a:lnTo>
                    <a:pt x="167" y="772"/>
                  </a:lnTo>
                  <a:lnTo>
                    <a:pt x="171" y="770"/>
                  </a:lnTo>
                  <a:lnTo>
                    <a:pt x="173" y="770"/>
                  </a:lnTo>
                  <a:lnTo>
                    <a:pt x="173" y="770"/>
                  </a:lnTo>
                  <a:lnTo>
                    <a:pt x="173" y="768"/>
                  </a:lnTo>
                  <a:lnTo>
                    <a:pt x="173" y="768"/>
                  </a:lnTo>
                  <a:close/>
                  <a:moveTo>
                    <a:pt x="194" y="764"/>
                  </a:moveTo>
                  <a:lnTo>
                    <a:pt x="192" y="764"/>
                  </a:lnTo>
                  <a:lnTo>
                    <a:pt x="192" y="764"/>
                  </a:lnTo>
                  <a:lnTo>
                    <a:pt x="192" y="762"/>
                  </a:lnTo>
                  <a:lnTo>
                    <a:pt x="196" y="760"/>
                  </a:lnTo>
                  <a:lnTo>
                    <a:pt x="196" y="760"/>
                  </a:lnTo>
                  <a:lnTo>
                    <a:pt x="194" y="758"/>
                  </a:lnTo>
                  <a:lnTo>
                    <a:pt x="194" y="758"/>
                  </a:lnTo>
                  <a:lnTo>
                    <a:pt x="194" y="758"/>
                  </a:lnTo>
                  <a:lnTo>
                    <a:pt x="194" y="760"/>
                  </a:lnTo>
                  <a:lnTo>
                    <a:pt x="192" y="760"/>
                  </a:lnTo>
                  <a:lnTo>
                    <a:pt x="192" y="762"/>
                  </a:lnTo>
                  <a:lnTo>
                    <a:pt x="192" y="760"/>
                  </a:lnTo>
                  <a:lnTo>
                    <a:pt x="190" y="758"/>
                  </a:lnTo>
                  <a:lnTo>
                    <a:pt x="190" y="758"/>
                  </a:lnTo>
                  <a:lnTo>
                    <a:pt x="190" y="758"/>
                  </a:lnTo>
                  <a:lnTo>
                    <a:pt x="188" y="758"/>
                  </a:lnTo>
                  <a:lnTo>
                    <a:pt x="186" y="760"/>
                  </a:lnTo>
                  <a:lnTo>
                    <a:pt x="186" y="760"/>
                  </a:lnTo>
                  <a:lnTo>
                    <a:pt x="184" y="760"/>
                  </a:lnTo>
                  <a:lnTo>
                    <a:pt x="184" y="760"/>
                  </a:lnTo>
                  <a:lnTo>
                    <a:pt x="184" y="762"/>
                  </a:lnTo>
                  <a:lnTo>
                    <a:pt x="184" y="762"/>
                  </a:lnTo>
                  <a:lnTo>
                    <a:pt x="184" y="762"/>
                  </a:lnTo>
                  <a:lnTo>
                    <a:pt x="186" y="762"/>
                  </a:lnTo>
                  <a:lnTo>
                    <a:pt x="186" y="762"/>
                  </a:lnTo>
                  <a:lnTo>
                    <a:pt x="188" y="762"/>
                  </a:lnTo>
                  <a:lnTo>
                    <a:pt x="188" y="764"/>
                  </a:lnTo>
                  <a:lnTo>
                    <a:pt x="190" y="764"/>
                  </a:lnTo>
                  <a:lnTo>
                    <a:pt x="188" y="764"/>
                  </a:lnTo>
                  <a:lnTo>
                    <a:pt x="188" y="766"/>
                  </a:lnTo>
                  <a:lnTo>
                    <a:pt x="188" y="766"/>
                  </a:lnTo>
                  <a:lnTo>
                    <a:pt x="188" y="766"/>
                  </a:lnTo>
                  <a:lnTo>
                    <a:pt x="188" y="764"/>
                  </a:lnTo>
                  <a:lnTo>
                    <a:pt x="186" y="764"/>
                  </a:lnTo>
                  <a:lnTo>
                    <a:pt x="186" y="764"/>
                  </a:lnTo>
                  <a:lnTo>
                    <a:pt x="184" y="766"/>
                  </a:lnTo>
                  <a:lnTo>
                    <a:pt x="184" y="768"/>
                  </a:lnTo>
                  <a:lnTo>
                    <a:pt x="181" y="768"/>
                  </a:lnTo>
                  <a:lnTo>
                    <a:pt x="179" y="768"/>
                  </a:lnTo>
                  <a:lnTo>
                    <a:pt x="177" y="770"/>
                  </a:lnTo>
                  <a:lnTo>
                    <a:pt x="175" y="770"/>
                  </a:lnTo>
                  <a:lnTo>
                    <a:pt x="175" y="770"/>
                  </a:lnTo>
                  <a:lnTo>
                    <a:pt x="173" y="772"/>
                  </a:lnTo>
                  <a:lnTo>
                    <a:pt x="173" y="772"/>
                  </a:lnTo>
                  <a:lnTo>
                    <a:pt x="175" y="772"/>
                  </a:lnTo>
                  <a:lnTo>
                    <a:pt x="177" y="772"/>
                  </a:lnTo>
                  <a:lnTo>
                    <a:pt x="177" y="772"/>
                  </a:lnTo>
                  <a:lnTo>
                    <a:pt x="177" y="772"/>
                  </a:lnTo>
                  <a:lnTo>
                    <a:pt x="179" y="772"/>
                  </a:lnTo>
                  <a:lnTo>
                    <a:pt x="179" y="772"/>
                  </a:lnTo>
                  <a:lnTo>
                    <a:pt x="179" y="770"/>
                  </a:lnTo>
                  <a:lnTo>
                    <a:pt x="181" y="770"/>
                  </a:lnTo>
                  <a:lnTo>
                    <a:pt x="181" y="770"/>
                  </a:lnTo>
                  <a:lnTo>
                    <a:pt x="181" y="770"/>
                  </a:lnTo>
                  <a:lnTo>
                    <a:pt x="184" y="770"/>
                  </a:lnTo>
                  <a:lnTo>
                    <a:pt x="186" y="768"/>
                  </a:lnTo>
                  <a:lnTo>
                    <a:pt x="188" y="768"/>
                  </a:lnTo>
                  <a:lnTo>
                    <a:pt x="188" y="768"/>
                  </a:lnTo>
                  <a:lnTo>
                    <a:pt x="190" y="768"/>
                  </a:lnTo>
                  <a:lnTo>
                    <a:pt x="192" y="766"/>
                  </a:lnTo>
                  <a:lnTo>
                    <a:pt x="194" y="764"/>
                  </a:lnTo>
                  <a:lnTo>
                    <a:pt x="194" y="764"/>
                  </a:lnTo>
                  <a:lnTo>
                    <a:pt x="196" y="764"/>
                  </a:lnTo>
                  <a:lnTo>
                    <a:pt x="194" y="764"/>
                  </a:lnTo>
                  <a:lnTo>
                    <a:pt x="194" y="764"/>
                  </a:lnTo>
                  <a:close/>
                  <a:moveTo>
                    <a:pt x="146" y="781"/>
                  </a:moveTo>
                  <a:lnTo>
                    <a:pt x="144" y="781"/>
                  </a:lnTo>
                  <a:lnTo>
                    <a:pt x="142" y="781"/>
                  </a:lnTo>
                  <a:lnTo>
                    <a:pt x="142" y="781"/>
                  </a:lnTo>
                  <a:lnTo>
                    <a:pt x="142" y="781"/>
                  </a:lnTo>
                  <a:lnTo>
                    <a:pt x="144" y="781"/>
                  </a:lnTo>
                  <a:lnTo>
                    <a:pt x="146" y="781"/>
                  </a:lnTo>
                  <a:lnTo>
                    <a:pt x="146" y="781"/>
                  </a:lnTo>
                  <a:lnTo>
                    <a:pt x="146" y="781"/>
                  </a:lnTo>
                  <a:lnTo>
                    <a:pt x="146" y="781"/>
                  </a:lnTo>
                  <a:lnTo>
                    <a:pt x="146" y="781"/>
                  </a:lnTo>
                  <a:close/>
                  <a:moveTo>
                    <a:pt x="295" y="1291"/>
                  </a:moveTo>
                  <a:lnTo>
                    <a:pt x="295" y="1291"/>
                  </a:lnTo>
                  <a:lnTo>
                    <a:pt x="295" y="1289"/>
                  </a:lnTo>
                  <a:lnTo>
                    <a:pt x="295" y="1289"/>
                  </a:lnTo>
                  <a:lnTo>
                    <a:pt x="295" y="1287"/>
                  </a:lnTo>
                  <a:lnTo>
                    <a:pt x="291" y="1287"/>
                  </a:lnTo>
                  <a:lnTo>
                    <a:pt x="289" y="1289"/>
                  </a:lnTo>
                  <a:lnTo>
                    <a:pt x="289" y="1291"/>
                  </a:lnTo>
                  <a:lnTo>
                    <a:pt x="289" y="1291"/>
                  </a:lnTo>
                  <a:lnTo>
                    <a:pt x="291" y="1291"/>
                  </a:lnTo>
                  <a:lnTo>
                    <a:pt x="291" y="1293"/>
                  </a:lnTo>
                  <a:lnTo>
                    <a:pt x="293" y="1293"/>
                  </a:lnTo>
                  <a:lnTo>
                    <a:pt x="293" y="1293"/>
                  </a:lnTo>
                  <a:lnTo>
                    <a:pt x="295" y="1291"/>
                  </a:lnTo>
                  <a:lnTo>
                    <a:pt x="295" y="1291"/>
                  </a:lnTo>
                  <a:close/>
                  <a:moveTo>
                    <a:pt x="291" y="737"/>
                  </a:moveTo>
                  <a:lnTo>
                    <a:pt x="291" y="737"/>
                  </a:lnTo>
                  <a:lnTo>
                    <a:pt x="291" y="737"/>
                  </a:lnTo>
                  <a:lnTo>
                    <a:pt x="293" y="737"/>
                  </a:lnTo>
                  <a:lnTo>
                    <a:pt x="293" y="735"/>
                  </a:lnTo>
                  <a:lnTo>
                    <a:pt x="291" y="735"/>
                  </a:lnTo>
                  <a:lnTo>
                    <a:pt x="291" y="735"/>
                  </a:lnTo>
                  <a:lnTo>
                    <a:pt x="291" y="735"/>
                  </a:lnTo>
                  <a:lnTo>
                    <a:pt x="291" y="735"/>
                  </a:lnTo>
                  <a:lnTo>
                    <a:pt x="291" y="737"/>
                  </a:lnTo>
                  <a:lnTo>
                    <a:pt x="291" y="737"/>
                  </a:lnTo>
                  <a:lnTo>
                    <a:pt x="291" y="737"/>
                  </a:lnTo>
                  <a:lnTo>
                    <a:pt x="291" y="737"/>
                  </a:lnTo>
                  <a:lnTo>
                    <a:pt x="291" y="737"/>
                  </a:lnTo>
                  <a:close/>
                  <a:moveTo>
                    <a:pt x="254" y="739"/>
                  </a:moveTo>
                  <a:lnTo>
                    <a:pt x="252" y="739"/>
                  </a:lnTo>
                  <a:lnTo>
                    <a:pt x="249" y="739"/>
                  </a:lnTo>
                  <a:lnTo>
                    <a:pt x="252" y="741"/>
                  </a:lnTo>
                  <a:lnTo>
                    <a:pt x="252" y="741"/>
                  </a:lnTo>
                  <a:lnTo>
                    <a:pt x="252" y="741"/>
                  </a:lnTo>
                  <a:lnTo>
                    <a:pt x="252" y="741"/>
                  </a:lnTo>
                  <a:lnTo>
                    <a:pt x="254" y="741"/>
                  </a:lnTo>
                  <a:lnTo>
                    <a:pt x="254" y="739"/>
                  </a:lnTo>
                  <a:lnTo>
                    <a:pt x="254" y="739"/>
                  </a:lnTo>
                  <a:lnTo>
                    <a:pt x="254" y="739"/>
                  </a:lnTo>
                  <a:close/>
                  <a:moveTo>
                    <a:pt x="289" y="1910"/>
                  </a:moveTo>
                  <a:lnTo>
                    <a:pt x="289" y="1910"/>
                  </a:lnTo>
                  <a:lnTo>
                    <a:pt x="287" y="1910"/>
                  </a:lnTo>
                  <a:lnTo>
                    <a:pt x="287" y="1910"/>
                  </a:lnTo>
                  <a:lnTo>
                    <a:pt x="287" y="1912"/>
                  </a:lnTo>
                  <a:lnTo>
                    <a:pt x="289" y="1912"/>
                  </a:lnTo>
                  <a:lnTo>
                    <a:pt x="289" y="1912"/>
                  </a:lnTo>
                  <a:lnTo>
                    <a:pt x="289" y="1912"/>
                  </a:lnTo>
                  <a:lnTo>
                    <a:pt x="289" y="1912"/>
                  </a:lnTo>
                  <a:lnTo>
                    <a:pt x="289" y="1910"/>
                  </a:lnTo>
                  <a:lnTo>
                    <a:pt x="289" y="1910"/>
                  </a:lnTo>
                  <a:close/>
                  <a:moveTo>
                    <a:pt x="293" y="739"/>
                  </a:moveTo>
                  <a:lnTo>
                    <a:pt x="295" y="739"/>
                  </a:lnTo>
                  <a:lnTo>
                    <a:pt x="295" y="739"/>
                  </a:lnTo>
                  <a:lnTo>
                    <a:pt x="295" y="737"/>
                  </a:lnTo>
                  <a:lnTo>
                    <a:pt x="293" y="737"/>
                  </a:lnTo>
                  <a:lnTo>
                    <a:pt x="293" y="737"/>
                  </a:lnTo>
                  <a:lnTo>
                    <a:pt x="293" y="739"/>
                  </a:lnTo>
                  <a:lnTo>
                    <a:pt x="293" y="739"/>
                  </a:lnTo>
                  <a:close/>
                  <a:moveTo>
                    <a:pt x="276" y="733"/>
                  </a:moveTo>
                  <a:lnTo>
                    <a:pt x="276" y="731"/>
                  </a:lnTo>
                  <a:lnTo>
                    <a:pt x="276" y="731"/>
                  </a:lnTo>
                  <a:lnTo>
                    <a:pt x="276" y="731"/>
                  </a:lnTo>
                  <a:lnTo>
                    <a:pt x="276" y="733"/>
                  </a:lnTo>
                  <a:lnTo>
                    <a:pt x="276" y="733"/>
                  </a:lnTo>
                  <a:lnTo>
                    <a:pt x="276" y="733"/>
                  </a:lnTo>
                  <a:lnTo>
                    <a:pt x="276" y="731"/>
                  </a:lnTo>
                  <a:lnTo>
                    <a:pt x="276" y="731"/>
                  </a:lnTo>
                  <a:lnTo>
                    <a:pt x="274" y="731"/>
                  </a:lnTo>
                  <a:lnTo>
                    <a:pt x="274" y="731"/>
                  </a:lnTo>
                  <a:lnTo>
                    <a:pt x="274" y="731"/>
                  </a:lnTo>
                  <a:lnTo>
                    <a:pt x="272" y="733"/>
                  </a:lnTo>
                  <a:lnTo>
                    <a:pt x="272" y="733"/>
                  </a:lnTo>
                  <a:lnTo>
                    <a:pt x="274" y="735"/>
                  </a:lnTo>
                  <a:lnTo>
                    <a:pt x="274" y="735"/>
                  </a:lnTo>
                  <a:lnTo>
                    <a:pt x="274" y="735"/>
                  </a:lnTo>
                  <a:lnTo>
                    <a:pt x="274" y="735"/>
                  </a:lnTo>
                  <a:lnTo>
                    <a:pt x="276" y="735"/>
                  </a:lnTo>
                  <a:lnTo>
                    <a:pt x="278" y="735"/>
                  </a:lnTo>
                  <a:lnTo>
                    <a:pt x="278" y="735"/>
                  </a:lnTo>
                  <a:lnTo>
                    <a:pt x="278" y="735"/>
                  </a:lnTo>
                  <a:lnTo>
                    <a:pt x="276" y="733"/>
                  </a:lnTo>
                  <a:close/>
                  <a:moveTo>
                    <a:pt x="278" y="731"/>
                  </a:moveTo>
                  <a:lnTo>
                    <a:pt x="278" y="733"/>
                  </a:lnTo>
                  <a:lnTo>
                    <a:pt x="278" y="733"/>
                  </a:lnTo>
                  <a:lnTo>
                    <a:pt x="280" y="733"/>
                  </a:lnTo>
                  <a:lnTo>
                    <a:pt x="280" y="733"/>
                  </a:lnTo>
                  <a:lnTo>
                    <a:pt x="280" y="731"/>
                  </a:lnTo>
                  <a:lnTo>
                    <a:pt x="278" y="731"/>
                  </a:lnTo>
                  <a:close/>
                  <a:moveTo>
                    <a:pt x="287" y="735"/>
                  </a:moveTo>
                  <a:lnTo>
                    <a:pt x="287" y="733"/>
                  </a:lnTo>
                  <a:lnTo>
                    <a:pt x="287" y="733"/>
                  </a:lnTo>
                  <a:lnTo>
                    <a:pt x="287" y="733"/>
                  </a:lnTo>
                  <a:lnTo>
                    <a:pt x="285" y="735"/>
                  </a:lnTo>
                  <a:lnTo>
                    <a:pt x="285" y="735"/>
                  </a:lnTo>
                  <a:lnTo>
                    <a:pt x="285" y="735"/>
                  </a:lnTo>
                  <a:lnTo>
                    <a:pt x="282" y="737"/>
                  </a:lnTo>
                  <a:lnTo>
                    <a:pt x="282" y="737"/>
                  </a:lnTo>
                  <a:lnTo>
                    <a:pt x="282" y="737"/>
                  </a:lnTo>
                  <a:lnTo>
                    <a:pt x="282" y="737"/>
                  </a:lnTo>
                  <a:lnTo>
                    <a:pt x="282" y="739"/>
                  </a:lnTo>
                  <a:lnTo>
                    <a:pt x="282" y="741"/>
                  </a:lnTo>
                  <a:lnTo>
                    <a:pt x="282" y="739"/>
                  </a:lnTo>
                  <a:lnTo>
                    <a:pt x="285" y="737"/>
                  </a:lnTo>
                  <a:lnTo>
                    <a:pt x="285" y="737"/>
                  </a:lnTo>
                  <a:lnTo>
                    <a:pt x="287" y="737"/>
                  </a:lnTo>
                  <a:lnTo>
                    <a:pt x="287" y="737"/>
                  </a:lnTo>
                  <a:lnTo>
                    <a:pt x="287" y="737"/>
                  </a:lnTo>
                  <a:lnTo>
                    <a:pt x="287" y="735"/>
                  </a:lnTo>
                  <a:lnTo>
                    <a:pt x="287" y="735"/>
                  </a:lnTo>
                  <a:lnTo>
                    <a:pt x="287" y="735"/>
                  </a:lnTo>
                  <a:close/>
                  <a:moveTo>
                    <a:pt x="282" y="1291"/>
                  </a:moveTo>
                  <a:lnTo>
                    <a:pt x="282" y="1293"/>
                  </a:lnTo>
                  <a:lnTo>
                    <a:pt x="282" y="1293"/>
                  </a:lnTo>
                  <a:lnTo>
                    <a:pt x="282" y="1293"/>
                  </a:lnTo>
                  <a:lnTo>
                    <a:pt x="282" y="1293"/>
                  </a:lnTo>
                  <a:lnTo>
                    <a:pt x="282" y="1293"/>
                  </a:lnTo>
                  <a:lnTo>
                    <a:pt x="282" y="1293"/>
                  </a:lnTo>
                  <a:lnTo>
                    <a:pt x="285" y="1293"/>
                  </a:lnTo>
                  <a:lnTo>
                    <a:pt x="285" y="1291"/>
                  </a:lnTo>
                  <a:lnTo>
                    <a:pt x="285" y="1291"/>
                  </a:lnTo>
                  <a:lnTo>
                    <a:pt x="285" y="1291"/>
                  </a:lnTo>
                  <a:lnTo>
                    <a:pt x="282" y="1291"/>
                  </a:lnTo>
                  <a:close/>
                  <a:moveTo>
                    <a:pt x="202" y="756"/>
                  </a:moveTo>
                  <a:lnTo>
                    <a:pt x="202" y="754"/>
                  </a:lnTo>
                  <a:lnTo>
                    <a:pt x="200" y="754"/>
                  </a:lnTo>
                  <a:lnTo>
                    <a:pt x="200" y="754"/>
                  </a:lnTo>
                  <a:lnTo>
                    <a:pt x="198" y="756"/>
                  </a:lnTo>
                  <a:lnTo>
                    <a:pt x="198" y="756"/>
                  </a:lnTo>
                  <a:lnTo>
                    <a:pt x="198" y="756"/>
                  </a:lnTo>
                  <a:lnTo>
                    <a:pt x="198" y="758"/>
                  </a:lnTo>
                  <a:lnTo>
                    <a:pt x="200" y="758"/>
                  </a:lnTo>
                  <a:lnTo>
                    <a:pt x="200" y="758"/>
                  </a:lnTo>
                  <a:lnTo>
                    <a:pt x="200" y="758"/>
                  </a:lnTo>
                  <a:lnTo>
                    <a:pt x="202" y="758"/>
                  </a:lnTo>
                  <a:lnTo>
                    <a:pt x="202" y="758"/>
                  </a:lnTo>
                  <a:lnTo>
                    <a:pt x="204" y="756"/>
                  </a:lnTo>
                  <a:lnTo>
                    <a:pt x="204" y="756"/>
                  </a:lnTo>
                  <a:lnTo>
                    <a:pt x="204" y="756"/>
                  </a:lnTo>
                  <a:lnTo>
                    <a:pt x="202" y="756"/>
                  </a:lnTo>
                  <a:close/>
                  <a:moveTo>
                    <a:pt x="82" y="793"/>
                  </a:moveTo>
                  <a:lnTo>
                    <a:pt x="85" y="793"/>
                  </a:lnTo>
                  <a:lnTo>
                    <a:pt x="85" y="791"/>
                  </a:lnTo>
                  <a:lnTo>
                    <a:pt x="85" y="791"/>
                  </a:lnTo>
                  <a:lnTo>
                    <a:pt x="85" y="789"/>
                  </a:lnTo>
                  <a:lnTo>
                    <a:pt x="82" y="789"/>
                  </a:lnTo>
                  <a:lnTo>
                    <a:pt x="80" y="789"/>
                  </a:lnTo>
                  <a:lnTo>
                    <a:pt x="80" y="791"/>
                  </a:lnTo>
                  <a:lnTo>
                    <a:pt x="78" y="791"/>
                  </a:lnTo>
                  <a:lnTo>
                    <a:pt x="80" y="791"/>
                  </a:lnTo>
                  <a:lnTo>
                    <a:pt x="82" y="791"/>
                  </a:lnTo>
                  <a:lnTo>
                    <a:pt x="80" y="793"/>
                  </a:lnTo>
                  <a:lnTo>
                    <a:pt x="78" y="793"/>
                  </a:lnTo>
                  <a:lnTo>
                    <a:pt x="76" y="795"/>
                  </a:lnTo>
                  <a:lnTo>
                    <a:pt x="72" y="795"/>
                  </a:lnTo>
                  <a:lnTo>
                    <a:pt x="70" y="795"/>
                  </a:lnTo>
                  <a:lnTo>
                    <a:pt x="68" y="795"/>
                  </a:lnTo>
                  <a:lnTo>
                    <a:pt x="68" y="797"/>
                  </a:lnTo>
                  <a:lnTo>
                    <a:pt x="68" y="797"/>
                  </a:lnTo>
                  <a:lnTo>
                    <a:pt x="76" y="795"/>
                  </a:lnTo>
                  <a:lnTo>
                    <a:pt x="80" y="795"/>
                  </a:lnTo>
                  <a:lnTo>
                    <a:pt x="85" y="795"/>
                  </a:lnTo>
                  <a:lnTo>
                    <a:pt x="82" y="793"/>
                  </a:lnTo>
                  <a:lnTo>
                    <a:pt x="82" y="793"/>
                  </a:lnTo>
                  <a:close/>
                  <a:moveTo>
                    <a:pt x="99" y="795"/>
                  </a:moveTo>
                  <a:lnTo>
                    <a:pt x="95" y="795"/>
                  </a:lnTo>
                  <a:lnTo>
                    <a:pt x="93" y="795"/>
                  </a:lnTo>
                  <a:lnTo>
                    <a:pt x="91" y="793"/>
                  </a:lnTo>
                  <a:lnTo>
                    <a:pt x="89" y="795"/>
                  </a:lnTo>
                  <a:lnTo>
                    <a:pt x="89" y="795"/>
                  </a:lnTo>
                  <a:lnTo>
                    <a:pt x="87" y="795"/>
                  </a:lnTo>
                  <a:lnTo>
                    <a:pt x="87" y="795"/>
                  </a:lnTo>
                  <a:lnTo>
                    <a:pt x="87" y="795"/>
                  </a:lnTo>
                  <a:lnTo>
                    <a:pt x="87" y="795"/>
                  </a:lnTo>
                  <a:lnTo>
                    <a:pt x="87" y="795"/>
                  </a:lnTo>
                  <a:lnTo>
                    <a:pt x="89" y="795"/>
                  </a:lnTo>
                  <a:lnTo>
                    <a:pt x="91" y="795"/>
                  </a:lnTo>
                  <a:lnTo>
                    <a:pt x="93" y="795"/>
                  </a:lnTo>
                  <a:lnTo>
                    <a:pt x="95" y="795"/>
                  </a:lnTo>
                  <a:lnTo>
                    <a:pt x="97" y="795"/>
                  </a:lnTo>
                  <a:lnTo>
                    <a:pt x="97" y="795"/>
                  </a:lnTo>
                  <a:lnTo>
                    <a:pt x="99" y="795"/>
                  </a:lnTo>
                  <a:lnTo>
                    <a:pt x="99" y="795"/>
                  </a:lnTo>
                  <a:lnTo>
                    <a:pt x="99" y="795"/>
                  </a:lnTo>
                  <a:close/>
                  <a:moveTo>
                    <a:pt x="85" y="1873"/>
                  </a:moveTo>
                  <a:lnTo>
                    <a:pt x="85" y="1873"/>
                  </a:lnTo>
                  <a:lnTo>
                    <a:pt x="85" y="1873"/>
                  </a:lnTo>
                  <a:lnTo>
                    <a:pt x="85" y="1873"/>
                  </a:lnTo>
                  <a:lnTo>
                    <a:pt x="87" y="1873"/>
                  </a:lnTo>
                  <a:lnTo>
                    <a:pt x="87" y="1873"/>
                  </a:lnTo>
                  <a:lnTo>
                    <a:pt x="87" y="1873"/>
                  </a:lnTo>
                  <a:lnTo>
                    <a:pt x="87" y="1873"/>
                  </a:lnTo>
                  <a:lnTo>
                    <a:pt x="87" y="1873"/>
                  </a:lnTo>
                  <a:lnTo>
                    <a:pt x="85" y="1873"/>
                  </a:lnTo>
                  <a:close/>
                  <a:moveTo>
                    <a:pt x="109" y="791"/>
                  </a:moveTo>
                  <a:lnTo>
                    <a:pt x="109" y="789"/>
                  </a:lnTo>
                  <a:lnTo>
                    <a:pt x="107" y="789"/>
                  </a:lnTo>
                  <a:lnTo>
                    <a:pt x="107" y="791"/>
                  </a:lnTo>
                  <a:lnTo>
                    <a:pt x="105" y="791"/>
                  </a:lnTo>
                  <a:lnTo>
                    <a:pt x="105" y="791"/>
                  </a:lnTo>
                  <a:lnTo>
                    <a:pt x="107" y="791"/>
                  </a:lnTo>
                  <a:lnTo>
                    <a:pt x="107" y="791"/>
                  </a:lnTo>
                  <a:lnTo>
                    <a:pt x="109" y="791"/>
                  </a:lnTo>
                  <a:close/>
                  <a:moveTo>
                    <a:pt x="109" y="630"/>
                  </a:moveTo>
                  <a:lnTo>
                    <a:pt x="111" y="630"/>
                  </a:lnTo>
                  <a:lnTo>
                    <a:pt x="109" y="630"/>
                  </a:lnTo>
                  <a:lnTo>
                    <a:pt x="109" y="628"/>
                  </a:lnTo>
                  <a:lnTo>
                    <a:pt x="107" y="628"/>
                  </a:lnTo>
                  <a:lnTo>
                    <a:pt x="103" y="628"/>
                  </a:lnTo>
                  <a:lnTo>
                    <a:pt x="101" y="626"/>
                  </a:lnTo>
                  <a:lnTo>
                    <a:pt x="101" y="624"/>
                  </a:lnTo>
                  <a:lnTo>
                    <a:pt x="99" y="626"/>
                  </a:lnTo>
                  <a:lnTo>
                    <a:pt x="99" y="626"/>
                  </a:lnTo>
                  <a:lnTo>
                    <a:pt x="101" y="628"/>
                  </a:lnTo>
                  <a:lnTo>
                    <a:pt x="105" y="630"/>
                  </a:lnTo>
                  <a:lnTo>
                    <a:pt x="109" y="630"/>
                  </a:lnTo>
                  <a:close/>
                  <a:moveTo>
                    <a:pt x="78" y="1673"/>
                  </a:moveTo>
                  <a:lnTo>
                    <a:pt x="78" y="1673"/>
                  </a:lnTo>
                  <a:lnTo>
                    <a:pt x="78" y="1673"/>
                  </a:lnTo>
                  <a:lnTo>
                    <a:pt x="78" y="1673"/>
                  </a:lnTo>
                  <a:lnTo>
                    <a:pt x="78" y="1673"/>
                  </a:lnTo>
                  <a:lnTo>
                    <a:pt x="78" y="1673"/>
                  </a:lnTo>
                  <a:lnTo>
                    <a:pt x="78" y="1673"/>
                  </a:lnTo>
                  <a:lnTo>
                    <a:pt x="78" y="1673"/>
                  </a:lnTo>
                  <a:lnTo>
                    <a:pt x="78" y="1673"/>
                  </a:lnTo>
                  <a:lnTo>
                    <a:pt x="78" y="1673"/>
                  </a:lnTo>
                  <a:lnTo>
                    <a:pt x="78" y="1673"/>
                  </a:lnTo>
                  <a:lnTo>
                    <a:pt x="78" y="1673"/>
                  </a:lnTo>
                  <a:lnTo>
                    <a:pt x="78" y="1673"/>
                  </a:lnTo>
                  <a:lnTo>
                    <a:pt x="78" y="1673"/>
                  </a:lnTo>
                  <a:close/>
                  <a:moveTo>
                    <a:pt x="70" y="1910"/>
                  </a:moveTo>
                  <a:lnTo>
                    <a:pt x="68" y="1910"/>
                  </a:lnTo>
                  <a:lnTo>
                    <a:pt x="68" y="1910"/>
                  </a:lnTo>
                  <a:lnTo>
                    <a:pt x="68" y="1910"/>
                  </a:lnTo>
                  <a:lnTo>
                    <a:pt x="68" y="1910"/>
                  </a:lnTo>
                  <a:lnTo>
                    <a:pt x="66" y="1910"/>
                  </a:lnTo>
                  <a:lnTo>
                    <a:pt x="66" y="1910"/>
                  </a:lnTo>
                  <a:lnTo>
                    <a:pt x="66" y="1908"/>
                  </a:lnTo>
                  <a:lnTo>
                    <a:pt x="66" y="1910"/>
                  </a:lnTo>
                  <a:lnTo>
                    <a:pt x="66" y="1910"/>
                  </a:lnTo>
                  <a:lnTo>
                    <a:pt x="68" y="1910"/>
                  </a:lnTo>
                  <a:lnTo>
                    <a:pt x="68" y="1912"/>
                  </a:lnTo>
                  <a:lnTo>
                    <a:pt x="70" y="1910"/>
                  </a:lnTo>
                  <a:lnTo>
                    <a:pt x="70" y="1910"/>
                  </a:lnTo>
                  <a:lnTo>
                    <a:pt x="70" y="1910"/>
                  </a:lnTo>
                  <a:lnTo>
                    <a:pt x="70" y="1910"/>
                  </a:lnTo>
                  <a:close/>
                  <a:moveTo>
                    <a:pt x="56" y="795"/>
                  </a:moveTo>
                  <a:lnTo>
                    <a:pt x="56" y="795"/>
                  </a:lnTo>
                  <a:lnTo>
                    <a:pt x="56" y="795"/>
                  </a:lnTo>
                  <a:lnTo>
                    <a:pt x="54" y="795"/>
                  </a:lnTo>
                  <a:lnTo>
                    <a:pt x="54" y="795"/>
                  </a:lnTo>
                  <a:lnTo>
                    <a:pt x="56" y="797"/>
                  </a:lnTo>
                  <a:lnTo>
                    <a:pt x="56" y="797"/>
                  </a:lnTo>
                  <a:lnTo>
                    <a:pt x="58" y="797"/>
                  </a:lnTo>
                  <a:lnTo>
                    <a:pt x="58" y="797"/>
                  </a:lnTo>
                  <a:lnTo>
                    <a:pt x="58" y="795"/>
                  </a:lnTo>
                  <a:lnTo>
                    <a:pt x="56" y="795"/>
                  </a:lnTo>
                  <a:close/>
                  <a:moveTo>
                    <a:pt x="1429" y="690"/>
                  </a:moveTo>
                  <a:lnTo>
                    <a:pt x="1429" y="688"/>
                  </a:lnTo>
                  <a:lnTo>
                    <a:pt x="1429" y="688"/>
                  </a:lnTo>
                  <a:lnTo>
                    <a:pt x="1429" y="688"/>
                  </a:lnTo>
                  <a:lnTo>
                    <a:pt x="1429" y="688"/>
                  </a:lnTo>
                  <a:lnTo>
                    <a:pt x="1429" y="688"/>
                  </a:lnTo>
                  <a:lnTo>
                    <a:pt x="1429" y="686"/>
                  </a:lnTo>
                  <a:lnTo>
                    <a:pt x="1429" y="688"/>
                  </a:lnTo>
                  <a:lnTo>
                    <a:pt x="1429" y="688"/>
                  </a:lnTo>
                  <a:lnTo>
                    <a:pt x="1429" y="688"/>
                  </a:lnTo>
                  <a:lnTo>
                    <a:pt x="1429" y="688"/>
                  </a:lnTo>
                  <a:lnTo>
                    <a:pt x="1429" y="690"/>
                  </a:lnTo>
                  <a:lnTo>
                    <a:pt x="1429" y="690"/>
                  </a:lnTo>
                  <a:lnTo>
                    <a:pt x="1429" y="690"/>
                  </a:lnTo>
                  <a:close/>
                  <a:moveTo>
                    <a:pt x="144" y="1877"/>
                  </a:moveTo>
                  <a:lnTo>
                    <a:pt x="144" y="1879"/>
                  </a:lnTo>
                  <a:lnTo>
                    <a:pt x="144" y="1879"/>
                  </a:lnTo>
                  <a:lnTo>
                    <a:pt x="144" y="1881"/>
                  </a:lnTo>
                  <a:lnTo>
                    <a:pt x="146" y="1879"/>
                  </a:lnTo>
                  <a:lnTo>
                    <a:pt x="146" y="1879"/>
                  </a:lnTo>
                  <a:lnTo>
                    <a:pt x="144" y="1877"/>
                  </a:lnTo>
                  <a:lnTo>
                    <a:pt x="144" y="1877"/>
                  </a:lnTo>
                  <a:close/>
                  <a:moveTo>
                    <a:pt x="72" y="1912"/>
                  </a:moveTo>
                  <a:lnTo>
                    <a:pt x="72" y="1914"/>
                  </a:lnTo>
                  <a:lnTo>
                    <a:pt x="72" y="1914"/>
                  </a:lnTo>
                  <a:lnTo>
                    <a:pt x="72" y="1912"/>
                  </a:lnTo>
                  <a:lnTo>
                    <a:pt x="72" y="1912"/>
                  </a:lnTo>
                  <a:lnTo>
                    <a:pt x="72" y="1912"/>
                  </a:lnTo>
                  <a:close/>
                  <a:moveTo>
                    <a:pt x="132" y="1809"/>
                  </a:moveTo>
                  <a:lnTo>
                    <a:pt x="130" y="1811"/>
                  </a:lnTo>
                  <a:lnTo>
                    <a:pt x="132" y="1811"/>
                  </a:lnTo>
                  <a:lnTo>
                    <a:pt x="132" y="1811"/>
                  </a:lnTo>
                  <a:lnTo>
                    <a:pt x="134" y="1809"/>
                  </a:lnTo>
                  <a:lnTo>
                    <a:pt x="134" y="1809"/>
                  </a:lnTo>
                  <a:lnTo>
                    <a:pt x="132" y="1809"/>
                  </a:lnTo>
                  <a:lnTo>
                    <a:pt x="132" y="1809"/>
                  </a:lnTo>
                  <a:close/>
                  <a:moveTo>
                    <a:pt x="128" y="1650"/>
                  </a:moveTo>
                  <a:lnTo>
                    <a:pt x="128" y="1650"/>
                  </a:lnTo>
                  <a:lnTo>
                    <a:pt x="128" y="1650"/>
                  </a:lnTo>
                  <a:lnTo>
                    <a:pt x="128" y="1650"/>
                  </a:lnTo>
                  <a:lnTo>
                    <a:pt x="128" y="1650"/>
                  </a:lnTo>
                  <a:lnTo>
                    <a:pt x="128" y="1650"/>
                  </a:lnTo>
                  <a:lnTo>
                    <a:pt x="128" y="1650"/>
                  </a:lnTo>
                  <a:close/>
                  <a:moveTo>
                    <a:pt x="132" y="787"/>
                  </a:moveTo>
                  <a:lnTo>
                    <a:pt x="132" y="785"/>
                  </a:lnTo>
                  <a:lnTo>
                    <a:pt x="132" y="785"/>
                  </a:lnTo>
                  <a:lnTo>
                    <a:pt x="134" y="785"/>
                  </a:lnTo>
                  <a:lnTo>
                    <a:pt x="134" y="785"/>
                  </a:lnTo>
                  <a:lnTo>
                    <a:pt x="134" y="785"/>
                  </a:lnTo>
                  <a:lnTo>
                    <a:pt x="134" y="785"/>
                  </a:lnTo>
                  <a:lnTo>
                    <a:pt x="134" y="783"/>
                  </a:lnTo>
                  <a:lnTo>
                    <a:pt x="132" y="783"/>
                  </a:lnTo>
                  <a:lnTo>
                    <a:pt x="132" y="785"/>
                  </a:lnTo>
                  <a:lnTo>
                    <a:pt x="130" y="785"/>
                  </a:lnTo>
                  <a:lnTo>
                    <a:pt x="132" y="787"/>
                  </a:lnTo>
                  <a:lnTo>
                    <a:pt x="132" y="787"/>
                  </a:lnTo>
                  <a:close/>
                  <a:moveTo>
                    <a:pt x="136" y="696"/>
                  </a:moveTo>
                  <a:lnTo>
                    <a:pt x="138" y="696"/>
                  </a:lnTo>
                  <a:lnTo>
                    <a:pt x="138" y="696"/>
                  </a:lnTo>
                  <a:lnTo>
                    <a:pt x="140" y="696"/>
                  </a:lnTo>
                  <a:lnTo>
                    <a:pt x="140" y="694"/>
                  </a:lnTo>
                  <a:lnTo>
                    <a:pt x="136" y="694"/>
                  </a:lnTo>
                  <a:lnTo>
                    <a:pt x="136" y="696"/>
                  </a:lnTo>
                  <a:close/>
                  <a:moveTo>
                    <a:pt x="126" y="1739"/>
                  </a:moveTo>
                  <a:lnTo>
                    <a:pt x="126" y="1739"/>
                  </a:lnTo>
                  <a:lnTo>
                    <a:pt x="126" y="1739"/>
                  </a:lnTo>
                  <a:lnTo>
                    <a:pt x="126" y="1739"/>
                  </a:lnTo>
                  <a:lnTo>
                    <a:pt x="126" y="1739"/>
                  </a:lnTo>
                  <a:lnTo>
                    <a:pt x="126" y="1739"/>
                  </a:lnTo>
                  <a:lnTo>
                    <a:pt x="126" y="1739"/>
                  </a:lnTo>
                  <a:lnTo>
                    <a:pt x="126" y="1739"/>
                  </a:lnTo>
                  <a:lnTo>
                    <a:pt x="126" y="1739"/>
                  </a:lnTo>
                  <a:close/>
                  <a:moveTo>
                    <a:pt x="120" y="1646"/>
                  </a:moveTo>
                  <a:lnTo>
                    <a:pt x="118" y="1646"/>
                  </a:lnTo>
                  <a:lnTo>
                    <a:pt x="118" y="1646"/>
                  </a:lnTo>
                  <a:lnTo>
                    <a:pt x="118" y="1646"/>
                  </a:lnTo>
                  <a:lnTo>
                    <a:pt x="120" y="1646"/>
                  </a:lnTo>
                  <a:lnTo>
                    <a:pt x="120" y="1648"/>
                  </a:lnTo>
                  <a:lnTo>
                    <a:pt x="120" y="1648"/>
                  </a:lnTo>
                  <a:lnTo>
                    <a:pt x="120" y="1646"/>
                  </a:lnTo>
                  <a:lnTo>
                    <a:pt x="120" y="1646"/>
                  </a:lnTo>
                  <a:lnTo>
                    <a:pt x="120" y="1646"/>
                  </a:lnTo>
                  <a:lnTo>
                    <a:pt x="118" y="1646"/>
                  </a:lnTo>
                  <a:lnTo>
                    <a:pt x="118" y="1646"/>
                  </a:lnTo>
                  <a:lnTo>
                    <a:pt x="118" y="1646"/>
                  </a:lnTo>
                  <a:lnTo>
                    <a:pt x="118" y="1646"/>
                  </a:lnTo>
                  <a:lnTo>
                    <a:pt x="118" y="1646"/>
                  </a:lnTo>
                  <a:lnTo>
                    <a:pt x="118" y="1646"/>
                  </a:lnTo>
                  <a:lnTo>
                    <a:pt x="118" y="1646"/>
                  </a:lnTo>
                  <a:lnTo>
                    <a:pt x="118" y="1646"/>
                  </a:lnTo>
                  <a:lnTo>
                    <a:pt x="120" y="1646"/>
                  </a:lnTo>
                  <a:lnTo>
                    <a:pt x="120" y="1646"/>
                  </a:lnTo>
                  <a:lnTo>
                    <a:pt x="120" y="1646"/>
                  </a:lnTo>
                  <a:lnTo>
                    <a:pt x="120" y="1646"/>
                  </a:lnTo>
                  <a:lnTo>
                    <a:pt x="120" y="1646"/>
                  </a:lnTo>
                  <a:lnTo>
                    <a:pt x="120" y="1646"/>
                  </a:lnTo>
                  <a:close/>
                  <a:moveTo>
                    <a:pt x="109" y="1799"/>
                  </a:moveTo>
                  <a:lnTo>
                    <a:pt x="107" y="1799"/>
                  </a:lnTo>
                  <a:lnTo>
                    <a:pt x="105" y="1799"/>
                  </a:lnTo>
                  <a:lnTo>
                    <a:pt x="103" y="1799"/>
                  </a:lnTo>
                  <a:lnTo>
                    <a:pt x="103" y="1799"/>
                  </a:lnTo>
                  <a:lnTo>
                    <a:pt x="105" y="1801"/>
                  </a:lnTo>
                  <a:lnTo>
                    <a:pt x="107" y="1803"/>
                  </a:lnTo>
                  <a:lnTo>
                    <a:pt x="107" y="1803"/>
                  </a:lnTo>
                  <a:lnTo>
                    <a:pt x="109" y="1803"/>
                  </a:lnTo>
                  <a:lnTo>
                    <a:pt x="111" y="1803"/>
                  </a:lnTo>
                  <a:lnTo>
                    <a:pt x="111" y="1801"/>
                  </a:lnTo>
                  <a:lnTo>
                    <a:pt x="111" y="1799"/>
                  </a:lnTo>
                  <a:lnTo>
                    <a:pt x="109" y="1799"/>
                  </a:lnTo>
                  <a:close/>
                  <a:moveTo>
                    <a:pt x="122" y="1805"/>
                  </a:moveTo>
                  <a:lnTo>
                    <a:pt x="120" y="1805"/>
                  </a:lnTo>
                  <a:lnTo>
                    <a:pt x="120" y="1805"/>
                  </a:lnTo>
                  <a:lnTo>
                    <a:pt x="115" y="1803"/>
                  </a:lnTo>
                  <a:lnTo>
                    <a:pt x="113" y="1803"/>
                  </a:lnTo>
                  <a:lnTo>
                    <a:pt x="113" y="1803"/>
                  </a:lnTo>
                  <a:lnTo>
                    <a:pt x="113" y="1805"/>
                  </a:lnTo>
                  <a:lnTo>
                    <a:pt x="115" y="1805"/>
                  </a:lnTo>
                  <a:lnTo>
                    <a:pt x="115" y="1805"/>
                  </a:lnTo>
                  <a:lnTo>
                    <a:pt x="118" y="1807"/>
                  </a:lnTo>
                  <a:lnTo>
                    <a:pt x="122" y="1807"/>
                  </a:lnTo>
                  <a:lnTo>
                    <a:pt x="122" y="1807"/>
                  </a:lnTo>
                  <a:lnTo>
                    <a:pt x="122" y="1805"/>
                  </a:lnTo>
                  <a:lnTo>
                    <a:pt x="122" y="1805"/>
                  </a:lnTo>
                  <a:close/>
                  <a:moveTo>
                    <a:pt x="124" y="1669"/>
                  </a:moveTo>
                  <a:lnTo>
                    <a:pt x="124" y="1669"/>
                  </a:lnTo>
                  <a:lnTo>
                    <a:pt x="124" y="1671"/>
                  </a:lnTo>
                  <a:lnTo>
                    <a:pt x="124" y="1671"/>
                  </a:lnTo>
                  <a:lnTo>
                    <a:pt x="126" y="1671"/>
                  </a:lnTo>
                  <a:lnTo>
                    <a:pt x="126" y="1671"/>
                  </a:lnTo>
                  <a:lnTo>
                    <a:pt x="126" y="1669"/>
                  </a:lnTo>
                  <a:lnTo>
                    <a:pt x="126" y="1669"/>
                  </a:lnTo>
                  <a:lnTo>
                    <a:pt x="124" y="1669"/>
                  </a:lnTo>
                  <a:close/>
                  <a:moveTo>
                    <a:pt x="247" y="750"/>
                  </a:moveTo>
                  <a:lnTo>
                    <a:pt x="245" y="750"/>
                  </a:lnTo>
                  <a:lnTo>
                    <a:pt x="245" y="750"/>
                  </a:lnTo>
                  <a:lnTo>
                    <a:pt x="245" y="750"/>
                  </a:lnTo>
                  <a:lnTo>
                    <a:pt x="247" y="752"/>
                  </a:lnTo>
                  <a:lnTo>
                    <a:pt x="249" y="750"/>
                  </a:lnTo>
                  <a:lnTo>
                    <a:pt x="247" y="750"/>
                  </a:lnTo>
                  <a:lnTo>
                    <a:pt x="247" y="750"/>
                  </a:lnTo>
                  <a:close/>
                  <a:moveTo>
                    <a:pt x="491" y="1838"/>
                  </a:moveTo>
                  <a:lnTo>
                    <a:pt x="491" y="1838"/>
                  </a:lnTo>
                  <a:lnTo>
                    <a:pt x="491" y="1838"/>
                  </a:lnTo>
                  <a:lnTo>
                    <a:pt x="491" y="1836"/>
                  </a:lnTo>
                  <a:lnTo>
                    <a:pt x="491" y="1836"/>
                  </a:lnTo>
                  <a:lnTo>
                    <a:pt x="491" y="1838"/>
                  </a:lnTo>
                  <a:lnTo>
                    <a:pt x="491" y="1838"/>
                  </a:lnTo>
                  <a:lnTo>
                    <a:pt x="491" y="1838"/>
                  </a:lnTo>
                  <a:lnTo>
                    <a:pt x="491" y="1840"/>
                  </a:lnTo>
                  <a:lnTo>
                    <a:pt x="493" y="1840"/>
                  </a:lnTo>
                  <a:lnTo>
                    <a:pt x="493" y="1840"/>
                  </a:lnTo>
                  <a:lnTo>
                    <a:pt x="493" y="1840"/>
                  </a:lnTo>
                  <a:lnTo>
                    <a:pt x="491" y="1838"/>
                  </a:lnTo>
                  <a:close/>
                  <a:moveTo>
                    <a:pt x="497" y="630"/>
                  </a:moveTo>
                  <a:lnTo>
                    <a:pt x="497" y="628"/>
                  </a:lnTo>
                  <a:lnTo>
                    <a:pt x="497" y="628"/>
                  </a:lnTo>
                  <a:lnTo>
                    <a:pt x="495" y="630"/>
                  </a:lnTo>
                  <a:lnTo>
                    <a:pt x="495" y="630"/>
                  </a:lnTo>
                  <a:lnTo>
                    <a:pt x="497" y="630"/>
                  </a:lnTo>
                  <a:lnTo>
                    <a:pt x="497" y="630"/>
                  </a:lnTo>
                  <a:close/>
                  <a:moveTo>
                    <a:pt x="483" y="628"/>
                  </a:moveTo>
                  <a:lnTo>
                    <a:pt x="480" y="628"/>
                  </a:lnTo>
                  <a:lnTo>
                    <a:pt x="478" y="628"/>
                  </a:lnTo>
                  <a:lnTo>
                    <a:pt x="476" y="628"/>
                  </a:lnTo>
                  <a:lnTo>
                    <a:pt x="476" y="628"/>
                  </a:lnTo>
                  <a:lnTo>
                    <a:pt x="474" y="628"/>
                  </a:lnTo>
                  <a:lnTo>
                    <a:pt x="474" y="628"/>
                  </a:lnTo>
                  <a:lnTo>
                    <a:pt x="474" y="628"/>
                  </a:lnTo>
                  <a:lnTo>
                    <a:pt x="474" y="630"/>
                  </a:lnTo>
                  <a:lnTo>
                    <a:pt x="476" y="630"/>
                  </a:lnTo>
                  <a:lnTo>
                    <a:pt x="476" y="632"/>
                  </a:lnTo>
                  <a:lnTo>
                    <a:pt x="476" y="632"/>
                  </a:lnTo>
                  <a:lnTo>
                    <a:pt x="478" y="630"/>
                  </a:lnTo>
                  <a:lnTo>
                    <a:pt x="483" y="630"/>
                  </a:lnTo>
                  <a:lnTo>
                    <a:pt x="483" y="628"/>
                  </a:lnTo>
                  <a:lnTo>
                    <a:pt x="483" y="628"/>
                  </a:lnTo>
                  <a:lnTo>
                    <a:pt x="483" y="628"/>
                  </a:lnTo>
                  <a:lnTo>
                    <a:pt x="483" y="628"/>
                  </a:lnTo>
                  <a:close/>
                  <a:moveTo>
                    <a:pt x="507" y="638"/>
                  </a:moveTo>
                  <a:lnTo>
                    <a:pt x="505" y="640"/>
                  </a:lnTo>
                  <a:lnTo>
                    <a:pt x="505" y="640"/>
                  </a:lnTo>
                  <a:lnTo>
                    <a:pt x="505" y="640"/>
                  </a:lnTo>
                  <a:lnTo>
                    <a:pt x="507" y="638"/>
                  </a:lnTo>
                  <a:lnTo>
                    <a:pt x="509" y="638"/>
                  </a:lnTo>
                  <a:lnTo>
                    <a:pt x="509" y="636"/>
                  </a:lnTo>
                  <a:lnTo>
                    <a:pt x="507" y="636"/>
                  </a:lnTo>
                  <a:lnTo>
                    <a:pt x="507" y="638"/>
                  </a:lnTo>
                  <a:close/>
                  <a:moveTo>
                    <a:pt x="497" y="1832"/>
                  </a:moveTo>
                  <a:lnTo>
                    <a:pt x="497" y="1832"/>
                  </a:lnTo>
                  <a:lnTo>
                    <a:pt x="497" y="1832"/>
                  </a:lnTo>
                  <a:lnTo>
                    <a:pt x="499" y="1834"/>
                  </a:lnTo>
                  <a:lnTo>
                    <a:pt x="499" y="1832"/>
                  </a:lnTo>
                  <a:lnTo>
                    <a:pt x="497" y="1832"/>
                  </a:lnTo>
                  <a:lnTo>
                    <a:pt x="497" y="1832"/>
                  </a:lnTo>
                  <a:close/>
                  <a:moveTo>
                    <a:pt x="518" y="1844"/>
                  </a:moveTo>
                  <a:lnTo>
                    <a:pt x="518" y="1844"/>
                  </a:lnTo>
                  <a:lnTo>
                    <a:pt x="520" y="1844"/>
                  </a:lnTo>
                  <a:lnTo>
                    <a:pt x="520" y="1844"/>
                  </a:lnTo>
                  <a:lnTo>
                    <a:pt x="520" y="1844"/>
                  </a:lnTo>
                  <a:lnTo>
                    <a:pt x="518" y="1844"/>
                  </a:lnTo>
                  <a:close/>
                  <a:moveTo>
                    <a:pt x="454" y="634"/>
                  </a:moveTo>
                  <a:lnTo>
                    <a:pt x="452" y="636"/>
                  </a:lnTo>
                  <a:lnTo>
                    <a:pt x="456" y="636"/>
                  </a:lnTo>
                  <a:lnTo>
                    <a:pt x="456" y="636"/>
                  </a:lnTo>
                  <a:lnTo>
                    <a:pt x="458" y="636"/>
                  </a:lnTo>
                  <a:lnTo>
                    <a:pt x="456" y="634"/>
                  </a:lnTo>
                  <a:lnTo>
                    <a:pt x="454" y="634"/>
                  </a:lnTo>
                  <a:close/>
                  <a:moveTo>
                    <a:pt x="454" y="620"/>
                  </a:moveTo>
                  <a:lnTo>
                    <a:pt x="456" y="620"/>
                  </a:lnTo>
                  <a:lnTo>
                    <a:pt x="458" y="620"/>
                  </a:lnTo>
                  <a:lnTo>
                    <a:pt x="458" y="618"/>
                  </a:lnTo>
                  <a:lnTo>
                    <a:pt x="458" y="618"/>
                  </a:lnTo>
                  <a:lnTo>
                    <a:pt x="456" y="618"/>
                  </a:lnTo>
                  <a:lnTo>
                    <a:pt x="456" y="618"/>
                  </a:lnTo>
                  <a:lnTo>
                    <a:pt x="456" y="618"/>
                  </a:lnTo>
                  <a:lnTo>
                    <a:pt x="454" y="620"/>
                  </a:lnTo>
                  <a:lnTo>
                    <a:pt x="454" y="620"/>
                  </a:lnTo>
                  <a:close/>
                  <a:moveTo>
                    <a:pt x="437" y="1859"/>
                  </a:moveTo>
                  <a:lnTo>
                    <a:pt x="437" y="1859"/>
                  </a:lnTo>
                  <a:lnTo>
                    <a:pt x="437" y="1856"/>
                  </a:lnTo>
                  <a:lnTo>
                    <a:pt x="435" y="1856"/>
                  </a:lnTo>
                  <a:lnTo>
                    <a:pt x="433" y="1856"/>
                  </a:lnTo>
                  <a:lnTo>
                    <a:pt x="433" y="1856"/>
                  </a:lnTo>
                  <a:lnTo>
                    <a:pt x="433" y="1859"/>
                  </a:lnTo>
                  <a:lnTo>
                    <a:pt x="433" y="1861"/>
                  </a:lnTo>
                  <a:lnTo>
                    <a:pt x="435" y="1861"/>
                  </a:lnTo>
                  <a:lnTo>
                    <a:pt x="437" y="1861"/>
                  </a:lnTo>
                  <a:lnTo>
                    <a:pt x="437" y="1861"/>
                  </a:lnTo>
                  <a:lnTo>
                    <a:pt x="439" y="1861"/>
                  </a:lnTo>
                  <a:lnTo>
                    <a:pt x="439" y="1863"/>
                  </a:lnTo>
                  <a:lnTo>
                    <a:pt x="439" y="1861"/>
                  </a:lnTo>
                  <a:lnTo>
                    <a:pt x="439" y="1861"/>
                  </a:lnTo>
                  <a:lnTo>
                    <a:pt x="437" y="1859"/>
                  </a:lnTo>
                  <a:close/>
                  <a:moveTo>
                    <a:pt x="462" y="628"/>
                  </a:moveTo>
                  <a:lnTo>
                    <a:pt x="460" y="626"/>
                  </a:lnTo>
                  <a:lnTo>
                    <a:pt x="460" y="626"/>
                  </a:lnTo>
                  <a:lnTo>
                    <a:pt x="460" y="628"/>
                  </a:lnTo>
                  <a:lnTo>
                    <a:pt x="460" y="628"/>
                  </a:lnTo>
                  <a:lnTo>
                    <a:pt x="460" y="628"/>
                  </a:lnTo>
                  <a:lnTo>
                    <a:pt x="460" y="628"/>
                  </a:lnTo>
                  <a:lnTo>
                    <a:pt x="460" y="628"/>
                  </a:lnTo>
                  <a:lnTo>
                    <a:pt x="458" y="630"/>
                  </a:lnTo>
                  <a:lnTo>
                    <a:pt x="458" y="630"/>
                  </a:lnTo>
                  <a:lnTo>
                    <a:pt x="458" y="630"/>
                  </a:lnTo>
                  <a:lnTo>
                    <a:pt x="458" y="630"/>
                  </a:lnTo>
                  <a:lnTo>
                    <a:pt x="458" y="632"/>
                  </a:lnTo>
                  <a:lnTo>
                    <a:pt x="460" y="632"/>
                  </a:lnTo>
                  <a:lnTo>
                    <a:pt x="458" y="632"/>
                  </a:lnTo>
                  <a:lnTo>
                    <a:pt x="460" y="634"/>
                  </a:lnTo>
                  <a:lnTo>
                    <a:pt x="460" y="634"/>
                  </a:lnTo>
                  <a:lnTo>
                    <a:pt x="460" y="634"/>
                  </a:lnTo>
                  <a:lnTo>
                    <a:pt x="460" y="632"/>
                  </a:lnTo>
                  <a:lnTo>
                    <a:pt x="460" y="632"/>
                  </a:lnTo>
                  <a:lnTo>
                    <a:pt x="462" y="630"/>
                  </a:lnTo>
                  <a:lnTo>
                    <a:pt x="460" y="628"/>
                  </a:lnTo>
                  <a:lnTo>
                    <a:pt x="462" y="628"/>
                  </a:lnTo>
                  <a:lnTo>
                    <a:pt x="462" y="628"/>
                  </a:lnTo>
                  <a:close/>
                  <a:moveTo>
                    <a:pt x="468" y="630"/>
                  </a:moveTo>
                  <a:lnTo>
                    <a:pt x="468" y="630"/>
                  </a:lnTo>
                  <a:lnTo>
                    <a:pt x="468" y="630"/>
                  </a:lnTo>
                  <a:lnTo>
                    <a:pt x="466" y="634"/>
                  </a:lnTo>
                  <a:lnTo>
                    <a:pt x="464" y="634"/>
                  </a:lnTo>
                  <a:lnTo>
                    <a:pt x="462" y="636"/>
                  </a:lnTo>
                  <a:lnTo>
                    <a:pt x="460" y="638"/>
                  </a:lnTo>
                  <a:lnTo>
                    <a:pt x="460" y="638"/>
                  </a:lnTo>
                  <a:lnTo>
                    <a:pt x="460" y="638"/>
                  </a:lnTo>
                  <a:lnTo>
                    <a:pt x="458" y="640"/>
                  </a:lnTo>
                  <a:lnTo>
                    <a:pt x="458" y="642"/>
                  </a:lnTo>
                  <a:lnTo>
                    <a:pt x="460" y="640"/>
                  </a:lnTo>
                  <a:lnTo>
                    <a:pt x="462" y="640"/>
                  </a:lnTo>
                  <a:lnTo>
                    <a:pt x="462" y="640"/>
                  </a:lnTo>
                  <a:lnTo>
                    <a:pt x="462" y="640"/>
                  </a:lnTo>
                  <a:lnTo>
                    <a:pt x="462" y="640"/>
                  </a:lnTo>
                  <a:lnTo>
                    <a:pt x="464" y="640"/>
                  </a:lnTo>
                  <a:lnTo>
                    <a:pt x="464" y="638"/>
                  </a:lnTo>
                  <a:lnTo>
                    <a:pt x="464" y="638"/>
                  </a:lnTo>
                  <a:lnTo>
                    <a:pt x="464" y="638"/>
                  </a:lnTo>
                  <a:lnTo>
                    <a:pt x="466" y="638"/>
                  </a:lnTo>
                  <a:lnTo>
                    <a:pt x="466" y="636"/>
                  </a:lnTo>
                  <a:lnTo>
                    <a:pt x="466" y="636"/>
                  </a:lnTo>
                  <a:lnTo>
                    <a:pt x="470" y="632"/>
                  </a:lnTo>
                  <a:lnTo>
                    <a:pt x="470" y="630"/>
                  </a:lnTo>
                  <a:lnTo>
                    <a:pt x="470" y="630"/>
                  </a:lnTo>
                  <a:lnTo>
                    <a:pt x="468" y="630"/>
                  </a:lnTo>
                  <a:close/>
                  <a:moveTo>
                    <a:pt x="575" y="1733"/>
                  </a:moveTo>
                  <a:lnTo>
                    <a:pt x="575" y="1733"/>
                  </a:lnTo>
                  <a:lnTo>
                    <a:pt x="575" y="1733"/>
                  </a:lnTo>
                  <a:lnTo>
                    <a:pt x="575" y="1733"/>
                  </a:lnTo>
                  <a:lnTo>
                    <a:pt x="577" y="1733"/>
                  </a:lnTo>
                  <a:lnTo>
                    <a:pt x="577" y="1733"/>
                  </a:lnTo>
                  <a:lnTo>
                    <a:pt x="577" y="1733"/>
                  </a:lnTo>
                  <a:lnTo>
                    <a:pt x="577" y="1733"/>
                  </a:lnTo>
                  <a:lnTo>
                    <a:pt x="575" y="1733"/>
                  </a:lnTo>
                  <a:close/>
                  <a:moveTo>
                    <a:pt x="569" y="1733"/>
                  </a:moveTo>
                  <a:lnTo>
                    <a:pt x="569" y="1733"/>
                  </a:lnTo>
                  <a:lnTo>
                    <a:pt x="569" y="1730"/>
                  </a:lnTo>
                  <a:lnTo>
                    <a:pt x="567" y="1730"/>
                  </a:lnTo>
                  <a:lnTo>
                    <a:pt x="567" y="1730"/>
                  </a:lnTo>
                  <a:lnTo>
                    <a:pt x="567" y="1733"/>
                  </a:lnTo>
                  <a:lnTo>
                    <a:pt x="567" y="1733"/>
                  </a:lnTo>
                  <a:lnTo>
                    <a:pt x="567" y="1733"/>
                  </a:lnTo>
                  <a:lnTo>
                    <a:pt x="569" y="1733"/>
                  </a:lnTo>
                  <a:lnTo>
                    <a:pt x="569" y="1733"/>
                  </a:lnTo>
                  <a:close/>
                  <a:moveTo>
                    <a:pt x="569" y="1739"/>
                  </a:moveTo>
                  <a:lnTo>
                    <a:pt x="569" y="1739"/>
                  </a:lnTo>
                  <a:lnTo>
                    <a:pt x="569" y="1741"/>
                  </a:lnTo>
                  <a:lnTo>
                    <a:pt x="569" y="1741"/>
                  </a:lnTo>
                  <a:lnTo>
                    <a:pt x="569" y="1739"/>
                  </a:lnTo>
                  <a:lnTo>
                    <a:pt x="569" y="1739"/>
                  </a:lnTo>
                  <a:lnTo>
                    <a:pt x="569" y="1739"/>
                  </a:lnTo>
                  <a:close/>
                  <a:moveTo>
                    <a:pt x="584" y="1747"/>
                  </a:moveTo>
                  <a:lnTo>
                    <a:pt x="584" y="1747"/>
                  </a:lnTo>
                  <a:lnTo>
                    <a:pt x="584" y="1749"/>
                  </a:lnTo>
                  <a:lnTo>
                    <a:pt x="584" y="1747"/>
                  </a:lnTo>
                  <a:lnTo>
                    <a:pt x="584" y="1747"/>
                  </a:lnTo>
                  <a:lnTo>
                    <a:pt x="584" y="1747"/>
                  </a:lnTo>
                  <a:close/>
                  <a:moveTo>
                    <a:pt x="522" y="1844"/>
                  </a:moveTo>
                  <a:lnTo>
                    <a:pt x="520" y="1844"/>
                  </a:lnTo>
                  <a:lnTo>
                    <a:pt x="520" y="1844"/>
                  </a:lnTo>
                  <a:lnTo>
                    <a:pt x="522" y="1844"/>
                  </a:lnTo>
                  <a:lnTo>
                    <a:pt x="522" y="1844"/>
                  </a:lnTo>
                  <a:lnTo>
                    <a:pt x="522" y="1844"/>
                  </a:lnTo>
                  <a:lnTo>
                    <a:pt x="522" y="1844"/>
                  </a:lnTo>
                  <a:close/>
                  <a:moveTo>
                    <a:pt x="561" y="1859"/>
                  </a:moveTo>
                  <a:lnTo>
                    <a:pt x="559" y="1861"/>
                  </a:lnTo>
                  <a:lnTo>
                    <a:pt x="559" y="1861"/>
                  </a:lnTo>
                  <a:lnTo>
                    <a:pt x="559" y="1861"/>
                  </a:lnTo>
                  <a:lnTo>
                    <a:pt x="559" y="1861"/>
                  </a:lnTo>
                  <a:lnTo>
                    <a:pt x="559" y="1863"/>
                  </a:lnTo>
                  <a:lnTo>
                    <a:pt x="559" y="1863"/>
                  </a:lnTo>
                  <a:lnTo>
                    <a:pt x="559" y="1863"/>
                  </a:lnTo>
                  <a:lnTo>
                    <a:pt x="559" y="1863"/>
                  </a:lnTo>
                  <a:lnTo>
                    <a:pt x="559" y="1861"/>
                  </a:lnTo>
                  <a:lnTo>
                    <a:pt x="559" y="1861"/>
                  </a:lnTo>
                  <a:lnTo>
                    <a:pt x="559" y="1861"/>
                  </a:lnTo>
                  <a:lnTo>
                    <a:pt x="559" y="1861"/>
                  </a:lnTo>
                  <a:lnTo>
                    <a:pt x="561" y="1859"/>
                  </a:lnTo>
                  <a:lnTo>
                    <a:pt x="561" y="1859"/>
                  </a:lnTo>
                  <a:lnTo>
                    <a:pt x="561" y="1859"/>
                  </a:lnTo>
                  <a:lnTo>
                    <a:pt x="561" y="1859"/>
                  </a:lnTo>
                  <a:close/>
                  <a:moveTo>
                    <a:pt x="318" y="1299"/>
                  </a:moveTo>
                  <a:lnTo>
                    <a:pt x="318" y="1299"/>
                  </a:lnTo>
                  <a:lnTo>
                    <a:pt x="318" y="1299"/>
                  </a:lnTo>
                  <a:lnTo>
                    <a:pt x="315" y="1299"/>
                  </a:lnTo>
                  <a:lnTo>
                    <a:pt x="315" y="1299"/>
                  </a:lnTo>
                  <a:lnTo>
                    <a:pt x="315" y="1297"/>
                  </a:lnTo>
                  <a:lnTo>
                    <a:pt x="315" y="1297"/>
                  </a:lnTo>
                  <a:lnTo>
                    <a:pt x="313" y="1295"/>
                  </a:lnTo>
                  <a:lnTo>
                    <a:pt x="313" y="1295"/>
                  </a:lnTo>
                  <a:lnTo>
                    <a:pt x="311" y="1297"/>
                  </a:lnTo>
                  <a:lnTo>
                    <a:pt x="309" y="1297"/>
                  </a:lnTo>
                  <a:lnTo>
                    <a:pt x="309" y="1297"/>
                  </a:lnTo>
                  <a:lnTo>
                    <a:pt x="309" y="1299"/>
                  </a:lnTo>
                  <a:lnTo>
                    <a:pt x="311" y="1299"/>
                  </a:lnTo>
                  <a:lnTo>
                    <a:pt x="311" y="1301"/>
                  </a:lnTo>
                  <a:lnTo>
                    <a:pt x="313" y="1301"/>
                  </a:lnTo>
                  <a:lnTo>
                    <a:pt x="313" y="1301"/>
                  </a:lnTo>
                  <a:lnTo>
                    <a:pt x="313" y="1299"/>
                  </a:lnTo>
                  <a:lnTo>
                    <a:pt x="313" y="1299"/>
                  </a:lnTo>
                  <a:lnTo>
                    <a:pt x="313" y="1299"/>
                  </a:lnTo>
                  <a:lnTo>
                    <a:pt x="313" y="1301"/>
                  </a:lnTo>
                  <a:lnTo>
                    <a:pt x="315" y="1301"/>
                  </a:lnTo>
                  <a:lnTo>
                    <a:pt x="315" y="1301"/>
                  </a:lnTo>
                  <a:lnTo>
                    <a:pt x="318" y="1301"/>
                  </a:lnTo>
                  <a:lnTo>
                    <a:pt x="318" y="1301"/>
                  </a:lnTo>
                  <a:lnTo>
                    <a:pt x="320" y="1301"/>
                  </a:lnTo>
                  <a:lnTo>
                    <a:pt x="320" y="1301"/>
                  </a:lnTo>
                  <a:lnTo>
                    <a:pt x="318" y="1299"/>
                  </a:lnTo>
                  <a:close/>
                  <a:moveTo>
                    <a:pt x="557" y="1865"/>
                  </a:moveTo>
                  <a:lnTo>
                    <a:pt x="557" y="1865"/>
                  </a:lnTo>
                  <a:lnTo>
                    <a:pt x="557" y="1865"/>
                  </a:lnTo>
                  <a:lnTo>
                    <a:pt x="557" y="1865"/>
                  </a:lnTo>
                  <a:lnTo>
                    <a:pt x="557" y="1867"/>
                  </a:lnTo>
                  <a:lnTo>
                    <a:pt x="559" y="1867"/>
                  </a:lnTo>
                  <a:lnTo>
                    <a:pt x="559" y="1867"/>
                  </a:lnTo>
                  <a:lnTo>
                    <a:pt x="559" y="1867"/>
                  </a:lnTo>
                  <a:lnTo>
                    <a:pt x="557" y="1865"/>
                  </a:lnTo>
                  <a:close/>
                  <a:moveTo>
                    <a:pt x="559" y="1869"/>
                  </a:moveTo>
                  <a:lnTo>
                    <a:pt x="559" y="1869"/>
                  </a:lnTo>
                  <a:lnTo>
                    <a:pt x="561" y="1869"/>
                  </a:lnTo>
                  <a:lnTo>
                    <a:pt x="561" y="1869"/>
                  </a:lnTo>
                  <a:lnTo>
                    <a:pt x="561" y="1869"/>
                  </a:lnTo>
                  <a:lnTo>
                    <a:pt x="559" y="1869"/>
                  </a:lnTo>
                  <a:close/>
                  <a:moveTo>
                    <a:pt x="534" y="1836"/>
                  </a:moveTo>
                  <a:lnTo>
                    <a:pt x="534" y="1836"/>
                  </a:lnTo>
                  <a:lnTo>
                    <a:pt x="534" y="1836"/>
                  </a:lnTo>
                  <a:lnTo>
                    <a:pt x="534" y="1836"/>
                  </a:lnTo>
                  <a:lnTo>
                    <a:pt x="534" y="1836"/>
                  </a:lnTo>
                  <a:close/>
                  <a:moveTo>
                    <a:pt x="357" y="1326"/>
                  </a:moveTo>
                  <a:lnTo>
                    <a:pt x="357" y="1324"/>
                  </a:lnTo>
                  <a:lnTo>
                    <a:pt x="355" y="1324"/>
                  </a:lnTo>
                  <a:lnTo>
                    <a:pt x="355" y="1322"/>
                  </a:lnTo>
                  <a:lnTo>
                    <a:pt x="353" y="1320"/>
                  </a:lnTo>
                  <a:lnTo>
                    <a:pt x="348" y="1318"/>
                  </a:lnTo>
                  <a:lnTo>
                    <a:pt x="344" y="1315"/>
                  </a:lnTo>
                  <a:lnTo>
                    <a:pt x="344" y="1315"/>
                  </a:lnTo>
                  <a:lnTo>
                    <a:pt x="344" y="1318"/>
                  </a:lnTo>
                  <a:lnTo>
                    <a:pt x="344" y="1320"/>
                  </a:lnTo>
                  <a:lnTo>
                    <a:pt x="344" y="1322"/>
                  </a:lnTo>
                  <a:lnTo>
                    <a:pt x="342" y="1322"/>
                  </a:lnTo>
                  <a:lnTo>
                    <a:pt x="342" y="1324"/>
                  </a:lnTo>
                  <a:lnTo>
                    <a:pt x="342" y="1326"/>
                  </a:lnTo>
                  <a:lnTo>
                    <a:pt x="344" y="1330"/>
                  </a:lnTo>
                  <a:lnTo>
                    <a:pt x="344" y="1332"/>
                  </a:lnTo>
                  <a:lnTo>
                    <a:pt x="344" y="1334"/>
                  </a:lnTo>
                  <a:lnTo>
                    <a:pt x="346" y="1336"/>
                  </a:lnTo>
                  <a:lnTo>
                    <a:pt x="348" y="1336"/>
                  </a:lnTo>
                  <a:lnTo>
                    <a:pt x="348" y="1334"/>
                  </a:lnTo>
                  <a:lnTo>
                    <a:pt x="348" y="1334"/>
                  </a:lnTo>
                  <a:lnTo>
                    <a:pt x="353" y="1330"/>
                  </a:lnTo>
                  <a:lnTo>
                    <a:pt x="355" y="1330"/>
                  </a:lnTo>
                  <a:lnTo>
                    <a:pt x="359" y="1328"/>
                  </a:lnTo>
                  <a:lnTo>
                    <a:pt x="359" y="1328"/>
                  </a:lnTo>
                  <a:lnTo>
                    <a:pt x="359" y="1326"/>
                  </a:lnTo>
                  <a:lnTo>
                    <a:pt x="357" y="1326"/>
                  </a:lnTo>
                  <a:close/>
                  <a:moveTo>
                    <a:pt x="357" y="1664"/>
                  </a:moveTo>
                  <a:lnTo>
                    <a:pt x="357" y="1664"/>
                  </a:lnTo>
                  <a:lnTo>
                    <a:pt x="357" y="1664"/>
                  </a:lnTo>
                  <a:lnTo>
                    <a:pt x="357" y="1664"/>
                  </a:lnTo>
                  <a:lnTo>
                    <a:pt x="357" y="1664"/>
                  </a:lnTo>
                  <a:lnTo>
                    <a:pt x="357" y="1664"/>
                  </a:lnTo>
                  <a:lnTo>
                    <a:pt x="357" y="1664"/>
                  </a:lnTo>
                  <a:lnTo>
                    <a:pt x="357" y="1664"/>
                  </a:lnTo>
                  <a:lnTo>
                    <a:pt x="357" y="1664"/>
                  </a:lnTo>
                  <a:lnTo>
                    <a:pt x="357" y="1664"/>
                  </a:lnTo>
                  <a:lnTo>
                    <a:pt x="357" y="1664"/>
                  </a:lnTo>
                  <a:close/>
                  <a:moveTo>
                    <a:pt x="348" y="723"/>
                  </a:moveTo>
                  <a:lnTo>
                    <a:pt x="348" y="723"/>
                  </a:lnTo>
                  <a:lnTo>
                    <a:pt x="348" y="721"/>
                  </a:lnTo>
                  <a:lnTo>
                    <a:pt x="348" y="721"/>
                  </a:lnTo>
                  <a:lnTo>
                    <a:pt x="348" y="721"/>
                  </a:lnTo>
                  <a:lnTo>
                    <a:pt x="348" y="721"/>
                  </a:lnTo>
                  <a:lnTo>
                    <a:pt x="346" y="723"/>
                  </a:lnTo>
                  <a:lnTo>
                    <a:pt x="346" y="723"/>
                  </a:lnTo>
                  <a:lnTo>
                    <a:pt x="346" y="723"/>
                  </a:lnTo>
                  <a:lnTo>
                    <a:pt x="348" y="723"/>
                  </a:lnTo>
                  <a:close/>
                  <a:moveTo>
                    <a:pt x="363" y="706"/>
                  </a:moveTo>
                  <a:lnTo>
                    <a:pt x="361" y="708"/>
                  </a:lnTo>
                  <a:lnTo>
                    <a:pt x="361" y="708"/>
                  </a:lnTo>
                  <a:lnTo>
                    <a:pt x="361" y="710"/>
                  </a:lnTo>
                  <a:lnTo>
                    <a:pt x="359" y="710"/>
                  </a:lnTo>
                  <a:lnTo>
                    <a:pt x="359" y="710"/>
                  </a:lnTo>
                  <a:lnTo>
                    <a:pt x="361" y="710"/>
                  </a:lnTo>
                  <a:lnTo>
                    <a:pt x="361" y="710"/>
                  </a:lnTo>
                  <a:lnTo>
                    <a:pt x="363" y="708"/>
                  </a:lnTo>
                  <a:lnTo>
                    <a:pt x="365" y="708"/>
                  </a:lnTo>
                  <a:lnTo>
                    <a:pt x="365" y="706"/>
                  </a:lnTo>
                  <a:lnTo>
                    <a:pt x="363" y="706"/>
                  </a:lnTo>
                  <a:close/>
                  <a:moveTo>
                    <a:pt x="429" y="1856"/>
                  </a:moveTo>
                  <a:lnTo>
                    <a:pt x="429" y="1856"/>
                  </a:lnTo>
                  <a:lnTo>
                    <a:pt x="429" y="1856"/>
                  </a:lnTo>
                  <a:lnTo>
                    <a:pt x="429" y="1856"/>
                  </a:lnTo>
                  <a:lnTo>
                    <a:pt x="429" y="1856"/>
                  </a:lnTo>
                  <a:lnTo>
                    <a:pt x="431" y="1856"/>
                  </a:lnTo>
                  <a:lnTo>
                    <a:pt x="431" y="1856"/>
                  </a:lnTo>
                  <a:lnTo>
                    <a:pt x="431" y="1856"/>
                  </a:lnTo>
                  <a:lnTo>
                    <a:pt x="429" y="1856"/>
                  </a:lnTo>
                  <a:close/>
                  <a:moveTo>
                    <a:pt x="342" y="1309"/>
                  </a:moveTo>
                  <a:lnTo>
                    <a:pt x="342" y="1309"/>
                  </a:lnTo>
                  <a:lnTo>
                    <a:pt x="340" y="1307"/>
                  </a:lnTo>
                  <a:lnTo>
                    <a:pt x="340" y="1307"/>
                  </a:lnTo>
                  <a:lnTo>
                    <a:pt x="338" y="1305"/>
                  </a:lnTo>
                  <a:lnTo>
                    <a:pt x="336" y="1305"/>
                  </a:lnTo>
                  <a:lnTo>
                    <a:pt x="336" y="1307"/>
                  </a:lnTo>
                  <a:lnTo>
                    <a:pt x="336" y="1307"/>
                  </a:lnTo>
                  <a:lnTo>
                    <a:pt x="334" y="1305"/>
                  </a:lnTo>
                  <a:lnTo>
                    <a:pt x="334" y="1305"/>
                  </a:lnTo>
                  <a:lnTo>
                    <a:pt x="332" y="1305"/>
                  </a:lnTo>
                  <a:lnTo>
                    <a:pt x="332" y="1305"/>
                  </a:lnTo>
                  <a:lnTo>
                    <a:pt x="332" y="1307"/>
                  </a:lnTo>
                  <a:lnTo>
                    <a:pt x="334" y="1307"/>
                  </a:lnTo>
                  <a:lnTo>
                    <a:pt x="334" y="1309"/>
                  </a:lnTo>
                  <a:lnTo>
                    <a:pt x="336" y="1307"/>
                  </a:lnTo>
                  <a:lnTo>
                    <a:pt x="336" y="1309"/>
                  </a:lnTo>
                  <a:lnTo>
                    <a:pt x="336" y="1311"/>
                  </a:lnTo>
                  <a:lnTo>
                    <a:pt x="336" y="1311"/>
                  </a:lnTo>
                  <a:lnTo>
                    <a:pt x="338" y="1311"/>
                  </a:lnTo>
                  <a:lnTo>
                    <a:pt x="338" y="1311"/>
                  </a:lnTo>
                  <a:lnTo>
                    <a:pt x="340" y="1311"/>
                  </a:lnTo>
                  <a:lnTo>
                    <a:pt x="342" y="1309"/>
                  </a:lnTo>
                  <a:lnTo>
                    <a:pt x="342" y="1309"/>
                  </a:lnTo>
                  <a:close/>
                  <a:moveTo>
                    <a:pt x="330" y="1307"/>
                  </a:moveTo>
                  <a:lnTo>
                    <a:pt x="328" y="1307"/>
                  </a:lnTo>
                  <a:lnTo>
                    <a:pt x="328" y="1307"/>
                  </a:lnTo>
                  <a:lnTo>
                    <a:pt x="328" y="1307"/>
                  </a:lnTo>
                  <a:lnTo>
                    <a:pt x="328" y="1309"/>
                  </a:lnTo>
                  <a:lnTo>
                    <a:pt x="330" y="1309"/>
                  </a:lnTo>
                  <a:lnTo>
                    <a:pt x="330" y="1309"/>
                  </a:lnTo>
                  <a:lnTo>
                    <a:pt x="330" y="1307"/>
                  </a:lnTo>
                  <a:lnTo>
                    <a:pt x="330" y="1307"/>
                  </a:lnTo>
                  <a:lnTo>
                    <a:pt x="330" y="1307"/>
                  </a:lnTo>
                  <a:close/>
                  <a:moveTo>
                    <a:pt x="324" y="1578"/>
                  </a:moveTo>
                  <a:lnTo>
                    <a:pt x="322" y="1578"/>
                  </a:lnTo>
                  <a:lnTo>
                    <a:pt x="322" y="1578"/>
                  </a:lnTo>
                  <a:lnTo>
                    <a:pt x="324" y="1580"/>
                  </a:lnTo>
                  <a:lnTo>
                    <a:pt x="322" y="1580"/>
                  </a:lnTo>
                  <a:lnTo>
                    <a:pt x="322" y="1580"/>
                  </a:lnTo>
                  <a:lnTo>
                    <a:pt x="322" y="1580"/>
                  </a:lnTo>
                  <a:lnTo>
                    <a:pt x="320" y="1580"/>
                  </a:lnTo>
                  <a:lnTo>
                    <a:pt x="320" y="1580"/>
                  </a:lnTo>
                  <a:lnTo>
                    <a:pt x="322" y="1582"/>
                  </a:lnTo>
                  <a:lnTo>
                    <a:pt x="324" y="1582"/>
                  </a:lnTo>
                  <a:lnTo>
                    <a:pt x="326" y="1582"/>
                  </a:lnTo>
                  <a:lnTo>
                    <a:pt x="324" y="1580"/>
                  </a:lnTo>
                  <a:lnTo>
                    <a:pt x="324" y="1578"/>
                  </a:lnTo>
                  <a:close/>
                  <a:moveTo>
                    <a:pt x="367" y="706"/>
                  </a:moveTo>
                  <a:lnTo>
                    <a:pt x="367" y="708"/>
                  </a:lnTo>
                  <a:lnTo>
                    <a:pt x="365" y="708"/>
                  </a:lnTo>
                  <a:lnTo>
                    <a:pt x="367" y="708"/>
                  </a:lnTo>
                  <a:lnTo>
                    <a:pt x="367" y="708"/>
                  </a:lnTo>
                  <a:lnTo>
                    <a:pt x="369" y="708"/>
                  </a:lnTo>
                  <a:lnTo>
                    <a:pt x="369" y="708"/>
                  </a:lnTo>
                  <a:lnTo>
                    <a:pt x="369" y="708"/>
                  </a:lnTo>
                  <a:lnTo>
                    <a:pt x="369" y="708"/>
                  </a:lnTo>
                  <a:lnTo>
                    <a:pt x="369" y="706"/>
                  </a:lnTo>
                  <a:lnTo>
                    <a:pt x="367" y="706"/>
                  </a:lnTo>
                  <a:close/>
                  <a:moveTo>
                    <a:pt x="330" y="1303"/>
                  </a:moveTo>
                  <a:lnTo>
                    <a:pt x="328" y="1303"/>
                  </a:lnTo>
                  <a:lnTo>
                    <a:pt x="328" y="1303"/>
                  </a:lnTo>
                  <a:lnTo>
                    <a:pt x="326" y="1303"/>
                  </a:lnTo>
                  <a:lnTo>
                    <a:pt x="324" y="1301"/>
                  </a:lnTo>
                  <a:lnTo>
                    <a:pt x="324" y="1303"/>
                  </a:lnTo>
                  <a:lnTo>
                    <a:pt x="324" y="1303"/>
                  </a:lnTo>
                  <a:lnTo>
                    <a:pt x="324" y="1303"/>
                  </a:lnTo>
                  <a:lnTo>
                    <a:pt x="328" y="1303"/>
                  </a:lnTo>
                  <a:lnTo>
                    <a:pt x="330" y="1305"/>
                  </a:lnTo>
                  <a:lnTo>
                    <a:pt x="332" y="1303"/>
                  </a:lnTo>
                  <a:lnTo>
                    <a:pt x="332" y="1303"/>
                  </a:lnTo>
                  <a:lnTo>
                    <a:pt x="332" y="1303"/>
                  </a:lnTo>
                  <a:lnTo>
                    <a:pt x="330" y="1303"/>
                  </a:lnTo>
                  <a:close/>
                  <a:moveTo>
                    <a:pt x="344" y="1685"/>
                  </a:moveTo>
                  <a:lnTo>
                    <a:pt x="342" y="1685"/>
                  </a:lnTo>
                  <a:lnTo>
                    <a:pt x="342" y="1685"/>
                  </a:lnTo>
                  <a:lnTo>
                    <a:pt x="342" y="1685"/>
                  </a:lnTo>
                  <a:lnTo>
                    <a:pt x="344" y="1687"/>
                  </a:lnTo>
                  <a:lnTo>
                    <a:pt x="344" y="1687"/>
                  </a:lnTo>
                  <a:lnTo>
                    <a:pt x="344" y="1687"/>
                  </a:lnTo>
                  <a:lnTo>
                    <a:pt x="344" y="1685"/>
                  </a:lnTo>
                  <a:lnTo>
                    <a:pt x="344" y="1685"/>
                  </a:lnTo>
                  <a:lnTo>
                    <a:pt x="344" y="1685"/>
                  </a:lnTo>
                  <a:close/>
                  <a:moveTo>
                    <a:pt x="400" y="630"/>
                  </a:moveTo>
                  <a:lnTo>
                    <a:pt x="400" y="628"/>
                  </a:lnTo>
                  <a:lnTo>
                    <a:pt x="400" y="626"/>
                  </a:lnTo>
                  <a:lnTo>
                    <a:pt x="400" y="626"/>
                  </a:lnTo>
                  <a:lnTo>
                    <a:pt x="400" y="628"/>
                  </a:lnTo>
                  <a:lnTo>
                    <a:pt x="398" y="630"/>
                  </a:lnTo>
                  <a:lnTo>
                    <a:pt x="398" y="630"/>
                  </a:lnTo>
                  <a:lnTo>
                    <a:pt x="400" y="630"/>
                  </a:lnTo>
                  <a:close/>
                  <a:moveTo>
                    <a:pt x="402" y="1768"/>
                  </a:moveTo>
                  <a:lnTo>
                    <a:pt x="402" y="1768"/>
                  </a:lnTo>
                  <a:lnTo>
                    <a:pt x="402" y="1768"/>
                  </a:lnTo>
                  <a:lnTo>
                    <a:pt x="402" y="1770"/>
                  </a:lnTo>
                  <a:lnTo>
                    <a:pt x="402" y="1770"/>
                  </a:lnTo>
                  <a:lnTo>
                    <a:pt x="402" y="1770"/>
                  </a:lnTo>
                  <a:lnTo>
                    <a:pt x="402" y="1770"/>
                  </a:lnTo>
                  <a:lnTo>
                    <a:pt x="402" y="1768"/>
                  </a:lnTo>
                  <a:lnTo>
                    <a:pt x="402" y="1768"/>
                  </a:lnTo>
                  <a:close/>
                  <a:moveTo>
                    <a:pt x="406" y="1844"/>
                  </a:moveTo>
                  <a:lnTo>
                    <a:pt x="406" y="1844"/>
                  </a:lnTo>
                  <a:lnTo>
                    <a:pt x="406" y="1844"/>
                  </a:lnTo>
                  <a:lnTo>
                    <a:pt x="406" y="1842"/>
                  </a:lnTo>
                  <a:lnTo>
                    <a:pt x="406" y="1844"/>
                  </a:lnTo>
                  <a:lnTo>
                    <a:pt x="406" y="1844"/>
                  </a:lnTo>
                  <a:lnTo>
                    <a:pt x="406" y="1844"/>
                  </a:lnTo>
                  <a:lnTo>
                    <a:pt x="406" y="1844"/>
                  </a:lnTo>
                  <a:close/>
                  <a:moveTo>
                    <a:pt x="406" y="1846"/>
                  </a:moveTo>
                  <a:lnTo>
                    <a:pt x="406" y="1846"/>
                  </a:lnTo>
                  <a:lnTo>
                    <a:pt x="406" y="1848"/>
                  </a:lnTo>
                  <a:lnTo>
                    <a:pt x="406" y="1848"/>
                  </a:lnTo>
                  <a:lnTo>
                    <a:pt x="408" y="1848"/>
                  </a:lnTo>
                  <a:lnTo>
                    <a:pt x="408" y="1848"/>
                  </a:lnTo>
                  <a:lnTo>
                    <a:pt x="408" y="1846"/>
                  </a:lnTo>
                  <a:lnTo>
                    <a:pt x="406" y="1846"/>
                  </a:lnTo>
                  <a:close/>
                  <a:moveTo>
                    <a:pt x="379" y="682"/>
                  </a:moveTo>
                  <a:lnTo>
                    <a:pt x="381" y="682"/>
                  </a:lnTo>
                  <a:lnTo>
                    <a:pt x="381" y="682"/>
                  </a:lnTo>
                  <a:lnTo>
                    <a:pt x="381" y="682"/>
                  </a:lnTo>
                  <a:lnTo>
                    <a:pt x="381" y="682"/>
                  </a:lnTo>
                  <a:lnTo>
                    <a:pt x="379" y="679"/>
                  </a:lnTo>
                  <a:lnTo>
                    <a:pt x="377" y="679"/>
                  </a:lnTo>
                  <a:lnTo>
                    <a:pt x="377" y="679"/>
                  </a:lnTo>
                  <a:lnTo>
                    <a:pt x="377" y="679"/>
                  </a:lnTo>
                  <a:lnTo>
                    <a:pt x="377" y="682"/>
                  </a:lnTo>
                  <a:lnTo>
                    <a:pt x="379" y="682"/>
                  </a:lnTo>
                  <a:close/>
                  <a:moveTo>
                    <a:pt x="386" y="696"/>
                  </a:moveTo>
                  <a:lnTo>
                    <a:pt x="381" y="696"/>
                  </a:lnTo>
                  <a:lnTo>
                    <a:pt x="379" y="696"/>
                  </a:lnTo>
                  <a:lnTo>
                    <a:pt x="379" y="698"/>
                  </a:lnTo>
                  <a:lnTo>
                    <a:pt x="381" y="698"/>
                  </a:lnTo>
                  <a:lnTo>
                    <a:pt x="381" y="698"/>
                  </a:lnTo>
                  <a:lnTo>
                    <a:pt x="384" y="698"/>
                  </a:lnTo>
                  <a:lnTo>
                    <a:pt x="384" y="698"/>
                  </a:lnTo>
                  <a:lnTo>
                    <a:pt x="386" y="696"/>
                  </a:lnTo>
                  <a:lnTo>
                    <a:pt x="386" y="696"/>
                  </a:lnTo>
                  <a:lnTo>
                    <a:pt x="386" y="696"/>
                  </a:lnTo>
                  <a:lnTo>
                    <a:pt x="386" y="696"/>
                  </a:lnTo>
                  <a:lnTo>
                    <a:pt x="386" y="696"/>
                  </a:lnTo>
                  <a:close/>
                  <a:moveTo>
                    <a:pt x="394" y="686"/>
                  </a:moveTo>
                  <a:lnTo>
                    <a:pt x="392" y="686"/>
                  </a:lnTo>
                  <a:lnTo>
                    <a:pt x="392" y="684"/>
                  </a:lnTo>
                  <a:lnTo>
                    <a:pt x="394" y="684"/>
                  </a:lnTo>
                  <a:lnTo>
                    <a:pt x="394" y="684"/>
                  </a:lnTo>
                  <a:lnTo>
                    <a:pt x="394" y="682"/>
                  </a:lnTo>
                  <a:lnTo>
                    <a:pt x="392" y="682"/>
                  </a:lnTo>
                  <a:lnTo>
                    <a:pt x="390" y="682"/>
                  </a:lnTo>
                  <a:lnTo>
                    <a:pt x="390" y="682"/>
                  </a:lnTo>
                  <a:lnTo>
                    <a:pt x="388" y="684"/>
                  </a:lnTo>
                  <a:lnTo>
                    <a:pt x="386" y="684"/>
                  </a:lnTo>
                  <a:lnTo>
                    <a:pt x="386" y="682"/>
                  </a:lnTo>
                  <a:lnTo>
                    <a:pt x="388" y="682"/>
                  </a:lnTo>
                  <a:lnTo>
                    <a:pt x="386" y="679"/>
                  </a:lnTo>
                  <a:lnTo>
                    <a:pt x="384" y="679"/>
                  </a:lnTo>
                  <a:lnTo>
                    <a:pt x="381" y="679"/>
                  </a:lnTo>
                  <a:lnTo>
                    <a:pt x="384" y="679"/>
                  </a:lnTo>
                  <a:lnTo>
                    <a:pt x="381" y="682"/>
                  </a:lnTo>
                  <a:lnTo>
                    <a:pt x="381" y="682"/>
                  </a:lnTo>
                  <a:lnTo>
                    <a:pt x="381" y="682"/>
                  </a:lnTo>
                  <a:lnTo>
                    <a:pt x="381" y="684"/>
                  </a:lnTo>
                  <a:lnTo>
                    <a:pt x="381" y="684"/>
                  </a:lnTo>
                  <a:lnTo>
                    <a:pt x="379" y="684"/>
                  </a:lnTo>
                  <a:lnTo>
                    <a:pt x="379" y="684"/>
                  </a:lnTo>
                  <a:lnTo>
                    <a:pt x="379" y="684"/>
                  </a:lnTo>
                  <a:lnTo>
                    <a:pt x="379" y="684"/>
                  </a:lnTo>
                  <a:lnTo>
                    <a:pt x="377" y="684"/>
                  </a:lnTo>
                  <a:lnTo>
                    <a:pt x="377" y="684"/>
                  </a:lnTo>
                  <a:lnTo>
                    <a:pt x="377" y="684"/>
                  </a:lnTo>
                  <a:lnTo>
                    <a:pt x="375" y="682"/>
                  </a:lnTo>
                  <a:lnTo>
                    <a:pt x="375" y="682"/>
                  </a:lnTo>
                  <a:lnTo>
                    <a:pt x="373" y="682"/>
                  </a:lnTo>
                  <a:lnTo>
                    <a:pt x="373" y="682"/>
                  </a:lnTo>
                  <a:lnTo>
                    <a:pt x="373" y="682"/>
                  </a:lnTo>
                  <a:lnTo>
                    <a:pt x="371" y="682"/>
                  </a:lnTo>
                  <a:lnTo>
                    <a:pt x="371" y="684"/>
                  </a:lnTo>
                  <a:lnTo>
                    <a:pt x="373" y="684"/>
                  </a:lnTo>
                  <a:lnTo>
                    <a:pt x="373" y="684"/>
                  </a:lnTo>
                  <a:lnTo>
                    <a:pt x="375" y="686"/>
                  </a:lnTo>
                  <a:lnTo>
                    <a:pt x="375" y="686"/>
                  </a:lnTo>
                  <a:lnTo>
                    <a:pt x="373" y="686"/>
                  </a:lnTo>
                  <a:lnTo>
                    <a:pt x="373" y="686"/>
                  </a:lnTo>
                  <a:lnTo>
                    <a:pt x="373" y="688"/>
                  </a:lnTo>
                  <a:lnTo>
                    <a:pt x="373" y="690"/>
                  </a:lnTo>
                  <a:lnTo>
                    <a:pt x="373" y="692"/>
                  </a:lnTo>
                  <a:lnTo>
                    <a:pt x="375" y="692"/>
                  </a:lnTo>
                  <a:lnTo>
                    <a:pt x="373" y="692"/>
                  </a:lnTo>
                  <a:lnTo>
                    <a:pt x="373" y="692"/>
                  </a:lnTo>
                  <a:lnTo>
                    <a:pt x="373" y="690"/>
                  </a:lnTo>
                  <a:lnTo>
                    <a:pt x="371" y="688"/>
                  </a:lnTo>
                  <a:lnTo>
                    <a:pt x="371" y="688"/>
                  </a:lnTo>
                  <a:lnTo>
                    <a:pt x="371" y="688"/>
                  </a:lnTo>
                  <a:lnTo>
                    <a:pt x="371" y="688"/>
                  </a:lnTo>
                  <a:lnTo>
                    <a:pt x="371" y="686"/>
                  </a:lnTo>
                  <a:lnTo>
                    <a:pt x="369" y="686"/>
                  </a:lnTo>
                  <a:lnTo>
                    <a:pt x="369" y="686"/>
                  </a:lnTo>
                  <a:lnTo>
                    <a:pt x="367" y="686"/>
                  </a:lnTo>
                  <a:lnTo>
                    <a:pt x="365" y="688"/>
                  </a:lnTo>
                  <a:lnTo>
                    <a:pt x="363" y="688"/>
                  </a:lnTo>
                  <a:lnTo>
                    <a:pt x="361" y="690"/>
                  </a:lnTo>
                  <a:lnTo>
                    <a:pt x="361" y="692"/>
                  </a:lnTo>
                  <a:lnTo>
                    <a:pt x="361" y="692"/>
                  </a:lnTo>
                  <a:lnTo>
                    <a:pt x="363" y="694"/>
                  </a:lnTo>
                  <a:lnTo>
                    <a:pt x="363" y="698"/>
                  </a:lnTo>
                  <a:lnTo>
                    <a:pt x="365" y="700"/>
                  </a:lnTo>
                  <a:lnTo>
                    <a:pt x="367" y="700"/>
                  </a:lnTo>
                  <a:lnTo>
                    <a:pt x="367" y="700"/>
                  </a:lnTo>
                  <a:lnTo>
                    <a:pt x="367" y="698"/>
                  </a:lnTo>
                  <a:lnTo>
                    <a:pt x="367" y="698"/>
                  </a:lnTo>
                  <a:lnTo>
                    <a:pt x="367" y="698"/>
                  </a:lnTo>
                  <a:lnTo>
                    <a:pt x="367" y="698"/>
                  </a:lnTo>
                  <a:lnTo>
                    <a:pt x="367" y="696"/>
                  </a:lnTo>
                  <a:lnTo>
                    <a:pt x="365" y="698"/>
                  </a:lnTo>
                  <a:lnTo>
                    <a:pt x="365" y="696"/>
                  </a:lnTo>
                  <a:lnTo>
                    <a:pt x="367" y="696"/>
                  </a:lnTo>
                  <a:lnTo>
                    <a:pt x="367" y="696"/>
                  </a:lnTo>
                  <a:lnTo>
                    <a:pt x="369" y="696"/>
                  </a:lnTo>
                  <a:lnTo>
                    <a:pt x="369" y="696"/>
                  </a:lnTo>
                  <a:lnTo>
                    <a:pt x="371" y="696"/>
                  </a:lnTo>
                  <a:lnTo>
                    <a:pt x="371" y="696"/>
                  </a:lnTo>
                  <a:lnTo>
                    <a:pt x="369" y="698"/>
                  </a:lnTo>
                  <a:lnTo>
                    <a:pt x="369" y="698"/>
                  </a:lnTo>
                  <a:lnTo>
                    <a:pt x="369" y="698"/>
                  </a:lnTo>
                  <a:lnTo>
                    <a:pt x="371" y="698"/>
                  </a:lnTo>
                  <a:lnTo>
                    <a:pt x="373" y="698"/>
                  </a:lnTo>
                  <a:lnTo>
                    <a:pt x="373" y="698"/>
                  </a:lnTo>
                  <a:lnTo>
                    <a:pt x="373" y="700"/>
                  </a:lnTo>
                  <a:lnTo>
                    <a:pt x="369" y="702"/>
                  </a:lnTo>
                  <a:lnTo>
                    <a:pt x="369" y="702"/>
                  </a:lnTo>
                  <a:lnTo>
                    <a:pt x="369" y="704"/>
                  </a:lnTo>
                  <a:lnTo>
                    <a:pt x="371" y="704"/>
                  </a:lnTo>
                  <a:lnTo>
                    <a:pt x="371" y="704"/>
                  </a:lnTo>
                  <a:lnTo>
                    <a:pt x="373" y="702"/>
                  </a:lnTo>
                  <a:lnTo>
                    <a:pt x="375" y="700"/>
                  </a:lnTo>
                  <a:lnTo>
                    <a:pt x="375" y="700"/>
                  </a:lnTo>
                  <a:lnTo>
                    <a:pt x="375" y="698"/>
                  </a:lnTo>
                  <a:lnTo>
                    <a:pt x="375" y="698"/>
                  </a:lnTo>
                  <a:lnTo>
                    <a:pt x="375" y="698"/>
                  </a:lnTo>
                  <a:lnTo>
                    <a:pt x="377" y="698"/>
                  </a:lnTo>
                  <a:lnTo>
                    <a:pt x="377" y="696"/>
                  </a:lnTo>
                  <a:lnTo>
                    <a:pt x="377" y="696"/>
                  </a:lnTo>
                  <a:lnTo>
                    <a:pt x="379" y="696"/>
                  </a:lnTo>
                  <a:lnTo>
                    <a:pt x="381" y="694"/>
                  </a:lnTo>
                  <a:lnTo>
                    <a:pt x="384" y="694"/>
                  </a:lnTo>
                  <a:lnTo>
                    <a:pt x="386" y="694"/>
                  </a:lnTo>
                  <a:lnTo>
                    <a:pt x="388" y="692"/>
                  </a:lnTo>
                  <a:lnTo>
                    <a:pt x="388" y="692"/>
                  </a:lnTo>
                  <a:lnTo>
                    <a:pt x="390" y="692"/>
                  </a:lnTo>
                  <a:lnTo>
                    <a:pt x="390" y="692"/>
                  </a:lnTo>
                  <a:lnTo>
                    <a:pt x="390" y="692"/>
                  </a:lnTo>
                  <a:lnTo>
                    <a:pt x="390" y="690"/>
                  </a:lnTo>
                  <a:lnTo>
                    <a:pt x="388" y="690"/>
                  </a:lnTo>
                  <a:lnTo>
                    <a:pt x="386" y="690"/>
                  </a:lnTo>
                  <a:lnTo>
                    <a:pt x="386" y="690"/>
                  </a:lnTo>
                  <a:lnTo>
                    <a:pt x="386" y="690"/>
                  </a:lnTo>
                  <a:lnTo>
                    <a:pt x="386" y="688"/>
                  </a:lnTo>
                  <a:lnTo>
                    <a:pt x="388" y="690"/>
                  </a:lnTo>
                  <a:lnTo>
                    <a:pt x="390" y="690"/>
                  </a:lnTo>
                  <a:lnTo>
                    <a:pt x="394" y="690"/>
                  </a:lnTo>
                  <a:lnTo>
                    <a:pt x="394" y="690"/>
                  </a:lnTo>
                  <a:lnTo>
                    <a:pt x="394" y="690"/>
                  </a:lnTo>
                  <a:lnTo>
                    <a:pt x="396" y="688"/>
                  </a:lnTo>
                  <a:lnTo>
                    <a:pt x="396" y="688"/>
                  </a:lnTo>
                  <a:lnTo>
                    <a:pt x="396" y="686"/>
                  </a:lnTo>
                  <a:lnTo>
                    <a:pt x="394" y="686"/>
                  </a:lnTo>
                  <a:close/>
                  <a:moveTo>
                    <a:pt x="398" y="673"/>
                  </a:moveTo>
                  <a:lnTo>
                    <a:pt x="398" y="673"/>
                  </a:lnTo>
                  <a:lnTo>
                    <a:pt x="398" y="671"/>
                  </a:lnTo>
                  <a:lnTo>
                    <a:pt x="396" y="671"/>
                  </a:lnTo>
                  <a:lnTo>
                    <a:pt x="394" y="669"/>
                  </a:lnTo>
                  <a:lnTo>
                    <a:pt x="394" y="671"/>
                  </a:lnTo>
                  <a:lnTo>
                    <a:pt x="394" y="671"/>
                  </a:lnTo>
                  <a:lnTo>
                    <a:pt x="394" y="671"/>
                  </a:lnTo>
                  <a:lnTo>
                    <a:pt x="392" y="671"/>
                  </a:lnTo>
                  <a:lnTo>
                    <a:pt x="392" y="669"/>
                  </a:lnTo>
                  <a:lnTo>
                    <a:pt x="390" y="669"/>
                  </a:lnTo>
                  <a:lnTo>
                    <a:pt x="390" y="669"/>
                  </a:lnTo>
                  <a:lnTo>
                    <a:pt x="388" y="669"/>
                  </a:lnTo>
                  <a:lnTo>
                    <a:pt x="388" y="671"/>
                  </a:lnTo>
                  <a:lnTo>
                    <a:pt x="388" y="671"/>
                  </a:lnTo>
                  <a:lnTo>
                    <a:pt x="388" y="673"/>
                  </a:lnTo>
                  <a:lnTo>
                    <a:pt x="388" y="673"/>
                  </a:lnTo>
                  <a:lnTo>
                    <a:pt x="386" y="673"/>
                  </a:lnTo>
                  <a:lnTo>
                    <a:pt x="386" y="673"/>
                  </a:lnTo>
                  <a:lnTo>
                    <a:pt x="384" y="673"/>
                  </a:lnTo>
                  <a:lnTo>
                    <a:pt x="379" y="677"/>
                  </a:lnTo>
                  <a:lnTo>
                    <a:pt x="381" y="677"/>
                  </a:lnTo>
                  <a:lnTo>
                    <a:pt x="386" y="679"/>
                  </a:lnTo>
                  <a:lnTo>
                    <a:pt x="386" y="679"/>
                  </a:lnTo>
                  <a:lnTo>
                    <a:pt x="388" y="677"/>
                  </a:lnTo>
                  <a:lnTo>
                    <a:pt x="388" y="677"/>
                  </a:lnTo>
                  <a:lnTo>
                    <a:pt x="388" y="677"/>
                  </a:lnTo>
                  <a:lnTo>
                    <a:pt x="390" y="677"/>
                  </a:lnTo>
                  <a:lnTo>
                    <a:pt x="390" y="677"/>
                  </a:lnTo>
                  <a:lnTo>
                    <a:pt x="390" y="675"/>
                  </a:lnTo>
                  <a:lnTo>
                    <a:pt x="392" y="675"/>
                  </a:lnTo>
                  <a:lnTo>
                    <a:pt x="392" y="675"/>
                  </a:lnTo>
                  <a:lnTo>
                    <a:pt x="392" y="677"/>
                  </a:lnTo>
                  <a:lnTo>
                    <a:pt x="392" y="675"/>
                  </a:lnTo>
                  <a:lnTo>
                    <a:pt x="394" y="675"/>
                  </a:lnTo>
                  <a:lnTo>
                    <a:pt x="394" y="675"/>
                  </a:lnTo>
                  <a:lnTo>
                    <a:pt x="394" y="675"/>
                  </a:lnTo>
                  <a:lnTo>
                    <a:pt x="394" y="675"/>
                  </a:lnTo>
                  <a:lnTo>
                    <a:pt x="394" y="675"/>
                  </a:lnTo>
                  <a:lnTo>
                    <a:pt x="396" y="673"/>
                  </a:lnTo>
                  <a:lnTo>
                    <a:pt x="396" y="673"/>
                  </a:lnTo>
                  <a:lnTo>
                    <a:pt x="396" y="673"/>
                  </a:lnTo>
                  <a:lnTo>
                    <a:pt x="396" y="675"/>
                  </a:lnTo>
                  <a:lnTo>
                    <a:pt x="396" y="675"/>
                  </a:lnTo>
                  <a:lnTo>
                    <a:pt x="398" y="675"/>
                  </a:lnTo>
                  <a:lnTo>
                    <a:pt x="398" y="675"/>
                  </a:lnTo>
                  <a:lnTo>
                    <a:pt x="400" y="673"/>
                  </a:lnTo>
                  <a:lnTo>
                    <a:pt x="400" y="673"/>
                  </a:lnTo>
                  <a:lnTo>
                    <a:pt x="400" y="671"/>
                  </a:lnTo>
                  <a:lnTo>
                    <a:pt x="398" y="673"/>
                  </a:lnTo>
                  <a:close/>
                  <a:moveTo>
                    <a:pt x="392" y="669"/>
                  </a:moveTo>
                  <a:lnTo>
                    <a:pt x="392" y="669"/>
                  </a:lnTo>
                  <a:lnTo>
                    <a:pt x="394" y="667"/>
                  </a:lnTo>
                  <a:lnTo>
                    <a:pt x="394" y="667"/>
                  </a:lnTo>
                  <a:lnTo>
                    <a:pt x="394" y="667"/>
                  </a:lnTo>
                  <a:lnTo>
                    <a:pt x="394" y="667"/>
                  </a:lnTo>
                  <a:lnTo>
                    <a:pt x="394" y="665"/>
                  </a:lnTo>
                  <a:lnTo>
                    <a:pt x="392" y="665"/>
                  </a:lnTo>
                  <a:lnTo>
                    <a:pt x="390" y="667"/>
                  </a:lnTo>
                  <a:lnTo>
                    <a:pt x="390" y="667"/>
                  </a:lnTo>
                  <a:lnTo>
                    <a:pt x="392" y="669"/>
                  </a:lnTo>
                  <a:lnTo>
                    <a:pt x="392" y="669"/>
                  </a:lnTo>
                  <a:close/>
                  <a:moveTo>
                    <a:pt x="107" y="1728"/>
                  </a:moveTo>
                  <a:lnTo>
                    <a:pt x="107" y="1728"/>
                  </a:lnTo>
                  <a:lnTo>
                    <a:pt x="107" y="1728"/>
                  </a:lnTo>
                  <a:lnTo>
                    <a:pt x="107" y="1728"/>
                  </a:lnTo>
                  <a:lnTo>
                    <a:pt x="107" y="1728"/>
                  </a:lnTo>
                  <a:lnTo>
                    <a:pt x="107" y="1728"/>
                  </a:lnTo>
                  <a:lnTo>
                    <a:pt x="107" y="1728"/>
                  </a:lnTo>
                  <a:lnTo>
                    <a:pt x="107" y="1728"/>
                  </a:lnTo>
                  <a:lnTo>
                    <a:pt x="107" y="1728"/>
                  </a:lnTo>
                  <a:close/>
                  <a:moveTo>
                    <a:pt x="1126" y="192"/>
                  </a:moveTo>
                  <a:lnTo>
                    <a:pt x="1124" y="190"/>
                  </a:lnTo>
                  <a:lnTo>
                    <a:pt x="1124" y="190"/>
                  </a:lnTo>
                  <a:lnTo>
                    <a:pt x="1122" y="190"/>
                  </a:lnTo>
                  <a:lnTo>
                    <a:pt x="1118" y="188"/>
                  </a:lnTo>
                  <a:lnTo>
                    <a:pt x="1114" y="188"/>
                  </a:lnTo>
                  <a:lnTo>
                    <a:pt x="1107" y="188"/>
                  </a:lnTo>
                  <a:lnTo>
                    <a:pt x="1105" y="188"/>
                  </a:lnTo>
                  <a:lnTo>
                    <a:pt x="1105" y="188"/>
                  </a:lnTo>
                  <a:lnTo>
                    <a:pt x="1105" y="190"/>
                  </a:lnTo>
                  <a:lnTo>
                    <a:pt x="1105" y="192"/>
                  </a:lnTo>
                  <a:lnTo>
                    <a:pt x="1107" y="194"/>
                  </a:lnTo>
                  <a:lnTo>
                    <a:pt x="1111" y="194"/>
                  </a:lnTo>
                  <a:lnTo>
                    <a:pt x="1114" y="194"/>
                  </a:lnTo>
                  <a:lnTo>
                    <a:pt x="1116" y="194"/>
                  </a:lnTo>
                  <a:lnTo>
                    <a:pt x="1118" y="194"/>
                  </a:lnTo>
                  <a:lnTo>
                    <a:pt x="1120" y="194"/>
                  </a:lnTo>
                  <a:lnTo>
                    <a:pt x="1126" y="192"/>
                  </a:lnTo>
                  <a:lnTo>
                    <a:pt x="1126" y="192"/>
                  </a:lnTo>
                  <a:lnTo>
                    <a:pt x="1126" y="192"/>
                  </a:lnTo>
                  <a:close/>
                  <a:moveTo>
                    <a:pt x="1074" y="442"/>
                  </a:moveTo>
                  <a:lnTo>
                    <a:pt x="1074" y="442"/>
                  </a:lnTo>
                  <a:lnTo>
                    <a:pt x="1070" y="442"/>
                  </a:lnTo>
                  <a:lnTo>
                    <a:pt x="1070" y="442"/>
                  </a:lnTo>
                  <a:lnTo>
                    <a:pt x="1068" y="442"/>
                  </a:lnTo>
                  <a:lnTo>
                    <a:pt x="1068" y="444"/>
                  </a:lnTo>
                  <a:lnTo>
                    <a:pt x="1070" y="444"/>
                  </a:lnTo>
                  <a:lnTo>
                    <a:pt x="1072" y="444"/>
                  </a:lnTo>
                  <a:lnTo>
                    <a:pt x="1074" y="446"/>
                  </a:lnTo>
                  <a:lnTo>
                    <a:pt x="1074" y="446"/>
                  </a:lnTo>
                  <a:lnTo>
                    <a:pt x="1076" y="446"/>
                  </a:lnTo>
                  <a:lnTo>
                    <a:pt x="1076" y="446"/>
                  </a:lnTo>
                  <a:lnTo>
                    <a:pt x="1076" y="446"/>
                  </a:lnTo>
                  <a:lnTo>
                    <a:pt x="1076" y="444"/>
                  </a:lnTo>
                  <a:lnTo>
                    <a:pt x="1076" y="444"/>
                  </a:lnTo>
                  <a:lnTo>
                    <a:pt x="1074" y="442"/>
                  </a:lnTo>
                  <a:close/>
                  <a:moveTo>
                    <a:pt x="1012" y="456"/>
                  </a:moveTo>
                  <a:lnTo>
                    <a:pt x="1010" y="456"/>
                  </a:lnTo>
                  <a:lnTo>
                    <a:pt x="1010" y="456"/>
                  </a:lnTo>
                  <a:lnTo>
                    <a:pt x="1010" y="456"/>
                  </a:lnTo>
                  <a:lnTo>
                    <a:pt x="1010" y="459"/>
                  </a:lnTo>
                  <a:lnTo>
                    <a:pt x="1012" y="459"/>
                  </a:lnTo>
                  <a:lnTo>
                    <a:pt x="1015" y="459"/>
                  </a:lnTo>
                  <a:lnTo>
                    <a:pt x="1015" y="459"/>
                  </a:lnTo>
                  <a:lnTo>
                    <a:pt x="1015" y="459"/>
                  </a:lnTo>
                  <a:lnTo>
                    <a:pt x="1012" y="456"/>
                  </a:lnTo>
                  <a:lnTo>
                    <a:pt x="1012" y="456"/>
                  </a:lnTo>
                  <a:close/>
                  <a:moveTo>
                    <a:pt x="1006" y="454"/>
                  </a:moveTo>
                  <a:lnTo>
                    <a:pt x="1004" y="454"/>
                  </a:lnTo>
                  <a:lnTo>
                    <a:pt x="1006" y="456"/>
                  </a:lnTo>
                  <a:lnTo>
                    <a:pt x="1008" y="456"/>
                  </a:lnTo>
                  <a:lnTo>
                    <a:pt x="1008" y="456"/>
                  </a:lnTo>
                  <a:lnTo>
                    <a:pt x="1008" y="454"/>
                  </a:lnTo>
                  <a:lnTo>
                    <a:pt x="1006" y="454"/>
                  </a:lnTo>
                  <a:close/>
                  <a:moveTo>
                    <a:pt x="1085" y="225"/>
                  </a:moveTo>
                  <a:lnTo>
                    <a:pt x="1085" y="225"/>
                  </a:lnTo>
                  <a:lnTo>
                    <a:pt x="1083" y="225"/>
                  </a:lnTo>
                  <a:lnTo>
                    <a:pt x="1081" y="225"/>
                  </a:lnTo>
                  <a:lnTo>
                    <a:pt x="1076" y="225"/>
                  </a:lnTo>
                  <a:lnTo>
                    <a:pt x="1074" y="227"/>
                  </a:lnTo>
                  <a:lnTo>
                    <a:pt x="1074" y="227"/>
                  </a:lnTo>
                  <a:lnTo>
                    <a:pt x="1074" y="229"/>
                  </a:lnTo>
                  <a:lnTo>
                    <a:pt x="1076" y="231"/>
                  </a:lnTo>
                  <a:lnTo>
                    <a:pt x="1078" y="233"/>
                  </a:lnTo>
                  <a:lnTo>
                    <a:pt x="1078" y="236"/>
                  </a:lnTo>
                  <a:lnTo>
                    <a:pt x="1081" y="236"/>
                  </a:lnTo>
                  <a:lnTo>
                    <a:pt x="1091" y="236"/>
                  </a:lnTo>
                  <a:lnTo>
                    <a:pt x="1093" y="233"/>
                  </a:lnTo>
                  <a:lnTo>
                    <a:pt x="1095" y="233"/>
                  </a:lnTo>
                  <a:lnTo>
                    <a:pt x="1097" y="233"/>
                  </a:lnTo>
                  <a:lnTo>
                    <a:pt x="1097" y="231"/>
                  </a:lnTo>
                  <a:lnTo>
                    <a:pt x="1097" y="231"/>
                  </a:lnTo>
                  <a:lnTo>
                    <a:pt x="1095" y="231"/>
                  </a:lnTo>
                  <a:lnTo>
                    <a:pt x="1089" y="229"/>
                  </a:lnTo>
                  <a:lnTo>
                    <a:pt x="1089" y="227"/>
                  </a:lnTo>
                  <a:lnTo>
                    <a:pt x="1087" y="227"/>
                  </a:lnTo>
                  <a:lnTo>
                    <a:pt x="1087" y="227"/>
                  </a:lnTo>
                  <a:lnTo>
                    <a:pt x="1085" y="227"/>
                  </a:lnTo>
                  <a:lnTo>
                    <a:pt x="1083" y="227"/>
                  </a:lnTo>
                  <a:lnTo>
                    <a:pt x="1085" y="227"/>
                  </a:lnTo>
                  <a:lnTo>
                    <a:pt x="1085" y="225"/>
                  </a:lnTo>
                  <a:close/>
                  <a:moveTo>
                    <a:pt x="1114" y="436"/>
                  </a:moveTo>
                  <a:lnTo>
                    <a:pt x="1111" y="436"/>
                  </a:lnTo>
                  <a:lnTo>
                    <a:pt x="1111" y="438"/>
                  </a:lnTo>
                  <a:lnTo>
                    <a:pt x="1109" y="438"/>
                  </a:lnTo>
                  <a:lnTo>
                    <a:pt x="1107" y="438"/>
                  </a:lnTo>
                  <a:lnTo>
                    <a:pt x="1107" y="440"/>
                  </a:lnTo>
                  <a:lnTo>
                    <a:pt x="1107" y="440"/>
                  </a:lnTo>
                  <a:lnTo>
                    <a:pt x="1114" y="442"/>
                  </a:lnTo>
                  <a:lnTo>
                    <a:pt x="1114" y="442"/>
                  </a:lnTo>
                  <a:lnTo>
                    <a:pt x="1114" y="442"/>
                  </a:lnTo>
                  <a:lnTo>
                    <a:pt x="1116" y="440"/>
                  </a:lnTo>
                  <a:lnTo>
                    <a:pt x="1116" y="440"/>
                  </a:lnTo>
                  <a:lnTo>
                    <a:pt x="1116" y="438"/>
                  </a:lnTo>
                  <a:lnTo>
                    <a:pt x="1116" y="438"/>
                  </a:lnTo>
                  <a:lnTo>
                    <a:pt x="1116" y="438"/>
                  </a:lnTo>
                  <a:lnTo>
                    <a:pt x="1114" y="436"/>
                  </a:lnTo>
                  <a:close/>
                  <a:moveTo>
                    <a:pt x="2347" y="1198"/>
                  </a:moveTo>
                  <a:lnTo>
                    <a:pt x="2347" y="1198"/>
                  </a:lnTo>
                  <a:lnTo>
                    <a:pt x="2347" y="1198"/>
                  </a:lnTo>
                  <a:lnTo>
                    <a:pt x="2342" y="1198"/>
                  </a:lnTo>
                  <a:lnTo>
                    <a:pt x="2342" y="1200"/>
                  </a:lnTo>
                  <a:lnTo>
                    <a:pt x="2340" y="1200"/>
                  </a:lnTo>
                  <a:lnTo>
                    <a:pt x="2340" y="1202"/>
                  </a:lnTo>
                  <a:lnTo>
                    <a:pt x="2342" y="1204"/>
                  </a:lnTo>
                  <a:lnTo>
                    <a:pt x="2342" y="1204"/>
                  </a:lnTo>
                  <a:lnTo>
                    <a:pt x="2345" y="1204"/>
                  </a:lnTo>
                  <a:lnTo>
                    <a:pt x="2347" y="1204"/>
                  </a:lnTo>
                  <a:lnTo>
                    <a:pt x="2347" y="1202"/>
                  </a:lnTo>
                  <a:lnTo>
                    <a:pt x="2347" y="1200"/>
                  </a:lnTo>
                  <a:lnTo>
                    <a:pt x="2347" y="1200"/>
                  </a:lnTo>
                  <a:lnTo>
                    <a:pt x="2347" y="1198"/>
                  </a:lnTo>
                  <a:lnTo>
                    <a:pt x="2347" y="1198"/>
                  </a:lnTo>
                  <a:close/>
                  <a:moveTo>
                    <a:pt x="1136" y="392"/>
                  </a:moveTo>
                  <a:lnTo>
                    <a:pt x="1134" y="390"/>
                  </a:lnTo>
                  <a:lnTo>
                    <a:pt x="1132" y="390"/>
                  </a:lnTo>
                  <a:lnTo>
                    <a:pt x="1132" y="390"/>
                  </a:lnTo>
                  <a:lnTo>
                    <a:pt x="1130" y="390"/>
                  </a:lnTo>
                  <a:lnTo>
                    <a:pt x="1132" y="392"/>
                  </a:lnTo>
                  <a:lnTo>
                    <a:pt x="1132" y="392"/>
                  </a:lnTo>
                  <a:lnTo>
                    <a:pt x="1132" y="392"/>
                  </a:lnTo>
                  <a:lnTo>
                    <a:pt x="1132" y="392"/>
                  </a:lnTo>
                  <a:lnTo>
                    <a:pt x="1136" y="395"/>
                  </a:lnTo>
                  <a:lnTo>
                    <a:pt x="1136" y="395"/>
                  </a:lnTo>
                  <a:lnTo>
                    <a:pt x="1136" y="395"/>
                  </a:lnTo>
                  <a:lnTo>
                    <a:pt x="1136" y="392"/>
                  </a:lnTo>
                  <a:lnTo>
                    <a:pt x="1136" y="392"/>
                  </a:lnTo>
                  <a:lnTo>
                    <a:pt x="1136" y="392"/>
                  </a:lnTo>
                  <a:close/>
                  <a:moveTo>
                    <a:pt x="1128" y="413"/>
                  </a:moveTo>
                  <a:lnTo>
                    <a:pt x="1128" y="411"/>
                  </a:lnTo>
                  <a:lnTo>
                    <a:pt x="1128" y="409"/>
                  </a:lnTo>
                  <a:lnTo>
                    <a:pt x="1126" y="405"/>
                  </a:lnTo>
                  <a:lnTo>
                    <a:pt x="1126" y="403"/>
                  </a:lnTo>
                  <a:lnTo>
                    <a:pt x="1126" y="403"/>
                  </a:lnTo>
                  <a:lnTo>
                    <a:pt x="1124" y="403"/>
                  </a:lnTo>
                  <a:lnTo>
                    <a:pt x="1124" y="403"/>
                  </a:lnTo>
                  <a:lnTo>
                    <a:pt x="1118" y="403"/>
                  </a:lnTo>
                  <a:lnTo>
                    <a:pt x="1118" y="403"/>
                  </a:lnTo>
                  <a:lnTo>
                    <a:pt x="1118" y="401"/>
                  </a:lnTo>
                  <a:lnTo>
                    <a:pt x="1118" y="401"/>
                  </a:lnTo>
                  <a:lnTo>
                    <a:pt x="1118" y="399"/>
                  </a:lnTo>
                  <a:lnTo>
                    <a:pt x="1116" y="399"/>
                  </a:lnTo>
                  <a:lnTo>
                    <a:pt x="1114" y="399"/>
                  </a:lnTo>
                  <a:lnTo>
                    <a:pt x="1111" y="399"/>
                  </a:lnTo>
                  <a:lnTo>
                    <a:pt x="1107" y="397"/>
                  </a:lnTo>
                  <a:lnTo>
                    <a:pt x="1103" y="395"/>
                  </a:lnTo>
                  <a:lnTo>
                    <a:pt x="1101" y="392"/>
                  </a:lnTo>
                  <a:lnTo>
                    <a:pt x="1097" y="390"/>
                  </a:lnTo>
                  <a:lnTo>
                    <a:pt x="1097" y="390"/>
                  </a:lnTo>
                  <a:lnTo>
                    <a:pt x="1097" y="390"/>
                  </a:lnTo>
                  <a:lnTo>
                    <a:pt x="1097" y="392"/>
                  </a:lnTo>
                  <a:lnTo>
                    <a:pt x="1097" y="392"/>
                  </a:lnTo>
                  <a:lnTo>
                    <a:pt x="1097" y="395"/>
                  </a:lnTo>
                  <a:lnTo>
                    <a:pt x="1097" y="395"/>
                  </a:lnTo>
                  <a:lnTo>
                    <a:pt x="1097" y="395"/>
                  </a:lnTo>
                  <a:lnTo>
                    <a:pt x="1095" y="392"/>
                  </a:lnTo>
                  <a:lnTo>
                    <a:pt x="1093" y="392"/>
                  </a:lnTo>
                  <a:lnTo>
                    <a:pt x="1089" y="390"/>
                  </a:lnTo>
                  <a:lnTo>
                    <a:pt x="1085" y="388"/>
                  </a:lnTo>
                  <a:lnTo>
                    <a:pt x="1085" y="386"/>
                  </a:lnTo>
                  <a:lnTo>
                    <a:pt x="1081" y="382"/>
                  </a:lnTo>
                  <a:lnTo>
                    <a:pt x="1076" y="380"/>
                  </a:lnTo>
                  <a:lnTo>
                    <a:pt x="1076" y="378"/>
                  </a:lnTo>
                  <a:lnTo>
                    <a:pt x="1076" y="378"/>
                  </a:lnTo>
                  <a:lnTo>
                    <a:pt x="1076" y="374"/>
                  </a:lnTo>
                  <a:lnTo>
                    <a:pt x="1076" y="374"/>
                  </a:lnTo>
                  <a:lnTo>
                    <a:pt x="1078" y="372"/>
                  </a:lnTo>
                  <a:lnTo>
                    <a:pt x="1078" y="372"/>
                  </a:lnTo>
                  <a:lnTo>
                    <a:pt x="1078" y="370"/>
                  </a:lnTo>
                  <a:lnTo>
                    <a:pt x="1078" y="370"/>
                  </a:lnTo>
                  <a:lnTo>
                    <a:pt x="1078" y="368"/>
                  </a:lnTo>
                  <a:lnTo>
                    <a:pt x="1078" y="366"/>
                  </a:lnTo>
                  <a:lnTo>
                    <a:pt x="1076" y="364"/>
                  </a:lnTo>
                  <a:lnTo>
                    <a:pt x="1072" y="359"/>
                  </a:lnTo>
                  <a:lnTo>
                    <a:pt x="1072" y="357"/>
                  </a:lnTo>
                  <a:lnTo>
                    <a:pt x="1070" y="355"/>
                  </a:lnTo>
                  <a:lnTo>
                    <a:pt x="1066" y="345"/>
                  </a:lnTo>
                  <a:lnTo>
                    <a:pt x="1066" y="343"/>
                  </a:lnTo>
                  <a:lnTo>
                    <a:pt x="1066" y="341"/>
                  </a:lnTo>
                  <a:lnTo>
                    <a:pt x="1064" y="339"/>
                  </a:lnTo>
                  <a:lnTo>
                    <a:pt x="1064" y="337"/>
                  </a:lnTo>
                  <a:lnTo>
                    <a:pt x="1064" y="337"/>
                  </a:lnTo>
                  <a:lnTo>
                    <a:pt x="1064" y="335"/>
                  </a:lnTo>
                  <a:lnTo>
                    <a:pt x="1064" y="335"/>
                  </a:lnTo>
                  <a:lnTo>
                    <a:pt x="1064" y="335"/>
                  </a:lnTo>
                  <a:lnTo>
                    <a:pt x="1062" y="333"/>
                  </a:lnTo>
                  <a:lnTo>
                    <a:pt x="1060" y="331"/>
                  </a:lnTo>
                  <a:lnTo>
                    <a:pt x="1058" y="328"/>
                  </a:lnTo>
                  <a:lnTo>
                    <a:pt x="1054" y="326"/>
                  </a:lnTo>
                  <a:lnTo>
                    <a:pt x="1048" y="322"/>
                  </a:lnTo>
                  <a:lnTo>
                    <a:pt x="1043" y="320"/>
                  </a:lnTo>
                  <a:lnTo>
                    <a:pt x="1041" y="320"/>
                  </a:lnTo>
                  <a:lnTo>
                    <a:pt x="1041" y="322"/>
                  </a:lnTo>
                  <a:lnTo>
                    <a:pt x="1039" y="322"/>
                  </a:lnTo>
                  <a:lnTo>
                    <a:pt x="1039" y="322"/>
                  </a:lnTo>
                  <a:lnTo>
                    <a:pt x="1033" y="320"/>
                  </a:lnTo>
                  <a:lnTo>
                    <a:pt x="1031" y="320"/>
                  </a:lnTo>
                  <a:lnTo>
                    <a:pt x="1027" y="318"/>
                  </a:lnTo>
                  <a:lnTo>
                    <a:pt x="1025" y="320"/>
                  </a:lnTo>
                  <a:lnTo>
                    <a:pt x="1025" y="320"/>
                  </a:lnTo>
                  <a:lnTo>
                    <a:pt x="1027" y="322"/>
                  </a:lnTo>
                  <a:lnTo>
                    <a:pt x="1027" y="322"/>
                  </a:lnTo>
                  <a:lnTo>
                    <a:pt x="1027" y="322"/>
                  </a:lnTo>
                  <a:lnTo>
                    <a:pt x="1025" y="322"/>
                  </a:lnTo>
                  <a:lnTo>
                    <a:pt x="1023" y="324"/>
                  </a:lnTo>
                  <a:lnTo>
                    <a:pt x="1023" y="324"/>
                  </a:lnTo>
                  <a:lnTo>
                    <a:pt x="1023" y="326"/>
                  </a:lnTo>
                  <a:lnTo>
                    <a:pt x="1027" y="337"/>
                  </a:lnTo>
                  <a:lnTo>
                    <a:pt x="1027" y="339"/>
                  </a:lnTo>
                  <a:lnTo>
                    <a:pt x="1027" y="341"/>
                  </a:lnTo>
                  <a:lnTo>
                    <a:pt x="1027" y="341"/>
                  </a:lnTo>
                  <a:lnTo>
                    <a:pt x="1027" y="343"/>
                  </a:lnTo>
                  <a:lnTo>
                    <a:pt x="1029" y="343"/>
                  </a:lnTo>
                  <a:lnTo>
                    <a:pt x="1029" y="343"/>
                  </a:lnTo>
                  <a:lnTo>
                    <a:pt x="1029" y="345"/>
                  </a:lnTo>
                  <a:lnTo>
                    <a:pt x="1029" y="347"/>
                  </a:lnTo>
                  <a:lnTo>
                    <a:pt x="1031" y="351"/>
                  </a:lnTo>
                  <a:lnTo>
                    <a:pt x="1033" y="355"/>
                  </a:lnTo>
                  <a:lnTo>
                    <a:pt x="1037" y="357"/>
                  </a:lnTo>
                  <a:lnTo>
                    <a:pt x="1035" y="357"/>
                  </a:lnTo>
                  <a:lnTo>
                    <a:pt x="1035" y="357"/>
                  </a:lnTo>
                  <a:lnTo>
                    <a:pt x="1035" y="359"/>
                  </a:lnTo>
                  <a:lnTo>
                    <a:pt x="1035" y="359"/>
                  </a:lnTo>
                  <a:lnTo>
                    <a:pt x="1035" y="359"/>
                  </a:lnTo>
                  <a:lnTo>
                    <a:pt x="1031" y="361"/>
                  </a:lnTo>
                  <a:lnTo>
                    <a:pt x="1029" y="364"/>
                  </a:lnTo>
                  <a:lnTo>
                    <a:pt x="1029" y="366"/>
                  </a:lnTo>
                  <a:lnTo>
                    <a:pt x="1029" y="366"/>
                  </a:lnTo>
                  <a:lnTo>
                    <a:pt x="1027" y="364"/>
                  </a:lnTo>
                  <a:lnTo>
                    <a:pt x="1027" y="364"/>
                  </a:lnTo>
                  <a:lnTo>
                    <a:pt x="1025" y="364"/>
                  </a:lnTo>
                  <a:lnTo>
                    <a:pt x="1025" y="361"/>
                  </a:lnTo>
                  <a:lnTo>
                    <a:pt x="1023" y="361"/>
                  </a:lnTo>
                  <a:lnTo>
                    <a:pt x="1023" y="357"/>
                  </a:lnTo>
                  <a:lnTo>
                    <a:pt x="1021" y="351"/>
                  </a:lnTo>
                  <a:lnTo>
                    <a:pt x="1019" y="347"/>
                  </a:lnTo>
                  <a:lnTo>
                    <a:pt x="1017" y="345"/>
                  </a:lnTo>
                  <a:lnTo>
                    <a:pt x="1017" y="341"/>
                  </a:lnTo>
                  <a:lnTo>
                    <a:pt x="1017" y="341"/>
                  </a:lnTo>
                  <a:lnTo>
                    <a:pt x="1015" y="341"/>
                  </a:lnTo>
                  <a:lnTo>
                    <a:pt x="1012" y="339"/>
                  </a:lnTo>
                  <a:lnTo>
                    <a:pt x="1012" y="339"/>
                  </a:lnTo>
                  <a:lnTo>
                    <a:pt x="1012" y="339"/>
                  </a:lnTo>
                  <a:lnTo>
                    <a:pt x="1012" y="337"/>
                  </a:lnTo>
                  <a:lnTo>
                    <a:pt x="1012" y="337"/>
                  </a:lnTo>
                  <a:lnTo>
                    <a:pt x="1012" y="337"/>
                  </a:lnTo>
                  <a:lnTo>
                    <a:pt x="1010" y="335"/>
                  </a:lnTo>
                  <a:lnTo>
                    <a:pt x="1006" y="335"/>
                  </a:lnTo>
                  <a:lnTo>
                    <a:pt x="1006" y="333"/>
                  </a:lnTo>
                  <a:lnTo>
                    <a:pt x="1004" y="333"/>
                  </a:lnTo>
                  <a:lnTo>
                    <a:pt x="998" y="328"/>
                  </a:lnTo>
                  <a:lnTo>
                    <a:pt x="996" y="328"/>
                  </a:lnTo>
                  <a:lnTo>
                    <a:pt x="990" y="328"/>
                  </a:lnTo>
                  <a:lnTo>
                    <a:pt x="988" y="328"/>
                  </a:lnTo>
                  <a:lnTo>
                    <a:pt x="988" y="331"/>
                  </a:lnTo>
                  <a:lnTo>
                    <a:pt x="990" y="333"/>
                  </a:lnTo>
                  <a:lnTo>
                    <a:pt x="994" y="335"/>
                  </a:lnTo>
                  <a:lnTo>
                    <a:pt x="996" y="335"/>
                  </a:lnTo>
                  <a:lnTo>
                    <a:pt x="996" y="337"/>
                  </a:lnTo>
                  <a:lnTo>
                    <a:pt x="996" y="337"/>
                  </a:lnTo>
                  <a:lnTo>
                    <a:pt x="992" y="339"/>
                  </a:lnTo>
                  <a:lnTo>
                    <a:pt x="990" y="339"/>
                  </a:lnTo>
                  <a:lnTo>
                    <a:pt x="988" y="341"/>
                  </a:lnTo>
                  <a:lnTo>
                    <a:pt x="984" y="343"/>
                  </a:lnTo>
                  <a:lnTo>
                    <a:pt x="982" y="345"/>
                  </a:lnTo>
                  <a:lnTo>
                    <a:pt x="982" y="345"/>
                  </a:lnTo>
                  <a:lnTo>
                    <a:pt x="979" y="345"/>
                  </a:lnTo>
                  <a:lnTo>
                    <a:pt x="979" y="345"/>
                  </a:lnTo>
                  <a:lnTo>
                    <a:pt x="979" y="345"/>
                  </a:lnTo>
                  <a:lnTo>
                    <a:pt x="979" y="343"/>
                  </a:lnTo>
                  <a:lnTo>
                    <a:pt x="979" y="343"/>
                  </a:lnTo>
                  <a:lnTo>
                    <a:pt x="979" y="343"/>
                  </a:lnTo>
                  <a:lnTo>
                    <a:pt x="979" y="343"/>
                  </a:lnTo>
                  <a:lnTo>
                    <a:pt x="977" y="345"/>
                  </a:lnTo>
                  <a:lnTo>
                    <a:pt x="975" y="345"/>
                  </a:lnTo>
                  <a:lnTo>
                    <a:pt x="973" y="347"/>
                  </a:lnTo>
                  <a:lnTo>
                    <a:pt x="973" y="347"/>
                  </a:lnTo>
                  <a:lnTo>
                    <a:pt x="971" y="345"/>
                  </a:lnTo>
                  <a:lnTo>
                    <a:pt x="971" y="345"/>
                  </a:lnTo>
                  <a:lnTo>
                    <a:pt x="975" y="343"/>
                  </a:lnTo>
                  <a:lnTo>
                    <a:pt x="979" y="339"/>
                  </a:lnTo>
                  <a:lnTo>
                    <a:pt x="979" y="337"/>
                  </a:lnTo>
                  <a:lnTo>
                    <a:pt x="979" y="337"/>
                  </a:lnTo>
                  <a:lnTo>
                    <a:pt x="977" y="335"/>
                  </a:lnTo>
                  <a:lnTo>
                    <a:pt x="969" y="331"/>
                  </a:lnTo>
                  <a:lnTo>
                    <a:pt x="963" y="331"/>
                  </a:lnTo>
                  <a:lnTo>
                    <a:pt x="959" y="328"/>
                  </a:lnTo>
                  <a:lnTo>
                    <a:pt x="955" y="328"/>
                  </a:lnTo>
                  <a:lnTo>
                    <a:pt x="953" y="328"/>
                  </a:lnTo>
                  <a:lnTo>
                    <a:pt x="951" y="331"/>
                  </a:lnTo>
                  <a:lnTo>
                    <a:pt x="949" y="333"/>
                  </a:lnTo>
                  <a:lnTo>
                    <a:pt x="949" y="333"/>
                  </a:lnTo>
                  <a:lnTo>
                    <a:pt x="949" y="335"/>
                  </a:lnTo>
                  <a:lnTo>
                    <a:pt x="949" y="337"/>
                  </a:lnTo>
                  <a:lnTo>
                    <a:pt x="949" y="337"/>
                  </a:lnTo>
                  <a:lnTo>
                    <a:pt x="946" y="337"/>
                  </a:lnTo>
                  <a:lnTo>
                    <a:pt x="946" y="339"/>
                  </a:lnTo>
                  <a:lnTo>
                    <a:pt x="944" y="337"/>
                  </a:lnTo>
                  <a:lnTo>
                    <a:pt x="942" y="337"/>
                  </a:lnTo>
                  <a:lnTo>
                    <a:pt x="938" y="339"/>
                  </a:lnTo>
                  <a:lnTo>
                    <a:pt x="936" y="339"/>
                  </a:lnTo>
                  <a:lnTo>
                    <a:pt x="934" y="339"/>
                  </a:lnTo>
                  <a:lnTo>
                    <a:pt x="934" y="339"/>
                  </a:lnTo>
                  <a:lnTo>
                    <a:pt x="934" y="339"/>
                  </a:lnTo>
                  <a:lnTo>
                    <a:pt x="936" y="335"/>
                  </a:lnTo>
                  <a:lnTo>
                    <a:pt x="938" y="333"/>
                  </a:lnTo>
                  <a:lnTo>
                    <a:pt x="940" y="333"/>
                  </a:lnTo>
                  <a:lnTo>
                    <a:pt x="940" y="331"/>
                  </a:lnTo>
                  <a:lnTo>
                    <a:pt x="940" y="328"/>
                  </a:lnTo>
                  <a:lnTo>
                    <a:pt x="940" y="328"/>
                  </a:lnTo>
                  <a:lnTo>
                    <a:pt x="940" y="326"/>
                  </a:lnTo>
                  <a:lnTo>
                    <a:pt x="940" y="324"/>
                  </a:lnTo>
                  <a:lnTo>
                    <a:pt x="938" y="322"/>
                  </a:lnTo>
                  <a:lnTo>
                    <a:pt x="938" y="320"/>
                  </a:lnTo>
                  <a:lnTo>
                    <a:pt x="938" y="320"/>
                  </a:lnTo>
                  <a:lnTo>
                    <a:pt x="936" y="320"/>
                  </a:lnTo>
                  <a:lnTo>
                    <a:pt x="932" y="318"/>
                  </a:lnTo>
                  <a:lnTo>
                    <a:pt x="920" y="322"/>
                  </a:lnTo>
                  <a:lnTo>
                    <a:pt x="905" y="326"/>
                  </a:lnTo>
                  <a:lnTo>
                    <a:pt x="899" y="328"/>
                  </a:lnTo>
                  <a:lnTo>
                    <a:pt x="895" y="331"/>
                  </a:lnTo>
                  <a:lnTo>
                    <a:pt x="891" y="333"/>
                  </a:lnTo>
                  <a:lnTo>
                    <a:pt x="883" y="339"/>
                  </a:lnTo>
                  <a:lnTo>
                    <a:pt x="878" y="341"/>
                  </a:lnTo>
                  <a:lnTo>
                    <a:pt x="878" y="343"/>
                  </a:lnTo>
                  <a:lnTo>
                    <a:pt x="876" y="343"/>
                  </a:lnTo>
                  <a:lnTo>
                    <a:pt x="878" y="345"/>
                  </a:lnTo>
                  <a:lnTo>
                    <a:pt x="878" y="345"/>
                  </a:lnTo>
                  <a:lnTo>
                    <a:pt x="880" y="347"/>
                  </a:lnTo>
                  <a:lnTo>
                    <a:pt x="880" y="347"/>
                  </a:lnTo>
                  <a:lnTo>
                    <a:pt x="880" y="347"/>
                  </a:lnTo>
                  <a:lnTo>
                    <a:pt x="878" y="349"/>
                  </a:lnTo>
                  <a:lnTo>
                    <a:pt x="876" y="351"/>
                  </a:lnTo>
                  <a:lnTo>
                    <a:pt x="870" y="355"/>
                  </a:lnTo>
                  <a:lnTo>
                    <a:pt x="870" y="355"/>
                  </a:lnTo>
                  <a:lnTo>
                    <a:pt x="870" y="357"/>
                  </a:lnTo>
                  <a:lnTo>
                    <a:pt x="870" y="359"/>
                  </a:lnTo>
                  <a:lnTo>
                    <a:pt x="870" y="361"/>
                  </a:lnTo>
                  <a:lnTo>
                    <a:pt x="870" y="361"/>
                  </a:lnTo>
                  <a:lnTo>
                    <a:pt x="872" y="364"/>
                  </a:lnTo>
                  <a:lnTo>
                    <a:pt x="876" y="364"/>
                  </a:lnTo>
                  <a:lnTo>
                    <a:pt x="878" y="364"/>
                  </a:lnTo>
                  <a:lnTo>
                    <a:pt x="885" y="364"/>
                  </a:lnTo>
                  <a:lnTo>
                    <a:pt x="887" y="364"/>
                  </a:lnTo>
                  <a:lnTo>
                    <a:pt x="887" y="366"/>
                  </a:lnTo>
                  <a:lnTo>
                    <a:pt x="883" y="368"/>
                  </a:lnTo>
                  <a:lnTo>
                    <a:pt x="880" y="370"/>
                  </a:lnTo>
                  <a:lnTo>
                    <a:pt x="880" y="370"/>
                  </a:lnTo>
                  <a:lnTo>
                    <a:pt x="880" y="370"/>
                  </a:lnTo>
                  <a:lnTo>
                    <a:pt x="885" y="372"/>
                  </a:lnTo>
                  <a:lnTo>
                    <a:pt x="889" y="372"/>
                  </a:lnTo>
                  <a:lnTo>
                    <a:pt x="893" y="370"/>
                  </a:lnTo>
                  <a:lnTo>
                    <a:pt x="901" y="370"/>
                  </a:lnTo>
                  <a:lnTo>
                    <a:pt x="918" y="368"/>
                  </a:lnTo>
                  <a:lnTo>
                    <a:pt x="922" y="368"/>
                  </a:lnTo>
                  <a:lnTo>
                    <a:pt x="922" y="368"/>
                  </a:lnTo>
                  <a:lnTo>
                    <a:pt x="922" y="370"/>
                  </a:lnTo>
                  <a:lnTo>
                    <a:pt x="920" y="370"/>
                  </a:lnTo>
                  <a:lnTo>
                    <a:pt x="916" y="368"/>
                  </a:lnTo>
                  <a:lnTo>
                    <a:pt x="913" y="370"/>
                  </a:lnTo>
                  <a:lnTo>
                    <a:pt x="911" y="370"/>
                  </a:lnTo>
                  <a:lnTo>
                    <a:pt x="911" y="370"/>
                  </a:lnTo>
                  <a:lnTo>
                    <a:pt x="913" y="370"/>
                  </a:lnTo>
                  <a:lnTo>
                    <a:pt x="913" y="372"/>
                  </a:lnTo>
                  <a:lnTo>
                    <a:pt x="911" y="372"/>
                  </a:lnTo>
                  <a:lnTo>
                    <a:pt x="909" y="372"/>
                  </a:lnTo>
                  <a:lnTo>
                    <a:pt x="907" y="372"/>
                  </a:lnTo>
                  <a:lnTo>
                    <a:pt x="901" y="374"/>
                  </a:lnTo>
                  <a:lnTo>
                    <a:pt x="893" y="376"/>
                  </a:lnTo>
                  <a:lnTo>
                    <a:pt x="887" y="376"/>
                  </a:lnTo>
                  <a:lnTo>
                    <a:pt x="885" y="378"/>
                  </a:lnTo>
                  <a:lnTo>
                    <a:pt x="880" y="380"/>
                  </a:lnTo>
                  <a:lnTo>
                    <a:pt x="878" y="380"/>
                  </a:lnTo>
                  <a:lnTo>
                    <a:pt x="878" y="382"/>
                  </a:lnTo>
                  <a:lnTo>
                    <a:pt x="880" y="384"/>
                  </a:lnTo>
                  <a:lnTo>
                    <a:pt x="891" y="390"/>
                  </a:lnTo>
                  <a:lnTo>
                    <a:pt x="899" y="390"/>
                  </a:lnTo>
                  <a:lnTo>
                    <a:pt x="907" y="390"/>
                  </a:lnTo>
                  <a:lnTo>
                    <a:pt x="909" y="390"/>
                  </a:lnTo>
                  <a:lnTo>
                    <a:pt x="911" y="392"/>
                  </a:lnTo>
                  <a:lnTo>
                    <a:pt x="913" y="392"/>
                  </a:lnTo>
                  <a:lnTo>
                    <a:pt x="922" y="390"/>
                  </a:lnTo>
                  <a:lnTo>
                    <a:pt x="930" y="390"/>
                  </a:lnTo>
                  <a:lnTo>
                    <a:pt x="932" y="390"/>
                  </a:lnTo>
                  <a:lnTo>
                    <a:pt x="936" y="390"/>
                  </a:lnTo>
                  <a:lnTo>
                    <a:pt x="938" y="390"/>
                  </a:lnTo>
                  <a:lnTo>
                    <a:pt x="942" y="388"/>
                  </a:lnTo>
                  <a:lnTo>
                    <a:pt x="944" y="388"/>
                  </a:lnTo>
                  <a:lnTo>
                    <a:pt x="951" y="390"/>
                  </a:lnTo>
                  <a:lnTo>
                    <a:pt x="953" y="390"/>
                  </a:lnTo>
                  <a:lnTo>
                    <a:pt x="967" y="395"/>
                  </a:lnTo>
                  <a:lnTo>
                    <a:pt x="973" y="399"/>
                  </a:lnTo>
                  <a:lnTo>
                    <a:pt x="975" y="399"/>
                  </a:lnTo>
                  <a:lnTo>
                    <a:pt x="973" y="399"/>
                  </a:lnTo>
                  <a:lnTo>
                    <a:pt x="973" y="401"/>
                  </a:lnTo>
                  <a:lnTo>
                    <a:pt x="967" y="399"/>
                  </a:lnTo>
                  <a:lnTo>
                    <a:pt x="965" y="401"/>
                  </a:lnTo>
                  <a:lnTo>
                    <a:pt x="963" y="401"/>
                  </a:lnTo>
                  <a:lnTo>
                    <a:pt x="961" y="401"/>
                  </a:lnTo>
                  <a:lnTo>
                    <a:pt x="953" y="401"/>
                  </a:lnTo>
                  <a:lnTo>
                    <a:pt x="946" y="401"/>
                  </a:lnTo>
                  <a:lnTo>
                    <a:pt x="942" y="399"/>
                  </a:lnTo>
                  <a:lnTo>
                    <a:pt x="938" y="399"/>
                  </a:lnTo>
                  <a:lnTo>
                    <a:pt x="932" y="399"/>
                  </a:lnTo>
                  <a:lnTo>
                    <a:pt x="920" y="401"/>
                  </a:lnTo>
                  <a:lnTo>
                    <a:pt x="905" y="403"/>
                  </a:lnTo>
                  <a:lnTo>
                    <a:pt x="897" y="405"/>
                  </a:lnTo>
                  <a:lnTo>
                    <a:pt x="895" y="405"/>
                  </a:lnTo>
                  <a:lnTo>
                    <a:pt x="895" y="405"/>
                  </a:lnTo>
                  <a:lnTo>
                    <a:pt x="895" y="407"/>
                  </a:lnTo>
                  <a:lnTo>
                    <a:pt x="897" y="409"/>
                  </a:lnTo>
                  <a:lnTo>
                    <a:pt x="897" y="411"/>
                  </a:lnTo>
                  <a:lnTo>
                    <a:pt x="897" y="411"/>
                  </a:lnTo>
                  <a:lnTo>
                    <a:pt x="899" y="413"/>
                  </a:lnTo>
                  <a:lnTo>
                    <a:pt x="903" y="417"/>
                  </a:lnTo>
                  <a:lnTo>
                    <a:pt x="903" y="419"/>
                  </a:lnTo>
                  <a:lnTo>
                    <a:pt x="905" y="419"/>
                  </a:lnTo>
                  <a:lnTo>
                    <a:pt x="905" y="421"/>
                  </a:lnTo>
                  <a:lnTo>
                    <a:pt x="905" y="421"/>
                  </a:lnTo>
                  <a:lnTo>
                    <a:pt x="911" y="423"/>
                  </a:lnTo>
                  <a:lnTo>
                    <a:pt x="913" y="423"/>
                  </a:lnTo>
                  <a:lnTo>
                    <a:pt x="918" y="426"/>
                  </a:lnTo>
                  <a:lnTo>
                    <a:pt x="924" y="426"/>
                  </a:lnTo>
                  <a:lnTo>
                    <a:pt x="932" y="426"/>
                  </a:lnTo>
                  <a:lnTo>
                    <a:pt x="936" y="426"/>
                  </a:lnTo>
                  <a:lnTo>
                    <a:pt x="940" y="426"/>
                  </a:lnTo>
                  <a:lnTo>
                    <a:pt x="944" y="428"/>
                  </a:lnTo>
                  <a:lnTo>
                    <a:pt x="946" y="428"/>
                  </a:lnTo>
                  <a:lnTo>
                    <a:pt x="946" y="432"/>
                  </a:lnTo>
                  <a:lnTo>
                    <a:pt x="946" y="432"/>
                  </a:lnTo>
                  <a:lnTo>
                    <a:pt x="946" y="436"/>
                  </a:lnTo>
                  <a:lnTo>
                    <a:pt x="946" y="438"/>
                  </a:lnTo>
                  <a:lnTo>
                    <a:pt x="951" y="442"/>
                  </a:lnTo>
                  <a:lnTo>
                    <a:pt x="953" y="444"/>
                  </a:lnTo>
                  <a:lnTo>
                    <a:pt x="953" y="444"/>
                  </a:lnTo>
                  <a:lnTo>
                    <a:pt x="955" y="444"/>
                  </a:lnTo>
                  <a:lnTo>
                    <a:pt x="957" y="444"/>
                  </a:lnTo>
                  <a:lnTo>
                    <a:pt x="961" y="444"/>
                  </a:lnTo>
                  <a:lnTo>
                    <a:pt x="965" y="444"/>
                  </a:lnTo>
                  <a:lnTo>
                    <a:pt x="975" y="444"/>
                  </a:lnTo>
                  <a:lnTo>
                    <a:pt x="979" y="442"/>
                  </a:lnTo>
                  <a:lnTo>
                    <a:pt x="982" y="442"/>
                  </a:lnTo>
                  <a:lnTo>
                    <a:pt x="984" y="442"/>
                  </a:lnTo>
                  <a:lnTo>
                    <a:pt x="986" y="442"/>
                  </a:lnTo>
                  <a:lnTo>
                    <a:pt x="992" y="442"/>
                  </a:lnTo>
                  <a:lnTo>
                    <a:pt x="998" y="440"/>
                  </a:lnTo>
                  <a:lnTo>
                    <a:pt x="1006" y="440"/>
                  </a:lnTo>
                  <a:lnTo>
                    <a:pt x="1012" y="438"/>
                  </a:lnTo>
                  <a:lnTo>
                    <a:pt x="1017" y="436"/>
                  </a:lnTo>
                  <a:lnTo>
                    <a:pt x="1019" y="434"/>
                  </a:lnTo>
                  <a:lnTo>
                    <a:pt x="1021" y="434"/>
                  </a:lnTo>
                  <a:lnTo>
                    <a:pt x="1029" y="434"/>
                  </a:lnTo>
                  <a:lnTo>
                    <a:pt x="1035" y="432"/>
                  </a:lnTo>
                  <a:lnTo>
                    <a:pt x="1035" y="432"/>
                  </a:lnTo>
                  <a:lnTo>
                    <a:pt x="1039" y="428"/>
                  </a:lnTo>
                  <a:lnTo>
                    <a:pt x="1039" y="428"/>
                  </a:lnTo>
                  <a:lnTo>
                    <a:pt x="1043" y="423"/>
                  </a:lnTo>
                  <a:lnTo>
                    <a:pt x="1043" y="421"/>
                  </a:lnTo>
                  <a:lnTo>
                    <a:pt x="1045" y="421"/>
                  </a:lnTo>
                  <a:lnTo>
                    <a:pt x="1048" y="421"/>
                  </a:lnTo>
                  <a:lnTo>
                    <a:pt x="1050" y="421"/>
                  </a:lnTo>
                  <a:lnTo>
                    <a:pt x="1050" y="421"/>
                  </a:lnTo>
                  <a:lnTo>
                    <a:pt x="1050" y="423"/>
                  </a:lnTo>
                  <a:lnTo>
                    <a:pt x="1050" y="426"/>
                  </a:lnTo>
                  <a:lnTo>
                    <a:pt x="1050" y="426"/>
                  </a:lnTo>
                  <a:lnTo>
                    <a:pt x="1050" y="426"/>
                  </a:lnTo>
                  <a:lnTo>
                    <a:pt x="1052" y="428"/>
                  </a:lnTo>
                  <a:lnTo>
                    <a:pt x="1054" y="428"/>
                  </a:lnTo>
                  <a:lnTo>
                    <a:pt x="1056" y="428"/>
                  </a:lnTo>
                  <a:lnTo>
                    <a:pt x="1058" y="428"/>
                  </a:lnTo>
                  <a:lnTo>
                    <a:pt x="1062" y="428"/>
                  </a:lnTo>
                  <a:lnTo>
                    <a:pt x="1066" y="430"/>
                  </a:lnTo>
                  <a:lnTo>
                    <a:pt x="1068" y="430"/>
                  </a:lnTo>
                  <a:lnTo>
                    <a:pt x="1068" y="430"/>
                  </a:lnTo>
                  <a:lnTo>
                    <a:pt x="1068" y="430"/>
                  </a:lnTo>
                  <a:lnTo>
                    <a:pt x="1068" y="432"/>
                  </a:lnTo>
                  <a:lnTo>
                    <a:pt x="1066" y="434"/>
                  </a:lnTo>
                  <a:lnTo>
                    <a:pt x="1068" y="434"/>
                  </a:lnTo>
                  <a:lnTo>
                    <a:pt x="1076" y="436"/>
                  </a:lnTo>
                  <a:lnTo>
                    <a:pt x="1076" y="434"/>
                  </a:lnTo>
                  <a:lnTo>
                    <a:pt x="1078" y="434"/>
                  </a:lnTo>
                  <a:lnTo>
                    <a:pt x="1083" y="436"/>
                  </a:lnTo>
                  <a:lnTo>
                    <a:pt x="1087" y="436"/>
                  </a:lnTo>
                  <a:lnTo>
                    <a:pt x="1091" y="436"/>
                  </a:lnTo>
                  <a:lnTo>
                    <a:pt x="1095" y="436"/>
                  </a:lnTo>
                  <a:lnTo>
                    <a:pt x="1099" y="436"/>
                  </a:lnTo>
                  <a:lnTo>
                    <a:pt x="1101" y="436"/>
                  </a:lnTo>
                  <a:lnTo>
                    <a:pt x="1101" y="436"/>
                  </a:lnTo>
                  <a:lnTo>
                    <a:pt x="1105" y="434"/>
                  </a:lnTo>
                  <a:lnTo>
                    <a:pt x="1107" y="434"/>
                  </a:lnTo>
                  <a:lnTo>
                    <a:pt x="1111" y="432"/>
                  </a:lnTo>
                  <a:lnTo>
                    <a:pt x="1114" y="432"/>
                  </a:lnTo>
                  <a:lnTo>
                    <a:pt x="1116" y="428"/>
                  </a:lnTo>
                  <a:lnTo>
                    <a:pt x="1116" y="428"/>
                  </a:lnTo>
                  <a:lnTo>
                    <a:pt x="1116" y="426"/>
                  </a:lnTo>
                  <a:lnTo>
                    <a:pt x="1114" y="426"/>
                  </a:lnTo>
                  <a:lnTo>
                    <a:pt x="1114" y="426"/>
                  </a:lnTo>
                  <a:lnTo>
                    <a:pt x="1111" y="426"/>
                  </a:lnTo>
                  <a:lnTo>
                    <a:pt x="1111" y="426"/>
                  </a:lnTo>
                  <a:lnTo>
                    <a:pt x="1111" y="426"/>
                  </a:lnTo>
                  <a:lnTo>
                    <a:pt x="1111" y="423"/>
                  </a:lnTo>
                  <a:lnTo>
                    <a:pt x="1111" y="423"/>
                  </a:lnTo>
                  <a:lnTo>
                    <a:pt x="1111" y="423"/>
                  </a:lnTo>
                  <a:lnTo>
                    <a:pt x="1111" y="421"/>
                  </a:lnTo>
                  <a:lnTo>
                    <a:pt x="1111" y="421"/>
                  </a:lnTo>
                  <a:lnTo>
                    <a:pt x="1111" y="419"/>
                  </a:lnTo>
                  <a:lnTo>
                    <a:pt x="1109" y="419"/>
                  </a:lnTo>
                  <a:lnTo>
                    <a:pt x="1105" y="419"/>
                  </a:lnTo>
                  <a:lnTo>
                    <a:pt x="1105" y="421"/>
                  </a:lnTo>
                  <a:lnTo>
                    <a:pt x="1101" y="421"/>
                  </a:lnTo>
                  <a:lnTo>
                    <a:pt x="1099" y="423"/>
                  </a:lnTo>
                  <a:lnTo>
                    <a:pt x="1097" y="426"/>
                  </a:lnTo>
                  <a:lnTo>
                    <a:pt x="1097" y="428"/>
                  </a:lnTo>
                  <a:lnTo>
                    <a:pt x="1097" y="426"/>
                  </a:lnTo>
                  <a:lnTo>
                    <a:pt x="1097" y="423"/>
                  </a:lnTo>
                  <a:lnTo>
                    <a:pt x="1097" y="421"/>
                  </a:lnTo>
                  <a:lnTo>
                    <a:pt x="1097" y="419"/>
                  </a:lnTo>
                  <a:lnTo>
                    <a:pt x="1097" y="419"/>
                  </a:lnTo>
                  <a:lnTo>
                    <a:pt x="1097" y="419"/>
                  </a:lnTo>
                  <a:lnTo>
                    <a:pt x="1095" y="419"/>
                  </a:lnTo>
                  <a:lnTo>
                    <a:pt x="1093" y="417"/>
                  </a:lnTo>
                  <a:lnTo>
                    <a:pt x="1093" y="417"/>
                  </a:lnTo>
                  <a:lnTo>
                    <a:pt x="1091" y="415"/>
                  </a:lnTo>
                  <a:lnTo>
                    <a:pt x="1091" y="415"/>
                  </a:lnTo>
                  <a:lnTo>
                    <a:pt x="1093" y="415"/>
                  </a:lnTo>
                  <a:lnTo>
                    <a:pt x="1093" y="415"/>
                  </a:lnTo>
                  <a:lnTo>
                    <a:pt x="1097" y="417"/>
                  </a:lnTo>
                  <a:lnTo>
                    <a:pt x="1099" y="417"/>
                  </a:lnTo>
                  <a:lnTo>
                    <a:pt x="1101" y="417"/>
                  </a:lnTo>
                  <a:lnTo>
                    <a:pt x="1103" y="417"/>
                  </a:lnTo>
                  <a:lnTo>
                    <a:pt x="1103" y="417"/>
                  </a:lnTo>
                  <a:lnTo>
                    <a:pt x="1105" y="417"/>
                  </a:lnTo>
                  <a:lnTo>
                    <a:pt x="1105" y="415"/>
                  </a:lnTo>
                  <a:lnTo>
                    <a:pt x="1105" y="415"/>
                  </a:lnTo>
                  <a:lnTo>
                    <a:pt x="1103" y="415"/>
                  </a:lnTo>
                  <a:lnTo>
                    <a:pt x="1103" y="413"/>
                  </a:lnTo>
                  <a:lnTo>
                    <a:pt x="1105" y="413"/>
                  </a:lnTo>
                  <a:lnTo>
                    <a:pt x="1107" y="411"/>
                  </a:lnTo>
                  <a:lnTo>
                    <a:pt x="1109" y="411"/>
                  </a:lnTo>
                  <a:lnTo>
                    <a:pt x="1109" y="411"/>
                  </a:lnTo>
                  <a:lnTo>
                    <a:pt x="1111" y="411"/>
                  </a:lnTo>
                  <a:lnTo>
                    <a:pt x="1114" y="413"/>
                  </a:lnTo>
                  <a:lnTo>
                    <a:pt x="1116" y="413"/>
                  </a:lnTo>
                  <a:lnTo>
                    <a:pt x="1118" y="415"/>
                  </a:lnTo>
                  <a:lnTo>
                    <a:pt x="1118" y="413"/>
                  </a:lnTo>
                  <a:lnTo>
                    <a:pt x="1118" y="413"/>
                  </a:lnTo>
                  <a:lnTo>
                    <a:pt x="1120" y="411"/>
                  </a:lnTo>
                  <a:lnTo>
                    <a:pt x="1120" y="411"/>
                  </a:lnTo>
                  <a:lnTo>
                    <a:pt x="1120" y="411"/>
                  </a:lnTo>
                  <a:lnTo>
                    <a:pt x="1120" y="413"/>
                  </a:lnTo>
                  <a:lnTo>
                    <a:pt x="1122" y="413"/>
                  </a:lnTo>
                  <a:lnTo>
                    <a:pt x="1124" y="415"/>
                  </a:lnTo>
                  <a:lnTo>
                    <a:pt x="1126" y="415"/>
                  </a:lnTo>
                  <a:lnTo>
                    <a:pt x="1126" y="415"/>
                  </a:lnTo>
                  <a:lnTo>
                    <a:pt x="1128" y="413"/>
                  </a:lnTo>
                  <a:close/>
                  <a:moveTo>
                    <a:pt x="1122" y="421"/>
                  </a:moveTo>
                  <a:lnTo>
                    <a:pt x="1124" y="421"/>
                  </a:lnTo>
                  <a:lnTo>
                    <a:pt x="1124" y="421"/>
                  </a:lnTo>
                  <a:lnTo>
                    <a:pt x="1126" y="421"/>
                  </a:lnTo>
                  <a:lnTo>
                    <a:pt x="1126" y="419"/>
                  </a:lnTo>
                  <a:lnTo>
                    <a:pt x="1126" y="419"/>
                  </a:lnTo>
                  <a:lnTo>
                    <a:pt x="1126" y="419"/>
                  </a:lnTo>
                  <a:lnTo>
                    <a:pt x="1126" y="417"/>
                  </a:lnTo>
                  <a:lnTo>
                    <a:pt x="1124" y="417"/>
                  </a:lnTo>
                  <a:lnTo>
                    <a:pt x="1122" y="417"/>
                  </a:lnTo>
                  <a:lnTo>
                    <a:pt x="1122" y="417"/>
                  </a:lnTo>
                  <a:lnTo>
                    <a:pt x="1122" y="417"/>
                  </a:lnTo>
                  <a:lnTo>
                    <a:pt x="1122" y="419"/>
                  </a:lnTo>
                  <a:lnTo>
                    <a:pt x="1124" y="419"/>
                  </a:lnTo>
                  <a:lnTo>
                    <a:pt x="1124" y="419"/>
                  </a:lnTo>
                  <a:lnTo>
                    <a:pt x="1124" y="419"/>
                  </a:lnTo>
                  <a:lnTo>
                    <a:pt x="1122" y="421"/>
                  </a:lnTo>
                  <a:lnTo>
                    <a:pt x="1122" y="421"/>
                  </a:lnTo>
                  <a:lnTo>
                    <a:pt x="1122" y="421"/>
                  </a:lnTo>
                  <a:lnTo>
                    <a:pt x="1122" y="421"/>
                  </a:lnTo>
                  <a:lnTo>
                    <a:pt x="1122" y="421"/>
                  </a:lnTo>
                  <a:close/>
                  <a:moveTo>
                    <a:pt x="1132" y="438"/>
                  </a:moveTo>
                  <a:lnTo>
                    <a:pt x="1132" y="438"/>
                  </a:lnTo>
                  <a:lnTo>
                    <a:pt x="1134" y="436"/>
                  </a:lnTo>
                  <a:lnTo>
                    <a:pt x="1134" y="436"/>
                  </a:lnTo>
                  <a:lnTo>
                    <a:pt x="1134" y="438"/>
                  </a:lnTo>
                  <a:lnTo>
                    <a:pt x="1134" y="438"/>
                  </a:lnTo>
                  <a:lnTo>
                    <a:pt x="1134" y="438"/>
                  </a:lnTo>
                  <a:lnTo>
                    <a:pt x="1136" y="438"/>
                  </a:lnTo>
                  <a:lnTo>
                    <a:pt x="1136" y="438"/>
                  </a:lnTo>
                  <a:lnTo>
                    <a:pt x="1136" y="438"/>
                  </a:lnTo>
                  <a:lnTo>
                    <a:pt x="1138" y="436"/>
                  </a:lnTo>
                  <a:lnTo>
                    <a:pt x="1138" y="434"/>
                  </a:lnTo>
                  <a:lnTo>
                    <a:pt x="1138" y="434"/>
                  </a:lnTo>
                  <a:lnTo>
                    <a:pt x="1136" y="432"/>
                  </a:lnTo>
                  <a:lnTo>
                    <a:pt x="1136" y="432"/>
                  </a:lnTo>
                  <a:lnTo>
                    <a:pt x="1134" y="432"/>
                  </a:lnTo>
                  <a:lnTo>
                    <a:pt x="1134" y="432"/>
                  </a:lnTo>
                  <a:lnTo>
                    <a:pt x="1132" y="432"/>
                  </a:lnTo>
                  <a:lnTo>
                    <a:pt x="1132" y="432"/>
                  </a:lnTo>
                  <a:lnTo>
                    <a:pt x="1132" y="432"/>
                  </a:lnTo>
                  <a:lnTo>
                    <a:pt x="1132" y="432"/>
                  </a:lnTo>
                  <a:lnTo>
                    <a:pt x="1132" y="434"/>
                  </a:lnTo>
                  <a:lnTo>
                    <a:pt x="1132" y="436"/>
                  </a:lnTo>
                  <a:lnTo>
                    <a:pt x="1132" y="436"/>
                  </a:lnTo>
                  <a:lnTo>
                    <a:pt x="1132" y="438"/>
                  </a:lnTo>
                  <a:lnTo>
                    <a:pt x="1132" y="438"/>
                  </a:lnTo>
                  <a:close/>
                  <a:moveTo>
                    <a:pt x="1192" y="258"/>
                  </a:moveTo>
                  <a:lnTo>
                    <a:pt x="1194" y="260"/>
                  </a:lnTo>
                  <a:lnTo>
                    <a:pt x="1196" y="260"/>
                  </a:lnTo>
                  <a:lnTo>
                    <a:pt x="1196" y="258"/>
                  </a:lnTo>
                  <a:lnTo>
                    <a:pt x="1198" y="258"/>
                  </a:lnTo>
                  <a:lnTo>
                    <a:pt x="1198" y="258"/>
                  </a:lnTo>
                  <a:lnTo>
                    <a:pt x="1198" y="256"/>
                  </a:lnTo>
                  <a:lnTo>
                    <a:pt x="1196" y="256"/>
                  </a:lnTo>
                  <a:lnTo>
                    <a:pt x="1192" y="254"/>
                  </a:lnTo>
                  <a:lnTo>
                    <a:pt x="1192" y="254"/>
                  </a:lnTo>
                  <a:lnTo>
                    <a:pt x="1192" y="254"/>
                  </a:lnTo>
                  <a:lnTo>
                    <a:pt x="1192" y="256"/>
                  </a:lnTo>
                  <a:lnTo>
                    <a:pt x="1190" y="256"/>
                  </a:lnTo>
                  <a:lnTo>
                    <a:pt x="1186" y="258"/>
                  </a:lnTo>
                  <a:lnTo>
                    <a:pt x="1184" y="258"/>
                  </a:lnTo>
                  <a:lnTo>
                    <a:pt x="1184" y="260"/>
                  </a:lnTo>
                  <a:lnTo>
                    <a:pt x="1184" y="260"/>
                  </a:lnTo>
                  <a:lnTo>
                    <a:pt x="1184" y="262"/>
                  </a:lnTo>
                  <a:lnTo>
                    <a:pt x="1186" y="262"/>
                  </a:lnTo>
                  <a:lnTo>
                    <a:pt x="1188" y="262"/>
                  </a:lnTo>
                  <a:lnTo>
                    <a:pt x="1188" y="262"/>
                  </a:lnTo>
                  <a:lnTo>
                    <a:pt x="1188" y="260"/>
                  </a:lnTo>
                  <a:lnTo>
                    <a:pt x="1192" y="258"/>
                  </a:lnTo>
                  <a:lnTo>
                    <a:pt x="1192" y="258"/>
                  </a:lnTo>
                  <a:close/>
                  <a:moveTo>
                    <a:pt x="1186" y="324"/>
                  </a:moveTo>
                  <a:lnTo>
                    <a:pt x="1186" y="324"/>
                  </a:lnTo>
                  <a:lnTo>
                    <a:pt x="1186" y="322"/>
                  </a:lnTo>
                  <a:lnTo>
                    <a:pt x="1184" y="324"/>
                  </a:lnTo>
                  <a:lnTo>
                    <a:pt x="1182" y="324"/>
                  </a:lnTo>
                  <a:lnTo>
                    <a:pt x="1182" y="326"/>
                  </a:lnTo>
                  <a:lnTo>
                    <a:pt x="1182" y="326"/>
                  </a:lnTo>
                  <a:lnTo>
                    <a:pt x="1182" y="328"/>
                  </a:lnTo>
                  <a:lnTo>
                    <a:pt x="1184" y="331"/>
                  </a:lnTo>
                  <a:lnTo>
                    <a:pt x="1186" y="331"/>
                  </a:lnTo>
                  <a:lnTo>
                    <a:pt x="1188" y="331"/>
                  </a:lnTo>
                  <a:lnTo>
                    <a:pt x="1188" y="328"/>
                  </a:lnTo>
                  <a:lnTo>
                    <a:pt x="1188" y="328"/>
                  </a:lnTo>
                  <a:lnTo>
                    <a:pt x="1190" y="326"/>
                  </a:lnTo>
                  <a:lnTo>
                    <a:pt x="1190" y="326"/>
                  </a:lnTo>
                  <a:lnTo>
                    <a:pt x="1188" y="326"/>
                  </a:lnTo>
                  <a:lnTo>
                    <a:pt x="1188" y="324"/>
                  </a:lnTo>
                  <a:lnTo>
                    <a:pt x="1186" y="324"/>
                  </a:lnTo>
                  <a:close/>
                  <a:moveTo>
                    <a:pt x="1215" y="248"/>
                  </a:moveTo>
                  <a:lnTo>
                    <a:pt x="1215" y="250"/>
                  </a:lnTo>
                  <a:lnTo>
                    <a:pt x="1215" y="250"/>
                  </a:lnTo>
                  <a:lnTo>
                    <a:pt x="1215" y="252"/>
                  </a:lnTo>
                  <a:lnTo>
                    <a:pt x="1217" y="252"/>
                  </a:lnTo>
                  <a:lnTo>
                    <a:pt x="1219" y="252"/>
                  </a:lnTo>
                  <a:lnTo>
                    <a:pt x="1221" y="252"/>
                  </a:lnTo>
                  <a:lnTo>
                    <a:pt x="1223" y="250"/>
                  </a:lnTo>
                  <a:lnTo>
                    <a:pt x="1223" y="250"/>
                  </a:lnTo>
                  <a:lnTo>
                    <a:pt x="1221" y="250"/>
                  </a:lnTo>
                  <a:lnTo>
                    <a:pt x="1221" y="248"/>
                  </a:lnTo>
                  <a:lnTo>
                    <a:pt x="1221" y="246"/>
                  </a:lnTo>
                  <a:lnTo>
                    <a:pt x="1219" y="246"/>
                  </a:lnTo>
                  <a:lnTo>
                    <a:pt x="1219" y="244"/>
                  </a:lnTo>
                  <a:lnTo>
                    <a:pt x="1219" y="244"/>
                  </a:lnTo>
                  <a:lnTo>
                    <a:pt x="1215" y="246"/>
                  </a:lnTo>
                  <a:lnTo>
                    <a:pt x="1215" y="246"/>
                  </a:lnTo>
                  <a:lnTo>
                    <a:pt x="1215" y="246"/>
                  </a:lnTo>
                  <a:lnTo>
                    <a:pt x="1212" y="246"/>
                  </a:lnTo>
                  <a:lnTo>
                    <a:pt x="1212" y="248"/>
                  </a:lnTo>
                  <a:lnTo>
                    <a:pt x="1215" y="248"/>
                  </a:lnTo>
                  <a:lnTo>
                    <a:pt x="1215" y="248"/>
                  </a:lnTo>
                  <a:close/>
                  <a:moveTo>
                    <a:pt x="1118" y="227"/>
                  </a:moveTo>
                  <a:lnTo>
                    <a:pt x="1118" y="227"/>
                  </a:lnTo>
                  <a:lnTo>
                    <a:pt x="1120" y="227"/>
                  </a:lnTo>
                  <a:lnTo>
                    <a:pt x="1124" y="227"/>
                  </a:lnTo>
                  <a:lnTo>
                    <a:pt x="1130" y="225"/>
                  </a:lnTo>
                  <a:lnTo>
                    <a:pt x="1136" y="223"/>
                  </a:lnTo>
                  <a:lnTo>
                    <a:pt x="1134" y="223"/>
                  </a:lnTo>
                  <a:lnTo>
                    <a:pt x="1132" y="223"/>
                  </a:lnTo>
                  <a:lnTo>
                    <a:pt x="1128" y="223"/>
                  </a:lnTo>
                  <a:lnTo>
                    <a:pt x="1126" y="223"/>
                  </a:lnTo>
                  <a:lnTo>
                    <a:pt x="1124" y="225"/>
                  </a:lnTo>
                  <a:lnTo>
                    <a:pt x="1120" y="225"/>
                  </a:lnTo>
                  <a:lnTo>
                    <a:pt x="1118" y="227"/>
                  </a:lnTo>
                  <a:close/>
                  <a:moveTo>
                    <a:pt x="1169" y="297"/>
                  </a:moveTo>
                  <a:lnTo>
                    <a:pt x="1161" y="300"/>
                  </a:lnTo>
                  <a:lnTo>
                    <a:pt x="1157" y="300"/>
                  </a:lnTo>
                  <a:lnTo>
                    <a:pt x="1157" y="302"/>
                  </a:lnTo>
                  <a:lnTo>
                    <a:pt x="1155" y="302"/>
                  </a:lnTo>
                  <a:lnTo>
                    <a:pt x="1155" y="302"/>
                  </a:lnTo>
                  <a:lnTo>
                    <a:pt x="1153" y="302"/>
                  </a:lnTo>
                  <a:lnTo>
                    <a:pt x="1151" y="304"/>
                  </a:lnTo>
                  <a:lnTo>
                    <a:pt x="1149" y="304"/>
                  </a:lnTo>
                  <a:lnTo>
                    <a:pt x="1149" y="304"/>
                  </a:lnTo>
                  <a:lnTo>
                    <a:pt x="1149" y="304"/>
                  </a:lnTo>
                  <a:lnTo>
                    <a:pt x="1151" y="306"/>
                  </a:lnTo>
                  <a:lnTo>
                    <a:pt x="1155" y="306"/>
                  </a:lnTo>
                  <a:lnTo>
                    <a:pt x="1157" y="306"/>
                  </a:lnTo>
                  <a:lnTo>
                    <a:pt x="1159" y="306"/>
                  </a:lnTo>
                  <a:lnTo>
                    <a:pt x="1159" y="306"/>
                  </a:lnTo>
                  <a:lnTo>
                    <a:pt x="1161" y="306"/>
                  </a:lnTo>
                  <a:lnTo>
                    <a:pt x="1165" y="304"/>
                  </a:lnTo>
                  <a:lnTo>
                    <a:pt x="1167" y="304"/>
                  </a:lnTo>
                  <a:lnTo>
                    <a:pt x="1171" y="302"/>
                  </a:lnTo>
                  <a:lnTo>
                    <a:pt x="1173" y="302"/>
                  </a:lnTo>
                  <a:lnTo>
                    <a:pt x="1173" y="300"/>
                  </a:lnTo>
                  <a:lnTo>
                    <a:pt x="1173" y="300"/>
                  </a:lnTo>
                  <a:lnTo>
                    <a:pt x="1173" y="297"/>
                  </a:lnTo>
                  <a:lnTo>
                    <a:pt x="1173" y="297"/>
                  </a:lnTo>
                  <a:lnTo>
                    <a:pt x="1171" y="297"/>
                  </a:lnTo>
                  <a:lnTo>
                    <a:pt x="1169" y="297"/>
                  </a:lnTo>
                  <a:close/>
                  <a:moveTo>
                    <a:pt x="1099" y="176"/>
                  </a:moveTo>
                  <a:lnTo>
                    <a:pt x="1099" y="178"/>
                  </a:lnTo>
                  <a:lnTo>
                    <a:pt x="1097" y="178"/>
                  </a:lnTo>
                  <a:lnTo>
                    <a:pt x="1095" y="180"/>
                  </a:lnTo>
                  <a:lnTo>
                    <a:pt x="1095" y="180"/>
                  </a:lnTo>
                  <a:lnTo>
                    <a:pt x="1095" y="180"/>
                  </a:lnTo>
                  <a:lnTo>
                    <a:pt x="1095" y="180"/>
                  </a:lnTo>
                  <a:lnTo>
                    <a:pt x="1097" y="182"/>
                  </a:lnTo>
                  <a:lnTo>
                    <a:pt x="1097" y="180"/>
                  </a:lnTo>
                  <a:lnTo>
                    <a:pt x="1101" y="178"/>
                  </a:lnTo>
                  <a:lnTo>
                    <a:pt x="1101" y="178"/>
                  </a:lnTo>
                  <a:lnTo>
                    <a:pt x="1099" y="176"/>
                  </a:lnTo>
                  <a:close/>
                  <a:moveTo>
                    <a:pt x="1105" y="240"/>
                  </a:moveTo>
                  <a:lnTo>
                    <a:pt x="1103" y="236"/>
                  </a:lnTo>
                  <a:lnTo>
                    <a:pt x="1101" y="236"/>
                  </a:lnTo>
                  <a:lnTo>
                    <a:pt x="1097" y="236"/>
                  </a:lnTo>
                  <a:lnTo>
                    <a:pt x="1089" y="238"/>
                  </a:lnTo>
                  <a:lnTo>
                    <a:pt x="1083" y="238"/>
                  </a:lnTo>
                  <a:lnTo>
                    <a:pt x="1078" y="240"/>
                  </a:lnTo>
                  <a:lnTo>
                    <a:pt x="1078" y="242"/>
                  </a:lnTo>
                  <a:lnTo>
                    <a:pt x="1081" y="244"/>
                  </a:lnTo>
                  <a:lnTo>
                    <a:pt x="1085" y="244"/>
                  </a:lnTo>
                  <a:lnTo>
                    <a:pt x="1087" y="244"/>
                  </a:lnTo>
                  <a:lnTo>
                    <a:pt x="1085" y="246"/>
                  </a:lnTo>
                  <a:lnTo>
                    <a:pt x="1087" y="248"/>
                  </a:lnTo>
                  <a:lnTo>
                    <a:pt x="1095" y="246"/>
                  </a:lnTo>
                  <a:lnTo>
                    <a:pt x="1097" y="246"/>
                  </a:lnTo>
                  <a:lnTo>
                    <a:pt x="1095" y="250"/>
                  </a:lnTo>
                  <a:lnTo>
                    <a:pt x="1093" y="252"/>
                  </a:lnTo>
                  <a:lnTo>
                    <a:pt x="1099" y="252"/>
                  </a:lnTo>
                  <a:lnTo>
                    <a:pt x="1103" y="250"/>
                  </a:lnTo>
                  <a:lnTo>
                    <a:pt x="1105" y="250"/>
                  </a:lnTo>
                  <a:lnTo>
                    <a:pt x="1105" y="248"/>
                  </a:lnTo>
                  <a:lnTo>
                    <a:pt x="1107" y="248"/>
                  </a:lnTo>
                  <a:lnTo>
                    <a:pt x="1111" y="246"/>
                  </a:lnTo>
                  <a:lnTo>
                    <a:pt x="1111" y="246"/>
                  </a:lnTo>
                  <a:lnTo>
                    <a:pt x="1111" y="246"/>
                  </a:lnTo>
                  <a:lnTo>
                    <a:pt x="1109" y="244"/>
                  </a:lnTo>
                  <a:lnTo>
                    <a:pt x="1105" y="242"/>
                  </a:lnTo>
                  <a:lnTo>
                    <a:pt x="1105" y="242"/>
                  </a:lnTo>
                  <a:lnTo>
                    <a:pt x="1105" y="240"/>
                  </a:lnTo>
                  <a:close/>
                  <a:moveTo>
                    <a:pt x="1064" y="308"/>
                  </a:moveTo>
                  <a:lnTo>
                    <a:pt x="1062" y="308"/>
                  </a:lnTo>
                  <a:lnTo>
                    <a:pt x="1050" y="308"/>
                  </a:lnTo>
                  <a:lnTo>
                    <a:pt x="1045" y="310"/>
                  </a:lnTo>
                  <a:lnTo>
                    <a:pt x="1045" y="310"/>
                  </a:lnTo>
                  <a:lnTo>
                    <a:pt x="1043" y="312"/>
                  </a:lnTo>
                  <a:lnTo>
                    <a:pt x="1041" y="314"/>
                  </a:lnTo>
                  <a:lnTo>
                    <a:pt x="1041" y="316"/>
                  </a:lnTo>
                  <a:lnTo>
                    <a:pt x="1043" y="316"/>
                  </a:lnTo>
                  <a:lnTo>
                    <a:pt x="1048" y="316"/>
                  </a:lnTo>
                  <a:lnTo>
                    <a:pt x="1052" y="320"/>
                  </a:lnTo>
                  <a:lnTo>
                    <a:pt x="1054" y="322"/>
                  </a:lnTo>
                  <a:lnTo>
                    <a:pt x="1054" y="322"/>
                  </a:lnTo>
                  <a:lnTo>
                    <a:pt x="1058" y="326"/>
                  </a:lnTo>
                  <a:lnTo>
                    <a:pt x="1062" y="328"/>
                  </a:lnTo>
                  <a:lnTo>
                    <a:pt x="1064" y="331"/>
                  </a:lnTo>
                  <a:lnTo>
                    <a:pt x="1064" y="331"/>
                  </a:lnTo>
                  <a:lnTo>
                    <a:pt x="1066" y="331"/>
                  </a:lnTo>
                  <a:lnTo>
                    <a:pt x="1066" y="331"/>
                  </a:lnTo>
                  <a:lnTo>
                    <a:pt x="1068" y="328"/>
                  </a:lnTo>
                  <a:lnTo>
                    <a:pt x="1070" y="326"/>
                  </a:lnTo>
                  <a:lnTo>
                    <a:pt x="1070" y="326"/>
                  </a:lnTo>
                  <a:lnTo>
                    <a:pt x="1072" y="324"/>
                  </a:lnTo>
                  <a:lnTo>
                    <a:pt x="1074" y="320"/>
                  </a:lnTo>
                  <a:lnTo>
                    <a:pt x="1074" y="318"/>
                  </a:lnTo>
                  <a:lnTo>
                    <a:pt x="1076" y="316"/>
                  </a:lnTo>
                  <a:lnTo>
                    <a:pt x="1076" y="314"/>
                  </a:lnTo>
                  <a:lnTo>
                    <a:pt x="1074" y="312"/>
                  </a:lnTo>
                  <a:lnTo>
                    <a:pt x="1074" y="312"/>
                  </a:lnTo>
                  <a:lnTo>
                    <a:pt x="1074" y="312"/>
                  </a:lnTo>
                  <a:lnTo>
                    <a:pt x="1072" y="310"/>
                  </a:lnTo>
                  <a:lnTo>
                    <a:pt x="1068" y="308"/>
                  </a:lnTo>
                  <a:lnTo>
                    <a:pt x="1064" y="308"/>
                  </a:lnTo>
                  <a:close/>
                  <a:moveTo>
                    <a:pt x="1074" y="264"/>
                  </a:moveTo>
                  <a:lnTo>
                    <a:pt x="1072" y="267"/>
                  </a:lnTo>
                  <a:lnTo>
                    <a:pt x="1072" y="269"/>
                  </a:lnTo>
                  <a:lnTo>
                    <a:pt x="1070" y="269"/>
                  </a:lnTo>
                  <a:lnTo>
                    <a:pt x="1070" y="269"/>
                  </a:lnTo>
                  <a:lnTo>
                    <a:pt x="1072" y="271"/>
                  </a:lnTo>
                  <a:lnTo>
                    <a:pt x="1074" y="271"/>
                  </a:lnTo>
                  <a:lnTo>
                    <a:pt x="1078" y="273"/>
                  </a:lnTo>
                  <a:lnTo>
                    <a:pt x="1083" y="273"/>
                  </a:lnTo>
                  <a:lnTo>
                    <a:pt x="1087" y="271"/>
                  </a:lnTo>
                  <a:lnTo>
                    <a:pt x="1087" y="271"/>
                  </a:lnTo>
                  <a:lnTo>
                    <a:pt x="1089" y="269"/>
                  </a:lnTo>
                  <a:lnTo>
                    <a:pt x="1089" y="269"/>
                  </a:lnTo>
                  <a:lnTo>
                    <a:pt x="1089" y="269"/>
                  </a:lnTo>
                  <a:lnTo>
                    <a:pt x="1089" y="267"/>
                  </a:lnTo>
                  <a:lnTo>
                    <a:pt x="1087" y="267"/>
                  </a:lnTo>
                  <a:lnTo>
                    <a:pt x="1087" y="264"/>
                  </a:lnTo>
                  <a:lnTo>
                    <a:pt x="1087" y="262"/>
                  </a:lnTo>
                  <a:lnTo>
                    <a:pt x="1087" y="262"/>
                  </a:lnTo>
                  <a:lnTo>
                    <a:pt x="1085" y="262"/>
                  </a:lnTo>
                  <a:lnTo>
                    <a:pt x="1083" y="260"/>
                  </a:lnTo>
                  <a:lnTo>
                    <a:pt x="1078" y="260"/>
                  </a:lnTo>
                  <a:lnTo>
                    <a:pt x="1076" y="260"/>
                  </a:lnTo>
                  <a:lnTo>
                    <a:pt x="1074" y="262"/>
                  </a:lnTo>
                  <a:lnTo>
                    <a:pt x="1074" y="264"/>
                  </a:lnTo>
                  <a:close/>
                  <a:moveTo>
                    <a:pt x="1192" y="273"/>
                  </a:moveTo>
                  <a:lnTo>
                    <a:pt x="1194" y="275"/>
                  </a:lnTo>
                  <a:lnTo>
                    <a:pt x="1194" y="275"/>
                  </a:lnTo>
                  <a:lnTo>
                    <a:pt x="1194" y="275"/>
                  </a:lnTo>
                  <a:lnTo>
                    <a:pt x="1196" y="275"/>
                  </a:lnTo>
                  <a:lnTo>
                    <a:pt x="1196" y="275"/>
                  </a:lnTo>
                  <a:lnTo>
                    <a:pt x="1200" y="277"/>
                  </a:lnTo>
                  <a:lnTo>
                    <a:pt x="1206" y="279"/>
                  </a:lnTo>
                  <a:lnTo>
                    <a:pt x="1208" y="279"/>
                  </a:lnTo>
                  <a:lnTo>
                    <a:pt x="1212" y="281"/>
                  </a:lnTo>
                  <a:lnTo>
                    <a:pt x="1215" y="283"/>
                  </a:lnTo>
                  <a:lnTo>
                    <a:pt x="1217" y="283"/>
                  </a:lnTo>
                  <a:lnTo>
                    <a:pt x="1219" y="283"/>
                  </a:lnTo>
                  <a:lnTo>
                    <a:pt x="1223" y="283"/>
                  </a:lnTo>
                  <a:lnTo>
                    <a:pt x="1227" y="283"/>
                  </a:lnTo>
                  <a:lnTo>
                    <a:pt x="1231" y="283"/>
                  </a:lnTo>
                  <a:lnTo>
                    <a:pt x="1233" y="283"/>
                  </a:lnTo>
                  <a:lnTo>
                    <a:pt x="1233" y="281"/>
                  </a:lnTo>
                  <a:lnTo>
                    <a:pt x="1233" y="281"/>
                  </a:lnTo>
                  <a:lnTo>
                    <a:pt x="1233" y="281"/>
                  </a:lnTo>
                  <a:lnTo>
                    <a:pt x="1233" y="279"/>
                  </a:lnTo>
                  <a:lnTo>
                    <a:pt x="1233" y="279"/>
                  </a:lnTo>
                  <a:lnTo>
                    <a:pt x="1233" y="277"/>
                  </a:lnTo>
                  <a:lnTo>
                    <a:pt x="1233" y="275"/>
                  </a:lnTo>
                  <a:lnTo>
                    <a:pt x="1233" y="275"/>
                  </a:lnTo>
                  <a:lnTo>
                    <a:pt x="1233" y="273"/>
                  </a:lnTo>
                  <a:lnTo>
                    <a:pt x="1233" y="271"/>
                  </a:lnTo>
                  <a:lnTo>
                    <a:pt x="1233" y="271"/>
                  </a:lnTo>
                  <a:lnTo>
                    <a:pt x="1233" y="269"/>
                  </a:lnTo>
                  <a:lnTo>
                    <a:pt x="1231" y="267"/>
                  </a:lnTo>
                  <a:lnTo>
                    <a:pt x="1231" y="264"/>
                  </a:lnTo>
                  <a:lnTo>
                    <a:pt x="1229" y="262"/>
                  </a:lnTo>
                  <a:lnTo>
                    <a:pt x="1227" y="260"/>
                  </a:lnTo>
                  <a:lnTo>
                    <a:pt x="1223" y="258"/>
                  </a:lnTo>
                  <a:lnTo>
                    <a:pt x="1221" y="256"/>
                  </a:lnTo>
                  <a:lnTo>
                    <a:pt x="1217" y="256"/>
                  </a:lnTo>
                  <a:lnTo>
                    <a:pt x="1215" y="254"/>
                  </a:lnTo>
                  <a:lnTo>
                    <a:pt x="1210" y="256"/>
                  </a:lnTo>
                  <a:lnTo>
                    <a:pt x="1202" y="258"/>
                  </a:lnTo>
                  <a:lnTo>
                    <a:pt x="1200" y="260"/>
                  </a:lnTo>
                  <a:lnTo>
                    <a:pt x="1198" y="260"/>
                  </a:lnTo>
                  <a:lnTo>
                    <a:pt x="1196" y="262"/>
                  </a:lnTo>
                  <a:lnTo>
                    <a:pt x="1196" y="264"/>
                  </a:lnTo>
                  <a:lnTo>
                    <a:pt x="1196" y="267"/>
                  </a:lnTo>
                  <a:lnTo>
                    <a:pt x="1194" y="267"/>
                  </a:lnTo>
                  <a:lnTo>
                    <a:pt x="1192" y="267"/>
                  </a:lnTo>
                  <a:lnTo>
                    <a:pt x="1190" y="271"/>
                  </a:lnTo>
                  <a:lnTo>
                    <a:pt x="1190" y="271"/>
                  </a:lnTo>
                  <a:lnTo>
                    <a:pt x="1190" y="273"/>
                  </a:lnTo>
                  <a:lnTo>
                    <a:pt x="1190" y="273"/>
                  </a:lnTo>
                  <a:lnTo>
                    <a:pt x="1190" y="273"/>
                  </a:lnTo>
                  <a:lnTo>
                    <a:pt x="1192" y="273"/>
                  </a:lnTo>
                  <a:lnTo>
                    <a:pt x="1192" y="273"/>
                  </a:lnTo>
                  <a:close/>
                  <a:moveTo>
                    <a:pt x="1450" y="622"/>
                  </a:moveTo>
                  <a:lnTo>
                    <a:pt x="1450" y="620"/>
                  </a:lnTo>
                  <a:lnTo>
                    <a:pt x="1452" y="620"/>
                  </a:lnTo>
                  <a:lnTo>
                    <a:pt x="1448" y="620"/>
                  </a:lnTo>
                  <a:lnTo>
                    <a:pt x="1445" y="622"/>
                  </a:lnTo>
                  <a:lnTo>
                    <a:pt x="1445" y="622"/>
                  </a:lnTo>
                  <a:lnTo>
                    <a:pt x="1445" y="622"/>
                  </a:lnTo>
                  <a:lnTo>
                    <a:pt x="1448" y="622"/>
                  </a:lnTo>
                  <a:lnTo>
                    <a:pt x="1450" y="622"/>
                  </a:lnTo>
                  <a:close/>
                  <a:moveTo>
                    <a:pt x="1456" y="570"/>
                  </a:moveTo>
                  <a:lnTo>
                    <a:pt x="1458" y="570"/>
                  </a:lnTo>
                  <a:lnTo>
                    <a:pt x="1460" y="568"/>
                  </a:lnTo>
                  <a:lnTo>
                    <a:pt x="1460" y="568"/>
                  </a:lnTo>
                  <a:lnTo>
                    <a:pt x="1460" y="566"/>
                  </a:lnTo>
                  <a:lnTo>
                    <a:pt x="1462" y="566"/>
                  </a:lnTo>
                  <a:lnTo>
                    <a:pt x="1460" y="566"/>
                  </a:lnTo>
                  <a:lnTo>
                    <a:pt x="1460" y="564"/>
                  </a:lnTo>
                  <a:lnTo>
                    <a:pt x="1458" y="562"/>
                  </a:lnTo>
                  <a:lnTo>
                    <a:pt x="1458" y="562"/>
                  </a:lnTo>
                  <a:lnTo>
                    <a:pt x="1456" y="562"/>
                  </a:lnTo>
                  <a:lnTo>
                    <a:pt x="1456" y="562"/>
                  </a:lnTo>
                  <a:lnTo>
                    <a:pt x="1452" y="562"/>
                  </a:lnTo>
                  <a:lnTo>
                    <a:pt x="1448" y="562"/>
                  </a:lnTo>
                  <a:lnTo>
                    <a:pt x="1448" y="562"/>
                  </a:lnTo>
                  <a:lnTo>
                    <a:pt x="1448" y="562"/>
                  </a:lnTo>
                  <a:lnTo>
                    <a:pt x="1448" y="564"/>
                  </a:lnTo>
                  <a:lnTo>
                    <a:pt x="1450" y="566"/>
                  </a:lnTo>
                  <a:lnTo>
                    <a:pt x="1454" y="570"/>
                  </a:lnTo>
                  <a:lnTo>
                    <a:pt x="1456" y="570"/>
                  </a:lnTo>
                  <a:close/>
                  <a:moveTo>
                    <a:pt x="1499" y="444"/>
                  </a:moveTo>
                  <a:lnTo>
                    <a:pt x="1499" y="442"/>
                  </a:lnTo>
                  <a:lnTo>
                    <a:pt x="1497" y="440"/>
                  </a:lnTo>
                  <a:lnTo>
                    <a:pt x="1495" y="440"/>
                  </a:lnTo>
                  <a:lnTo>
                    <a:pt x="1495" y="440"/>
                  </a:lnTo>
                  <a:lnTo>
                    <a:pt x="1493" y="440"/>
                  </a:lnTo>
                  <a:lnTo>
                    <a:pt x="1491" y="440"/>
                  </a:lnTo>
                  <a:lnTo>
                    <a:pt x="1491" y="442"/>
                  </a:lnTo>
                  <a:lnTo>
                    <a:pt x="1491" y="442"/>
                  </a:lnTo>
                  <a:lnTo>
                    <a:pt x="1491" y="444"/>
                  </a:lnTo>
                  <a:lnTo>
                    <a:pt x="1493" y="444"/>
                  </a:lnTo>
                  <a:lnTo>
                    <a:pt x="1495" y="446"/>
                  </a:lnTo>
                  <a:lnTo>
                    <a:pt x="1497" y="448"/>
                  </a:lnTo>
                  <a:lnTo>
                    <a:pt x="1499" y="448"/>
                  </a:lnTo>
                  <a:lnTo>
                    <a:pt x="1499" y="448"/>
                  </a:lnTo>
                  <a:lnTo>
                    <a:pt x="1499" y="446"/>
                  </a:lnTo>
                  <a:lnTo>
                    <a:pt x="1499" y="446"/>
                  </a:lnTo>
                  <a:lnTo>
                    <a:pt x="1499" y="446"/>
                  </a:lnTo>
                  <a:lnTo>
                    <a:pt x="1499" y="446"/>
                  </a:lnTo>
                  <a:lnTo>
                    <a:pt x="1499" y="444"/>
                  </a:lnTo>
                  <a:lnTo>
                    <a:pt x="1499" y="444"/>
                  </a:lnTo>
                  <a:close/>
                  <a:moveTo>
                    <a:pt x="1443" y="717"/>
                  </a:moveTo>
                  <a:lnTo>
                    <a:pt x="1443" y="717"/>
                  </a:lnTo>
                  <a:lnTo>
                    <a:pt x="1443" y="715"/>
                  </a:lnTo>
                  <a:lnTo>
                    <a:pt x="1445" y="715"/>
                  </a:lnTo>
                  <a:lnTo>
                    <a:pt x="1445" y="713"/>
                  </a:lnTo>
                  <a:lnTo>
                    <a:pt x="1445" y="710"/>
                  </a:lnTo>
                  <a:lnTo>
                    <a:pt x="1443" y="710"/>
                  </a:lnTo>
                  <a:lnTo>
                    <a:pt x="1443" y="710"/>
                  </a:lnTo>
                  <a:lnTo>
                    <a:pt x="1443" y="710"/>
                  </a:lnTo>
                  <a:lnTo>
                    <a:pt x="1443" y="713"/>
                  </a:lnTo>
                  <a:lnTo>
                    <a:pt x="1443" y="713"/>
                  </a:lnTo>
                  <a:lnTo>
                    <a:pt x="1441" y="715"/>
                  </a:lnTo>
                  <a:lnTo>
                    <a:pt x="1441" y="717"/>
                  </a:lnTo>
                  <a:lnTo>
                    <a:pt x="1441" y="717"/>
                  </a:lnTo>
                  <a:lnTo>
                    <a:pt x="1441" y="717"/>
                  </a:lnTo>
                  <a:lnTo>
                    <a:pt x="1443" y="717"/>
                  </a:lnTo>
                  <a:close/>
                  <a:moveTo>
                    <a:pt x="1458" y="551"/>
                  </a:moveTo>
                  <a:lnTo>
                    <a:pt x="1460" y="549"/>
                  </a:lnTo>
                  <a:lnTo>
                    <a:pt x="1460" y="549"/>
                  </a:lnTo>
                  <a:lnTo>
                    <a:pt x="1460" y="549"/>
                  </a:lnTo>
                  <a:lnTo>
                    <a:pt x="1460" y="549"/>
                  </a:lnTo>
                  <a:lnTo>
                    <a:pt x="1458" y="549"/>
                  </a:lnTo>
                  <a:lnTo>
                    <a:pt x="1456" y="549"/>
                  </a:lnTo>
                  <a:lnTo>
                    <a:pt x="1454" y="549"/>
                  </a:lnTo>
                  <a:lnTo>
                    <a:pt x="1456" y="549"/>
                  </a:lnTo>
                  <a:lnTo>
                    <a:pt x="1456" y="551"/>
                  </a:lnTo>
                  <a:lnTo>
                    <a:pt x="1458" y="551"/>
                  </a:lnTo>
                  <a:close/>
                  <a:moveTo>
                    <a:pt x="1485" y="448"/>
                  </a:moveTo>
                  <a:lnTo>
                    <a:pt x="1483" y="448"/>
                  </a:lnTo>
                  <a:lnTo>
                    <a:pt x="1481" y="448"/>
                  </a:lnTo>
                  <a:lnTo>
                    <a:pt x="1481" y="448"/>
                  </a:lnTo>
                  <a:lnTo>
                    <a:pt x="1478" y="448"/>
                  </a:lnTo>
                  <a:lnTo>
                    <a:pt x="1474" y="450"/>
                  </a:lnTo>
                  <a:lnTo>
                    <a:pt x="1472" y="450"/>
                  </a:lnTo>
                  <a:lnTo>
                    <a:pt x="1472" y="450"/>
                  </a:lnTo>
                  <a:lnTo>
                    <a:pt x="1470" y="454"/>
                  </a:lnTo>
                  <a:lnTo>
                    <a:pt x="1466" y="456"/>
                  </a:lnTo>
                  <a:lnTo>
                    <a:pt x="1466" y="461"/>
                  </a:lnTo>
                  <a:lnTo>
                    <a:pt x="1464" y="463"/>
                  </a:lnTo>
                  <a:lnTo>
                    <a:pt x="1464" y="465"/>
                  </a:lnTo>
                  <a:lnTo>
                    <a:pt x="1466" y="469"/>
                  </a:lnTo>
                  <a:lnTo>
                    <a:pt x="1466" y="471"/>
                  </a:lnTo>
                  <a:lnTo>
                    <a:pt x="1468" y="473"/>
                  </a:lnTo>
                  <a:lnTo>
                    <a:pt x="1468" y="473"/>
                  </a:lnTo>
                  <a:lnTo>
                    <a:pt x="1470" y="475"/>
                  </a:lnTo>
                  <a:lnTo>
                    <a:pt x="1470" y="475"/>
                  </a:lnTo>
                  <a:lnTo>
                    <a:pt x="1472" y="475"/>
                  </a:lnTo>
                  <a:lnTo>
                    <a:pt x="1478" y="475"/>
                  </a:lnTo>
                  <a:lnTo>
                    <a:pt x="1483" y="473"/>
                  </a:lnTo>
                  <a:lnTo>
                    <a:pt x="1487" y="473"/>
                  </a:lnTo>
                  <a:lnTo>
                    <a:pt x="1491" y="471"/>
                  </a:lnTo>
                  <a:lnTo>
                    <a:pt x="1493" y="471"/>
                  </a:lnTo>
                  <a:lnTo>
                    <a:pt x="1495" y="469"/>
                  </a:lnTo>
                  <a:lnTo>
                    <a:pt x="1495" y="467"/>
                  </a:lnTo>
                  <a:lnTo>
                    <a:pt x="1495" y="465"/>
                  </a:lnTo>
                  <a:lnTo>
                    <a:pt x="1495" y="463"/>
                  </a:lnTo>
                  <a:lnTo>
                    <a:pt x="1495" y="456"/>
                  </a:lnTo>
                  <a:lnTo>
                    <a:pt x="1495" y="456"/>
                  </a:lnTo>
                  <a:lnTo>
                    <a:pt x="1495" y="454"/>
                  </a:lnTo>
                  <a:lnTo>
                    <a:pt x="1497" y="454"/>
                  </a:lnTo>
                  <a:lnTo>
                    <a:pt x="1497" y="452"/>
                  </a:lnTo>
                  <a:lnTo>
                    <a:pt x="1495" y="452"/>
                  </a:lnTo>
                  <a:lnTo>
                    <a:pt x="1495" y="450"/>
                  </a:lnTo>
                  <a:lnTo>
                    <a:pt x="1495" y="450"/>
                  </a:lnTo>
                  <a:lnTo>
                    <a:pt x="1487" y="448"/>
                  </a:lnTo>
                  <a:lnTo>
                    <a:pt x="1485" y="448"/>
                  </a:lnTo>
                  <a:close/>
                  <a:moveTo>
                    <a:pt x="1427" y="640"/>
                  </a:moveTo>
                  <a:lnTo>
                    <a:pt x="1427" y="640"/>
                  </a:lnTo>
                  <a:lnTo>
                    <a:pt x="1427" y="640"/>
                  </a:lnTo>
                  <a:lnTo>
                    <a:pt x="1425" y="640"/>
                  </a:lnTo>
                  <a:lnTo>
                    <a:pt x="1425" y="640"/>
                  </a:lnTo>
                  <a:lnTo>
                    <a:pt x="1425" y="640"/>
                  </a:lnTo>
                  <a:lnTo>
                    <a:pt x="1423" y="642"/>
                  </a:lnTo>
                  <a:lnTo>
                    <a:pt x="1425" y="642"/>
                  </a:lnTo>
                  <a:lnTo>
                    <a:pt x="1427" y="640"/>
                  </a:lnTo>
                  <a:close/>
                  <a:moveTo>
                    <a:pt x="1425" y="772"/>
                  </a:moveTo>
                  <a:lnTo>
                    <a:pt x="1425" y="772"/>
                  </a:lnTo>
                  <a:lnTo>
                    <a:pt x="1427" y="772"/>
                  </a:lnTo>
                  <a:lnTo>
                    <a:pt x="1427" y="772"/>
                  </a:lnTo>
                  <a:lnTo>
                    <a:pt x="1427" y="770"/>
                  </a:lnTo>
                  <a:lnTo>
                    <a:pt x="1425" y="770"/>
                  </a:lnTo>
                  <a:lnTo>
                    <a:pt x="1425" y="770"/>
                  </a:lnTo>
                  <a:lnTo>
                    <a:pt x="1425" y="772"/>
                  </a:lnTo>
                  <a:lnTo>
                    <a:pt x="1425" y="772"/>
                  </a:lnTo>
                  <a:close/>
                  <a:moveTo>
                    <a:pt x="1427" y="702"/>
                  </a:moveTo>
                  <a:lnTo>
                    <a:pt x="1427" y="702"/>
                  </a:lnTo>
                  <a:lnTo>
                    <a:pt x="1427" y="704"/>
                  </a:lnTo>
                  <a:lnTo>
                    <a:pt x="1427" y="704"/>
                  </a:lnTo>
                  <a:lnTo>
                    <a:pt x="1427" y="704"/>
                  </a:lnTo>
                  <a:lnTo>
                    <a:pt x="1429" y="702"/>
                  </a:lnTo>
                  <a:lnTo>
                    <a:pt x="1429" y="702"/>
                  </a:lnTo>
                  <a:lnTo>
                    <a:pt x="1427" y="702"/>
                  </a:lnTo>
                  <a:lnTo>
                    <a:pt x="1427" y="702"/>
                  </a:lnTo>
                  <a:close/>
                  <a:moveTo>
                    <a:pt x="1427" y="715"/>
                  </a:moveTo>
                  <a:lnTo>
                    <a:pt x="1431" y="713"/>
                  </a:lnTo>
                  <a:lnTo>
                    <a:pt x="1431" y="710"/>
                  </a:lnTo>
                  <a:lnTo>
                    <a:pt x="1431" y="710"/>
                  </a:lnTo>
                  <a:lnTo>
                    <a:pt x="1431" y="710"/>
                  </a:lnTo>
                  <a:lnTo>
                    <a:pt x="1431" y="710"/>
                  </a:lnTo>
                  <a:lnTo>
                    <a:pt x="1429" y="713"/>
                  </a:lnTo>
                  <a:lnTo>
                    <a:pt x="1429" y="713"/>
                  </a:lnTo>
                  <a:lnTo>
                    <a:pt x="1427" y="713"/>
                  </a:lnTo>
                  <a:lnTo>
                    <a:pt x="1427" y="713"/>
                  </a:lnTo>
                  <a:lnTo>
                    <a:pt x="1425" y="713"/>
                  </a:lnTo>
                  <a:lnTo>
                    <a:pt x="1425" y="713"/>
                  </a:lnTo>
                  <a:lnTo>
                    <a:pt x="1425" y="715"/>
                  </a:lnTo>
                  <a:lnTo>
                    <a:pt x="1425" y="715"/>
                  </a:lnTo>
                  <a:lnTo>
                    <a:pt x="1427" y="715"/>
                  </a:lnTo>
                  <a:close/>
                  <a:moveTo>
                    <a:pt x="1202" y="421"/>
                  </a:moveTo>
                  <a:lnTo>
                    <a:pt x="1202" y="423"/>
                  </a:lnTo>
                  <a:lnTo>
                    <a:pt x="1202" y="423"/>
                  </a:lnTo>
                  <a:lnTo>
                    <a:pt x="1204" y="423"/>
                  </a:lnTo>
                  <a:lnTo>
                    <a:pt x="1204" y="423"/>
                  </a:lnTo>
                  <a:lnTo>
                    <a:pt x="1206" y="421"/>
                  </a:lnTo>
                  <a:lnTo>
                    <a:pt x="1206" y="421"/>
                  </a:lnTo>
                  <a:lnTo>
                    <a:pt x="1206" y="419"/>
                  </a:lnTo>
                  <a:lnTo>
                    <a:pt x="1206" y="419"/>
                  </a:lnTo>
                  <a:lnTo>
                    <a:pt x="1204" y="417"/>
                  </a:lnTo>
                  <a:lnTo>
                    <a:pt x="1204" y="417"/>
                  </a:lnTo>
                  <a:lnTo>
                    <a:pt x="1202" y="415"/>
                  </a:lnTo>
                  <a:lnTo>
                    <a:pt x="1200" y="415"/>
                  </a:lnTo>
                  <a:lnTo>
                    <a:pt x="1200" y="417"/>
                  </a:lnTo>
                  <a:lnTo>
                    <a:pt x="1198" y="417"/>
                  </a:lnTo>
                  <a:lnTo>
                    <a:pt x="1198" y="419"/>
                  </a:lnTo>
                  <a:lnTo>
                    <a:pt x="1198" y="419"/>
                  </a:lnTo>
                  <a:lnTo>
                    <a:pt x="1198" y="421"/>
                  </a:lnTo>
                  <a:lnTo>
                    <a:pt x="1198" y="421"/>
                  </a:lnTo>
                  <a:lnTo>
                    <a:pt x="1198" y="423"/>
                  </a:lnTo>
                  <a:lnTo>
                    <a:pt x="1200" y="423"/>
                  </a:lnTo>
                  <a:lnTo>
                    <a:pt x="1200" y="421"/>
                  </a:lnTo>
                  <a:lnTo>
                    <a:pt x="1200" y="421"/>
                  </a:lnTo>
                  <a:lnTo>
                    <a:pt x="1200" y="419"/>
                  </a:lnTo>
                  <a:lnTo>
                    <a:pt x="1200" y="417"/>
                  </a:lnTo>
                  <a:lnTo>
                    <a:pt x="1200" y="417"/>
                  </a:lnTo>
                  <a:lnTo>
                    <a:pt x="1200" y="417"/>
                  </a:lnTo>
                  <a:lnTo>
                    <a:pt x="1202" y="417"/>
                  </a:lnTo>
                  <a:lnTo>
                    <a:pt x="1202" y="419"/>
                  </a:lnTo>
                  <a:lnTo>
                    <a:pt x="1202" y="421"/>
                  </a:lnTo>
                  <a:lnTo>
                    <a:pt x="1202" y="421"/>
                  </a:lnTo>
                  <a:lnTo>
                    <a:pt x="1202" y="421"/>
                  </a:lnTo>
                  <a:close/>
                  <a:moveTo>
                    <a:pt x="1188" y="345"/>
                  </a:moveTo>
                  <a:lnTo>
                    <a:pt x="1190" y="345"/>
                  </a:lnTo>
                  <a:lnTo>
                    <a:pt x="1192" y="343"/>
                  </a:lnTo>
                  <a:lnTo>
                    <a:pt x="1192" y="343"/>
                  </a:lnTo>
                  <a:lnTo>
                    <a:pt x="1192" y="341"/>
                  </a:lnTo>
                  <a:lnTo>
                    <a:pt x="1190" y="339"/>
                  </a:lnTo>
                  <a:lnTo>
                    <a:pt x="1190" y="337"/>
                  </a:lnTo>
                  <a:lnTo>
                    <a:pt x="1190" y="337"/>
                  </a:lnTo>
                  <a:lnTo>
                    <a:pt x="1188" y="337"/>
                  </a:lnTo>
                  <a:lnTo>
                    <a:pt x="1186" y="337"/>
                  </a:lnTo>
                  <a:lnTo>
                    <a:pt x="1184" y="339"/>
                  </a:lnTo>
                  <a:lnTo>
                    <a:pt x="1182" y="339"/>
                  </a:lnTo>
                  <a:lnTo>
                    <a:pt x="1182" y="339"/>
                  </a:lnTo>
                  <a:lnTo>
                    <a:pt x="1182" y="337"/>
                  </a:lnTo>
                  <a:lnTo>
                    <a:pt x="1182" y="337"/>
                  </a:lnTo>
                  <a:lnTo>
                    <a:pt x="1182" y="335"/>
                  </a:lnTo>
                  <a:lnTo>
                    <a:pt x="1179" y="333"/>
                  </a:lnTo>
                  <a:lnTo>
                    <a:pt x="1177" y="333"/>
                  </a:lnTo>
                  <a:lnTo>
                    <a:pt x="1177" y="333"/>
                  </a:lnTo>
                  <a:lnTo>
                    <a:pt x="1179" y="331"/>
                  </a:lnTo>
                  <a:lnTo>
                    <a:pt x="1179" y="331"/>
                  </a:lnTo>
                  <a:lnTo>
                    <a:pt x="1179" y="331"/>
                  </a:lnTo>
                  <a:lnTo>
                    <a:pt x="1177" y="328"/>
                  </a:lnTo>
                  <a:lnTo>
                    <a:pt x="1173" y="328"/>
                  </a:lnTo>
                  <a:lnTo>
                    <a:pt x="1173" y="326"/>
                  </a:lnTo>
                  <a:lnTo>
                    <a:pt x="1169" y="326"/>
                  </a:lnTo>
                  <a:lnTo>
                    <a:pt x="1169" y="328"/>
                  </a:lnTo>
                  <a:lnTo>
                    <a:pt x="1167" y="328"/>
                  </a:lnTo>
                  <a:lnTo>
                    <a:pt x="1163" y="331"/>
                  </a:lnTo>
                  <a:lnTo>
                    <a:pt x="1163" y="331"/>
                  </a:lnTo>
                  <a:lnTo>
                    <a:pt x="1163" y="328"/>
                  </a:lnTo>
                  <a:lnTo>
                    <a:pt x="1163" y="328"/>
                  </a:lnTo>
                  <a:lnTo>
                    <a:pt x="1163" y="328"/>
                  </a:lnTo>
                  <a:lnTo>
                    <a:pt x="1163" y="326"/>
                  </a:lnTo>
                  <a:lnTo>
                    <a:pt x="1167" y="324"/>
                  </a:lnTo>
                  <a:lnTo>
                    <a:pt x="1171" y="320"/>
                  </a:lnTo>
                  <a:lnTo>
                    <a:pt x="1177" y="318"/>
                  </a:lnTo>
                  <a:lnTo>
                    <a:pt x="1179" y="318"/>
                  </a:lnTo>
                  <a:lnTo>
                    <a:pt x="1179" y="316"/>
                  </a:lnTo>
                  <a:lnTo>
                    <a:pt x="1179" y="316"/>
                  </a:lnTo>
                  <a:lnTo>
                    <a:pt x="1177" y="316"/>
                  </a:lnTo>
                  <a:lnTo>
                    <a:pt x="1177" y="316"/>
                  </a:lnTo>
                  <a:lnTo>
                    <a:pt x="1175" y="316"/>
                  </a:lnTo>
                  <a:lnTo>
                    <a:pt x="1175" y="316"/>
                  </a:lnTo>
                  <a:lnTo>
                    <a:pt x="1175" y="316"/>
                  </a:lnTo>
                  <a:lnTo>
                    <a:pt x="1175" y="314"/>
                  </a:lnTo>
                  <a:lnTo>
                    <a:pt x="1175" y="314"/>
                  </a:lnTo>
                  <a:lnTo>
                    <a:pt x="1175" y="314"/>
                  </a:lnTo>
                  <a:lnTo>
                    <a:pt x="1177" y="314"/>
                  </a:lnTo>
                  <a:lnTo>
                    <a:pt x="1179" y="312"/>
                  </a:lnTo>
                  <a:lnTo>
                    <a:pt x="1182" y="312"/>
                  </a:lnTo>
                  <a:lnTo>
                    <a:pt x="1182" y="312"/>
                  </a:lnTo>
                  <a:lnTo>
                    <a:pt x="1184" y="310"/>
                  </a:lnTo>
                  <a:lnTo>
                    <a:pt x="1184" y="310"/>
                  </a:lnTo>
                  <a:lnTo>
                    <a:pt x="1184" y="310"/>
                  </a:lnTo>
                  <a:lnTo>
                    <a:pt x="1182" y="306"/>
                  </a:lnTo>
                  <a:lnTo>
                    <a:pt x="1182" y="306"/>
                  </a:lnTo>
                  <a:lnTo>
                    <a:pt x="1179" y="306"/>
                  </a:lnTo>
                  <a:lnTo>
                    <a:pt x="1179" y="306"/>
                  </a:lnTo>
                  <a:lnTo>
                    <a:pt x="1175" y="304"/>
                  </a:lnTo>
                  <a:lnTo>
                    <a:pt x="1173" y="304"/>
                  </a:lnTo>
                  <a:lnTo>
                    <a:pt x="1171" y="304"/>
                  </a:lnTo>
                  <a:lnTo>
                    <a:pt x="1169" y="304"/>
                  </a:lnTo>
                  <a:lnTo>
                    <a:pt x="1167" y="306"/>
                  </a:lnTo>
                  <a:lnTo>
                    <a:pt x="1161" y="306"/>
                  </a:lnTo>
                  <a:lnTo>
                    <a:pt x="1159" y="308"/>
                  </a:lnTo>
                  <a:lnTo>
                    <a:pt x="1155" y="308"/>
                  </a:lnTo>
                  <a:lnTo>
                    <a:pt x="1153" y="308"/>
                  </a:lnTo>
                  <a:lnTo>
                    <a:pt x="1140" y="302"/>
                  </a:lnTo>
                  <a:lnTo>
                    <a:pt x="1138" y="304"/>
                  </a:lnTo>
                  <a:lnTo>
                    <a:pt x="1138" y="304"/>
                  </a:lnTo>
                  <a:lnTo>
                    <a:pt x="1138" y="304"/>
                  </a:lnTo>
                  <a:lnTo>
                    <a:pt x="1138" y="306"/>
                  </a:lnTo>
                  <a:lnTo>
                    <a:pt x="1140" y="306"/>
                  </a:lnTo>
                  <a:lnTo>
                    <a:pt x="1142" y="306"/>
                  </a:lnTo>
                  <a:lnTo>
                    <a:pt x="1142" y="306"/>
                  </a:lnTo>
                  <a:lnTo>
                    <a:pt x="1140" y="306"/>
                  </a:lnTo>
                  <a:lnTo>
                    <a:pt x="1138" y="306"/>
                  </a:lnTo>
                  <a:lnTo>
                    <a:pt x="1134" y="306"/>
                  </a:lnTo>
                  <a:lnTo>
                    <a:pt x="1128" y="306"/>
                  </a:lnTo>
                  <a:lnTo>
                    <a:pt x="1126" y="306"/>
                  </a:lnTo>
                  <a:lnTo>
                    <a:pt x="1126" y="308"/>
                  </a:lnTo>
                  <a:lnTo>
                    <a:pt x="1126" y="308"/>
                  </a:lnTo>
                  <a:lnTo>
                    <a:pt x="1128" y="310"/>
                  </a:lnTo>
                  <a:lnTo>
                    <a:pt x="1128" y="310"/>
                  </a:lnTo>
                  <a:lnTo>
                    <a:pt x="1130" y="312"/>
                  </a:lnTo>
                  <a:lnTo>
                    <a:pt x="1132" y="312"/>
                  </a:lnTo>
                  <a:lnTo>
                    <a:pt x="1132" y="312"/>
                  </a:lnTo>
                  <a:lnTo>
                    <a:pt x="1132" y="314"/>
                  </a:lnTo>
                  <a:lnTo>
                    <a:pt x="1134" y="316"/>
                  </a:lnTo>
                  <a:lnTo>
                    <a:pt x="1134" y="316"/>
                  </a:lnTo>
                  <a:lnTo>
                    <a:pt x="1130" y="314"/>
                  </a:lnTo>
                  <a:lnTo>
                    <a:pt x="1128" y="312"/>
                  </a:lnTo>
                  <a:lnTo>
                    <a:pt x="1126" y="312"/>
                  </a:lnTo>
                  <a:lnTo>
                    <a:pt x="1124" y="312"/>
                  </a:lnTo>
                  <a:lnTo>
                    <a:pt x="1122" y="312"/>
                  </a:lnTo>
                  <a:lnTo>
                    <a:pt x="1120" y="314"/>
                  </a:lnTo>
                  <a:lnTo>
                    <a:pt x="1120" y="314"/>
                  </a:lnTo>
                  <a:lnTo>
                    <a:pt x="1120" y="316"/>
                  </a:lnTo>
                  <a:lnTo>
                    <a:pt x="1120" y="316"/>
                  </a:lnTo>
                  <a:lnTo>
                    <a:pt x="1120" y="316"/>
                  </a:lnTo>
                  <a:lnTo>
                    <a:pt x="1128" y="320"/>
                  </a:lnTo>
                  <a:lnTo>
                    <a:pt x="1130" y="320"/>
                  </a:lnTo>
                  <a:lnTo>
                    <a:pt x="1132" y="320"/>
                  </a:lnTo>
                  <a:lnTo>
                    <a:pt x="1134" y="320"/>
                  </a:lnTo>
                  <a:lnTo>
                    <a:pt x="1136" y="318"/>
                  </a:lnTo>
                  <a:lnTo>
                    <a:pt x="1136" y="318"/>
                  </a:lnTo>
                  <a:lnTo>
                    <a:pt x="1140" y="322"/>
                  </a:lnTo>
                  <a:lnTo>
                    <a:pt x="1142" y="322"/>
                  </a:lnTo>
                  <a:lnTo>
                    <a:pt x="1140" y="322"/>
                  </a:lnTo>
                  <a:lnTo>
                    <a:pt x="1140" y="322"/>
                  </a:lnTo>
                  <a:lnTo>
                    <a:pt x="1138" y="322"/>
                  </a:lnTo>
                  <a:lnTo>
                    <a:pt x="1136" y="320"/>
                  </a:lnTo>
                  <a:lnTo>
                    <a:pt x="1134" y="322"/>
                  </a:lnTo>
                  <a:lnTo>
                    <a:pt x="1134" y="322"/>
                  </a:lnTo>
                  <a:lnTo>
                    <a:pt x="1132" y="322"/>
                  </a:lnTo>
                  <a:lnTo>
                    <a:pt x="1132" y="324"/>
                  </a:lnTo>
                  <a:lnTo>
                    <a:pt x="1132" y="324"/>
                  </a:lnTo>
                  <a:lnTo>
                    <a:pt x="1134" y="324"/>
                  </a:lnTo>
                  <a:lnTo>
                    <a:pt x="1136" y="324"/>
                  </a:lnTo>
                  <a:lnTo>
                    <a:pt x="1136" y="324"/>
                  </a:lnTo>
                  <a:lnTo>
                    <a:pt x="1138" y="326"/>
                  </a:lnTo>
                  <a:lnTo>
                    <a:pt x="1138" y="326"/>
                  </a:lnTo>
                  <a:lnTo>
                    <a:pt x="1138" y="328"/>
                  </a:lnTo>
                  <a:lnTo>
                    <a:pt x="1138" y="331"/>
                  </a:lnTo>
                  <a:lnTo>
                    <a:pt x="1138" y="331"/>
                  </a:lnTo>
                  <a:lnTo>
                    <a:pt x="1138" y="331"/>
                  </a:lnTo>
                  <a:lnTo>
                    <a:pt x="1138" y="331"/>
                  </a:lnTo>
                  <a:lnTo>
                    <a:pt x="1136" y="328"/>
                  </a:lnTo>
                  <a:lnTo>
                    <a:pt x="1134" y="328"/>
                  </a:lnTo>
                  <a:lnTo>
                    <a:pt x="1134" y="333"/>
                  </a:lnTo>
                  <a:lnTo>
                    <a:pt x="1134" y="335"/>
                  </a:lnTo>
                  <a:lnTo>
                    <a:pt x="1134" y="335"/>
                  </a:lnTo>
                  <a:lnTo>
                    <a:pt x="1128" y="335"/>
                  </a:lnTo>
                  <a:lnTo>
                    <a:pt x="1126" y="337"/>
                  </a:lnTo>
                  <a:lnTo>
                    <a:pt x="1122" y="337"/>
                  </a:lnTo>
                  <a:lnTo>
                    <a:pt x="1122" y="335"/>
                  </a:lnTo>
                  <a:lnTo>
                    <a:pt x="1120" y="333"/>
                  </a:lnTo>
                  <a:lnTo>
                    <a:pt x="1118" y="331"/>
                  </a:lnTo>
                  <a:lnTo>
                    <a:pt x="1118" y="331"/>
                  </a:lnTo>
                  <a:lnTo>
                    <a:pt x="1116" y="331"/>
                  </a:lnTo>
                  <a:lnTo>
                    <a:pt x="1116" y="328"/>
                  </a:lnTo>
                  <a:lnTo>
                    <a:pt x="1114" y="328"/>
                  </a:lnTo>
                  <a:lnTo>
                    <a:pt x="1114" y="326"/>
                  </a:lnTo>
                  <a:lnTo>
                    <a:pt x="1111" y="326"/>
                  </a:lnTo>
                  <a:lnTo>
                    <a:pt x="1109" y="326"/>
                  </a:lnTo>
                  <a:lnTo>
                    <a:pt x="1107" y="326"/>
                  </a:lnTo>
                  <a:lnTo>
                    <a:pt x="1105" y="328"/>
                  </a:lnTo>
                  <a:lnTo>
                    <a:pt x="1103" y="328"/>
                  </a:lnTo>
                  <a:lnTo>
                    <a:pt x="1103" y="331"/>
                  </a:lnTo>
                  <a:lnTo>
                    <a:pt x="1103" y="333"/>
                  </a:lnTo>
                  <a:lnTo>
                    <a:pt x="1101" y="335"/>
                  </a:lnTo>
                  <a:lnTo>
                    <a:pt x="1101" y="335"/>
                  </a:lnTo>
                  <a:lnTo>
                    <a:pt x="1103" y="337"/>
                  </a:lnTo>
                  <a:lnTo>
                    <a:pt x="1107" y="339"/>
                  </a:lnTo>
                  <a:lnTo>
                    <a:pt x="1111" y="343"/>
                  </a:lnTo>
                  <a:lnTo>
                    <a:pt x="1114" y="343"/>
                  </a:lnTo>
                  <a:lnTo>
                    <a:pt x="1114" y="345"/>
                  </a:lnTo>
                  <a:lnTo>
                    <a:pt x="1116" y="345"/>
                  </a:lnTo>
                  <a:lnTo>
                    <a:pt x="1116" y="345"/>
                  </a:lnTo>
                  <a:lnTo>
                    <a:pt x="1116" y="347"/>
                  </a:lnTo>
                  <a:lnTo>
                    <a:pt x="1120" y="347"/>
                  </a:lnTo>
                  <a:lnTo>
                    <a:pt x="1122" y="347"/>
                  </a:lnTo>
                  <a:lnTo>
                    <a:pt x="1122" y="347"/>
                  </a:lnTo>
                  <a:lnTo>
                    <a:pt x="1124" y="347"/>
                  </a:lnTo>
                  <a:lnTo>
                    <a:pt x="1126" y="347"/>
                  </a:lnTo>
                  <a:lnTo>
                    <a:pt x="1126" y="349"/>
                  </a:lnTo>
                  <a:lnTo>
                    <a:pt x="1126" y="349"/>
                  </a:lnTo>
                  <a:lnTo>
                    <a:pt x="1130" y="349"/>
                  </a:lnTo>
                  <a:lnTo>
                    <a:pt x="1130" y="349"/>
                  </a:lnTo>
                  <a:lnTo>
                    <a:pt x="1132" y="351"/>
                  </a:lnTo>
                  <a:lnTo>
                    <a:pt x="1136" y="355"/>
                  </a:lnTo>
                  <a:lnTo>
                    <a:pt x="1138" y="357"/>
                  </a:lnTo>
                  <a:lnTo>
                    <a:pt x="1144" y="361"/>
                  </a:lnTo>
                  <a:lnTo>
                    <a:pt x="1146" y="364"/>
                  </a:lnTo>
                  <a:lnTo>
                    <a:pt x="1149" y="366"/>
                  </a:lnTo>
                  <a:lnTo>
                    <a:pt x="1151" y="370"/>
                  </a:lnTo>
                  <a:lnTo>
                    <a:pt x="1151" y="372"/>
                  </a:lnTo>
                  <a:lnTo>
                    <a:pt x="1153" y="372"/>
                  </a:lnTo>
                  <a:lnTo>
                    <a:pt x="1155" y="372"/>
                  </a:lnTo>
                  <a:lnTo>
                    <a:pt x="1157" y="372"/>
                  </a:lnTo>
                  <a:lnTo>
                    <a:pt x="1159" y="374"/>
                  </a:lnTo>
                  <a:lnTo>
                    <a:pt x="1159" y="374"/>
                  </a:lnTo>
                  <a:lnTo>
                    <a:pt x="1161" y="372"/>
                  </a:lnTo>
                  <a:lnTo>
                    <a:pt x="1163" y="372"/>
                  </a:lnTo>
                  <a:lnTo>
                    <a:pt x="1167" y="370"/>
                  </a:lnTo>
                  <a:lnTo>
                    <a:pt x="1167" y="370"/>
                  </a:lnTo>
                  <a:lnTo>
                    <a:pt x="1167" y="368"/>
                  </a:lnTo>
                  <a:lnTo>
                    <a:pt x="1165" y="366"/>
                  </a:lnTo>
                  <a:lnTo>
                    <a:pt x="1163" y="361"/>
                  </a:lnTo>
                  <a:lnTo>
                    <a:pt x="1163" y="361"/>
                  </a:lnTo>
                  <a:lnTo>
                    <a:pt x="1163" y="359"/>
                  </a:lnTo>
                  <a:lnTo>
                    <a:pt x="1165" y="359"/>
                  </a:lnTo>
                  <a:lnTo>
                    <a:pt x="1165" y="359"/>
                  </a:lnTo>
                  <a:lnTo>
                    <a:pt x="1165" y="359"/>
                  </a:lnTo>
                  <a:lnTo>
                    <a:pt x="1165" y="359"/>
                  </a:lnTo>
                  <a:lnTo>
                    <a:pt x="1165" y="361"/>
                  </a:lnTo>
                  <a:lnTo>
                    <a:pt x="1165" y="361"/>
                  </a:lnTo>
                  <a:lnTo>
                    <a:pt x="1165" y="364"/>
                  </a:lnTo>
                  <a:lnTo>
                    <a:pt x="1167" y="364"/>
                  </a:lnTo>
                  <a:lnTo>
                    <a:pt x="1175" y="366"/>
                  </a:lnTo>
                  <a:lnTo>
                    <a:pt x="1177" y="364"/>
                  </a:lnTo>
                  <a:lnTo>
                    <a:pt x="1179" y="364"/>
                  </a:lnTo>
                  <a:lnTo>
                    <a:pt x="1182" y="364"/>
                  </a:lnTo>
                  <a:lnTo>
                    <a:pt x="1184" y="361"/>
                  </a:lnTo>
                  <a:lnTo>
                    <a:pt x="1184" y="359"/>
                  </a:lnTo>
                  <a:lnTo>
                    <a:pt x="1190" y="359"/>
                  </a:lnTo>
                  <a:lnTo>
                    <a:pt x="1188" y="355"/>
                  </a:lnTo>
                  <a:lnTo>
                    <a:pt x="1188" y="355"/>
                  </a:lnTo>
                  <a:lnTo>
                    <a:pt x="1188" y="353"/>
                  </a:lnTo>
                  <a:lnTo>
                    <a:pt x="1186" y="353"/>
                  </a:lnTo>
                  <a:lnTo>
                    <a:pt x="1190" y="351"/>
                  </a:lnTo>
                  <a:lnTo>
                    <a:pt x="1190" y="351"/>
                  </a:lnTo>
                  <a:lnTo>
                    <a:pt x="1190" y="349"/>
                  </a:lnTo>
                  <a:lnTo>
                    <a:pt x="1190" y="349"/>
                  </a:lnTo>
                  <a:lnTo>
                    <a:pt x="1188" y="347"/>
                  </a:lnTo>
                  <a:lnTo>
                    <a:pt x="1186" y="347"/>
                  </a:lnTo>
                  <a:lnTo>
                    <a:pt x="1186" y="347"/>
                  </a:lnTo>
                  <a:lnTo>
                    <a:pt x="1188" y="347"/>
                  </a:lnTo>
                  <a:lnTo>
                    <a:pt x="1188" y="345"/>
                  </a:lnTo>
                  <a:close/>
                  <a:moveTo>
                    <a:pt x="54" y="2276"/>
                  </a:moveTo>
                  <a:lnTo>
                    <a:pt x="54" y="2276"/>
                  </a:lnTo>
                  <a:lnTo>
                    <a:pt x="54" y="2278"/>
                  </a:lnTo>
                  <a:lnTo>
                    <a:pt x="54" y="2278"/>
                  </a:lnTo>
                  <a:lnTo>
                    <a:pt x="56" y="2276"/>
                  </a:lnTo>
                  <a:lnTo>
                    <a:pt x="56" y="2276"/>
                  </a:lnTo>
                  <a:lnTo>
                    <a:pt x="54" y="2276"/>
                  </a:lnTo>
                  <a:close/>
                  <a:moveTo>
                    <a:pt x="1276" y="423"/>
                  </a:moveTo>
                  <a:lnTo>
                    <a:pt x="1274" y="423"/>
                  </a:lnTo>
                  <a:lnTo>
                    <a:pt x="1274" y="421"/>
                  </a:lnTo>
                  <a:lnTo>
                    <a:pt x="1272" y="423"/>
                  </a:lnTo>
                  <a:lnTo>
                    <a:pt x="1272" y="423"/>
                  </a:lnTo>
                  <a:lnTo>
                    <a:pt x="1272" y="423"/>
                  </a:lnTo>
                  <a:lnTo>
                    <a:pt x="1274" y="426"/>
                  </a:lnTo>
                  <a:lnTo>
                    <a:pt x="1274" y="426"/>
                  </a:lnTo>
                  <a:lnTo>
                    <a:pt x="1274" y="426"/>
                  </a:lnTo>
                  <a:lnTo>
                    <a:pt x="1274" y="426"/>
                  </a:lnTo>
                  <a:lnTo>
                    <a:pt x="1276" y="426"/>
                  </a:lnTo>
                  <a:lnTo>
                    <a:pt x="1276" y="426"/>
                  </a:lnTo>
                  <a:lnTo>
                    <a:pt x="1276" y="423"/>
                  </a:lnTo>
                  <a:lnTo>
                    <a:pt x="1276" y="423"/>
                  </a:lnTo>
                  <a:close/>
                  <a:moveTo>
                    <a:pt x="1196" y="426"/>
                  </a:moveTo>
                  <a:lnTo>
                    <a:pt x="1194" y="423"/>
                  </a:lnTo>
                  <a:lnTo>
                    <a:pt x="1188" y="419"/>
                  </a:lnTo>
                  <a:lnTo>
                    <a:pt x="1186" y="419"/>
                  </a:lnTo>
                  <a:lnTo>
                    <a:pt x="1184" y="417"/>
                  </a:lnTo>
                  <a:lnTo>
                    <a:pt x="1182" y="417"/>
                  </a:lnTo>
                  <a:lnTo>
                    <a:pt x="1179" y="415"/>
                  </a:lnTo>
                  <a:lnTo>
                    <a:pt x="1179" y="415"/>
                  </a:lnTo>
                  <a:lnTo>
                    <a:pt x="1179" y="415"/>
                  </a:lnTo>
                  <a:lnTo>
                    <a:pt x="1177" y="415"/>
                  </a:lnTo>
                  <a:lnTo>
                    <a:pt x="1177" y="415"/>
                  </a:lnTo>
                  <a:lnTo>
                    <a:pt x="1177" y="415"/>
                  </a:lnTo>
                  <a:lnTo>
                    <a:pt x="1177" y="415"/>
                  </a:lnTo>
                  <a:lnTo>
                    <a:pt x="1177" y="415"/>
                  </a:lnTo>
                  <a:lnTo>
                    <a:pt x="1177" y="415"/>
                  </a:lnTo>
                  <a:lnTo>
                    <a:pt x="1177" y="413"/>
                  </a:lnTo>
                  <a:lnTo>
                    <a:pt x="1177" y="413"/>
                  </a:lnTo>
                  <a:lnTo>
                    <a:pt x="1175" y="411"/>
                  </a:lnTo>
                  <a:lnTo>
                    <a:pt x="1173" y="411"/>
                  </a:lnTo>
                  <a:lnTo>
                    <a:pt x="1171" y="411"/>
                  </a:lnTo>
                  <a:lnTo>
                    <a:pt x="1171" y="411"/>
                  </a:lnTo>
                  <a:lnTo>
                    <a:pt x="1167" y="411"/>
                  </a:lnTo>
                  <a:lnTo>
                    <a:pt x="1167" y="411"/>
                  </a:lnTo>
                  <a:lnTo>
                    <a:pt x="1165" y="413"/>
                  </a:lnTo>
                  <a:lnTo>
                    <a:pt x="1165" y="413"/>
                  </a:lnTo>
                  <a:lnTo>
                    <a:pt x="1165" y="415"/>
                  </a:lnTo>
                  <a:lnTo>
                    <a:pt x="1165" y="415"/>
                  </a:lnTo>
                  <a:lnTo>
                    <a:pt x="1165" y="415"/>
                  </a:lnTo>
                  <a:lnTo>
                    <a:pt x="1167" y="419"/>
                  </a:lnTo>
                  <a:lnTo>
                    <a:pt x="1169" y="419"/>
                  </a:lnTo>
                  <a:lnTo>
                    <a:pt x="1167" y="419"/>
                  </a:lnTo>
                  <a:lnTo>
                    <a:pt x="1165" y="419"/>
                  </a:lnTo>
                  <a:lnTo>
                    <a:pt x="1163" y="417"/>
                  </a:lnTo>
                  <a:lnTo>
                    <a:pt x="1163" y="417"/>
                  </a:lnTo>
                  <a:lnTo>
                    <a:pt x="1161" y="417"/>
                  </a:lnTo>
                  <a:lnTo>
                    <a:pt x="1161" y="417"/>
                  </a:lnTo>
                  <a:lnTo>
                    <a:pt x="1161" y="419"/>
                  </a:lnTo>
                  <a:lnTo>
                    <a:pt x="1163" y="419"/>
                  </a:lnTo>
                  <a:lnTo>
                    <a:pt x="1163" y="419"/>
                  </a:lnTo>
                  <a:lnTo>
                    <a:pt x="1161" y="419"/>
                  </a:lnTo>
                  <a:lnTo>
                    <a:pt x="1161" y="419"/>
                  </a:lnTo>
                  <a:lnTo>
                    <a:pt x="1161" y="421"/>
                  </a:lnTo>
                  <a:lnTo>
                    <a:pt x="1163" y="421"/>
                  </a:lnTo>
                  <a:lnTo>
                    <a:pt x="1163" y="423"/>
                  </a:lnTo>
                  <a:lnTo>
                    <a:pt x="1163" y="423"/>
                  </a:lnTo>
                  <a:lnTo>
                    <a:pt x="1161" y="423"/>
                  </a:lnTo>
                  <a:lnTo>
                    <a:pt x="1159" y="426"/>
                  </a:lnTo>
                  <a:lnTo>
                    <a:pt x="1157" y="428"/>
                  </a:lnTo>
                  <a:lnTo>
                    <a:pt x="1153" y="428"/>
                  </a:lnTo>
                  <a:lnTo>
                    <a:pt x="1149" y="428"/>
                  </a:lnTo>
                  <a:lnTo>
                    <a:pt x="1146" y="430"/>
                  </a:lnTo>
                  <a:lnTo>
                    <a:pt x="1146" y="430"/>
                  </a:lnTo>
                  <a:lnTo>
                    <a:pt x="1146" y="432"/>
                  </a:lnTo>
                  <a:lnTo>
                    <a:pt x="1149" y="432"/>
                  </a:lnTo>
                  <a:lnTo>
                    <a:pt x="1149" y="434"/>
                  </a:lnTo>
                  <a:lnTo>
                    <a:pt x="1151" y="434"/>
                  </a:lnTo>
                  <a:lnTo>
                    <a:pt x="1151" y="436"/>
                  </a:lnTo>
                  <a:lnTo>
                    <a:pt x="1153" y="436"/>
                  </a:lnTo>
                  <a:lnTo>
                    <a:pt x="1155" y="434"/>
                  </a:lnTo>
                  <a:lnTo>
                    <a:pt x="1153" y="434"/>
                  </a:lnTo>
                  <a:lnTo>
                    <a:pt x="1155" y="434"/>
                  </a:lnTo>
                  <a:lnTo>
                    <a:pt x="1155" y="434"/>
                  </a:lnTo>
                  <a:lnTo>
                    <a:pt x="1157" y="434"/>
                  </a:lnTo>
                  <a:lnTo>
                    <a:pt x="1157" y="434"/>
                  </a:lnTo>
                  <a:lnTo>
                    <a:pt x="1157" y="434"/>
                  </a:lnTo>
                  <a:lnTo>
                    <a:pt x="1157" y="436"/>
                  </a:lnTo>
                  <a:lnTo>
                    <a:pt x="1157" y="436"/>
                  </a:lnTo>
                  <a:lnTo>
                    <a:pt x="1159" y="436"/>
                  </a:lnTo>
                  <a:lnTo>
                    <a:pt x="1159" y="436"/>
                  </a:lnTo>
                  <a:lnTo>
                    <a:pt x="1161" y="436"/>
                  </a:lnTo>
                  <a:lnTo>
                    <a:pt x="1163" y="436"/>
                  </a:lnTo>
                  <a:lnTo>
                    <a:pt x="1163" y="436"/>
                  </a:lnTo>
                  <a:lnTo>
                    <a:pt x="1165" y="436"/>
                  </a:lnTo>
                  <a:lnTo>
                    <a:pt x="1165" y="436"/>
                  </a:lnTo>
                  <a:lnTo>
                    <a:pt x="1165" y="436"/>
                  </a:lnTo>
                  <a:lnTo>
                    <a:pt x="1165" y="438"/>
                  </a:lnTo>
                  <a:lnTo>
                    <a:pt x="1165" y="438"/>
                  </a:lnTo>
                  <a:lnTo>
                    <a:pt x="1165" y="438"/>
                  </a:lnTo>
                  <a:lnTo>
                    <a:pt x="1171" y="440"/>
                  </a:lnTo>
                  <a:lnTo>
                    <a:pt x="1173" y="440"/>
                  </a:lnTo>
                  <a:lnTo>
                    <a:pt x="1177" y="442"/>
                  </a:lnTo>
                  <a:lnTo>
                    <a:pt x="1179" y="444"/>
                  </a:lnTo>
                  <a:lnTo>
                    <a:pt x="1184" y="442"/>
                  </a:lnTo>
                  <a:lnTo>
                    <a:pt x="1190" y="444"/>
                  </a:lnTo>
                  <a:lnTo>
                    <a:pt x="1192" y="444"/>
                  </a:lnTo>
                  <a:lnTo>
                    <a:pt x="1194" y="444"/>
                  </a:lnTo>
                  <a:lnTo>
                    <a:pt x="1198" y="442"/>
                  </a:lnTo>
                  <a:lnTo>
                    <a:pt x="1200" y="440"/>
                  </a:lnTo>
                  <a:lnTo>
                    <a:pt x="1200" y="440"/>
                  </a:lnTo>
                  <a:lnTo>
                    <a:pt x="1202" y="438"/>
                  </a:lnTo>
                  <a:lnTo>
                    <a:pt x="1202" y="438"/>
                  </a:lnTo>
                  <a:lnTo>
                    <a:pt x="1204" y="438"/>
                  </a:lnTo>
                  <a:lnTo>
                    <a:pt x="1206" y="438"/>
                  </a:lnTo>
                  <a:lnTo>
                    <a:pt x="1208" y="436"/>
                  </a:lnTo>
                  <a:lnTo>
                    <a:pt x="1208" y="436"/>
                  </a:lnTo>
                  <a:lnTo>
                    <a:pt x="1206" y="434"/>
                  </a:lnTo>
                  <a:lnTo>
                    <a:pt x="1206" y="434"/>
                  </a:lnTo>
                  <a:lnTo>
                    <a:pt x="1206" y="434"/>
                  </a:lnTo>
                  <a:lnTo>
                    <a:pt x="1204" y="436"/>
                  </a:lnTo>
                  <a:lnTo>
                    <a:pt x="1202" y="434"/>
                  </a:lnTo>
                  <a:lnTo>
                    <a:pt x="1200" y="434"/>
                  </a:lnTo>
                  <a:lnTo>
                    <a:pt x="1198" y="432"/>
                  </a:lnTo>
                  <a:lnTo>
                    <a:pt x="1196" y="428"/>
                  </a:lnTo>
                  <a:lnTo>
                    <a:pt x="1196" y="426"/>
                  </a:lnTo>
                  <a:close/>
                  <a:moveTo>
                    <a:pt x="1278" y="426"/>
                  </a:moveTo>
                  <a:lnTo>
                    <a:pt x="1278" y="426"/>
                  </a:lnTo>
                  <a:lnTo>
                    <a:pt x="1278" y="426"/>
                  </a:lnTo>
                  <a:lnTo>
                    <a:pt x="1278" y="426"/>
                  </a:lnTo>
                  <a:lnTo>
                    <a:pt x="1281" y="423"/>
                  </a:lnTo>
                  <a:lnTo>
                    <a:pt x="1281" y="421"/>
                  </a:lnTo>
                  <a:lnTo>
                    <a:pt x="1281" y="421"/>
                  </a:lnTo>
                  <a:lnTo>
                    <a:pt x="1281" y="421"/>
                  </a:lnTo>
                  <a:lnTo>
                    <a:pt x="1278" y="421"/>
                  </a:lnTo>
                  <a:lnTo>
                    <a:pt x="1278" y="421"/>
                  </a:lnTo>
                  <a:lnTo>
                    <a:pt x="1276" y="421"/>
                  </a:lnTo>
                  <a:lnTo>
                    <a:pt x="1276" y="423"/>
                  </a:lnTo>
                  <a:lnTo>
                    <a:pt x="1276" y="423"/>
                  </a:lnTo>
                  <a:lnTo>
                    <a:pt x="1278" y="426"/>
                  </a:lnTo>
                  <a:close/>
                  <a:moveTo>
                    <a:pt x="1503" y="461"/>
                  </a:moveTo>
                  <a:lnTo>
                    <a:pt x="1505" y="461"/>
                  </a:lnTo>
                  <a:lnTo>
                    <a:pt x="1505" y="461"/>
                  </a:lnTo>
                  <a:lnTo>
                    <a:pt x="1509" y="461"/>
                  </a:lnTo>
                  <a:lnTo>
                    <a:pt x="1518" y="461"/>
                  </a:lnTo>
                  <a:lnTo>
                    <a:pt x="1520" y="461"/>
                  </a:lnTo>
                  <a:lnTo>
                    <a:pt x="1520" y="461"/>
                  </a:lnTo>
                  <a:lnTo>
                    <a:pt x="1520" y="459"/>
                  </a:lnTo>
                  <a:lnTo>
                    <a:pt x="1520" y="456"/>
                  </a:lnTo>
                  <a:lnTo>
                    <a:pt x="1520" y="456"/>
                  </a:lnTo>
                  <a:lnTo>
                    <a:pt x="1518" y="456"/>
                  </a:lnTo>
                  <a:lnTo>
                    <a:pt x="1518" y="456"/>
                  </a:lnTo>
                  <a:lnTo>
                    <a:pt x="1514" y="456"/>
                  </a:lnTo>
                  <a:lnTo>
                    <a:pt x="1509" y="454"/>
                  </a:lnTo>
                  <a:lnTo>
                    <a:pt x="1505" y="454"/>
                  </a:lnTo>
                  <a:lnTo>
                    <a:pt x="1501" y="454"/>
                  </a:lnTo>
                  <a:lnTo>
                    <a:pt x="1501" y="454"/>
                  </a:lnTo>
                  <a:lnTo>
                    <a:pt x="1501" y="456"/>
                  </a:lnTo>
                  <a:lnTo>
                    <a:pt x="1501" y="456"/>
                  </a:lnTo>
                  <a:lnTo>
                    <a:pt x="1501" y="459"/>
                  </a:lnTo>
                  <a:lnTo>
                    <a:pt x="1503" y="461"/>
                  </a:lnTo>
                  <a:close/>
                  <a:moveTo>
                    <a:pt x="1328" y="459"/>
                  </a:moveTo>
                  <a:lnTo>
                    <a:pt x="1328" y="459"/>
                  </a:lnTo>
                  <a:lnTo>
                    <a:pt x="1328" y="461"/>
                  </a:lnTo>
                  <a:lnTo>
                    <a:pt x="1328" y="461"/>
                  </a:lnTo>
                  <a:lnTo>
                    <a:pt x="1330" y="463"/>
                  </a:lnTo>
                  <a:lnTo>
                    <a:pt x="1332" y="463"/>
                  </a:lnTo>
                  <a:lnTo>
                    <a:pt x="1332" y="463"/>
                  </a:lnTo>
                  <a:lnTo>
                    <a:pt x="1332" y="463"/>
                  </a:lnTo>
                  <a:lnTo>
                    <a:pt x="1334" y="461"/>
                  </a:lnTo>
                  <a:lnTo>
                    <a:pt x="1334" y="461"/>
                  </a:lnTo>
                  <a:lnTo>
                    <a:pt x="1334" y="459"/>
                  </a:lnTo>
                  <a:lnTo>
                    <a:pt x="1334" y="459"/>
                  </a:lnTo>
                  <a:lnTo>
                    <a:pt x="1334" y="456"/>
                  </a:lnTo>
                  <a:lnTo>
                    <a:pt x="1334" y="454"/>
                  </a:lnTo>
                  <a:lnTo>
                    <a:pt x="1334" y="452"/>
                  </a:lnTo>
                  <a:lnTo>
                    <a:pt x="1334" y="452"/>
                  </a:lnTo>
                  <a:lnTo>
                    <a:pt x="1334" y="450"/>
                  </a:lnTo>
                  <a:lnTo>
                    <a:pt x="1332" y="448"/>
                  </a:lnTo>
                  <a:lnTo>
                    <a:pt x="1330" y="448"/>
                  </a:lnTo>
                  <a:lnTo>
                    <a:pt x="1328" y="450"/>
                  </a:lnTo>
                  <a:lnTo>
                    <a:pt x="1328" y="452"/>
                  </a:lnTo>
                  <a:lnTo>
                    <a:pt x="1328" y="452"/>
                  </a:lnTo>
                  <a:lnTo>
                    <a:pt x="1326" y="452"/>
                  </a:lnTo>
                  <a:lnTo>
                    <a:pt x="1326" y="454"/>
                  </a:lnTo>
                  <a:lnTo>
                    <a:pt x="1326" y="454"/>
                  </a:lnTo>
                  <a:lnTo>
                    <a:pt x="1328" y="456"/>
                  </a:lnTo>
                  <a:lnTo>
                    <a:pt x="1328" y="459"/>
                  </a:lnTo>
                  <a:lnTo>
                    <a:pt x="1328" y="459"/>
                  </a:lnTo>
                  <a:close/>
                  <a:moveTo>
                    <a:pt x="1472" y="421"/>
                  </a:moveTo>
                  <a:lnTo>
                    <a:pt x="1468" y="421"/>
                  </a:lnTo>
                  <a:lnTo>
                    <a:pt x="1466" y="421"/>
                  </a:lnTo>
                  <a:lnTo>
                    <a:pt x="1466" y="421"/>
                  </a:lnTo>
                  <a:lnTo>
                    <a:pt x="1464" y="421"/>
                  </a:lnTo>
                  <a:lnTo>
                    <a:pt x="1464" y="421"/>
                  </a:lnTo>
                  <a:lnTo>
                    <a:pt x="1464" y="421"/>
                  </a:lnTo>
                  <a:lnTo>
                    <a:pt x="1464" y="423"/>
                  </a:lnTo>
                  <a:lnTo>
                    <a:pt x="1464" y="426"/>
                  </a:lnTo>
                  <a:lnTo>
                    <a:pt x="1464" y="428"/>
                  </a:lnTo>
                  <a:lnTo>
                    <a:pt x="1464" y="428"/>
                  </a:lnTo>
                  <a:lnTo>
                    <a:pt x="1466" y="428"/>
                  </a:lnTo>
                  <a:lnTo>
                    <a:pt x="1466" y="428"/>
                  </a:lnTo>
                  <a:lnTo>
                    <a:pt x="1468" y="428"/>
                  </a:lnTo>
                  <a:lnTo>
                    <a:pt x="1470" y="428"/>
                  </a:lnTo>
                  <a:lnTo>
                    <a:pt x="1470" y="426"/>
                  </a:lnTo>
                  <a:lnTo>
                    <a:pt x="1470" y="426"/>
                  </a:lnTo>
                  <a:lnTo>
                    <a:pt x="1472" y="423"/>
                  </a:lnTo>
                  <a:lnTo>
                    <a:pt x="1472" y="423"/>
                  </a:lnTo>
                  <a:lnTo>
                    <a:pt x="1472" y="423"/>
                  </a:lnTo>
                  <a:lnTo>
                    <a:pt x="1472" y="421"/>
                  </a:lnTo>
                  <a:lnTo>
                    <a:pt x="1472" y="421"/>
                  </a:lnTo>
                  <a:close/>
                  <a:moveTo>
                    <a:pt x="1330" y="407"/>
                  </a:moveTo>
                  <a:lnTo>
                    <a:pt x="1332" y="407"/>
                  </a:lnTo>
                  <a:lnTo>
                    <a:pt x="1332" y="407"/>
                  </a:lnTo>
                  <a:lnTo>
                    <a:pt x="1332" y="405"/>
                  </a:lnTo>
                  <a:lnTo>
                    <a:pt x="1332" y="405"/>
                  </a:lnTo>
                  <a:lnTo>
                    <a:pt x="1332" y="405"/>
                  </a:lnTo>
                  <a:lnTo>
                    <a:pt x="1330" y="403"/>
                  </a:lnTo>
                  <a:lnTo>
                    <a:pt x="1328" y="405"/>
                  </a:lnTo>
                  <a:lnTo>
                    <a:pt x="1328" y="403"/>
                  </a:lnTo>
                  <a:lnTo>
                    <a:pt x="1324" y="403"/>
                  </a:lnTo>
                  <a:lnTo>
                    <a:pt x="1324" y="403"/>
                  </a:lnTo>
                  <a:lnTo>
                    <a:pt x="1322" y="405"/>
                  </a:lnTo>
                  <a:lnTo>
                    <a:pt x="1322" y="405"/>
                  </a:lnTo>
                  <a:lnTo>
                    <a:pt x="1322" y="405"/>
                  </a:lnTo>
                  <a:lnTo>
                    <a:pt x="1324" y="407"/>
                  </a:lnTo>
                  <a:lnTo>
                    <a:pt x="1326" y="407"/>
                  </a:lnTo>
                  <a:lnTo>
                    <a:pt x="1326" y="407"/>
                  </a:lnTo>
                  <a:lnTo>
                    <a:pt x="1328" y="407"/>
                  </a:lnTo>
                  <a:lnTo>
                    <a:pt x="1330" y="407"/>
                  </a:lnTo>
                  <a:close/>
                  <a:moveTo>
                    <a:pt x="1266" y="320"/>
                  </a:moveTo>
                  <a:lnTo>
                    <a:pt x="1268" y="316"/>
                  </a:lnTo>
                  <a:lnTo>
                    <a:pt x="1268" y="316"/>
                  </a:lnTo>
                  <a:lnTo>
                    <a:pt x="1270" y="314"/>
                  </a:lnTo>
                  <a:lnTo>
                    <a:pt x="1270" y="314"/>
                  </a:lnTo>
                  <a:lnTo>
                    <a:pt x="1272" y="312"/>
                  </a:lnTo>
                  <a:lnTo>
                    <a:pt x="1274" y="310"/>
                  </a:lnTo>
                  <a:lnTo>
                    <a:pt x="1276" y="308"/>
                  </a:lnTo>
                  <a:lnTo>
                    <a:pt x="1278" y="306"/>
                  </a:lnTo>
                  <a:lnTo>
                    <a:pt x="1278" y="304"/>
                  </a:lnTo>
                  <a:lnTo>
                    <a:pt x="1276" y="304"/>
                  </a:lnTo>
                  <a:lnTo>
                    <a:pt x="1274" y="302"/>
                  </a:lnTo>
                  <a:lnTo>
                    <a:pt x="1268" y="302"/>
                  </a:lnTo>
                  <a:lnTo>
                    <a:pt x="1260" y="300"/>
                  </a:lnTo>
                  <a:lnTo>
                    <a:pt x="1256" y="302"/>
                  </a:lnTo>
                  <a:lnTo>
                    <a:pt x="1252" y="302"/>
                  </a:lnTo>
                  <a:lnTo>
                    <a:pt x="1250" y="302"/>
                  </a:lnTo>
                  <a:lnTo>
                    <a:pt x="1248" y="300"/>
                  </a:lnTo>
                  <a:lnTo>
                    <a:pt x="1245" y="300"/>
                  </a:lnTo>
                  <a:lnTo>
                    <a:pt x="1243" y="297"/>
                  </a:lnTo>
                  <a:lnTo>
                    <a:pt x="1237" y="297"/>
                  </a:lnTo>
                  <a:lnTo>
                    <a:pt x="1235" y="295"/>
                  </a:lnTo>
                  <a:lnTo>
                    <a:pt x="1233" y="295"/>
                  </a:lnTo>
                  <a:lnTo>
                    <a:pt x="1229" y="297"/>
                  </a:lnTo>
                  <a:lnTo>
                    <a:pt x="1227" y="297"/>
                  </a:lnTo>
                  <a:lnTo>
                    <a:pt x="1219" y="297"/>
                  </a:lnTo>
                  <a:lnTo>
                    <a:pt x="1217" y="300"/>
                  </a:lnTo>
                  <a:lnTo>
                    <a:pt x="1212" y="300"/>
                  </a:lnTo>
                  <a:lnTo>
                    <a:pt x="1210" y="300"/>
                  </a:lnTo>
                  <a:lnTo>
                    <a:pt x="1210" y="302"/>
                  </a:lnTo>
                  <a:lnTo>
                    <a:pt x="1210" y="302"/>
                  </a:lnTo>
                  <a:lnTo>
                    <a:pt x="1210" y="304"/>
                  </a:lnTo>
                  <a:lnTo>
                    <a:pt x="1210" y="304"/>
                  </a:lnTo>
                  <a:lnTo>
                    <a:pt x="1210" y="304"/>
                  </a:lnTo>
                  <a:lnTo>
                    <a:pt x="1210" y="306"/>
                  </a:lnTo>
                  <a:lnTo>
                    <a:pt x="1212" y="308"/>
                  </a:lnTo>
                  <a:lnTo>
                    <a:pt x="1215" y="310"/>
                  </a:lnTo>
                  <a:lnTo>
                    <a:pt x="1217" y="310"/>
                  </a:lnTo>
                  <a:lnTo>
                    <a:pt x="1217" y="310"/>
                  </a:lnTo>
                  <a:lnTo>
                    <a:pt x="1215" y="310"/>
                  </a:lnTo>
                  <a:lnTo>
                    <a:pt x="1212" y="310"/>
                  </a:lnTo>
                  <a:lnTo>
                    <a:pt x="1206" y="308"/>
                  </a:lnTo>
                  <a:lnTo>
                    <a:pt x="1206" y="308"/>
                  </a:lnTo>
                  <a:lnTo>
                    <a:pt x="1204" y="308"/>
                  </a:lnTo>
                  <a:lnTo>
                    <a:pt x="1202" y="310"/>
                  </a:lnTo>
                  <a:lnTo>
                    <a:pt x="1202" y="310"/>
                  </a:lnTo>
                  <a:lnTo>
                    <a:pt x="1202" y="312"/>
                  </a:lnTo>
                  <a:lnTo>
                    <a:pt x="1202" y="314"/>
                  </a:lnTo>
                  <a:lnTo>
                    <a:pt x="1204" y="320"/>
                  </a:lnTo>
                  <a:lnTo>
                    <a:pt x="1204" y="324"/>
                  </a:lnTo>
                  <a:lnTo>
                    <a:pt x="1204" y="324"/>
                  </a:lnTo>
                  <a:lnTo>
                    <a:pt x="1202" y="328"/>
                  </a:lnTo>
                  <a:lnTo>
                    <a:pt x="1202" y="331"/>
                  </a:lnTo>
                  <a:lnTo>
                    <a:pt x="1204" y="331"/>
                  </a:lnTo>
                  <a:lnTo>
                    <a:pt x="1204" y="333"/>
                  </a:lnTo>
                  <a:lnTo>
                    <a:pt x="1204" y="335"/>
                  </a:lnTo>
                  <a:lnTo>
                    <a:pt x="1208" y="341"/>
                  </a:lnTo>
                  <a:lnTo>
                    <a:pt x="1208" y="345"/>
                  </a:lnTo>
                  <a:lnTo>
                    <a:pt x="1210" y="351"/>
                  </a:lnTo>
                  <a:lnTo>
                    <a:pt x="1208" y="353"/>
                  </a:lnTo>
                  <a:lnTo>
                    <a:pt x="1212" y="355"/>
                  </a:lnTo>
                  <a:lnTo>
                    <a:pt x="1217" y="353"/>
                  </a:lnTo>
                  <a:lnTo>
                    <a:pt x="1219" y="353"/>
                  </a:lnTo>
                  <a:lnTo>
                    <a:pt x="1225" y="355"/>
                  </a:lnTo>
                  <a:lnTo>
                    <a:pt x="1225" y="353"/>
                  </a:lnTo>
                  <a:lnTo>
                    <a:pt x="1227" y="351"/>
                  </a:lnTo>
                  <a:lnTo>
                    <a:pt x="1229" y="349"/>
                  </a:lnTo>
                  <a:lnTo>
                    <a:pt x="1233" y="343"/>
                  </a:lnTo>
                  <a:lnTo>
                    <a:pt x="1233" y="343"/>
                  </a:lnTo>
                  <a:lnTo>
                    <a:pt x="1233" y="341"/>
                  </a:lnTo>
                  <a:lnTo>
                    <a:pt x="1233" y="341"/>
                  </a:lnTo>
                  <a:lnTo>
                    <a:pt x="1233" y="341"/>
                  </a:lnTo>
                  <a:lnTo>
                    <a:pt x="1229" y="337"/>
                  </a:lnTo>
                  <a:lnTo>
                    <a:pt x="1227" y="337"/>
                  </a:lnTo>
                  <a:lnTo>
                    <a:pt x="1225" y="335"/>
                  </a:lnTo>
                  <a:lnTo>
                    <a:pt x="1223" y="335"/>
                  </a:lnTo>
                  <a:lnTo>
                    <a:pt x="1233" y="335"/>
                  </a:lnTo>
                  <a:lnTo>
                    <a:pt x="1235" y="335"/>
                  </a:lnTo>
                  <a:lnTo>
                    <a:pt x="1250" y="337"/>
                  </a:lnTo>
                  <a:lnTo>
                    <a:pt x="1252" y="335"/>
                  </a:lnTo>
                  <a:lnTo>
                    <a:pt x="1254" y="335"/>
                  </a:lnTo>
                  <a:lnTo>
                    <a:pt x="1256" y="333"/>
                  </a:lnTo>
                  <a:lnTo>
                    <a:pt x="1258" y="331"/>
                  </a:lnTo>
                  <a:lnTo>
                    <a:pt x="1260" y="328"/>
                  </a:lnTo>
                  <a:lnTo>
                    <a:pt x="1262" y="324"/>
                  </a:lnTo>
                  <a:lnTo>
                    <a:pt x="1262" y="322"/>
                  </a:lnTo>
                  <a:lnTo>
                    <a:pt x="1262" y="322"/>
                  </a:lnTo>
                  <a:lnTo>
                    <a:pt x="1262" y="322"/>
                  </a:lnTo>
                  <a:lnTo>
                    <a:pt x="1264" y="320"/>
                  </a:lnTo>
                  <a:lnTo>
                    <a:pt x="1266" y="320"/>
                  </a:lnTo>
                  <a:close/>
                  <a:moveTo>
                    <a:pt x="16" y="1867"/>
                  </a:moveTo>
                  <a:lnTo>
                    <a:pt x="16" y="1867"/>
                  </a:lnTo>
                  <a:lnTo>
                    <a:pt x="16" y="1867"/>
                  </a:lnTo>
                  <a:lnTo>
                    <a:pt x="16" y="1867"/>
                  </a:lnTo>
                  <a:lnTo>
                    <a:pt x="19" y="1867"/>
                  </a:lnTo>
                  <a:lnTo>
                    <a:pt x="19" y="1867"/>
                  </a:lnTo>
                  <a:lnTo>
                    <a:pt x="16" y="1867"/>
                  </a:lnTo>
                  <a:close/>
                  <a:moveTo>
                    <a:pt x="2" y="1842"/>
                  </a:moveTo>
                  <a:lnTo>
                    <a:pt x="2" y="1840"/>
                  </a:lnTo>
                  <a:lnTo>
                    <a:pt x="0" y="1842"/>
                  </a:lnTo>
                  <a:lnTo>
                    <a:pt x="0" y="1842"/>
                  </a:lnTo>
                  <a:lnTo>
                    <a:pt x="0" y="1842"/>
                  </a:lnTo>
                  <a:lnTo>
                    <a:pt x="0" y="1842"/>
                  </a:lnTo>
                  <a:lnTo>
                    <a:pt x="2" y="1842"/>
                  </a:lnTo>
                  <a:close/>
                  <a:moveTo>
                    <a:pt x="2" y="1877"/>
                  </a:moveTo>
                  <a:lnTo>
                    <a:pt x="2" y="1877"/>
                  </a:lnTo>
                  <a:lnTo>
                    <a:pt x="2" y="1877"/>
                  </a:lnTo>
                  <a:lnTo>
                    <a:pt x="2" y="1877"/>
                  </a:lnTo>
                  <a:lnTo>
                    <a:pt x="2" y="1879"/>
                  </a:lnTo>
                  <a:lnTo>
                    <a:pt x="2" y="1879"/>
                  </a:lnTo>
                  <a:lnTo>
                    <a:pt x="2" y="1879"/>
                  </a:lnTo>
                  <a:lnTo>
                    <a:pt x="2" y="1877"/>
                  </a:lnTo>
                  <a:lnTo>
                    <a:pt x="2" y="1877"/>
                  </a:lnTo>
                  <a:lnTo>
                    <a:pt x="2" y="1877"/>
                  </a:lnTo>
                  <a:lnTo>
                    <a:pt x="2" y="1877"/>
                  </a:lnTo>
                  <a:lnTo>
                    <a:pt x="2" y="1877"/>
                  </a:lnTo>
                  <a:lnTo>
                    <a:pt x="2" y="1877"/>
                  </a:lnTo>
                  <a:lnTo>
                    <a:pt x="2" y="1877"/>
                  </a:lnTo>
                  <a:close/>
                  <a:moveTo>
                    <a:pt x="14" y="1852"/>
                  </a:moveTo>
                  <a:lnTo>
                    <a:pt x="14" y="1852"/>
                  </a:lnTo>
                  <a:lnTo>
                    <a:pt x="14" y="1852"/>
                  </a:lnTo>
                  <a:lnTo>
                    <a:pt x="14" y="1852"/>
                  </a:lnTo>
                  <a:lnTo>
                    <a:pt x="14" y="1852"/>
                  </a:lnTo>
                  <a:lnTo>
                    <a:pt x="14" y="1852"/>
                  </a:lnTo>
                  <a:lnTo>
                    <a:pt x="14" y="1854"/>
                  </a:lnTo>
                  <a:lnTo>
                    <a:pt x="14" y="1854"/>
                  </a:lnTo>
                  <a:lnTo>
                    <a:pt x="14" y="1852"/>
                  </a:lnTo>
                  <a:lnTo>
                    <a:pt x="14" y="1852"/>
                  </a:lnTo>
                  <a:lnTo>
                    <a:pt x="16" y="1852"/>
                  </a:lnTo>
                  <a:lnTo>
                    <a:pt x="14" y="1852"/>
                  </a:lnTo>
                  <a:lnTo>
                    <a:pt x="14" y="1852"/>
                  </a:lnTo>
                  <a:close/>
                  <a:moveTo>
                    <a:pt x="14" y="1863"/>
                  </a:moveTo>
                  <a:lnTo>
                    <a:pt x="12" y="1863"/>
                  </a:lnTo>
                  <a:lnTo>
                    <a:pt x="12" y="1863"/>
                  </a:lnTo>
                  <a:lnTo>
                    <a:pt x="14" y="1863"/>
                  </a:lnTo>
                  <a:lnTo>
                    <a:pt x="14" y="1863"/>
                  </a:lnTo>
                  <a:lnTo>
                    <a:pt x="14" y="1863"/>
                  </a:lnTo>
                  <a:lnTo>
                    <a:pt x="14" y="1863"/>
                  </a:lnTo>
                  <a:lnTo>
                    <a:pt x="14" y="1863"/>
                  </a:lnTo>
                  <a:close/>
                  <a:moveTo>
                    <a:pt x="2" y="1844"/>
                  </a:moveTo>
                  <a:lnTo>
                    <a:pt x="2" y="1844"/>
                  </a:lnTo>
                  <a:lnTo>
                    <a:pt x="0" y="1846"/>
                  </a:lnTo>
                  <a:lnTo>
                    <a:pt x="0" y="1848"/>
                  </a:lnTo>
                  <a:lnTo>
                    <a:pt x="0" y="1848"/>
                  </a:lnTo>
                  <a:lnTo>
                    <a:pt x="2" y="1846"/>
                  </a:lnTo>
                  <a:lnTo>
                    <a:pt x="2" y="1846"/>
                  </a:lnTo>
                  <a:lnTo>
                    <a:pt x="2" y="1844"/>
                  </a:lnTo>
                  <a:close/>
                  <a:moveTo>
                    <a:pt x="584" y="417"/>
                  </a:moveTo>
                  <a:lnTo>
                    <a:pt x="584" y="417"/>
                  </a:lnTo>
                  <a:lnTo>
                    <a:pt x="586" y="417"/>
                  </a:lnTo>
                  <a:lnTo>
                    <a:pt x="586" y="417"/>
                  </a:lnTo>
                  <a:lnTo>
                    <a:pt x="584" y="415"/>
                  </a:lnTo>
                  <a:lnTo>
                    <a:pt x="584" y="415"/>
                  </a:lnTo>
                  <a:lnTo>
                    <a:pt x="579" y="417"/>
                  </a:lnTo>
                  <a:lnTo>
                    <a:pt x="581" y="417"/>
                  </a:lnTo>
                  <a:lnTo>
                    <a:pt x="584" y="417"/>
                  </a:lnTo>
                  <a:close/>
                  <a:moveTo>
                    <a:pt x="111" y="1671"/>
                  </a:moveTo>
                  <a:lnTo>
                    <a:pt x="111" y="1671"/>
                  </a:lnTo>
                  <a:lnTo>
                    <a:pt x="111" y="1671"/>
                  </a:lnTo>
                  <a:lnTo>
                    <a:pt x="111" y="1671"/>
                  </a:lnTo>
                  <a:lnTo>
                    <a:pt x="111" y="1671"/>
                  </a:lnTo>
                  <a:lnTo>
                    <a:pt x="111" y="1671"/>
                  </a:lnTo>
                  <a:lnTo>
                    <a:pt x="111" y="1671"/>
                  </a:lnTo>
                  <a:lnTo>
                    <a:pt x="111" y="1671"/>
                  </a:lnTo>
                  <a:lnTo>
                    <a:pt x="111" y="1671"/>
                  </a:lnTo>
                  <a:lnTo>
                    <a:pt x="111" y="1671"/>
                  </a:lnTo>
                  <a:lnTo>
                    <a:pt x="111" y="1671"/>
                  </a:lnTo>
                  <a:lnTo>
                    <a:pt x="111" y="1671"/>
                  </a:lnTo>
                  <a:lnTo>
                    <a:pt x="111" y="1671"/>
                  </a:lnTo>
                  <a:lnTo>
                    <a:pt x="111" y="1671"/>
                  </a:lnTo>
                  <a:close/>
                  <a:moveTo>
                    <a:pt x="0" y="1836"/>
                  </a:moveTo>
                  <a:lnTo>
                    <a:pt x="0" y="1836"/>
                  </a:lnTo>
                  <a:lnTo>
                    <a:pt x="0" y="1838"/>
                  </a:lnTo>
                  <a:lnTo>
                    <a:pt x="0" y="1838"/>
                  </a:lnTo>
                  <a:lnTo>
                    <a:pt x="0" y="1836"/>
                  </a:lnTo>
                  <a:lnTo>
                    <a:pt x="0" y="1836"/>
                  </a:lnTo>
                  <a:close/>
                  <a:moveTo>
                    <a:pt x="52" y="801"/>
                  </a:moveTo>
                  <a:lnTo>
                    <a:pt x="54" y="801"/>
                  </a:lnTo>
                  <a:lnTo>
                    <a:pt x="54" y="801"/>
                  </a:lnTo>
                  <a:lnTo>
                    <a:pt x="52" y="799"/>
                  </a:lnTo>
                  <a:lnTo>
                    <a:pt x="52" y="799"/>
                  </a:lnTo>
                  <a:lnTo>
                    <a:pt x="52" y="801"/>
                  </a:lnTo>
                  <a:lnTo>
                    <a:pt x="52" y="801"/>
                  </a:lnTo>
                  <a:close/>
                  <a:moveTo>
                    <a:pt x="19" y="1902"/>
                  </a:moveTo>
                  <a:lnTo>
                    <a:pt x="19" y="1902"/>
                  </a:lnTo>
                  <a:lnTo>
                    <a:pt x="19" y="1902"/>
                  </a:lnTo>
                  <a:lnTo>
                    <a:pt x="19" y="1902"/>
                  </a:lnTo>
                  <a:lnTo>
                    <a:pt x="19" y="1902"/>
                  </a:lnTo>
                  <a:lnTo>
                    <a:pt x="19" y="1902"/>
                  </a:lnTo>
                  <a:lnTo>
                    <a:pt x="19" y="1902"/>
                  </a:lnTo>
                  <a:lnTo>
                    <a:pt x="19" y="1902"/>
                  </a:lnTo>
                  <a:lnTo>
                    <a:pt x="19" y="1902"/>
                  </a:lnTo>
                  <a:lnTo>
                    <a:pt x="19" y="1902"/>
                  </a:lnTo>
                  <a:lnTo>
                    <a:pt x="19" y="1902"/>
                  </a:lnTo>
                  <a:close/>
                  <a:moveTo>
                    <a:pt x="45" y="803"/>
                  </a:moveTo>
                  <a:lnTo>
                    <a:pt x="49" y="801"/>
                  </a:lnTo>
                  <a:lnTo>
                    <a:pt x="49" y="801"/>
                  </a:lnTo>
                  <a:lnTo>
                    <a:pt x="49" y="801"/>
                  </a:lnTo>
                  <a:lnTo>
                    <a:pt x="52" y="801"/>
                  </a:lnTo>
                  <a:lnTo>
                    <a:pt x="52" y="801"/>
                  </a:lnTo>
                  <a:lnTo>
                    <a:pt x="52" y="799"/>
                  </a:lnTo>
                  <a:lnTo>
                    <a:pt x="49" y="799"/>
                  </a:lnTo>
                  <a:lnTo>
                    <a:pt x="49" y="799"/>
                  </a:lnTo>
                  <a:lnTo>
                    <a:pt x="49" y="799"/>
                  </a:lnTo>
                  <a:lnTo>
                    <a:pt x="49" y="799"/>
                  </a:lnTo>
                  <a:lnTo>
                    <a:pt x="49" y="797"/>
                  </a:lnTo>
                  <a:lnTo>
                    <a:pt x="49" y="797"/>
                  </a:lnTo>
                  <a:lnTo>
                    <a:pt x="47" y="797"/>
                  </a:lnTo>
                  <a:lnTo>
                    <a:pt x="47" y="799"/>
                  </a:lnTo>
                  <a:lnTo>
                    <a:pt x="47" y="799"/>
                  </a:lnTo>
                  <a:lnTo>
                    <a:pt x="45" y="799"/>
                  </a:lnTo>
                  <a:lnTo>
                    <a:pt x="45" y="801"/>
                  </a:lnTo>
                  <a:lnTo>
                    <a:pt x="43" y="803"/>
                  </a:lnTo>
                  <a:lnTo>
                    <a:pt x="45" y="803"/>
                  </a:lnTo>
                  <a:lnTo>
                    <a:pt x="45" y="803"/>
                  </a:lnTo>
                  <a:close/>
                  <a:moveTo>
                    <a:pt x="54" y="2267"/>
                  </a:moveTo>
                  <a:lnTo>
                    <a:pt x="54" y="2267"/>
                  </a:lnTo>
                  <a:lnTo>
                    <a:pt x="54" y="2267"/>
                  </a:lnTo>
                  <a:lnTo>
                    <a:pt x="49" y="2267"/>
                  </a:lnTo>
                  <a:lnTo>
                    <a:pt x="47" y="2267"/>
                  </a:lnTo>
                  <a:lnTo>
                    <a:pt x="45" y="2267"/>
                  </a:lnTo>
                  <a:lnTo>
                    <a:pt x="45" y="2269"/>
                  </a:lnTo>
                  <a:lnTo>
                    <a:pt x="45" y="2269"/>
                  </a:lnTo>
                  <a:lnTo>
                    <a:pt x="47" y="2269"/>
                  </a:lnTo>
                  <a:lnTo>
                    <a:pt x="49" y="2269"/>
                  </a:lnTo>
                  <a:lnTo>
                    <a:pt x="49" y="2269"/>
                  </a:lnTo>
                  <a:lnTo>
                    <a:pt x="49" y="2271"/>
                  </a:lnTo>
                  <a:lnTo>
                    <a:pt x="47" y="2271"/>
                  </a:lnTo>
                  <a:lnTo>
                    <a:pt x="47" y="2271"/>
                  </a:lnTo>
                  <a:lnTo>
                    <a:pt x="49" y="2274"/>
                  </a:lnTo>
                  <a:lnTo>
                    <a:pt x="49" y="2274"/>
                  </a:lnTo>
                  <a:lnTo>
                    <a:pt x="49" y="2274"/>
                  </a:lnTo>
                  <a:lnTo>
                    <a:pt x="52" y="2274"/>
                  </a:lnTo>
                  <a:lnTo>
                    <a:pt x="52" y="2274"/>
                  </a:lnTo>
                  <a:lnTo>
                    <a:pt x="52" y="2271"/>
                  </a:lnTo>
                  <a:lnTo>
                    <a:pt x="52" y="2271"/>
                  </a:lnTo>
                  <a:lnTo>
                    <a:pt x="52" y="2271"/>
                  </a:lnTo>
                  <a:lnTo>
                    <a:pt x="49" y="2269"/>
                  </a:lnTo>
                  <a:lnTo>
                    <a:pt x="52" y="2269"/>
                  </a:lnTo>
                  <a:lnTo>
                    <a:pt x="52" y="2269"/>
                  </a:lnTo>
                  <a:lnTo>
                    <a:pt x="49" y="2267"/>
                  </a:lnTo>
                  <a:lnTo>
                    <a:pt x="49" y="2267"/>
                  </a:lnTo>
                  <a:lnTo>
                    <a:pt x="52" y="2267"/>
                  </a:lnTo>
                  <a:lnTo>
                    <a:pt x="52" y="2267"/>
                  </a:lnTo>
                  <a:lnTo>
                    <a:pt x="52" y="2269"/>
                  </a:lnTo>
                  <a:lnTo>
                    <a:pt x="54" y="2267"/>
                  </a:lnTo>
                  <a:close/>
                  <a:moveTo>
                    <a:pt x="41" y="797"/>
                  </a:moveTo>
                  <a:lnTo>
                    <a:pt x="41" y="799"/>
                  </a:lnTo>
                  <a:lnTo>
                    <a:pt x="39" y="799"/>
                  </a:lnTo>
                  <a:lnTo>
                    <a:pt x="39" y="801"/>
                  </a:lnTo>
                  <a:lnTo>
                    <a:pt x="37" y="801"/>
                  </a:lnTo>
                  <a:lnTo>
                    <a:pt x="33" y="801"/>
                  </a:lnTo>
                  <a:lnTo>
                    <a:pt x="33" y="801"/>
                  </a:lnTo>
                  <a:lnTo>
                    <a:pt x="33" y="803"/>
                  </a:lnTo>
                  <a:lnTo>
                    <a:pt x="35" y="803"/>
                  </a:lnTo>
                  <a:lnTo>
                    <a:pt x="35" y="801"/>
                  </a:lnTo>
                  <a:lnTo>
                    <a:pt x="37" y="801"/>
                  </a:lnTo>
                  <a:lnTo>
                    <a:pt x="39" y="803"/>
                  </a:lnTo>
                  <a:lnTo>
                    <a:pt x="41" y="801"/>
                  </a:lnTo>
                  <a:lnTo>
                    <a:pt x="41" y="801"/>
                  </a:lnTo>
                  <a:lnTo>
                    <a:pt x="41" y="801"/>
                  </a:lnTo>
                  <a:lnTo>
                    <a:pt x="41" y="799"/>
                  </a:lnTo>
                  <a:lnTo>
                    <a:pt x="41" y="799"/>
                  </a:lnTo>
                  <a:lnTo>
                    <a:pt x="41" y="799"/>
                  </a:lnTo>
                  <a:lnTo>
                    <a:pt x="41" y="797"/>
                  </a:lnTo>
                  <a:lnTo>
                    <a:pt x="41" y="797"/>
                  </a:lnTo>
                  <a:close/>
                  <a:moveTo>
                    <a:pt x="56" y="1797"/>
                  </a:moveTo>
                  <a:lnTo>
                    <a:pt x="56" y="1794"/>
                  </a:lnTo>
                  <a:lnTo>
                    <a:pt x="56" y="1794"/>
                  </a:lnTo>
                  <a:lnTo>
                    <a:pt x="54" y="1794"/>
                  </a:lnTo>
                  <a:lnTo>
                    <a:pt x="54" y="1797"/>
                  </a:lnTo>
                  <a:lnTo>
                    <a:pt x="54" y="1797"/>
                  </a:lnTo>
                  <a:lnTo>
                    <a:pt x="56" y="1797"/>
                  </a:lnTo>
                  <a:close/>
                  <a:moveTo>
                    <a:pt x="25" y="1863"/>
                  </a:moveTo>
                  <a:lnTo>
                    <a:pt x="25" y="1863"/>
                  </a:lnTo>
                  <a:lnTo>
                    <a:pt x="23" y="1863"/>
                  </a:lnTo>
                  <a:lnTo>
                    <a:pt x="25" y="1863"/>
                  </a:lnTo>
                  <a:lnTo>
                    <a:pt x="25" y="1863"/>
                  </a:lnTo>
                  <a:lnTo>
                    <a:pt x="25" y="1863"/>
                  </a:lnTo>
                  <a:lnTo>
                    <a:pt x="25" y="1863"/>
                  </a:lnTo>
                  <a:close/>
                  <a:moveTo>
                    <a:pt x="31" y="799"/>
                  </a:moveTo>
                  <a:lnTo>
                    <a:pt x="31" y="799"/>
                  </a:lnTo>
                  <a:lnTo>
                    <a:pt x="29" y="799"/>
                  </a:lnTo>
                  <a:lnTo>
                    <a:pt x="27" y="799"/>
                  </a:lnTo>
                  <a:lnTo>
                    <a:pt x="27" y="799"/>
                  </a:lnTo>
                  <a:lnTo>
                    <a:pt x="25" y="799"/>
                  </a:lnTo>
                  <a:lnTo>
                    <a:pt x="27" y="799"/>
                  </a:lnTo>
                  <a:lnTo>
                    <a:pt x="29" y="801"/>
                  </a:lnTo>
                  <a:lnTo>
                    <a:pt x="29" y="801"/>
                  </a:lnTo>
                  <a:lnTo>
                    <a:pt x="29" y="801"/>
                  </a:lnTo>
                  <a:lnTo>
                    <a:pt x="29" y="801"/>
                  </a:lnTo>
                  <a:lnTo>
                    <a:pt x="27" y="803"/>
                  </a:lnTo>
                  <a:lnTo>
                    <a:pt x="27" y="803"/>
                  </a:lnTo>
                  <a:lnTo>
                    <a:pt x="29" y="803"/>
                  </a:lnTo>
                  <a:lnTo>
                    <a:pt x="31" y="803"/>
                  </a:lnTo>
                  <a:lnTo>
                    <a:pt x="31" y="803"/>
                  </a:lnTo>
                  <a:lnTo>
                    <a:pt x="31" y="803"/>
                  </a:lnTo>
                  <a:lnTo>
                    <a:pt x="31" y="801"/>
                  </a:lnTo>
                  <a:lnTo>
                    <a:pt x="33" y="801"/>
                  </a:lnTo>
                  <a:lnTo>
                    <a:pt x="33" y="799"/>
                  </a:lnTo>
                  <a:lnTo>
                    <a:pt x="31" y="799"/>
                  </a:lnTo>
                  <a:close/>
                  <a:moveTo>
                    <a:pt x="773" y="355"/>
                  </a:moveTo>
                  <a:lnTo>
                    <a:pt x="779" y="355"/>
                  </a:lnTo>
                  <a:lnTo>
                    <a:pt x="782" y="355"/>
                  </a:lnTo>
                  <a:lnTo>
                    <a:pt x="782" y="357"/>
                  </a:lnTo>
                  <a:lnTo>
                    <a:pt x="788" y="359"/>
                  </a:lnTo>
                  <a:lnTo>
                    <a:pt x="798" y="364"/>
                  </a:lnTo>
                  <a:lnTo>
                    <a:pt x="800" y="364"/>
                  </a:lnTo>
                  <a:lnTo>
                    <a:pt x="802" y="368"/>
                  </a:lnTo>
                  <a:lnTo>
                    <a:pt x="802" y="368"/>
                  </a:lnTo>
                  <a:lnTo>
                    <a:pt x="804" y="370"/>
                  </a:lnTo>
                  <a:lnTo>
                    <a:pt x="806" y="376"/>
                  </a:lnTo>
                  <a:lnTo>
                    <a:pt x="808" y="376"/>
                  </a:lnTo>
                  <a:lnTo>
                    <a:pt x="810" y="378"/>
                  </a:lnTo>
                  <a:lnTo>
                    <a:pt x="810" y="378"/>
                  </a:lnTo>
                  <a:lnTo>
                    <a:pt x="814" y="378"/>
                  </a:lnTo>
                  <a:lnTo>
                    <a:pt x="814" y="378"/>
                  </a:lnTo>
                  <a:lnTo>
                    <a:pt x="817" y="378"/>
                  </a:lnTo>
                  <a:lnTo>
                    <a:pt x="819" y="376"/>
                  </a:lnTo>
                  <a:lnTo>
                    <a:pt x="825" y="374"/>
                  </a:lnTo>
                  <a:lnTo>
                    <a:pt x="831" y="370"/>
                  </a:lnTo>
                  <a:lnTo>
                    <a:pt x="831" y="370"/>
                  </a:lnTo>
                  <a:lnTo>
                    <a:pt x="833" y="370"/>
                  </a:lnTo>
                  <a:lnTo>
                    <a:pt x="833" y="370"/>
                  </a:lnTo>
                  <a:lnTo>
                    <a:pt x="835" y="372"/>
                  </a:lnTo>
                  <a:lnTo>
                    <a:pt x="839" y="370"/>
                  </a:lnTo>
                  <a:lnTo>
                    <a:pt x="841" y="370"/>
                  </a:lnTo>
                  <a:lnTo>
                    <a:pt x="847" y="368"/>
                  </a:lnTo>
                  <a:lnTo>
                    <a:pt x="847" y="366"/>
                  </a:lnTo>
                  <a:lnTo>
                    <a:pt x="850" y="366"/>
                  </a:lnTo>
                  <a:lnTo>
                    <a:pt x="850" y="366"/>
                  </a:lnTo>
                  <a:lnTo>
                    <a:pt x="850" y="357"/>
                  </a:lnTo>
                  <a:lnTo>
                    <a:pt x="852" y="355"/>
                  </a:lnTo>
                  <a:lnTo>
                    <a:pt x="854" y="351"/>
                  </a:lnTo>
                  <a:lnTo>
                    <a:pt x="854" y="349"/>
                  </a:lnTo>
                  <a:lnTo>
                    <a:pt x="854" y="349"/>
                  </a:lnTo>
                  <a:lnTo>
                    <a:pt x="858" y="349"/>
                  </a:lnTo>
                  <a:lnTo>
                    <a:pt x="862" y="347"/>
                  </a:lnTo>
                  <a:lnTo>
                    <a:pt x="864" y="345"/>
                  </a:lnTo>
                  <a:lnTo>
                    <a:pt x="868" y="339"/>
                  </a:lnTo>
                  <a:lnTo>
                    <a:pt x="868" y="339"/>
                  </a:lnTo>
                  <a:lnTo>
                    <a:pt x="870" y="337"/>
                  </a:lnTo>
                  <a:lnTo>
                    <a:pt x="885" y="331"/>
                  </a:lnTo>
                  <a:lnTo>
                    <a:pt x="891" y="326"/>
                  </a:lnTo>
                  <a:lnTo>
                    <a:pt x="897" y="326"/>
                  </a:lnTo>
                  <a:lnTo>
                    <a:pt x="905" y="322"/>
                  </a:lnTo>
                  <a:lnTo>
                    <a:pt x="909" y="320"/>
                  </a:lnTo>
                  <a:lnTo>
                    <a:pt x="913" y="320"/>
                  </a:lnTo>
                  <a:lnTo>
                    <a:pt x="920" y="316"/>
                  </a:lnTo>
                  <a:lnTo>
                    <a:pt x="920" y="316"/>
                  </a:lnTo>
                  <a:lnTo>
                    <a:pt x="922" y="316"/>
                  </a:lnTo>
                  <a:lnTo>
                    <a:pt x="922" y="314"/>
                  </a:lnTo>
                  <a:lnTo>
                    <a:pt x="922" y="314"/>
                  </a:lnTo>
                  <a:lnTo>
                    <a:pt x="920" y="312"/>
                  </a:lnTo>
                  <a:lnTo>
                    <a:pt x="920" y="312"/>
                  </a:lnTo>
                  <a:lnTo>
                    <a:pt x="918" y="310"/>
                  </a:lnTo>
                  <a:lnTo>
                    <a:pt x="913" y="308"/>
                  </a:lnTo>
                  <a:lnTo>
                    <a:pt x="903" y="300"/>
                  </a:lnTo>
                  <a:lnTo>
                    <a:pt x="899" y="297"/>
                  </a:lnTo>
                  <a:lnTo>
                    <a:pt x="895" y="295"/>
                  </a:lnTo>
                  <a:lnTo>
                    <a:pt x="891" y="295"/>
                  </a:lnTo>
                  <a:lnTo>
                    <a:pt x="889" y="293"/>
                  </a:lnTo>
                  <a:lnTo>
                    <a:pt x="885" y="293"/>
                  </a:lnTo>
                  <a:lnTo>
                    <a:pt x="880" y="293"/>
                  </a:lnTo>
                  <a:lnTo>
                    <a:pt x="876" y="293"/>
                  </a:lnTo>
                  <a:lnTo>
                    <a:pt x="874" y="295"/>
                  </a:lnTo>
                  <a:lnTo>
                    <a:pt x="874" y="295"/>
                  </a:lnTo>
                  <a:lnTo>
                    <a:pt x="870" y="300"/>
                  </a:lnTo>
                  <a:lnTo>
                    <a:pt x="868" y="300"/>
                  </a:lnTo>
                  <a:lnTo>
                    <a:pt x="868" y="300"/>
                  </a:lnTo>
                  <a:lnTo>
                    <a:pt x="868" y="300"/>
                  </a:lnTo>
                  <a:lnTo>
                    <a:pt x="868" y="297"/>
                  </a:lnTo>
                  <a:lnTo>
                    <a:pt x="868" y="295"/>
                  </a:lnTo>
                  <a:lnTo>
                    <a:pt x="868" y="295"/>
                  </a:lnTo>
                  <a:lnTo>
                    <a:pt x="866" y="295"/>
                  </a:lnTo>
                  <a:lnTo>
                    <a:pt x="866" y="295"/>
                  </a:lnTo>
                  <a:lnTo>
                    <a:pt x="864" y="295"/>
                  </a:lnTo>
                  <a:lnTo>
                    <a:pt x="860" y="297"/>
                  </a:lnTo>
                  <a:lnTo>
                    <a:pt x="860" y="297"/>
                  </a:lnTo>
                  <a:lnTo>
                    <a:pt x="860" y="297"/>
                  </a:lnTo>
                  <a:lnTo>
                    <a:pt x="860" y="297"/>
                  </a:lnTo>
                  <a:lnTo>
                    <a:pt x="862" y="295"/>
                  </a:lnTo>
                  <a:lnTo>
                    <a:pt x="856" y="293"/>
                  </a:lnTo>
                  <a:lnTo>
                    <a:pt x="847" y="291"/>
                  </a:lnTo>
                  <a:lnTo>
                    <a:pt x="843" y="289"/>
                  </a:lnTo>
                  <a:lnTo>
                    <a:pt x="839" y="287"/>
                  </a:lnTo>
                  <a:lnTo>
                    <a:pt x="837" y="287"/>
                  </a:lnTo>
                  <a:lnTo>
                    <a:pt x="833" y="285"/>
                  </a:lnTo>
                  <a:lnTo>
                    <a:pt x="831" y="285"/>
                  </a:lnTo>
                  <a:lnTo>
                    <a:pt x="819" y="287"/>
                  </a:lnTo>
                  <a:lnTo>
                    <a:pt x="806" y="289"/>
                  </a:lnTo>
                  <a:lnTo>
                    <a:pt x="788" y="291"/>
                  </a:lnTo>
                  <a:lnTo>
                    <a:pt x="788" y="291"/>
                  </a:lnTo>
                  <a:lnTo>
                    <a:pt x="790" y="293"/>
                  </a:lnTo>
                  <a:lnTo>
                    <a:pt x="790" y="293"/>
                  </a:lnTo>
                  <a:lnTo>
                    <a:pt x="790" y="293"/>
                  </a:lnTo>
                  <a:lnTo>
                    <a:pt x="794" y="302"/>
                  </a:lnTo>
                  <a:lnTo>
                    <a:pt x="796" y="304"/>
                  </a:lnTo>
                  <a:lnTo>
                    <a:pt x="798" y="306"/>
                  </a:lnTo>
                  <a:lnTo>
                    <a:pt x="800" y="306"/>
                  </a:lnTo>
                  <a:lnTo>
                    <a:pt x="802" y="308"/>
                  </a:lnTo>
                  <a:lnTo>
                    <a:pt x="802" y="308"/>
                  </a:lnTo>
                  <a:lnTo>
                    <a:pt x="798" y="310"/>
                  </a:lnTo>
                  <a:lnTo>
                    <a:pt x="796" y="314"/>
                  </a:lnTo>
                  <a:lnTo>
                    <a:pt x="792" y="316"/>
                  </a:lnTo>
                  <a:lnTo>
                    <a:pt x="790" y="322"/>
                  </a:lnTo>
                  <a:lnTo>
                    <a:pt x="790" y="322"/>
                  </a:lnTo>
                  <a:lnTo>
                    <a:pt x="788" y="324"/>
                  </a:lnTo>
                  <a:lnTo>
                    <a:pt x="786" y="326"/>
                  </a:lnTo>
                  <a:lnTo>
                    <a:pt x="788" y="326"/>
                  </a:lnTo>
                  <a:lnTo>
                    <a:pt x="788" y="328"/>
                  </a:lnTo>
                  <a:lnTo>
                    <a:pt x="790" y="328"/>
                  </a:lnTo>
                  <a:lnTo>
                    <a:pt x="790" y="328"/>
                  </a:lnTo>
                  <a:lnTo>
                    <a:pt x="790" y="328"/>
                  </a:lnTo>
                  <a:lnTo>
                    <a:pt x="790" y="328"/>
                  </a:lnTo>
                  <a:lnTo>
                    <a:pt x="790" y="331"/>
                  </a:lnTo>
                  <a:lnTo>
                    <a:pt x="790" y="331"/>
                  </a:lnTo>
                  <a:lnTo>
                    <a:pt x="786" y="333"/>
                  </a:lnTo>
                  <a:lnTo>
                    <a:pt x="784" y="333"/>
                  </a:lnTo>
                  <a:lnTo>
                    <a:pt x="784" y="333"/>
                  </a:lnTo>
                  <a:lnTo>
                    <a:pt x="784" y="335"/>
                  </a:lnTo>
                  <a:lnTo>
                    <a:pt x="784" y="335"/>
                  </a:lnTo>
                  <a:lnTo>
                    <a:pt x="784" y="339"/>
                  </a:lnTo>
                  <a:lnTo>
                    <a:pt x="784" y="339"/>
                  </a:lnTo>
                  <a:lnTo>
                    <a:pt x="784" y="339"/>
                  </a:lnTo>
                  <a:lnTo>
                    <a:pt x="784" y="339"/>
                  </a:lnTo>
                  <a:lnTo>
                    <a:pt x="784" y="341"/>
                  </a:lnTo>
                  <a:lnTo>
                    <a:pt x="782" y="341"/>
                  </a:lnTo>
                  <a:lnTo>
                    <a:pt x="779" y="343"/>
                  </a:lnTo>
                  <a:lnTo>
                    <a:pt x="779" y="343"/>
                  </a:lnTo>
                  <a:lnTo>
                    <a:pt x="777" y="345"/>
                  </a:lnTo>
                  <a:lnTo>
                    <a:pt x="777" y="347"/>
                  </a:lnTo>
                  <a:lnTo>
                    <a:pt x="775" y="347"/>
                  </a:lnTo>
                  <a:lnTo>
                    <a:pt x="775" y="349"/>
                  </a:lnTo>
                  <a:lnTo>
                    <a:pt x="775" y="349"/>
                  </a:lnTo>
                  <a:lnTo>
                    <a:pt x="775" y="349"/>
                  </a:lnTo>
                  <a:lnTo>
                    <a:pt x="775" y="349"/>
                  </a:lnTo>
                  <a:lnTo>
                    <a:pt x="775" y="349"/>
                  </a:lnTo>
                  <a:lnTo>
                    <a:pt x="773" y="351"/>
                  </a:lnTo>
                  <a:lnTo>
                    <a:pt x="773" y="351"/>
                  </a:lnTo>
                  <a:lnTo>
                    <a:pt x="773" y="353"/>
                  </a:lnTo>
                  <a:lnTo>
                    <a:pt x="773" y="353"/>
                  </a:lnTo>
                  <a:lnTo>
                    <a:pt x="773" y="355"/>
                  </a:lnTo>
                  <a:lnTo>
                    <a:pt x="771" y="355"/>
                  </a:lnTo>
                  <a:lnTo>
                    <a:pt x="773" y="355"/>
                  </a:lnTo>
                  <a:lnTo>
                    <a:pt x="773" y="355"/>
                  </a:lnTo>
                  <a:close/>
                  <a:moveTo>
                    <a:pt x="21" y="1881"/>
                  </a:moveTo>
                  <a:lnTo>
                    <a:pt x="21" y="1881"/>
                  </a:lnTo>
                  <a:lnTo>
                    <a:pt x="21" y="1879"/>
                  </a:lnTo>
                  <a:lnTo>
                    <a:pt x="21" y="1879"/>
                  </a:lnTo>
                  <a:lnTo>
                    <a:pt x="21" y="1879"/>
                  </a:lnTo>
                  <a:lnTo>
                    <a:pt x="21" y="1879"/>
                  </a:lnTo>
                  <a:lnTo>
                    <a:pt x="21" y="1879"/>
                  </a:lnTo>
                  <a:lnTo>
                    <a:pt x="21" y="1881"/>
                  </a:lnTo>
                  <a:lnTo>
                    <a:pt x="21" y="1881"/>
                  </a:lnTo>
                  <a:lnTo>
                    <a:pt x="21" y="1881"/>
                  </a:lnTo>
                  <a:lnTo>
                    <a:pt x="21" y="1881"/>
                  </a:lnTo>
                  <a:lnTo>
                    <a:pt x="21" y="1881"/>
                  </a:lnTo>
                  <a:lnTo>
                    <a:pt x="21" y="1881"/>
                  </a:lnTo>
                  <a:lnTo>
                    <a:pt x="21" y="1881"/>
                  </a:lnTo>
                  <a:close/>
                  <a:moveTo>
                    <a:pt x="27" y="1809"/>
                  </a:moveTo>
                  <a:lnTo>
                    <a:pt x="27" y="1809"/>
                  </a:lnTo>
                  <a:lnTo>
                    <a:pt x="25" y="1809"/>
                  </a:lnTo>
                  <a:lnTo>
                    <a:pt x="27" y="1811"/>
                  </a:lnTo>
                  <a:lnTo>
                    <a:pt x="27" y="1811"/>
                  </a:lnTo>
                  <a:lnTo>
                    <a:pt x="29" y="1811"/>
                  </a:lnTo>
                  <a:lnTo>
                    <a:pt x="29" y="1811"/>
                  </a:lnTo>
                  <a:lnTo>
                    <a:pt x="27" y="1809"/>
                  </a:lnTo>
                  <a:lnTo>
                    <a:pt x="27" y="1809"/>
                  </a:lnTo>
                  <a:close/>
                  <a:moveTo>
                    <a:pt x="996" y="188"/>
                  </a:moveTo>
                  <a:lnTo>
                    <a:pt x="1002" y="186"/>
                  </a:lnTo>
                  <a:lnTo>
                    <a:pt x="1002" y="186"/>
                  </a:lnTo>
                  <a:lnTo>
                    <a:pt x="1004" y="184"/>
                  </a:lnTo>
                  <a:lnTo>
                    <a:pt x="1004" y="182"/>
                  </a:lnTo>
                  <a:lnTo>
                    <a:pt x="1002" y="182"/>
                  </a:lnTo>
                  <a:lnTo>
                    <a:pt x="992" y="182"/>
                  </a:lnTo>
                  <a:lnTo>
                    <a:pt x="988" y="182"/>
                  </a:lnTo>
                  <a:lnTo>
                    <a:pt x="986" y="182"/>
                  </a:lnTo>
                  <a:lnTo>
                    <a:pt x="982" y="182"/>
                  </a:lnTo>
                  <a:lnTo>
                    <a:pt x="965" y="184"/>
                  </a:lnTo>
                  <a:lnTo>
                    <a:pt x="959" y="186"/>
                  </a:lnTo>
                  <a:lnTo>
                    <a:pt x="955" y="188"/>
                  </a:lnTo>
                  <a:lnTo>
                    <a:pt x="953" y="188"/>
                  </a:lnTo>
                  <a:lnTo>
                    <a:pt x="953" y="188"/>
                  </a:lnTo>
                  <a:lnTo>
                    <a:pt x="951" y="190"/>
                  </a:lnTo>
                  <a:lnTo>
                    <a:pt x="951" y="190"/>
                  </a:lnTo>
                  <a:lnTo>
                    <a:pt x="951" y="190"/>
                  </a:lnTo>
                  <a:lnTo>
                    <a:pt x="951" y="192"/>
                  </a:lnTo>
                  <a:lnTo>
                    <a:pt x="953" y="194"/>
                  </a:lnTo>
                  <a:lnTo>
                    <a:pt x="953" y="194"/>
                  </a:lnTo>
                  <a:lnTo>
                    <a:pt x="953" y="196"/>
                  </a:lnTo>
                  <a:lnTo>
                    <a:pt x="953" y="196"/>
                  </a:lnTo>
                  <a:lnTo>
                    <a:pt x="953" y="196"/>
                  </a:lnTo>
                  <a:lnTo>
                    <a:pt x="953" y="198"/>
                  </a:lnTo>
                  <a:lnTo>
                    <a:pt x="953" y="198"/>
                  </a:lnTo>
                  <a:lnTo>
                    <a:pt x="953" y="198"/>
                  </a:lnTo>
                  <a:lnTo>
                    <a:pt x="955" y="200"/>
                  </a:lnTo>
                  <a:lnTo>
                    <a:pt x="957" y="200"/>
                  </a:lnTo>
                  <a:lnTo>
                    <a:pt x="961" y="203"/>
                  </a:lnTo>
                  <a:lnTo>
                    <a:pt x="965" y="205"/>
                  </a:lnTo>
                  <a:lnTo>
                    <a:pt x="967" y="205"/>
                  </a:lnTo>
                  <a:lnTo>
                    <a:pt x="969" y="205"/>
                  </a:lnTo>
                  <a:lnTo>
                    <a:pt x="982" y="203"/>
                  </a:lnTo>
                  <a:lnTo>
                    <a:pt x="984" y="203"/>
                  </a:lnTo>
                  <a:lnTo>
                    <a:pt x="986" y="203"/>
                  </a:lnTo>
                  <a:lnTo>
                    <a:pt x="988" y="203"/>
                  </a:lnTo>
                  <a:lnTo>
                    <a:pt x="992" y="200"/>
                  </a:lnTo>
                  <a:lnTo>
                    <a:pt x="996" y="198"/>
                  </a:lnTo>
                  <a:lnTo>
                    <a:pt x="996" y="198"/>
                  </a:lnTo>
                  <a:lnTo>
                    <a:pt x="996" y="196"/>
                  </a:lnTo>
                  <a:lnTo>
                    <a:pt x="996" y="194"/>
                  </a:lnTo>
                  <a:lnTo>
                    <a:pt x="996" y="192"/>
                  </a:lnTo>
                  <a:lnTo>
                    <a:pt x="996" y="192"/>
                  </a:lnTo>
                  <a:lnTo>
                    <a:pt x="996" y="192"/>
                  </a:lnTo>
                  <a:lnTo>
                    <a:pt x="994" y="192"/>
                  </a:lnTo>
                  <a:lnTo>
                    <a:pt x="988" y="192"/>
                  </a:lnTo>
                  <a:lnTo>
                    <a:pt x="986" y="190"/>
                  </a:lnTo>
                  <a:lnTo>
                    <a:pt x="986" y="190"/>
                  </a:lnTo>
                  <a:lnTo>
                    <a:pt x="986" y="190"/>
                  </a:lnTo>
                  <a:lnTo>
                    <a:pt x="988" y="190"/>
                  </a:lnTo>
                  <a:lnTo>
                    <a:pt x="996" y="188"/>
                  </a:lnTo>
                  <a:close/>
                  <a:moveTo>
                    <a:pt x="1439" y="240"/>
                  </a:moveTo>
                  <a:lnTo>
                    <a:pt x="1437" y="242"/>
                  </a:lnTo>
                  <a:lnTo>
                    <a:pt x="1435" y="244"/>
                  </a:lnTo>
                  <a:lnTo>
                    <a:pt x="1433" y="246"/>
                  </a:lnTo>
                  <a:lnTo>
                    <a:pt x="1429" y="248"/>
                  </a:lnTo>
                  <a:lnTo>
                    <a:pt x="1431" y="250"/>
                  </a:lnTo>
                  <a:lnTo>
                    <a:pt x="1433" y="250"/>
                  </a:lnTo>
                  <a:lnTo>
                    <a:pt x="1435" y="250"/>
                  </a:lnTo>
                  <a:lnTo>
                    <a:pt x="1437" y="248"/>
                  </a:lnTo>
                  <a:lnTo>
                    <a:pt x="1439" y="248"/>
                  </a:lnTo>
                  <a:lnTo>
                    <a:pt x="1439" y="246"/>
                  </a:lnTo>
                  <a:lnTo>
                    <a:pt x="1439" y="246"/>
                  </a:lnTo>
                  <a:lnTo>
                    <a:pt x="1441" y="244"/>
                  </a:lnTo>
                  <a:lnTo>
                    <a:pt x="1441" y="242"/>
                  </a:lnTo>
                  <a:lnTo>
                    <a:pt x="1441" y="240"/>
                  </a:lnTo>
                  <a:lnTo>
                    <a:pt x="1439" y="240"/>
                  </a:lnTo>
                  <a:close/>
                  <a:moveTo>
                    <a:pt x="1217" y="120"/>
                  </a:moveTo>
                  <a:lnTo>
                    <a:pt x="1206" y="120"/>
                  </a:lnTo>
                  <a:lnTo>
                    <a:pt x="1200" y="120"/>
                  </a:lnTo>
                  <a:lnTo>
                    <a:pt x="1186" y="118"/>
                  </a:lnTo>
                  <a:lnTo>
                    <a:pt x="1188" y="122"/>
                  </a:lnTo>
                  <a:lnTo>
                    <a:pt x="1190" y="122"/>
                  </a:lnTo>
                  <a:lnTo>
                    <a:pt x="1190" y="124"/>
                  </a:lnTo>
                  <a:lnTo>
                    <a:pt x="1192" y="128"/>
                  </a:lnTo>
                  <a:lnTo>
                    <a:pt x="1198" y="132"/>
                  </a:lnTo>
                  <a:lnTo>
                    <a:pt x="1200" y="132"/>
                  </a:lnTo>
                  <a:lnTo>
                    <a:pt x="1202" y="132"/>
                  </a:lnTo>
                  <a:lnTo>
                    <a:pt x="1204" y="134"/>
                  </a:lnTo>
                  <a:lnTo>
                    <a:pt x="1208" y="134"/>
                  </a:lnTo>
                  <a:lnTo>
                    <a:pt x="1212" y="132"/>
                  </a:lnTo>
                  <a:lnTo>
                    <a:pt x="1219" y="130"/>
                  </a:lnTo>
                  <a:lnTo>
                    <a:pt x="1221" y="130"/>
                  </a:lnTo>
                  <a:lnTo>
                    <a:pt x="1219" y="132"/>
                  </a:lnTo>
                  <a:lnTo>
                    <a:pt x="1219" y="132"/>
                  </a:lnTo>
                  <a:lnTo>
                    <a:pt x="1208" y="136"/>
                  </a:lnTo>
                  <a:lnTo>
                    <a:pt x="1204" y="136"/>
                  </a:lnTo>
                  <a:lnTo>
                    <a:pt x="1202" y="136"/>
                  </a:lnTo>
                  <a:lnTo>
                    <a:pt x="1202" y="141"/>
                  </a:lnTo>
                  <a:lnTo>
                    <a:pt x="1202" y="143"/>
                  </a:lnTo>
                  <a:lnTo>
                    <a:pt x="1208" y="143"/>
                  </a:lnTo>
                  <a:lnTo>
                    <a:pt x="1210" y="145"/>
                  </a:lnTo>
                  <a:lnTo>
                    <a:pt x="1210" y="145"/>
                  </a:lnTo>
                  <a:lnTo>
                    <a:pt x="1215" y="143"/>
                  </a:lnTo>
                  <a:lnTo>
                    <a:pt x="1221" y="143"/>
                  </a:lnTo>
                  <a:lnTo>
                    <a:pt x="1223" y="141"/>
                  </a:lnTo>
                  <a:lnTo>
                    <a:pt x="1225" y="141"/>
                  </a:lnTo>
                  <a:lnTo>
                    <a:pt x="1227" y="141"/>
                  </a:lnTo>
                  <a:lnTo>
                    <a:pt x="1227" y="143"/>
                  </a:lnTo>
                  <a:lnTo>
                    <a:pt x="1225" y="143"/>
                  </a:lnTo>
                  <a:lnTo>
                    <a:pt x="1225" y="145"/>
                  </a:lnTo>
                  <a:lnTo>
                    <a:pt x="1225" y="145"/>
                  </a:lnTo>
                  <a:lnTo>
                    <a:pt x="1225" y="145"/>
                  </a:lnTo>
                  <a:lnTo>
                    <a:pt x="1227" y="145"/>
                  </a:lnTo>
                  <a:lnTo>
                    <a:pt x="1233" y="143"/>
                  </a:lnTo>
                  <a:lnTo>
                    <a:pt x="1235" y="143"/>
                  </a:lnTo>
                  <a:lnTo>
                    <a:pt x="1239" y="141"/>
                  </a:lnTo>
                  <a:lnTo>
                    <a:pt x="1243" y="141"/>
                  </a:lnTo>
                  <a:lnTo>
                    <a:pt x="1245" y="141"/>
                  </a:lnTo>
                  <a:lnTo>
                    <a:pt x="1248" y="141"/>
                  </a:lnTo>
                  <a:lnTo>
                    <a:pt x="1252" y="143"/>
                  </a:lnTo>
                  <a:lnTo>
                    <a:pt x="1260" y="143"/>
                  </a:lnTo>
                  <a:lnTo>
                    <a:pt x="1264" y="143"/>
                  </a:lnTo>
                  <a:lnTo>
                    <a:pt x="1264" y="143"/>
                  </a:lnTo>
                  <a:lnTo>
                    <a:pt x="1256" y="145"/>
                  </a:lnTo>
                  <a:lnTo>
                    <a:pt x="1248" y="145"/>
                  </a:lnTo>
                  <a:lnTo>
                    <a:pt x="1245" y="149"/>
                  </a:lnTo>
                  <a:lnTo>
                    <a:pt x="1243" y="149"/>
                  </a:lnTo>
                  <a:lnTo>
                    <a:pt x="1239" y="149"/>
                  </a:lnTo>
                  <a:lnTo>
                    <a:pt x="1237" y="149"/>
                  </a:lnTo>
                  <a:lnTo>
                    <a:pt x="1227" y="153"/>
                  </a:lnTo>
                  <a:lnTo>
                    <a:pt x="1223" y="155"/>
                  </a:lnTo>
                  <a:lnTo>
                    <a:pt x="1223" y="155"/>
                  </a:lnTo>
                  <a:lnTo>
                    <a:pt x="1225" y="155"/>
                  </a:lnTo>
                  <a:lnTo>
                    <a:pt x="1225" y="157"/>
                  </a:lnTo>
                  <a:lnTo>
                    <a:pt x="1227" y="157"/>
                  </a:lnTo>
                  <a:lnTo>
                    <a:pt x="1235" y="159"/>
                  </a:lnTo>
                  <a:lnTo>
                    <a:pt x="1237" y="161"/>
                  </a:lnTo>
                  <a:lnTo>
                    <a:pt x="1237" y="161"/>
                  </a:lnTo>
                  <a:lnTo>
                    <a:pt x="1233" y="161"/>
                  </a:lnTo>
                  <a:lnTo>
                    <a:pt x="1231" y="161"/>
                  </a:lnTo>
                  <a:lnTo>
                    <a:pt x="1231" y="161"/>
                  </a:lnTo>
                  <a:lnTo>
                    <a:pt x="1233" y="163"/>
                  </a:lnTo>
                  <a:lnTo>
                    <a:pt x="1235" y="165"/>
                  </a:lnTo>
                  <a:lnTo>
                    <a:pt x="1237" y="165"/>
                  </a:lnTo>
                  <a:lnTo>
                    <a:pt x="1239" y="167"/>
                  </a:lnTo>
                  <a:lnTo>
                    <a:pt x="1241" y="165"/>
                  </a:lnTo>
                  <a:lnTo>
                    <a:pt x="1243" y="165"/>
                  </a:lnTo>
                  <a:lnTo>
                    <a:pt x="1256" y="167"/>
                  </a:lnTo>
                  <a:lnTo>
                    <a:pt x="1256" y="167"/>
                  </a:lnTo>
                  <a:lnTo>
                    <a:pt x="1250" y="169"/>
                  </a:lnTo>
                  <a:lnTo>
                    <a:pt x="1243" y="169"/>
                  </a:lnTo>
                  <a:lnTo>
                    <a:pt x="1243" y="172"/>
                  </a:lnTo>
                  <a:lnTo>
                    <a:pt x="1243" y="172"/>
                  </a:lnTo>
                  <a:lnTo>
                    <a:pt x="1245" y="174"/>
                  </a:lnTo>
                  <a:lnTo>
                    <a:pt x="1250" y="176"/>
                  </a:lnTo>
                  <a:lnTo>
                    <a:pt x="1256" y="178"/>
                  </a:lnTo>
                  <a:lnTo>
                    <a:pt x="1264" y="180"/>
                  </a:lnTo>
                  <a:lnTo>
                    <a:pt x="1270" y="180"/>
                  </a:lnTo>
                  <a:lnTo>
                    <a:pt x="1274" y="180"/>
                  </a:lnTo>
                  <a:lnTo>
                    <a:pt x="1278" y="180"/>
                  </a:lnTo>
                  <a:lnTo>
                    <a:pt x="1278" y="180"/>
                  </a:lnTo>
                  <a:lnTo>
                    <a:pt x="1278" y="178"/>
                  </a:lnTo>
                  <a:lnTo>
                    <a:pt x="1276" y="178"/>
                  </a:lnTo>
                  <a:lnTo>
                    <a:pt x="1276" y="178"/>
                  </a:lnTo>
                  <a:lnTo>
                    <a:pt x="1274" y="176"/>
                  </a:lnTo>
                  <a:lnTo>
                    <a:pt x="1274" y="176"/>
                  </a:lnTo>
                  <a:lnTo>
                    <a:pt x="1276" y="176"/>
                  </a:lnTo>
                  <a:lnTo>
                    <a:pt x="1278" y="176"/>
                  </a:lnTo>
                  <a:lnTo>
                    <a:pt x="1281" y="176"/>
                  </a:lnTo>
                  <a:lnTo>
                    <a:pt x="1283" y="176"/>
                  </a:lnTo>
                  <a:lnTo>
                    <a:pt x="1285" y="178"/>
                  </a:lnTo>
                  <a:lnTo>
                    <a:pt x="1285" y="178"/>
                  </a:lnTo>
                  <a:lnTo>
                    <a:pt x="1289" y="180"/>
                  </a:lnTo>
                  <a:lnTo>
                    <a:pt x="1289" y="180"/>
                  </a:lnTo>
                  <a:lnTo>
                    <a:pt x="1291" y="180"/>
                  </a:lnTo>
                  <a:lnTo>
                    <a:pt x="1291" y="180"/>
                  </a:lnTo>
                  <a:lnTo>
                    <a:pt x="1291" y="178"/>
                  </a:lnTo>
                  <a:lnTo>
                    <a:pt x="1289" y="176"/>
                  </a:lnTo>
                  <a:lnTo>
                    <a:pt x="1287" y="174"/>
                  </a:lnTo>
                  <a:lnTo>
                    <a:pt x="1283" y="169"/>
                  </a:lnTo>
                  <a:lnTo>
                    <a:pt x="1283" y="167"/>
                  </a:lnTo>
                  <a:lnTo>
                    <a:pt x="1283" y="165"/>
                  </a:lnTo>
                  <a:lnTo>
                    <a:pt x="1283" y="167"/>
                  </a:lnTo>
                  <a:lnTo>
                    <a:pt x="1285" y="167"/>
                  </a:lnTo>
                  <a:lnTo>
                    <a:pt x="1289" y="172"/>
                  </a:lnTo>
                  <a:lnTo>
                    <a:pt x="1291" y="174"/>
                  </a:lnTo>
                  <a:lnTo>
                    <a:pt x="1297" y="178"/>
                  </a:lnTo>
                  <a:lnTo>
                    <a:pt x="1297" y="180"/>
                  </a:lnTo>
                  <a:lnTo>
                    <a:pt x="1299" y="180"/>
                  </a:lnTo>
                  <a:lnTo>
                    <a:pt x="1301" y="180"/>
                  </a:lnTo>
                  <a:lnTo>
                    <a:pt x="1301" y="178"/>
                  </a:lnTo>
                  <a:lnTo>
                    <a:pt x="1303" y="176"/>
                  </a:lnTo>
                  <a:lnTo>
                    <a:pt x="1303" y="174"/>
                  </a:lnTo>
                  <a:lnTo>
                    <a:pt x="1303" y="172"/>
                  </a:lnTo>
                  <a:lnTo>
                    <a:pt x="1301" y="167"/>
                  </a:lnTo>
                  <a:lnTo>
                    <a:pt x="1301" y="167"/>
                  </a:lnTo>
                  <a:lnTo>
                    <a:pt x="1301" y="167"/>
                  </a:lnTo>
                  <a:lnTo>
                    <a:pt x="1303" y="167"/>
                  </a:lnTo>
                  <a:lnTo>
                    <a:pt x="1307" y="169"/>
                  </a:lnTo>
                  <a:lnTo>
                    <a:pt x="1309" y="169"/>
                  </a:lnTo>
                  <a:lnTo>
                    <a:pt x="1311" y="169"/>
                  </a:lnTo>
                  <a:lnTo>
                    <a:pt x="1311" y="169"/>
                  </a:lnTo>
                  <a:lnTo>
                    <a:pt x="1311" y="167"/>
                  </a:lnTo>
                  <a:lnTo>
                    <a:pt x="1311" y="167"/>
                  </a:lnTo>
                  <a:lnTo>
                    <a:pt x="1311" y="165"/>
                  </a:lnTo>
                  <a:lnTo>
                    <a:pt x="1311" y="165"/>
                  </a:lnTo>
                  <a:lnTo>
                    <a:pt x="1309" y="165"/>
                  </a:lnTo>
                  <a:lnTo>
                    <a:pt x="1307" y="163"/>
                  </a:lnTo>
                  <a:lnTo>
                    <a:pt x="1309" y="163"/>
                  </a:lnTo>
                  <a:lnTo>
                    <a:pt x="1309" y="161"/>
                  </a:lnTo>
                  <a:lnTo>
                    <a:pt x="1309" y="159"/>
                  </a:lnTo>
                  <a:lnTo>
                    <a:pt x="1309" y="157"/>
                  </a:lnTo>
                  <a:lnTo>
                    <a:pt x="1309" y="155"/>
                  </a:lnTo>
                  <a:lnTo>
                    <a:pt x="1311" y="155"/>
                  </a:lnTo>
                  <a:lnTo>
                    <a:pt x="1314" y="153"/>
                  </a:lnTo>
                  <a:lnTo>
                    <a:pt x="1314" y="153"/>
                  </a:lnTo>
                  <a:lnTo>
                    <a:pt x="1314" y="153"/>
                  </a:lnTo>
                  <a:lnTo>
                    <a:pt x="1314" y="155"/>
                  </a:lnTo>
                  <a:lnTo>
                    <a:pt x="1311" y="157"/>
                  </a:lnTo>
                  <a:lnTo>
                    <a:pt x="1311" y="157"/>
                  </a:lnTo>
                  <a:lnTo>
                    <a:pt x="1311" y="159"/>
                  </a:lnTo>
                  <a:lnTo>
                    <a:pt x="1314" y="161"/>
                  </a:lnTo>
                  <a:lnTo>
                    <a:pt x="1314" y="163"/>
                  </a:lnTo>
                  <a:lnTo>
                    <a:pt x="1318" y="163"/>
                  </a:lnTo>
                  <a:lnTo>
                    <a:pt x="1320" y="163"/>
                  </a:lnTo>
                  <a:lnTo>
                    <a:pt x="1322" y="159"/>
                  </a:lnTo>
                  <a:lnTo>
                    <a:pt x="1324" y="159"/>
                  </a:lnTo>
                  <a:lnTo>
                    <a:pt x="1326" y="157"/>
                  </a:lnTo>
                  <a:lnTo>
                    <a:pt x="1326" y="155"/>
                  </a:lnTo>
                  <a:lnTo>
                    <a:pt x="1328" y="155"/>
                  </a:lnTo>
                  <a:lnTo>
                    <a:pt x="1330" y="155"/>
                  </a:lnTo>
                  <a:lnTo>
                    <a:pt x="1332" y="155"/>
                  </a:lnTo>
                  <a:lnTo>
                    <a:pt x="1334" y="153"/>
                  </a:lnTo>
                  <a:lnTo>
                    <a:pt x="1338" y="151"/>
                  </a:lnTo>
                  <a:lnTo>
                    <a:pt x="1351" y="147"/>
                  </a:lnTo>
                  <a:lnTo>
                    <a:pt x="1353" y="147"/>
                  </a:lnTo>
                  <a:lnTo>
                    <a:pt x="1355" y="145"/>
                  </a:lnTo>
                  <a:lnTo>
                    <a:pt x="1353" y="145"/>
                  </a:lnTo>
                  <a:lnTo>
                    <a:pt x="1353" y="143"/>
                  </a:lnTo>
                  <a:lnTo>
                    <a:pt x="1347" y="136"/>
                  </a:lnTo>
                  <a:lnTo>
                    <a:pt x="1344" y="134"/>
                  </a:lnTo>
                  <a:lnTo>
                    <a:pt x="1344" y="134"/>
                  </a:lnTo>
                  <a:lnTo>
                    <a:pt x="1344" y="134"/>
                  </a:lnTo>
                  <a:lnTo>
                    <a:pt x="1342" y="136"/>
                  </a:lnTo>
                  <a:lnTo>
                    <a:pt x="1340" y="138"/>
                  </a:lnTo>
                  <a:lnTo>
                    <a:pt x="1340" y="138"/>
                  </a:lnTo>
                  <a:lnTo>
                    <a:pt x="1338" y="136"/>
                  </a:lnTo>
                  <a:lnTo>
                    <a:pt x="1338" y="134"/>
                  </a:lnTo>
                  <a:lnTo>
                    <a:pt x="1336" y="134"/>
                  </a:lnTo>
                  <a:lnTo>
                    <a:pt x="1336" y="134"/>
                  </a:lnTo>
                  <a:lnTo>
                    <a:pt x="1330" y="134"/>
                  </a:lnTo>
                  <a:lnTo>
                    <a:pt x="1328" y="134"/>
                  </a:lnTo>
                  <a:lnTo>
                    <a:pt x="1328" y="134"/>
                  </a:lnTo>
                  <a:lnTo>
                    <a:pt x="1322" y="136"/>
                  </a:lnTo>
                  <a:lnTo>
                    <a:pt x="1322" y="136"/>
                  </a:lnTo>
                  <a:lnTo>
                    <a:pt x="1322" y="134"/>
                  </a:lnTo>
                  <a:lnTo>
                    <a:pt x="1324" y="132"/>
                  </a:lnTo>
                  <a:lnTo>
                    <a:pt x="1326" y="128"/>
                  </a:lnTo>
                  <a:lnTo>
                    <a:pt x="1326" y="126"/>
                  </a:lnTo>
                  <a:lnTo>
                    <a:pt x="1324" y="124"/>
                  </a:lnTo>
                  <a:lnTo>
                    <a:pt x="1324" y="120"/>
                  </a:lnTo>
                  <a:lnTo>
                    <a:pt x="1322" y="120"/>
                  </a:lnTo>
                  <a:lnTo>
                    <a:pt x="1318" y="120"/>
                  </a:lnTo>
                  <a:lnTo>
                    <a:pt x="1314" y="120"/>
                  </a:lnTo>
                  <a:lnTo>
                    <a:pt x="1314" y="120"/>
                  </a:lnTo>
                  <a:lnTo>
                    <a:pt x="1314" y="118"/>
                  </a:lnTo>
                  <a:lnTo>
                    <a:pt x="1318" y="116"/>
                  </a:lnTo>
                  <a:lnTo>
                    <a:pt x="1318" y="116"/>
                  </a:lnTo>
                  <a:lnTo>
                    <a:pt x="1318" y="112"/>
                  </a:lnTo>
                  <a:lnTo>
                    <a:pt x="1318" y="112"/>
                  </a:lnTo>
                  <a:lnTo>
                    <a:pt x="1316" y="110"/>
                  </a:lnTo>
                  <a:lnTo>
                    <a:pt x="1311" y="110"/>
                  </a:lnTo>
                  <a:lnTo>
                    <a:pt x="1309" y="108"/>
                  </a:lnTo>
                  <a:lnTo>
                    <a:pt x="1305" y="108"/>
                  </a:lnTo>
                  <a:lnTo>
                    <a:pt x="1303" y="110"/>
                  </a:lnTo>
                  <a:lnTo>
                    <a:pt x="1303" y="110"/>
                  </a:lnTo>
                  <a:lnTo>
                    <a:pt x="1303" y="112"/>
                  </a:lnTo>
                  <a:lnTo>
                    <a:pt x="1303" y="114"/>
                  </a:lnTo>
                  <a:lnTo>
                    <a:pt x="1303" y="114"/>
                  </a:lnTo>
                  <a:lnTo>
                    <a:pt x="1305" y="116"/>
                  </a:lnTo>
                  <a:lnTo>
                    <a:pt x="1307" y="118"/>
                  </a:lnTo>
                  <a:lnTo>
                    <a:pt x="1309" y="118"/>
                  </a:lnTo>
                  <a:lnTo>
                    <a:pt x="1309" y="118"/>
                  </a:lnTo>
                  <a:lnTo>
                    <a:pt x="1307" y="118"/>
                  </a:lnTo>
                  <a:lnTo>
                    <a:pt x="1303" y="118"/>
                  </a:lnTo>
                  <a:lnTo>
                    <a:pt x="1299" y="118"/>
                  </a:lnTo>
                  <a:lnTo>
                    <a:pt x="1297" y="116"/>
                  </a:lnTo>
                  <a:lnTo>
                    <a:pt x="1295" y="114"/>
                  </a:lnTo>
                  <a:lnTo>
                    <a:pt x="1295" y="114"/>
                  </a:lnTo>
                  <a:lnTo>
                    <a:pt x="1295" y="110"/>
                  </a:lnTo>
                  <a:lnTo>
                    <a:pt x="1295" y="110"/>
                  </a:lnTo>
                  <a:lnTo>
                    <a:pt x="1295" y="110"/>
                  </a:lnTo>
                  <a:lnTo>
                    <a:pt x="1295" y="110"/>
                  </a:lnTo>
                  <a:lnTo>
                    <a:pt x="1295" y="108"/>
                  </a:lnTo>
                  <a:lnTo>
                    <a:pt x="1295" y="108"/>
                  </a:lnTo>
                  <a:lnTo>
                    <a:pt x="1295" y="108"/>
                  </a:lnTo>
                  <a:lnTo>
                    <a:pt x="1295" y="105"/>
                  </a:lnTo>
                  <a:lnTo>
                    <a:pt x="1293" y="105"/>
                  </a:lnTo>
                  <a:lnTo>
                    <a:pt x="1291" y="105"/>
                  </a:lnTo>
                  <a:lnTo>
                    <a:pt x="1289" y="105"/>
                  </a:lnTo>
                  <a:lnTo>
                    <a:pt x="1287" y="105"/>
                  </a:lnTo>
                  <a:lnTo>
                    <a:pt x="1285" y="105"/>
                  </a:lnTo>
                  <a:lnTo>
                    <a:pt x="1281" y="105"/>
                  </a:lnTo>
                  <a:lnTo>
                    <a:pt x="1276" y="103"/>
                  </a:lnTo>
                  <a:lnTo>
                    <a:pt x="1274" y="103"/>
                  </a:lnTo>
                  <a:lnTo>
                    <a:pt x="1274" y="101"/>
                  </a:lnTo>
                  <a:lnTo>
                    <a:pt x="1274" y="101"/>
                  </a:lnTo>
                  <a:lnTo>
                    <a:pt x="1274" y="99"/>
                  </a:lnTo>
                  <a:lnTo>
                    <a:pt x="1268" y="97"/>
                  </a:lnTo>
                  <a:lnTo>
                    <a:pt x="1264" y="95"/>
                  </a:lnTo>
                  <a:lnTo>
                    <a:pt x="1258" y="87"/>
                  </a:lnTo>
                  <a:lnTo>
                    <a:pt x="1256" y="85"/>
                  </a:lnTo>
                  <a:lnTo>
                    <a:pt x="1254" y="83"/>
                  </a:lnTo>
                  <a:lnTo>
                    <a:pt x="1252" y="81"/>
                  </a:lnTo>
                  <a:lnTo>
                    <a:pt x="1250" y="81"/>
                  </a:lnTo>
                  <a:lnTo>
                    <a:pt x="1239" y="79"/>
                  </a:lnTo>
                  <a:lnTo>
                    <a:pt x="1235" y="77"/>
                  </a:lnTo>
                  <a:lnTo>
                    <a:pt x="1231" y="79"/>
                  </a:lnTo>
                  <a:lnTo>
                    <a:pt x="1225" y="79"/>
                  </a:lnTo>
                  <a:lnTo>
                    <a:pt x="1223" y="79"/>
                  </a:lnTo>
                  <a:lnTo>
                    <a:pt x="1223" y="79"/>
                  </a:lnTo>
                  <a:lnTo>
                    <a:pt x="1223" y="79"/>
                  </a:lnTo>
                  <a:lnTo>
                    <a:pt x="1223" y="81"/>
                  </a:lnTo>
                  <a:lnTo>
                    <a:pt x="1223" y="81"/>
                  </a:lnTo>
                  <a:lnTo>
                    <a:pt x="1223" y="81"/>
                  </a:lnTo>
                  <a:lnTo>
                    <a:pt x="1225" y="83"/>
                  </a:lnTo>
                  <a:lnTo>
                    <a:pt x="1227" y="83"/>
                  </a:lnTo>
                  <a:lnTo>
                    <a:pt x="1235" y="83"/>
                  </a:lnTo>
                  <a:lnTo>
                    <a:pt x="1237" y="83"/>
                  </a:lnTo>
                  <a:lnTo>
                    <a:pt x="1237" y="85"/>
                  </a:lnTo>
                  <a:lnTo>
                    <a:pt x="1237" y="85"/>
                  </a:lnTo>
                  <a:lnTo>
                    <a:pt x="1237" y="87"/>
                  </a:lnTo>
                  <a:lnTo>
                    <a:pt x="1235" y="87"/>
                  </a:lnTo>
                  <a:lnTo>
                    <a:pt x="1233" y="87"/>
                  </a:lnTo>
                  <a:lnTo>
                    <a:pt x="1229" y="87"/>
                  </a:lnTo>
                  <a:lnTo>
                    <a:pt x="1223" y="87"/>
                  </a:lnTo>
                  <a:lnTo>
                    <a:pt x="1219" y="89"/>
                  </a:lnTo>
                  <a:lnTo>
                    <a:pt x="1212" y="87"/>
                  </a:lnTo>
                  <a:lnTo>
                    <a:pt x="1208" y="89"/>
                  </a:lnTo>
                  <a:lnTo>
                    <a:pt x="1204" y="93"/>
                  </a:lnTo>
                  <a:lnTo>
                    <a:pt x="1204" y="95"/>
                  </a:lnTo>
                  <a:lnTo>
                    <a:pt x="1208" y="95"/>
                  </a:lnTo>
                  <a:lnTo>
                    <a:pt x="1215" y="97"/>
                  </a:lnTo>
                  <a:lnTo>
                    <a:pt x="1217" y="101"/>
                  </a:lnTo>
                  <a:lnTo>
                    <a:pt x="1223" y="103"/>
                  </a:lnTo>
                  <a:lnTo>
                    <a:pt x="1225" y="103"/>
                  </a:lnTo>
                  <a:lnTo>
                    <a:pt x="1227" y="103"/>
                  </a:lnTo>
                  <a:lnTo>
                    <a:pt x="1219" y="103"/>
                  </a:lnTo>
                  <a:lnTo>
                    <a:pt x="1217" y="103"/>
                  </a:lnTo>
                  <a:lnTo>
                    <a:pt x="1212" y="103"/>
                  </a:lnTo>
                  <a:lnTo>
                    <a:pt x="1212" y="101"/>
                  </a:lnTo>
                  <a:lnTo>
                    <a:pt x="1208" y="99"/>
                  </a:lnTo>
                  <a:lnTo>
                    <a:pt x="1204" y="99"/>
                  </a:lnTo>
                  <a:lnTo>
                    <a:pt x="1202" y="99"/>
                  </a:lnTo>
                  <a:lnTo>
                    <a:pt x="1198" y="99"/>
                  </a:lnTo>
                  <a:lnTo>
                    <a:pt x="1196" y="99"/>
                  </a:lnTo>
                  <a:lnTo>
                    <a:pt x="1196" y="103"/>
                  </a:lnTo>
                  <a:lnTo>
                    <a:pt x="1198" y="108"/>
                  </a:lnTo>
                  <a:lnTo>
                    <a:pt x="1202" y="110"/>
                  </a:lnTo>
                  <a:lnTo>
                    <a:pt x="1204" y="110"/>
                  </a:lnTo>
                  <a:lnTo>
                    <a:pt x="1202" y="110"/>
                  </a:lnTo>
                  <a:lnTo>
                    <a:pt x="1198" y="110"/>
                  </a:lnTo>
                  <a:lnTo>
                    <a:pt x="1196" y="110"/>
                  </a:lnTo>
                  <a:lnTo>
                    <a:pt x="1192" y="112"/>
                  </a:lnTo>
                  <a:lnTo>
                    <a:pt x="1192" y="112"/>
                  </a:lnTo>
                  <a:lnTo>
                    <a:pt x="1192" y="112"/>
                  </a:lnTo>
                  <a:lnTo>
                    <a:pt x="1192" y="114"/>
                  </a:lnTo>
                  <a:lnTo>
                    <a:pt x="1194" y="114"/>
                  </a:lnTo>
                  <a:lnTo>
                    <a:pt x="1194" y="114"/>
                  </a:lnTo>
                  <a:lnTo>
                    <a:pt x="1198" y="116"/>
                  </a:lnTo>
                  <a:lnTo>
                    <a:pt x="1198" y="116"/>
                  </a:lnTo>
                  <a:lnTo>
                    <a:pt x="1202" y="116"/>
                  </a:lnTo>
                  <a:lnTo>
                    <a:pt x="1206" y="118"/>
                  </a:lnTo>
                  <a:lnTo>
                    <a:pt x="1208" y="118"/>
                  </a:lnTo>
                  <a:lnTo>
                    <a:pt x="1219" y="116"/>
                  </a:lnTo>
                  <a:lnTo>
                    <a:pt x="1223" y="116"/>
                  </a:lnTo>
                  <a:lnTo>
                    <a:pt x="1223" y="116"/>
                  </a:lnTo>
                  <a:lnTo>
                    <a:pt x="1219" y="118"/>
                  </a:lnTo>
                  <a:lnTo>
                    <a:pt x="1217" y="118"/>
                  </a:lnTo>
                  <a:lnTo>
                    <a:pt x="1217" y="120"/>
                  </a:lnTo>
                  <a:lnTo>
                    <a:pt x="1217" y="120"/>
                  </a:lnTo>
                  <a:lnTo>
                    <a:pt x="1217" y="120"/>
                  </a:lnTo>
                  <a:lnTo>
                    <a:pt x="1217" y="120"/>
                  </a:lnTo>
                  <a:close/>
                  <a:moveTo>
                    <a:pt x="1140" y="126"/>
                  </a:moveTo>
                  <a:lnTo>
                    <a:pt x="1140" y="126"/>
                  </a:lnTo>
                  <a:lnTo>
                    <a:pt x="1142" y="126"/>
                  </a:lnTo>
                  <a:lnTo>
                    <a:pt x="1146" y="126"/>
                  </a:lnTo>
                  <a:lnTo>
                    <a:pt x="1151" y="128"/>
                  </a:lnTo>
                  <a:lnTo>
                    <a:pt x="1151" y="128"/>
                  </a:lnTo>
                  <a:lnTo>
                    <a:pt x="1151" y="128"/>
                  </a:lnTo>
                  <a:lnTo>
                    <a:pt x="1153" y="130"/>
                  </a:lnTo>
                  <a:lnTo>
                    <a:pt x="1155" y="130"/>
                  </a:lnTo>
                  <a:lnTo>
                    <a:pt x="1157" y="130"/>
                  </a:lnTo>
                  <a:lnTo>
                    <a:pt x="1157" y="130"/>
                  </a:lnTo>
                  <a:lnTo>
                    <a:pt x="1159" y="128"/>
                  </a:lnTo>
                  <a:lnTo>
                    <a:pt x="1159" y="126"/>
                  </a:lnTo>
                  <a:lnTo>
                    <a:pt x="1157" y="122"/>
                  </a:lnTo>
                  <a:lnTo>
                    <a:pt x="1157" y="122"/>
                  </a:lnTo>
                  <a:lnTo>
                    <a:pt x="1157" y="120"/>
                  </a:lnTo>
                  <a:lnTo>
                    <a:pt x="1155" y="118"/>
                  </a:lnTo>
                  <a:lnTo>
                    <a:pt x="1153" y="118"/>
                  </a:lnTo>
                  <a:lnTo>
                    <a:pt x="1149" y="118"/>
                  </a:lnTo>
                  <a:lnTo>
                    <a:pt x="1144" y="118"/>
                  </a:lnTo>
                  <a:lnTo>
                    <a:pt x="1142" y="118"/>
                  </a:lnTo>
                  <a:lnTo>
                    <a:pt x="1140" y="120"/>
                  </a:lnTo>
                  <a:lnTo>
                    <a:pt x="1140" y="120"/>
                  </a:lnTo>
                  <a:lnTo>
                    <a:pt x="1138" y="122"/>
                  </a:lnTo>
                  <a:lnTo>
                    <a:pt x="1138" y="122"/>
                  </a:lnTo>
                  <a:lnTo>
                    <a:pt x="1138" y="124"/>
                  </a:lnTo>
                  <a:lnTo>
                    <a:pt x="1140" y="126"/>
                  </a:lnTo>
                  <a:close/>
                  <a:moveTo>
                    <a:pt x="1167" y="167"/>
                  </a:moveTo>
                  <a:lnTo>
                    <a:pt x="1169" y="167"/>
                  </a:lnTo>
                  <a:lnTo>
                    <a:pt x="1165" y="169"/>
                  </a:lnTo>
                  <a:lnTo>
                    <a:pt x="1165" y="169"/>
                  </a:lnTo>
                  <a:lnTo>
                    <a:pt x="1165" y="169"/>
                  </a:lnTo>
                  <a:lnTo>
                    <a:pt x="1165" y="172"/>
                  </a:lnTo>
                  <a:lnTo>
                    <a:pt x="1165" y="172"/>
                  </a:lnTo>
                  <a:lnTo>
                    <a:pt x="1167" y="174"/>
                  </a:lnTo>
                  <a:lnTo>
                    <a:pt x="1167" y="174"/>
                  </a:lnTo>
                  <a:lnTo>
                    <a:pt x="1169" y="176"/>
                  </a:lnTo>
                  <a:lnTo>
                    <a:pt x="1171" y="178"/>
                  </a:lnTo>
                  <a:lnTo>
                    <a:pt x="1171" y="178"/>
                  </a:lnTo>
                  <a:lnTo>
                    <a:pt x="1179" y="178"/>
                  </a:lnTo>
                  <a:lnTo>
                    <a:pt x="1184" y="180"/>
                  </a:lnTo>
                  <a:lnTo>
                    <a:pt x="1184" y="180"/>
                  </a:lnTo>
                  <a:lnTo>
                    <a:pt x="1184" y="180"/>
                  </a:lnTo>
                  <a:lnTo>
                    <a:pt x="1184" y="182"/>
                  </a:lnTo>
                  <a:lnTo>
                    <a:pt x="1179" y="182"/>
                  </a:lnTo>
                  <a:lnTo>
                    <a:pt x="1173" y="182"/>
                  </a:lnTo>
                  <a:lnTo>
                    <a:pt x="1173" y="182"/>
                  </a:lnTo>
                  <a:lnTo>
                    <a:pt x="1175" y="184"/>
                  </a:lnTo>
                  <a:lnTo>
                    <a:pt x="1177" y="186"/>
                  </a:lnTo>
                  <a:lnTo>
                    <a:pt x="1182" y="186"/>
                  </a:lnTo>
                  <a:lnTo>
                    <a:pt x="1184" y="188"/>
                  </a:lnTo>
                  <a:lnTo>
                    <a:pt x="1184" y="188"/>
                  </a:lnTo>
                  <a:lnTo>
                    <a:pt x="1182" y="190"/>
                  </a:lnTo>
                  <a:lnTo>
                    <a:pt x="1184" y="190"/>
                  </a:lnTo>
                  <a:lnTo>
                    <a:pt x="1184" y="190"/>
                  </a:lnTo>
                  <a:lnTo>
                    <a:pt x="1186" y="190"/>
                  </a:lnTo>
                  <a:lnTo>
                    <a:pt x="1190" y="190"/>
                  </a:lnTo>
                  <a:lnTo>
                    <a:pt x="1190" y="188"/>
                  </a:lnTo>
                  <a:lnTo>
                    <a:pt x="1198" y="188"/>
                  </a:lnTo>
                  <a:lnTo>
                    <a:pt x="1202" y="188"/>
                  </a:lnTo>
                  <a:lnTo>
                    <a:pt x="1206" y="186"/>
                  </a:lnTo>
                  <a:lnTo>
                    <a:pt x="1206" y="186"/>
                  </a:lnTo>
                  <a:lnTo>
                    <a:pt x="1208" y="186"/>
                  </a:lnTo>
                  <a:lnTo>
                    <a:pt x="1210" y="186"/>
                  </a:lnTo>
                  <a:lnTo>
                    <a:pt x="1212" y="182"/>
                  </a:lnTo>
                  <a:lnTo>
                    <a:pt x="1212" y="182"/>
                  </a:lnTo>
                  <a:lnTo>
                    <a:pt x="1212" y="180"/>
                  </a:lnTo>
                  <a:lnTo>
                    <a:pt x="1210" y="180"/>
                  </a:lnTo>
                  <a:lnTo>
                    <a:pt x="1206" y="178"/>
                  </a:lnTo>
                  <a:lnTo>
                    <a:pt x="1208" y="178"/>
                  </a:lnTo>
                  <a:lnTo>
                    <a:pt x="1212" y="176"/>
                  </a:lnTo>
                  <a:lnTo>
                    <a:pt x="1212" y="174"/>
                  </a:lnTo>
                  <a:lnTo>
                    <a:pt x="1212" y="174"/>
                  </a:lnTo>
                  <a:lnTo>
                    <a:pt x="1212" y="174"/>
                  </a:lnTo>
                  <a:lnTo>
                    <a:pt x="1210" y="172"/>
                  </a:lnTo>
                  <a:lnTo>
                    <a:pt x="1206" y="169"/>
                  </a:lnTo>
                  <a:lnTo>
                    <a:pt x="1204" y="169"/>
                  </a:lnTo>
                  <a:lnTo>
                    <a:pt x="1198" y="169"/>
                  </a:lnTo>
                  <a:lnTo>
                    <a:pt x="1194" y="169"/>
                  </a:lnTo>
                  <a:lnTo>
                    <a:pt x="1194" y="167"/>
                  </a:lnTo>
                  <a:lnTo>
                    <a:pt x="1194" y="167"/>
                  </a:lnTo>
                  <a:lnTo>
                    <a:pt x="1194" y="167"/>
                  </a:lnTo>
                  <a:lnTo>
                    <a:pt x="1192" y="165"/>
                  </a:lnTo>
                  <a:lnTo>
                    <a:pt x="1190" y="163"/>
                  </a:lnTo>
                  <a:lnTo>
                    <a:pt x="1184" y="163"/>
                  </a:lnTo>
                  <a:lnTo>
                    <a:pt x="1182" y="161"/>
                  </a:lnTo>
                  <a:lnTo>
                    <a:pt x="1177" y="161"/>
                  </a:lnTo>
                  <a:lnTo>
                    <a:pt x="1175" y="161"/>
                  </a:lnTo>
                  <a:lnTo>
                    <a:pt x="1169" y="159"/>
                  </a:lnTo>
                  <a:lnTo>
                    <a:pt x="1165" y="159"/>
                  </a:lnTo>
                  <a:lnTo>
                    <a:pt x="1165" y="161"/>
                  </a:lnTo>
                  <a:lnTo>
                    <a:pt x="1165" y="161"/>
                  </a:lnTo>
                  <a:lnTo>
                    <a:pt x="1165" y="163"/>
                  </a:lnTo>
                  <a:lnTo>
                    <a:pt x="1167" y="167"/>
                  </a:lnTo>
                  <a:close/>
                  <a:moveTo>
                    <a:pt x="1155" y="227"/>
                  </a:moveTo>
                  <a:lnTo>
                    <a:pt x="1155" y="229"/>
                  </a:lnTo>
                  <a:lnTo>
                    <a:pt x="1157" y="231"/>
                  </a:lnTo>
                  <a:lnTo>
                    <a:pt x="1153" y="231"/>
                  </a:lnTo>
                  <a:lnTo>
                    <a:pt x="1151" y="229"/>
                  </a:lnTo>
                  <a:lnTo>
                    <a:pt x="1144" y="225"/>
                  </a:lnTo>
                  <a:lnTo>
                    <a:pt x="1142" y="225"/>
                  </a:lnTo>
                  <a:lnTo>
                    <a:pt x="1140" y="225"/>
                  </a:lnTo>
                  <a:lnTo>
                    <a:pt x="1134" y="227"/>
                  </a:lnTo>
                  <a:lnTo>
                    <a:pt x="1132" y="227"/>
                  </a:lnTo>
                  <a:lnTo>
                    <a:pt x="1128" y="229"/>
                  </a:lnTo>
                  <a:lnTo>
                    <a:pt x="1128" y="231"/>
                  </a:lnTo>
                  <a:lnTo>
                    <a:pt x="1128" y="231"/>
                  </a:lnTo>
                  <a:lnTo>
                    <a:pt x="1128" y="231"/>
                  </a:lnTo>
                  <a:lnTo>
                    <a:pt x="1132" y="233"/>
                  </a:lnTo>
                  <a:lnTo>
                    <a:pt x="1138" y="233"/>
                  </a:lnTo>
                  <a:lnTo>
                    <a:pt x="1140" y="233"/>
                  </a:lnTo>
                  <a:lnTo>
                    <a:pt x="1140" y="236"/>
                  </a:lnTo>
                  <a:lnTo>
                    <a:pt x="1140" y="236"/>
                  </a:lnTo>
                  <a:lnTo>
                    <a:pt x="1140" y="236"/>
                  </a:lnTo>
                  <a:lnTo>
                    <a:pt x="1136" y="236"/>
                  </a:lnTo>
                  <a:lnTo>
                    <a:pt x="1134" y="238"/>
                  </a:lnTo>
                  <a:lnTo>
                    <a:pt x="1134" y="238"/>
                  </a:lnTo>
                  <a:lnTo>
                    <a:pt x="1138" y="240"/>
                  </a:lnTo>
                  <a:lnTo>
                    <a:pt x="1140" y="240"/>
                  </a:lnTo>
                  <a:lnTo>
                    <a:pt x="1142" y="240"/>
                  </a:lnTo>
                  <a:lnTo>
                    <a:pt x="1146" y="240"/>
                  </a:lnTo>
                  <a:lnTo>
                    <a:pt x="1144" y="240"/>
                  </a:lnTo>
                  <a:lnTo>
                    <a:pt x="1140" y="240"/>
                  </a:lnTo>
                  <a:lnTo>
                    <a:pt x="1140" y="240"/>
                  </a:lnTo>
                  <a:lnTo>
                    <a:pt x="1138" y="242"/>
                  </a:lnTo>
                  <a:lnTo>
                    <a:pt x="1140" y="242"/>
                  </a:lnTo>
                  <a:lnTo>
                    <a:pt x="1140" y="244"/>
                  </a:lnTo>
                  <a:lnTo>
                    <a:pt x="1144" y="246"/>
                  </a:lnTo>
                  <a:lnTo>
                    <a:pt x="1144" y="246"/>
                  </a:lnTo>
                  <a:lnTo>
                    <a:pt x="1144" y="246"/>
                  </a:lnTo>
                  <a:lnTo>
                    <a:pt x="1142" y="246"/>
                  </a:lnTo>
                  <a:lnTo>
                    <a:pt x="1140" y="246"/>
                  </a:lnTo>
                  <a:lnTo>
                    <a:pt x="1138" y="246"/>
                  </a:lnTo>
                  <a:lnTo>
                    <a:pt x="1138" y="244"/>
                  </a:lnTo>
                  <a:lnTo>
                    <a:pt x="1128" y="238"/>
                  </a:lnTo>
                  <a:lnTo>
                    <a:pt x="1126" y="238"/>
                  </a:lnTo>
                  <a:lnTo>
                    <a:pt x="1126" y="236"/>
                  </a:lnTo>
                  <a:lnTo>
                    <a:pt x="1126" y="236"/>
                  </a:lnTo>
                  <a:lnTo>
                    <a:pt x="1124" y="233"/>
                  </a:lnTo>
                  <a:lnTo>
                    <a:pt x="1122" y="233"/>
                  </a:lnTo>
                  <a:lnTo>
                    <a:pt x="1120" y="231"/>
                  </a:lnTo>
                  <a:lnTo>
                    <a:pt x="1118" y="231"/>
                  </a:lnTo>
                  <a:lnTo>
                    <a:pt x="1116" y="231"/>
                  </a:lnTo>
                  <a:lnTo>
                    <a:pt x="1114" y="231"/>
                  </a:lnTo>
                  <a:lnTo>
                    <a:pt x="1114" y="233"/>
                  </a:lnTo>
                  <a:lnTo>
                    <a:pt x="1111" y="236"/>
                  </a:lnTo>
                  <a:lnTo>
                    <a:pt x="1109" y="236"/>
                  </a:lnTo>
                  <a:lnTo>
                    <a:pt x="1111" y="238"/>
                  </a:lnTo>
                  <a:lnTo>
                    <a:pt x="1114" y="238"/>
                  </a:lnTo>
                  <a:lnTo>
                    <a:pt x="1118" y="238"/>
                  </a:lnTo>
                  <a:lnTo>
                    <a:pt x="1120" y="238"/>
                  </a:lnTo>
                  <a:lnTo>
                    <a:pt x="1116" y="240"/>
                  </a:lnTo>
                  <a:lnTo>
                    <a:pt x="1114" y="242"/>
                  </a:lnTo>
                  <a:lnTo>
                    <a:pt x="1114" y="242"/>
                  </a:lnTo>
                  <a:lnTo>
                    <a:pt x="1116" y="244"/>
                  </a:lnTo>
                  <a:lnTo>
                    <a:pt x="1116" y="244"/>
                  </a:lnTo>
                  <a:lnTo>
                    <a:pt x="1120" y="244"/>
                  </a:lnTo>
                  <a:lnTo>
                    <a:pt x="1120" y="246"/>
                  </a:lnTo>
                  <a:lnTo>
                    <a:pt x="1120" y="246"/>
                  </a:lnTo>
                  <a:lnTo>
                    <a:pt x="1120" y="248"/>
                  </a:lnTo>
                  <a:lnTo>
                    <a:pt x="1120" y="248"/>
                  </a:lnTo>
                  <a:lnTo>
                    <a:pt x="1122" y="250"/>
                  </a:lnTo>
                  <a:lnTo>
                    <a:pt x="1122" y="250"/>
                  </a:lnTo>
                  <a:lnTo>
                    <a:pt x="1126" y="250"/>
                  </a:lnTo>
                  <a:lnTo>
                    <a:pt x="1126" y="250"/>
                  </a:lnTo>
                  <a:lnTo>
                    <a:pt x="1124" y="252"/>
                  </a:lnTo>
                  <a:lnTo>
                    <a:pt x="1122" y="252"/>
                  </a:lnTo>
                  <a:lnTo>
                    <a:pt x="1120" y="250"/>
                  </a:lnTo>
                  <a:lnTo>
                    <a:pt x="1118" y="250"/>
                  </a:lnTo>
                  <a:lnTo>
                    <a:pt x="1114" y="248"/>
                  </a:lnTo>
                  <a:lnTo>
                    <a:pt x="1109" y="248"/>
                  </a:lnTo>
                  <a:lnTo>
                    <a:pt x="1107" y="250"/>
                  </a:lnTo>
                  <a:lnTo>
                    <a:pt x="1109" y="250"/>
                  </a:lnTo>
                  <a:lnTo>
                    <a:pt x="1105" y="252"/>
                  </a:lnTo>
                  <a:lnTo>
                    <a:pt x="1101" y="254"/>
                  </a:lnTo>
                  <a:lnTo>
                    <a:pt x="1101" y="256"/>
                  </a:lnTo>
                  <a:lnTo>
                    <a:pt x="1101" y="258"/>
                  </a:lnTo>
                  <a:lnTo>
                    <a:pt x="1103" y="258"/>
                  </a:lnTo>
                  <a:lnTo>
                    <a:pt x="1105" y="258"/>
                  </a:lnTo>
                  <a:lnTo>
                    <a:pt x="1120" y="256"/>
                  </a:lnTo>
                  <a:lnTo>
                    <a:pt x="1124" y="256"/>
                  </a:lnTo>
                  <a:lnTo>
                    <a:pt x="1128" y="256"/>
                  </a:lnTo>
                  <a:lnTo>
                    <a:pt x="1142" y="254"/>
                  </a:lnTo>
                  <a:lnTo>
                    <a:pt x="1153" y="254"/>
                  </a:lnTo>
                  <a:lnTo>
                    <a:pt x="1153" y="254"/>
                  </a:lnTo>
                  <a:lnTo>
                    <a:pt x="1146" y="254"/>
                  </a:lnTo>
                  <a:lnTo>
                    <a:pt x="1144" y="254"/>
                  </a:lnTo>
                  <a:lnTo>
                    <a:pt x="1144" y="256"/>
                  </a:lnTo>
                  <a:lnTo>
                    <a:pt x="1140" y="256"/>
                  </a:lnTo>
                  <a:lnTo>
                    <a:pt x="1136" y="260"/>
                  </a:lnTo>
                  <a:lnTo>
                    <a:pt x="1130" y="262"/>
                  </a:lnTo>
                  <a:lnTo>
                    <a:pt x="1130" y="262"/>
                  </a:lnTo>
                  <a:lnTo>
                    <a:pt x="1130" y="262"/>
                  </a:lnTo>
                  <a:lnTo>
                    <a:pt x="1132" y="264"/>
                  </a:lnTo>
                  <a:lnTo>
                    <a:pt x="1136" y="264"/>
                  </a:lnTo>
                  <a:lnTo>
                    <a:pt x="1138" y="267"/>
                  </a:lnTo>
                  <a:lnTo>
                    <a:pt x="1138" y="267"/>
                  </a:lnTo>
                  <a:lnTo>
                    <a:pt x="1134" y="267"/>
                  </a:lnTo>
                  <a:lnTo>
                    <a:pt x="1134" y="269"/>
                  </a:lnTo>
                  <a:lnTo>
                    <a:pt x="1136" y="271"/>
                  </a:lnTo>
                  <a:lnTo>
                    <a:pt x="1136" y="273"/>
                  </a:lnTo>
                  <a:lnTo>
                    <a:pt x="1138" y="273"/>
                  </a:lnTo>
                  <a:lnTo>
                    <a:pt x="1142" y="273"/>
                  </a:lnTo>
                  <a:lnTo>
                    <a:pt x="1146" y="273"/>
                  </a:lnTo>
                  <a:lnTo>
                    <a:pt x="1149" y="273"/>
                  </a:lnTo>
                  <a:lnTo>
                    <a:pt x="1151" y="271"/>
                  </a:lnTo>
                  <a:lnTo>
                    <a:pt x="1151" y="273"/>
                  </a:lnTo>
                  <a:lnTo>
                    <a:pt x="1153" y="273"/>
                  </a:lnTo>
                  <a:lnTo>
                    <a:pt x="1155" y="273"/>
                  </a:lnTo>
                  <a:lnTo>
                    <a:pt x="1157" y="273"/>
                  </a:lnTo>
                  <a:lnTo>
                    <a:pt x="1159" y="273"/>
                  </a:lnTo>
                  <a:lnTo>
                    <a:pt x="1161" y="273"/>
                  </a:lnTo>
                  <a:lnTo>
                    <a:pt x="1165" y="273"/>
                  </a:lnTo>
                  <a:lnTo>
                    <a:pt x="1167" y="273"/>
                  </a:lnTo>
                  <a:lnTo>
                    <a:pt x="1169" y="273"/>
                  </a:lnTo>
                  <a:lnTo>
                    <a:pt x="1169" y="271"/>
                  </a:lnTo>
                  <a:lnTo>
                    <a:pt x="1169" y="271"/>
                  </a:lnTo>
                  <a:lnTo>
                    <a:pt x="1167" y="269"/>
                  </a:lnTo>
                  <a:lnTo>
                    <a:pt x="1167" y="269"/>
                  </a:lnTo>
                  <a:lnTo>
                    <a:pt x="1167" y="267"/>
                  </a:lnTo>
                  <a:lnTo>
                    <a:pt x="1169" y="267"/>
                  </a:lnTo>
                  <a:lnTo>
                    <a:pt x="1169" y="269"/>
                  </a:lnTo>
                  <a:lnTo>
                    <a:pt x="1171" y="271"/>
                  </a:lnTo>
                  <a:lnTo>
                    <a:pt x="1171" y="271"/>
                  </a:lnTo>
                  <a:lnTo>
                    <a:pt x="1173" y="269"/>
                  </a:lnTo>
                  <a:lnTo>
                    <a:pt x="1173" y="269"/>
                  </a:lnTo>
                  <a:lnTo>
                    <a:pt x="1173" y="269"/>
                  </a:lnTo>
                  <a:lnTo>
                    <a:pt x="1171" y="267"/>
                  </a:lnTo>
                  <a:lnTo>
                    <a:pt x="1171" y="260"/>
                  </a:lnTo>
                  <a:lnTo>
                    <a:pt x="1173" y="258"/>
                  </a:lnTo>
                  <a:lnTo>
                    <a:pt x="1177" y="260"/>
                  </a:lnTo>
                  <a:lnTo>
                    <a:pt x="1177" y="260"/>
                  </a:lnTo>
                  <a:lnTo>
                    <a:pt x="1179" y="260"/>
                  </a:lnTo>
                  <a:lnTo>
                    <a:pt x="1177" y="258"/>
                  </a:lnTo>
                  <a:lnTo>
                    <a:pt x="1177" y="254"/>
                  </a:lnTo>
                  <a:lnTo>
                    <a:pt x="1177" y="254"/>
                  </a:lnTo>
                  <a:lnTo>
                    <a:pt x="1171" y="252"/>
                  </a:lnTo>
                  <a:lnTo>
                    <a:pt x="1171" y="252"/>
                  </a:lnTo>
                  <a:lnTo>
                    <a:pt x="1173" y="250"/>
                  </a:lnTo>
                  <a:lnTo>
                    <a:pt x="1175" y="248"/>
                  </a:lnTo>
                  <a:lnTo>
                    <a:pt x="1175" y="248"/>
                  </a:lnTo>
                  <a:lnTo>
                    <a:pt x="1173" y="246"/>
                  </a:lnTo>
                  <a:lnTo>
                    <a:pt x="1173" y="246"/>
                  </a:lnTo>
                  <a:lnTo>
                    <a:pt x="1175" y="244"/>
                  </a:lnTo>
                  <a:lnTo>
                    <a:pt x="1175" y="242"/>
                  </a:lnTo>
                  <a:lnTo>
                    <a:pt x="1175" y="240"/>
                  </a:lnTo>
                  <a:lnTo>
                    <a:pt x="1175" y="240"/>
                  </a:lnTo>
                  <a:lnTo>
                    <a:pt x="1175" y="238"/>
                  </a:lnTo>
                  <a:lnTo>
                    <a:pt x="1173" y="236"/>
                  </a:lnTo>
                  <a:lnTo>
                    <a:pt x="1173" y="236"/>
                  </a:lnTo>
                  <a:lnTo>
                    <a:pt x="1173" y="233"/>
                  </a:lnTo>
                  <a:lnTo>
                    <a:pt x="1173" y="233"/>
                  </a:lnTo>
                  <a:lnTo>
                    <a:pt x="1173" y="231"/>
                  </a:lnTo>
                  <a:lnTo>
                    <a:pt x="1173" y="231"/>
                  </a:lnTo>
                  <a:lnTo>
                    <a:pt x="1173" y="229"/>
                  </a:lnTo>
                  <a:lnTo>
                    <a:pt x="1171" y="229"/>
                  </a:lnTo>
                  <a:lnTo>
                    <a:pt x="1169" y="229"/>
                  </a:lnTo>
                  <a:lnTo>
                    <a:pt x="1165" y="227"/>
                  </a:lnTo>
                  <a:lnTo>
                    <a:pt x="1165" y="227"/>
                  </a:lnTo>
                  <a:lnTo>
                    <a:pt x="1161" y="225"/>
                  </a:lnTo>
                  <a:lnTo>
                    <a:pt x="1159" y="223"/>
                  </a:lnTo>
                  <a:lnTo>
                    <a:pt x="1155" y="225"/>
                  </a:lnTo>
                  <a:lnTo>
                    <a:pt x="1155" y="227"/>
                  </a:lnTo>
                  <a:close/>
                  <a:moveTo>
                    <a:pt x="1478" y="326"/>
                  </a:moveTo>
                  <a:lnTo>
                    <a:pt x="1476" y="324"/>
                  </a:lnTo>
                  <a:lnTo>
                    <a:pt x="1474" y="324"/>
                  </a:lnTo>
                  <a:lnTo>
                    <a:pt x="1474" y="322"/>
                  </a:lnTo>
                  <a:lnTo>
                    <a:pt x="1474" y="322"/>
                  </a:lnTo>
                  <a:lnTo>
                    <a:pt x="1472" y="320"/>
                  </a:lnTo>
                  <a:lnTo>
                    <a:pt x="1468" y="318"/>
                  </a:lnTo>
                  <a:lnTo>
                    <a:pt x="1468" y="318"/>
                  </a:lnTo>
                  <a:lnTo>
                    <a:pt x="1466" y="316"/>
                  </a:lnTo>
                  <a:lnTo>
                    <a:pt x="1466" y="314"/>
                  </a:lnTo>
                  <a:lnTo>
                    <a:pt x="1464" y="314"/>
                  </a:lnTo>
                  <a:lnTo>
                    <a:pt x="1454" y="310"/>
                  </a:lnTo>
                  <a:lnTo>
                    <a:pt x="1450" y="310"/>
                  </a:lnTo>
                  <a:lnTo>
                    <a:pt x="1435" y="310"/>
                  </a:lnTo>
                  <a:lnTo>
                    <a:pt x="1433" y="310"/>
                  </a:lnTo>
                  <a:lnTo>
                    <a:pt x="1427" y="310"/>
                  </a:lnTo>
                  <a:lnTo>
                    <a:pt x="1425" y="310"/>
                  </a:lnTo>
                  <a:lnTo>
                    <a:pt x="1421" y="308"/>
                  </a:lnTo>
                  <a:lnTo>
                    <a:pt x="1417" y="308"/>
                  </a:lnTo>
                  <a:lnTo>
                    <a:pt x="1415" y="308"/>
                  </a:lnTo>
                  <a:lnTo>
                    <a:pt x="1415" y="308"/>
                  </a:lnTo>
                  <a:lnTo>
                    <a:pt x="1415" y="308"/>
                  </a:lnTo>
                  <a:lnTo>
                    <a:pt x="1413" y="310"/>
                  </a:lnTo>
                  <a:lnTo>
                    <a:pt x="1413" y="312"/>
                  </a:lnTo>
                  <a:lnTo>
                    <a:pt x="1415" y="314"/>
                  </a:lnTo>
                  <a:lnTo>
                    <a:pt x="1415" y="316"/>
                  </a:lnTo>
                  <a:lnTo>
                    <a:pt x="1415" y="316"/>
                  </a:lnTo>
                  <a:lnTo>
                    <a:pt x="1415" y="316"/>
                  </a:lnTo>
                  <a:lnTo>
                    <a:pt x="1415" y="316"/>
                  </a:lnTo>
                  <a:lnTo>
                    <a:pt x="1415" y="318"/>
                  </a:lnTo>
                  <a:lnTo>
                    <a:pt x="1415" y="320"/>
                  </a:lnTo>
                  <a:lnTo>
                    <a:pt x="1415" y="320"/>
                  </a:lnTo>
                  <a:lnTo>
                    <a:pt x="1417" y="320"/>
                  </a:lnTo>
                  <a:lnTo>
                    <a:pt x="1421" y="322"/>
                  </a:lnTo>
                  <a:lnTo>
                    <a:pt x="1423" y="322"/>
                  </a:lnTo>
                  <a:lnTo>
                    <a:pt x="1423" y="324"/>
                  </a:lnTo>
                  <a:lnTo>
                    <a:pt x="1425" y="326"/>
                  </a:lnTo>
                  <a:lnTo>
                    <a:pt x="1425" y="328"/>
                  </a:lnTo>
                  <a:lnTo>
                    <a:pt x="1427" y="331"/>
                  </a:lnTo>
                  <a:lnTo>
                    <a:pt x="1427" y="333"/>
                  </a:lnTo>
                  <a:lnTo>
                    <a:pt x="1429" y="333"/>
                  </a:lnTo>
                  <a:lnTo>
                    <a:pt x="1433" y="335"/>
                  </a:lnTo>
                  <a:lnTo>
                    <a:pt x="1435" y="335"/>
                  </a:lnTo>
                  <a:lnTo>
                    <a:pt x="1437" y="335"/>
                  </a:lnTo>
                  <a:lnTo>
                    <a:pt x="1445" y="333"/>
                  </a:lnTo>
                  <a:lnTo>
                    <a:pt x="1450" y="331"/>
                  </a:lnTo>
                  <a:lnTo>
                    <a:pt x="1456" y="331"/>
                  </a:lnTo>
                  <a:lnTo>
                    <a:pt x="1468" y="333"/>
                  </a:lnTo>
                  <a:lnTo>
                    <a:pt x="1476" y="333"/>
                  </a:lnTo>
                  <a:lnTo>
                    <a:pt x="1481" y="333"/>
                  </a:lnTo>
                  <a:lnTo>
                    <a:pt x="1481" y="331"/>
                  </a:lnTo>
                  <a:lnTo>
                    <a:pt x="1481" y="331"/>
                  </a:lnTo>
                  <a:lnTo>
                    <a:pt x="1478" y="328"/>
                  </a:lnTo>
                  <a:lnTo>
                    <a:pt x="1478" y="328"/>
                  </a:lnTo>
                  <a:lnTo>
                    <a:pt x="1478" y="326"/>
                  </a:lnTo>
                  <a:lnTo>
                    <a:pt x="1478" y="326"/>
                  </a:lnTo>
                  <a:close/>
                  <a:moveTo>
                    <a:pt x="1198" y="200"/>
                  </a:moveTo>
                  <a:lnTo>
                    <a:pt x="1221" y="200"/>
                  </a:lnTo>
                  <a:lnTo>
                    <a:pt x="1229" y="203"/>
                  </a:lnTo>
                  <a:lnTo>
                    <a:pt x="1229" y="200"/>
                  </a:lnTo>
                  <a:lnTo>
                    <a:pt x="1233" y="200"/>
                  </a:lnTo>
                  <a:lnTo>
                    <a:pt x="1233" y="200"/>
                  </a:lnTo>
                  <a:lnTo>
                    <a:pt x="1235" y="196"/>
                  </a:lnTo>
                  <a:lnTo>
                    <a:pt x="1239" y="196"/>
                  </a:lnTo>
                  <a:lnTo>
                    <a:pt x="1237" y="194"/>
                  </a:lnTo>
                  <a:lnTo>
                    <a:pt x="1235" y="192"/>
                  </a:lnTo>
                  <a:lnTo>
                    <a:pt x="1233" y="192"/>
                  </a:lnTo>
                  <a:lnTo>
                    <a:pt x="1233" y="192"/>
                  </a:lnTo>
                  <a:lnTo>
                    <a:pt x="1227" y="192"/>
                  </a:lnTo>
                  <a:lnTo>
                    <a:pt x="1217" y="192"/>
                  </a:lnTo>
                  <a:lnTo>
                    <a:pt x="1212" y="192"/>
                  </a:lnTo>
                  <a:lnTo>
                    <a:pt x="1208" y="192"/>
                  </a:lnTo>
                  <a:lnTo>
                    <a:pt x="1204" y="192"/>
                  </a:lnTo>
                  <a:lnTo>
                    <a:pt x="1202" y="192"/>
                  </a:lnTo>
                  <a:lnTo>
                    <a:pt x="1196" y="194"/>
                  </a:lnTo>
                  <a:lnTo>
                    <a:pt x="1194" y="194"/>
                  </a:lnTo>
                  <a:lnTo>
                    <a:pt x="1194" y="194"/>
                  </a:lnTo>
                  <a:lnTo>
                    <a:pt x="1194" y="196"/>
                  </a:lnTo>
                  <a:lnTo>
                    <a:pt x="1194" y="196"/>
                  </a:lnTo>
                  <a:lnTo>
                    <a:pt x="1196" y="200"/>
                  </a:lnTo>
                  <a:lnTo>
                    <a:pt x="1198" y="200"/>
                  </a:lnTo>
                  <a:close/>
                  <a:moveTo>
                    <a:pt x="1285" y="285"/>
                  </a:moveTo>
                  <a:lnTo>
                    <a:pt x="1289" y="285"/>
                  </a:lnTo>
                  <a:lnTo>
                    <a:pt x="1291" y="285"/>
                  </a:lnTo>
                  <a:lnTo>
                    <a:pt x="1293" y="283"/>
                  </a:lnTo>
                  <a:lnTo>
                    <a:pt x="1295" y="283"/>
                  </a:lnTo>
                  <a:lnTo>
                    <a:pt x="1295" y="283"/>
                  </a:lnTo>
                  <a:lnTo>
                    <a:pt x="1295" y="281"/>
                  </a:lnTo>
                  <a:lnTo>
                    <a:pt x="1295" y="281"/>
                  </a:lnTo>
                  <a:lnTo>
                    <a:pt x="1295" y="281"/>
                  </a:lnTo>
                  <a:lnTo>
                    <a:pt x="1295" y="281"/>
                  </a:lnTo>
                  <a:lnTo>
                    <a:pt x="1297" y="281"/>
                  </a:lnTo>
                  <a:lnTo>
                    <a:pt x="1297" y="279"/>
                  </a:lnTo>
                  <a:lnTo>
                    <a:pt x="1297" y="279"/>
                  </a:lnTo>
                  <a:lnTo>
                    <a:pt x="1299" y="279"/>
                  </a:lnTo>
                  <a:lnTo>
                    <a:pt x="1299" y="279"/>
                  </a:lnTo>
                  <a:lnTo>
                    <a:pt x="1299" y="281"/>
                  </a:lnTo>
                  <a:lnTo>
                    <a:pt x="1299" y="281"/>
                  </a:lnTo>
                  <a:lnTo>
                    <a:pt x="1301" y="281"/>
                  </a:lnTo>
                  <a:lnTo>
                    <a:pt x="1301" y="279"/>
                  </a:lnTo>
                  <a:lnTo>
                    <a:pt x="1303" y="277"/>
                  </a:lnTo>
                  <a:lnTo>
                    <a:pt x="1305" y="279"/>
                  </a:lnTo>
                  <a:lnTo>
                    <a:pt x="1305" y="279"/>
                  </a:lnTo>
                  <a:lnTo>
                    <a:pt x="1307" y="279"/>
                  </a:lnTo>
                  <a:lnTo>
                    <a:pt x="1307" y="281"/>
                  </a:lnTo>
                  <a:lnTo>
                    <a:pt x="1305" y="283"/>
                  </a:lnTo>
                  <a:lnTo>
                    <a:pt x="1303" y="285"/>
                  </a:lnTo>
                  <a:lnTo>
                    <a:pt x="1303" y="285"/>
                  </a:lnTo>
                  <a:lnTo>
                    <a:pt x="1303" y="285"/>
                  </a:lnTo>
                  <a:lnTo>
                    <a:pt x="1305" y="287"/>
                  </a:lnTo>
                  <a:lnTo>
                    <a:pt x="1305" y="287"/>
                  </a:lnTo>
                  <a:lnTo>
                    <a:pt x="1311" y="287"/>
                  </a:lnTo>
                  <a:lnTo>
                    <a:pt x="1318" y="287"/>
                  </a:lnTo>
                  <a:lnTo>
                    <a:pt x="1322" y="287"/>
                  </a:lnTo>
                  <a:lnTo>
                    <a:pt x="1326" y="287"/>
                  </a:lnTo>
                  <a:lnTo>
                    <a:pt x="1330" y="287"/>
                  </a:lnTo>
                  <a:lnTo>
                    <a:pt x="1330" y="287"/>
                  </a:lnTo>
                  <a:lnTo>
                    <a:pt x="1330" y="285"/>
                  </a:lnTo>
                  <a:lnTo>
                    <a:pt x="1330" y="285"/>
                  </a:lnTo>
                  <a:lnTo>
                    <a:pt x="1336" y="287"/>
                  </a:lnTo>
                  <a:lnTo>
                    <a:pt x="1336" y="285"/>
                  </a:lnTo>
                  <a:lnTo>
                    <a:pt x="1338" y="285"/>
                  </a:lnTo>
                  <a:lnTo>
                    <a:pt x="1340" y="287"/>
                  </a:lnTo>
                  <a:lnTo>
                    <a:pt x="1342" y="287"/>
                  </a:lnTo>
                  <a:lnTo>
                    <a:pt x="1347" y="287"/>
                  </a:lnTo>
                  <a:lnTo>
                    <a:pt x="1347" y="285"/>
                  </a:lnTo>
                  <a:lnTo>
                    <a:pt x="1347" y="285"/>
                  </a:lnTo>
                  <a:lnTo>
                    <a:pt x="1349" y="285"/>
                  </a:lnTo>
                  <a:lnTo>
                    <a:pt x="1349" y="285"/>
                  </a:lnTo>
                  <a:lnTo>
                    <a:pt x="1349" y="285"/>
                  </a:lnTo>
                  <a:lnTo>
                    <a:pt x="1351" y="287"/>
                  </a:lnTo>
                  <a:lnTo>
                    <a:pt x="1353" y="287"/>
                  </a:lnTo>
                  <a:lnTo>
                    <a:pt x="1353" y="287"/>
                  </a:lnTo>
                  <a:lnTo>
                    <a:pt x="1353" y="285"/>
                  </a:lnTo>
                  <a:lnTo>
                    <a:pt x="1355" y="285"/>
                  </a:lnTo>
                  <a:lnTo>
                    <a:pt x="1355" y="285"/>
                  </a:lnTo>
                  <a:lnTo>
                    <a:pt x="1357" y="285"/>
                  </a:lnTo>
                  <a:lnTo>
                    <a:pt x="1359" y="287"/>
                  </a:lnTo>
                  <a:lnTo>
                    <a:pt x="1363" y="287"/>
                  </a:lnTo>
                  <a:lnTo>
                    <a:pt x="1365" y="287"/>
                  </a:lnTo>
                  <a:lnTo>
                    <a:pt x="1371" y="285"/>
                  </a:lnTo>
                  <a:lnTo>
                    <a:pt x="1373" y="285"/>
                  </a:lnTo>
                  <a:lnTo>
                    <a:pt x="1375" y="285"/>
                  </a:lnTo>
                  <a:lnTo>
                    <a:pt x="1377" y="283"/>
                  </a:lnTo>
                  <a:lnTo>
                    <a:pt x="1377" y="283"/>
                  </a:lnTo>
                  <a:lnTo>
                    <a:pt x="1377" y="279"/>
                  </a:lnTo>
                  <a:lnTo>
                    <a:pt x="1377" y="279"/>
                  </a:lnTo>
                  <a:lnTo>
                    <a:pt x="1375" y="277"/>
                  </a:lnTo>
                  <a:lnTo>
                    <a:pt x="1375" y="277"/>
                  </a:lnTo>
                  <a:lnTo>
                    <a:pt x="1375" y="277"/>
                  </a:lnTo>
                  <a:lnTo>
                    <a:pt x="1375" y="277"/>
                  </a:lnTo>
                  <a:lnTo>
                    <a:pt x="1377" y="277"/>
                  </a:lnTo>
                  <a:lnTo>
                    <a:pt x="1380" y="279"/>
                  </a:lnTo>
                  <a:lnTo>
                    <a:pt x="1382" y="279"/>
                  </a:lnTo>
                  <a:lnTo>
                    <a:pt x="1382" y="279"/>
                  </a:lnTo>
                  <a:lnTo>
                    <a:pt x="1382" y="279"/>
                  </a:lnTo>
                  <a:lnTo>
                    <a:pt x="1382" y="281"/>
                  </a:lnTo>
                  <a:lnTo>
                    <a:pt x="1382" y="281"/>
                  </a:lnTo>
                  <a:lnTo>
                    <a:pt x="1382" y="283"/>
                  </a:lnTo>
                  <a:lnTo>
                    <a:pt x="1384" y="285"/>
                  </a:lnTo>
                  <a:lnTo>
                    <a:pt x="1384" y="285"/>
                  </a:lnTo>
                  <a:lnTo>
                    <a:pt x="1388" y="287"/>
                  </a:lnTo>
                  <a:lnTo>
                    <a:pt x="1388" y="287"/>
                  </a:lnTo>
                  <a:lnTo>
                    <a:pt x="1392" y="287"/>
                  </a:lnTo>
                  <a:lnTo>
                    <a:pt x="1396" y="287"/>
                  </a:lnTo>
                  <a:lnTo>
                    <a:pt x="1398" y="287"/>
                  </a:lnTo>
                  <a:lnTo>
                    <a:pt x="1400" y="287"/>
                  </a:lnTo>
                  <a:lnTo>
                    <a:pt x="1402" y="287"/>
                  </a:lnTo>
                  <a:lnTo>
                    <a:pt x="1406" y="285"/>
                  </a:lnTo>
                  <a:lnTo>
                    <a:pt x="1408" y="285"/>
                  </a:lnTo>
                  <a:lnTo>
                    <a:pt x="1421" y="285"/>
                  </a:lnTo>
                  <a:lnTo>
                    <a:pt x="1423" y="285"/>
                  </a:lnTo>
                  <a:lnTo>
                    <a:pt x="1423" y="283"/>
                  </a:lnTo>
                  <a:lnTo>
                    <a:pt x="1423" y="281"/>
                  </a:lnTo>
                  <a:lnTo>
                    <a:pt x="1423" y="281"/>
                  </a:lnTo>
                  <a:lnTo>
                    <a:pt x="1423" y="279"/>
                  </a:lnTo>
                  <a:lnTo>
                    <a:pt x="1423" y="279"/>
                  </a:lnTo>
                  <a:lnTo>
                    <a:pt x="1423" y="279"/>
                  </a:lnTo>
                  <a:lnTo>
                    <a:pt x="1421" y="277"/>
                  </a:lnTo>
                  <a:lnTo>
                    <a:pt x="1421" y="275"/>
                  </a:lnTo>
                  <a:lnTo>
                    <a:pt x="1421" y="275"/>
                  </a:lnTo>
                  <a:lnTo>
                    <a:pt x="1423" y="277"/>
                  </a:lnTo>
                  <a:lnTo>
                    <a:pt x="1427" y="277"/>
                  </a:lnTo>
                  <a:lnTo>
                    <a:pt x="1433" y="277"/>
                  </a:lnTo>
                  <a:lnTo>
                    <a:pt x="1435" y="275"/>
                  </a:lnTo>
                  <a:lnTo>
                    <a:pt x="1433" y="275"/>
                  </a:lnTo>
                  <a:lnTo>
                    <a:pt x="1433" y="273"/>
                  </a:lnTo>
                  <a:lnTo>
                    <a:pt x="1431" y="273"/>
                  </a:lnTo>
                  <a:lnTo>
                    <a:pt x="1429" y="273"/>
                  </a:lnTo>
                  <a:lnTo>
                    <a:pt x="1425" y="273"/>
                  </a:lnTo>
                  <a:lnTo>
                    <a:pt x="1423" y="273"/>
                  </a:lnTo>
                  <a:lnTo>
                    <a:pt x="1423" y="273"/>
                  </a:lnTo>
                  <a:lnTo>
                    <a:pt x="1421" y="273"/>
                  </a:lnTo>
                  <a:lnTo>
                    <a:pt x="1421" y="271"/>
                  </a:lnTo>
                  <a:lnTo>
                    <a:pt x="1427" y="271"/>
                  </a:lnTo>
                  <a:lnTo>
                    <a:pt x="1431" y="267"/>
                  </a:lnTo>
                  <a:lnTo>
                    <a:pt x="1433" y="267"/>
                  </a:lnTo>
                  <a:lnTo>
                    <a:pt x="1433" y="264"/>
                  </a:lnTo>
                  <a:lnTo>
                    <a:pt x="1431" y="262"/>
                  </a:lnTo>
                  <a:lnTo>
                    <a:pt x="1431" y="260"/>
                  </a:lnTo>
                  <a:lnTo>
                    <a:pt x="1429" y="260"/>
                  </a:lnTo>
                  <a:lnTo>
                    <a:pt x="1425" y="260"/>
                  </a:lnTo>
                  <a:lnTo>
                    <a:pt x="1423" y="260"/>
                  </a:lnTo>
                  <a:lnTo>
                    <a:pt x="1421" y="258"/>
                  </a:lnTo>
                  <a:lnTo>
                    <a:pt x="1425" y="258"/>
                  </a:lnTo>
                  <a:lnTo>
                    <a:pt x="1425" y="256"/>
                  </a:lnTo>
                  <a:lnTo>
                    <a:pt x="1423" y="256"/>
                  </a:lnTo>
                  <a:lnTo>
                    <a:pt x="1421" y="254"/>
                  </a:lnTo>
                  <a:lnTo>
                    <a:pt x="1419" y="254"/>
                  </a:lnTo>
                  <a:lnTo>
                    <a:pt x="1410" y="254"/>
                  </a:lnTo>
                  <a:lnTo>
                    <a:pt x="1410" y="254"/>
                  </a:lnTo>
                  <a:lnTo>
                    <a:pt x="1408" y="254"/>
                  </a:lnTo>
                  <a:lnTo>
                    <a:pt x="1408" y="254"/>
                  </a:lnTo>
                  <a:lnTo>
                    <a:pt x="1408" y="252"/>
                  </a:lnTo>
                  <a:lnTo>
                    <a:pt x="1408" y="252"/>
                  </a:lnTo>
                  <a:lnTo>
                    <a:pt x="1402" y="250"/>
                  </a:lnTo>
                  <a:lnTo>
                    <a:pt x="1396" y="250"/>
                  </a:lnTo>
                  <a:lnTo>
                    <a:pt x="1392" y="250"/>
                  </a:lnTo>
                  <a:lnTo>
                    <a:pt x="1390" y="250"/>
                  </a:lnTo>
                  <a:lnTo>
                    <a:pt x="1382" y="252"/>
                  </a:lnTo>
                  <a:lnTo>
                    <a:pt x="1380" y="252"/>
                  </a:lnTo>
                  <a:lnTo>
                    <a:pt x="1373" y="250"/>
                  </a:lnTo>
                  <a:lnTo>
                    <a:pt x="1369" y="250"/>
                  </a:lnTo>
                  <a:lnTo>
                    <a:pt x="1369" y="250"/>
                  </a:lnTo>
                  <a:lnTo>
                    <a:pt x="1367" y="252"/>
                  </a:lnTo>
                  <a:lnTo>
                    <a:pt x="1361" y="254"/>
                  </a:lnTo>
                  <a:lnTo>
                    <a:pt x="1359" y="254"/>
                  </a:lnTo>
                  <a:lnTo>
                    <a:pt x="1355" y="254"/>
                  </a:lnTo>
                  <a:lnTo>
                    <a:pt x="1349" y="256"/>
                  </a:lnTo>
                  <a:lnTo>
                    <a:pt x="1347" y="256"/>
                  </a:lnTo>
                  <a:lnTo>
                    <a:pt x="1340" y="258"/>
                  </a:lnTo>
                  <a:lnTo>
                    <a:pt x="1338" y="258"/>
                  </a:lnTo>
                  <a:lnTo>
                    <a:pt x="1342" y="260"/>
                  </a:lnTo>
                  <a:lnTo>
                    <a:pt x="1340" y="262"/>
                  </a:lnTo>
                  <a:lnTo>
                    <a:pt x="1336" y="262"/>
                  </a:lnTo>
                  <a:lnTo>
                    <a:pt x="1334" y="260"/>
                  </a:lnTo>
                  <a:lnTo>
                    <a:pt x="1332" y="260"/>
                  </a:lnTo>
                  <a:lnTo>
                    <a:pt x="1328" y="258"/>
                  </a:lnTo>
                  <a:lnTo>
                    <a:pt x="1322" y="256"/>
                  </a:lnTo>
                  <a:lnTo>
                    <a:pt x="1320" y="256"/>
                  </a:lnTo>
                  <a:lnTo>
                    <a:pt x="1318" y="258"/>
                  </a:lnTo>
                  <a:lnTo>
                    <a:pt x="1318" y="258"/>
                  </a:lnTo>
                  <a:lnTo>
                    <a:pt x="1318" y="258"/>
                  </a:lnTo>
                  <a:lnTo>
                    <a:pt x="1316" y="256"/>
                  </a:lnTo>
                  <a:lnTo>
                    <a:pt x="1309" y="258"/>
                  </a:lnTo>
                  <a:lnTo>
                    <a:pt x="1303" y="254"/>
                  </a:lnTo>
                  <a:lnTo>
                    <a:pt x="1303" y="254"/>
                  </a:lnTo>
                  <a:lnTo>
                    <a:pt x="1301" y="254"/>
                  </a:lnTo>
                  <a:lnTo>
                    <a:pt x="1301" y="254"/>
                  </a:lnTo>
                  <a:lnTo>
                    <a:pt x="1299" y="256"/>
                  </a:lnTo>
                  <a:lnTo>
                    <a:pt x="1299" y="256"/>
                  </a:lnTo>
                  <a:lnTo>
                    <a:pt x="1299" y="258"/>
                  </a:lnTo>
                  <a:lnTo>
                    <a:pt x="1301" y="258"/>
                  </a:lnTo>
                  <a:lnTo>
                    <a:pt x="1299" y="260"/>
                  </a:lnTo>
                  <a:lnTo>
                    <a:pt x="1299" y="260"/>
                  </a:lnTo>
                  <a:lnTo>
                    <a:pt x="1299" y="260"/>
                  </a:lnTo>
                  <a:lnTo>
                    <a:pt x="1293" y="256"/>
                  </a:lnTo>
                  <a:lnTo>
                    <a:pt x="1293" y="256"/>
                  </a:lnTo>
                  <a:lnTo>
                    <a:pt x="1289" y="256"/>
                  </a:lnTo>
                  <a:lnTo>
                    <a:pt x="1289" y="256"/>
                  </a:lnTo>
                  <a:lnTo>
                    <a:pt x="1293" y="254"/>
                  </a:lnTo>
                  <a:lnTo>
                    <a:pt x="1293" y="254"/>
                  </a:lnTo>
                  <a:lnTo>
                    <a:pt x="1295" y="252"/>
                  </a:lnTo>
                  <a:lnTo>
                    <a:pt x="1295" y="252"/>
                  </a:lnTo>
                  <a:lnTo>
                    <a:pt x="1293" y="250"/>
                  </a:lnTo>
                  <a:lnTo>
                    <a:pt x="1291" y="248"/>
                  </a:lnTo>
                  <a:lnTo>
                    <a:pt x="1289" y="248"/>
                  </a:lnTo>
                  <a:lnTo>
                    <a:pt x="1287" y="248"/>
                  </a:lnTo>
                  <a:lnTo>
                    <a:pt x="1287" y="246"/>
                  </a:lnTo>
                  <a:lnTo>
                    <a:pt x="1285" y="246"/>
                  </a:lnTo>
                  <a:lnTo>
                    <a:pt x="1283" y="246"/>
                  </a:lnTo>
                  <a:lnTo>
                    <a:pt x="1281" y="244"/>
                  </a:lnTo>
                  <a:lnTo>
                    <a:pt x="1281" y="244"/>
                  </a:lnTo>
                  <a:lnTo>
                    <a:pt x="1272" y="242"/>
                  </a:lnTo>
                  <a:lnTo>
                    <a:pt x="1272" y="242"/>
                  </a:lnTo>
                  <a:lnTo>
                    <a:pt x="1268" y="240"/>
                  </a:lnTo>
                  <a:lnTo>
                    <a:pt x="1264" y="240"/>
                  </a:lnTo>
                  <a:lnTo>
                    <a:pt x="1264" y="238"/>
                  </a:lnTo>
                  <a:lnTo>
                    <a:pt x="1266" y="238"/>
                  </a:lnTo>
                  <a:lnTo>
                    <a:pt x="1272" y="240"/>
                  </a:lnTo>
                  <a:lnTo>
                    <a:pt x="1278" y="240"/>
                  </a:lnTo>
                  <a:lnTo>
                    <a:pt x="1291" y="240"/>
                  </a:lnTo>
                  <a:lnTo>
                    <a:pt x="1293" y="238"/>
                  </a:lnTo>
                  <a:lnTo>
                    <a:pt x="1295" y="238"/>
                  </a:lnTo>
                  <a:lnTo>
                    <a:pt x="1295" y="238"/>
                  </a:lnTo>
                  <a:lnTo>
                    <a:pt x="1293" y="236"/>
                  </a:lnTo>
                  <a:lnTo>
                    <a:pt x="1270" y="231"/>
                  </a:lnTo>
                  <a:lnTo>
                    <a:pt x="1264" y="231"/>
                  </a:lnTo>
                  <a:lnTo>
                    <a:pt x="1262" y="231"/>
                  </a:lnTo>
                  <a:lnTo>
                    <a:pt x="1262" y="229"/>
                  </a:lnTo>
                  <a:lnTo>
                    <a:pt x="1264" y="229"/>
                  </a:lnTo>
                  <a:lnTo>
                    <a:pt x="1264" y="229"/>
                  </a:lnTo>
                  <a:lnTo>
                    <a:pt x="1266" y="229"/>
                  </a:lnTo>
                  <a:lnTo>
                    <a:pt x="1270" y="229"/>
                  </a:lnTo>
                  <a:lnTo>
                    <a:pt x="1274" y="231"/>
                  </a:lnTo>
                  <a:lnTo>
                    <a:pt x="1276" y="229"/>
                  </a:lnTo>
                  <a:lnTo>
                    <a:pt x="1274" y="229"/>
                  </a:lnTo>
                  <a:lnTo>
                    <a:pt x="1274" y="229"/>
                  </a:lnTo>
                  <a:lnTo>
                    <a:pt x="1272" y="227"/>
                  </a:lnTo>
                  <a:lnTo>
                    <a:pt x="1268" y="225"/>
                  </a:lnTo>
                  <a:lnTo>
                    <a:pt x="1264" y="225"/>
                  </a:lnTo>
                  <a:lnTo>
                    <a:pt x="1262" y="225"/>
                  </a:lnTo>
                  <a:lnTo>
                    <a:pt x="1258" y="225"/>
                  </a:lnTo>
                  <a:lnTo>
                    <a:pt x="1250" y="227"/>
                  </a:lnTo>
                  <a:lnTo>
                    <a:pt x="1243" y="227"/>
                  </a:lnTo>
                  <a:lnTo>
                    <a:pt x="1241" y="227"/>
                  </a:lnTo>
                  <a:lnTo>
                    <a:pt x="1235" y="231"/>
                  </a:lnTo>
                  <a:lnTo>
                    <a:pt x="1233" y="231"/>
                  </a:lnTo>
                  <a:lnTo>
                    <a:pt x="1233" y="229"/>
                  </a:lnTo>
                  <a:lnTo>
                    <a:pt x="1235" y="229"/>
                  </a:lnTo>
                  <a:lnTo>
                    <a:pt x="1235" y="227"/>
                  </a:lnTo>
                  <a:lnTo>
                    <a:pt x="1237" y="225"/>
                  </a:lnTo>
                  <a:lnTo>
                    <a:pt x="1237" y="225"/>
                  </a:lnTo>
                  <a:lnTo>
                    <a:pt x="1237" y="225"/>
                  </a:lnTo>
                  <a:lnTo>
                    <a:pt x="1237" y="223"/>
                  </a:lnTo>
                  <a:lnTo>
                    <a:pt x="1237" y="223"/>
                  </a:lnTo>
                  <a:lnTo>
                    <a:pt x="1237" y="221"/>
                  </a:lnTo>
                  <a:lnTo>
                    <a:pt x="1237" y="221"/>
                  </a:lnTo>
                  <a:lnTo>
                    <a:pt x="1235" y="221"/>
                  </a:lnTo>
                  <a:lnTo>
                    <a:pt x="1231" y="219"/>
                  </a:lnTo>
                  <a:lnTo>
                    <a:pt x="1229" y="217"/>
                  </a:lnTo>
                  <a:lnTo>
                    <a:pt x="1227" y="217"/>
                  </a:lnTo>
                  <a:lnTo>
                    <a:pt x="1225" y="217"/>
                  </a:lnTo>
                  <a:lnTo>
                    <a:pt x="1223" y="217"/>
                  </a:lnTo>
                  <a:lnTo>
                    <a:pt x="1217" y="217"/>
                  </a:lnTo>
                  <a:lnTo>
                    <a:pt x="1210" y="215"/>
                  </a:lnTo>
                  <a:lnTo>
                    <a:pt x="1202" y="213"/>
                  </a:lnTo>
                  <a:lnTo>
                    <a:pt x="1200" y="213"/>
                  </a:lnTo>
                  <a:lnTo>
                    <a:pt x="1196" y="213"/>
                  </a:lnTo>
                  <a:lnTo>
                    <a:pt x="1192" y="215"/>
                  </a:lnTo>
                  <a:lnTo>
                    <a:pt x="1190" y="215"/>
                  </a:lnTo>
                  <a:lnTo>
                    <a:pt x="1188" y="215"/>
                  </a:lnTo>
                  <a:lnTo>
                    <a:pt x="1188" y="217"/>
                  </a:lnTo>
                  <a:lnTo>
                    <a:pt x="1186" y="217"/>
                  </a:lnTo>
                  <a:lnTo>
                    <a:pt x="1186" y="217"/>
                  </a:lnTo>
                  <a:lnTo>
                    <a:pt x="1186" y="219"/>
                  </a:lnTo>
                  <a:lnTo>
                    <a:pt x="1188" y="219"/>
                  </a:lnTo>
                  <a:lnTo>
                    <a:pt x="1192" y="221"/>
                  </a:lnTo>
                  <a:lnTo>
                    <a:pt x="1192" y="221"/>
                  </a:lnTo>
                  <a:lnTo>
                    <a:pt x="1192" y="221"/>
                  </a:lnTo>
                  <a:lnTo>
                    <a:pt x="1190" y="223"/>
                  </a:lnTo>
                  <a:lnTo>
                    <a:pt x="1188" y="221"/>
                  </a:lnTo>
                  <a:lnTo>
                    <a:pt x="1186" y="221"/>
                  </a:lnTo>
                  <a:lnTo>
                    <a:pt x="1186" y="221"/>
                  </a:lnTo>
                  <a:lnTo>
                    <a:pt x="1186" y="223"/>
                  </a:lnTo>
                  <a:lnTo>
                    <a:pt x="1186" y="223"/>
                  </a:lnTo>
                  <a:lnTo>
                    <a:pt x="1186" y="223"/>
                  </a:lnTo>
                  <a:lnTo>
                    <a:pt x="1188" y="223"/>
                  </a:lnTo>
                  <a:lnTo>
                    <a:pt x="1198" y="227"/>
                  </a:lnTo>
                  <a:lnTo>
                    <a:pt x="1200" y="227"/>
                  </a:lnTo>
                  <a:lnTo>
                    <a:pt x="1202" y="227"/>
                  </a:lnTo>
                  <a:lnTo>
                    <a:pt x="1202" y="227"/>
                  </a:lnTo>
                  <a:lnTo>
                    <a:pt x="1200" y="229"/>
                  </a:lnTo>
                  <a:lnTo>
                    <a:pt x="1198" y="229"/>
                  </a:lnTo>
                  <a:lnTo>
                    <a:pt x="1198" y="229"/>
                  </a:lnTo>
                  <a:lnTo>
                    <a:pt x="1198" y="231"/>
                  </a:lnTo>
                  <a:lnTo>
                    <a:pt x="1200" y="231"/>
                  </a:lnTo>
                  <a:lnTo>
                    <a:pt x="1206" y="233"/>
                  </a:lnTo>
                  <a:lnTo>
                    <a:pt x="1208" y="238"/>
                  </a:lnTo>
                  <a:lnTo>
                    <a:pt x="1212" y="238"/>
                  </a:lnTo>
                  <a:lnTo>
                    <a:pt x="1217" y="236"/>
                  </a:lnTo>
                  <a:lnTo>
                    <a:pt x="1219" y="236"/>
                  </a:lnTo>
                  <a:lnTo>
                    <a:pt x="1221" y="236"/>
                  </a:lnTo>
                  <a:lnTo>
                    <a:pt x="1229" y="238"/>
                  </a:lnTo>
                  <a:lnTo>
                    <a:pt x="1231" y="236"/>
                  </a:lnTo>
                  <a:lnTo>
                    <a:pt x="1231" y="236"/>
                  </a:lnTo>
                  <a:lnTo>
                    <a:pt x="1233" y="236"/>
                  </a:lnTo>
                  <a:lnTo>
                    <a:pt x="1235" y="233"/>
                  </a:lnTo>
                  <a:lnTo>
                    <a:pt x="1237" y="233"/>
                  </a:lnTo>
                  <a:lnTo>
                    <a:pt x="1239" y="233"/>
                  </a:lnTo>
                  <a:lnTo>
                    <a:pt x="1241" y="238"/>
                  </a:lnTo>
                  <a:lnTo>
                    <a:pt x="1245" y="242"/>
                  </a:lnTo>
                  <a:lnTo>
                    <a:pt x="1248" y="246"/>
                  </a:lnTo>
                  <a:lnTo>
                    <a:pt x="1250" y="248"/>
                  </a:lnTo>
                  <a:lnTo>
                    <a:pt x="1252" y="248"/>
                  </a:lnTo>
                  <a:lnTo>
                    <a:pt x="1252" y="250"/>
                  </a:lnTo>
                  <a:lnTo>
                    <a:pt x="1254" y="252"/>
                  </a:lnTo>
                  <a:lnTo>
                    <a:pt x="1254" y="254"/>
                  </a:lnTo>
                  <a:lnTo>
                    <a:pt x="1254" y="254"/>
                  </a:lnTo>
                  <a:lnTo>
                    <a:pt x="1254" y="256"/>
                  </a:lnTo>
                  <a:lnTo>
                    <a:pt x="1250" y="260"/>
                  </a:lnTo>
                  <a:lnTo>
                    <a:pt x="1250" y="262"/>
                  </a:lnTo>
                  <a:lnTo>
                    <a:pt x="1248" y="262"/>
                  </a:lnTo>
                  <a:lnTo>
                    <a:pt x="1248" y="262"/>
                  </a:lnTo>
                  <a:lnTo>
                    <a:pt x="1250" y="264"/>
                  </a:lnTo>
                  <a:lnTo>
                    <a:pt x="1250" y="267"/>
                  </a:lnTo>
                  <a:lnTo>
                    <a:pt x="1250" y="267"/>
                  </a:lnTo>
                  <a:lnTo>
                    <a:pt x="1252" y="269"/>
                  </a:lnTo>
                  <a:lnTo>
                    <a:pt x="1254" y="269"/>
                  </a:lnTo>
                  <a:lnTo>
                    <a:pt x="1254" y="271"/>
                  </a:lnTo>
                  <a:lnTo>
                    <a:pt x="1252" y="271"/>
                  </a:lnTo>
                  <a:lnTo>
                    <a:pt x="1252" y="271"/>
                  </a:lnTo>
                  <a:lnTo>
                    <a:pt x="1254" y="275"/>
                  </a:lnTo>
                  <a:lnTo>
                    <a:pt x="1256" y="279"/>
                  </a:lnTo>
                  <a:lnTo>
                    <a:pt x="1256" y="281"/>
                  </a:lnTo>
                  <a:lnTo>
                    <a:pt x="1260" y="281"/>
                  </a:lnTo>
                  <a:lnTo>
                    <a:pt x="1262" y="283"/>
                  </a:lnTo>
                  <a:lnTo>
                    <a:pt x="1262" y="283"/>
                  </a:lnTo>
                  <a:lnTo>
                    <a:pt x="1264" y="283"/>
                  </a:lnTo>
                  <a:lnTo>
                    <a:pt x="1266" y="283"/>
                  </a:lnTo>
                  <a:lnTo>
                    <a:pt x="1266" y="283"/>
                  </a:lnTo>
                  <a:lnTo>
                    <a:pt x="1266" y="281"/>
                  </a:lnTo>
                  <a:lnTo>
                    <a:pt x="1266" y="281"/>
                  </a:lnTo>
                  <a:lnTo>
                    <a:pt x="1270" y="279"/>
                  </a:lnTo>
                  <a:lnTo>
                    <a:pt x="1270" y="279"/>
                  </a:lnTo>
                  <a:lnTo>
                    <a:pt x="1270" y="281"/>
                  </a:lnTo>
                  <a:lnTo>
                    <a:pt x="1270" y="281"/>
                  </a:lnTo>
                  <a:lnTo>
                    <a:pt x="1272" y="281"/>
                  </a:lnTo>
                  <a:lnTo>
                    <a:pt x="1274" y="283"/>
                  </a:lnTo>
                  <a:lnTo>
                    <a:pt x="1278" y="283"/>
                  </a:lnTo>
                  <a:lnTo>
                    <a:pt x="1283" y="285"/>
                  </a:lnTo>
                  <a:lnTo>
                    <a:pt x="1285" y="285"/>
                  </a:lnTo>
                  <a:close/>
                  <a:moveTo>
                    <a:pt x="1287" y="205"/>
                  </a:moveTo>
                  <a:lnTo>
                    <a:pt x="1287" y="203"/>
                  </a:lnTo>
                  <a:lnTo>
                    <a:pt x="1285" y="200"/>
                  </a:lnTo>
                  <a:lnTo>
                    <a:pt x="1281" y="196"/>
                  </a:lnTo>
                  <a:lnTo>
                    <a:pt x="1276" y="196"/>
                  </a:lnTo>
                  <a:lnTo>
                    <a:pt x="1274" y="196"/>
                  </a:lnTo>
                  <a:lnTo>
                    <a:pt x="1270" y="196"/>
                  </a:lnTo>
                  <a:lnTo>
                    <a:pt x="1268" y="196"/>
                  </a:lnTo>
                  <a:lnTo>
                    <a:pt x="1268" y="196"/>
                  </a:lnTo>
                  <a:lnTo>
                    <a:pt x="1266" y="196"/>
                  </a:lnTo>
                  <a:lnTo>
                    <a:pt x="1266" y="198"/>
                  </a:lnTo>
                  <a:lnTo>
                    <a:pt x="1266" y="200"/>
                  </a:lnTo>
                  <a:lnTo>
                    <a:pt x="1266" y="203"/>
                  </a:lnTo>
                  <a:lnTo>
                    <a:pt x="1266" y="203"/>
                  </a:lnTo>
                  <a:lnTo>
                    <a:pt x="1268" y="205"/>
                  </a:lnTo>
                  <a:lnTo>
                    <a:pt x="1281" y="209"/>
                  </a:lnTo>
                  <a:lnTo>
                    <a:pt x="1283" y="209"/>
                  </a:lnTo>
                  <a:lnTo>
                    <a:pt x="1285" y="207"/>
                  </a:lnTo>
                  <a:lnTo>
                    <a:pt x="1287" y="207"/>
                  </a:lnTo>
                  <a:lnTo>
                    <a:pt x="1287" y="207"/>
                  </a:lnTo>
                  <a:lnTo>
                    <a:pt x="1287" y="205"/>
                  </a:lnTo>
                  <a:lnTo>
                    <a:pt x="1287" y="205"/>
                  </a:lnTo>
                  <a:close/>
                  <a:moveTo>
                    <a:pt x="1287" y="223"/>
                  </a:moveTo>
                  <a:lnTo>
                    <a:pt x="1287" y="223"/>
                  </a:lnTo>
                  <a:lnTo>
                    <a:pt x="1287" y="223"/>
                  </a:lnTo>
                  <a:lnTo>
                    <a:pt x="1287" y="221"/>
                  </a:lnTo>
                  <a:lnTo>
                    <a:pt x="1287" y="221"/>
                  </a:lnTo>
                  <a:lnTo>
                    <a:pt x="1285" y="219"/>
                  </a:lnTo>
                  <a:lnTo>
                    <a:pt x="1281" y="219"/>
                  </a:lnTo>
                  <a:lnTo>
                    <a:pt x="1276" y="221"/>
                  </a:lnTo>
                  <a:lnTo>
                    <a:pt x="1276" y="221"/>
                  </a:lnTo>
                  <a:lnTo>
                    <a:pt x="1274" y="223"/>
                  </a:lnTo>
                  <a:lnTo>
                    <a:pt x="1274" y="223"/>
                  </a:lnTo>
                  <a:lnTo>
                    <a:pt x="1276" y="225"/>
                  </a:lnTo>
                  <a:lnTo>
                    <a:pt x="1278" y="227"/>
                  </a:lnTo>
                  <a:lnTo>
                    <a:pt x="1281" y="229"/>
                  </a:lnTo>
                  <a:lnTo>
                    <a:pt x="1283" y="229"/>
                  </a:lnTo>
                  <a:lnTo>
                    <a:pt x="1283" y="229"/>
                  </a:lnTo>
                  <a:lnTo>
                    <a:pt x="1285" y="229"/>
                  </a:lnTo>
                  <a:lnTo>
                    <a:pt x="1287" y="229"/>
                  </a:lnTo>
                  <a:lnTo>
                    <a:pt x="1287" y="229"/>
                  </a:lnTo>
                  <a:lnTo>
                    <a:pt x="1287" y="229"/>
                  </a:lnTo>
                  <a:lnTo>
                    <a:pt x="1287" y="229"/>
                  </a:lnTo>
                  <a:lnTo>
                    <a:pt x="1287" y="227"/>
                  </a:lnTo>
                  <a:lnTo>
                    <a:pt x="1287" y="227"/>
                  </a:lnTo>
                  <a:lnTo>
                    <a:pt x="1287" y="225"/>
                  </a:lnTo>
                  <a:lnTo>
                    <a:pt x="1287" y="225"/>
                  </a:lnTo>
                  <a:lnTo>
                    <a:pt x="1287" y="223"/>
                  </a:lnTo>
                  <a:close/>
                  <a:moveTo>
                    <a:pt x="819" y="240"/>
                  </a:moveTo>
                  <a:lnTo>
                    <a:pt x="819" y="240"/>
                  </a:lnTo>
                  <a:lnTo>
                    <a:pt x="819" y="240"/>
                  </a:lnTo>
                  <a:lnTo>
                    <a:pt x="819" y="240"/>
                  </a:lnTo>
                  <a:lnTo>
                    <a:pt x="819" y="242"/>
                  </a:lnTo>
                  <a:lnTo>
                    <a:pt x="819" y="242"/>
                  </a:lnTo>
                  <a:lnTo>
                    <a:pt x="819" y="242"/>
                  </a:lnTo>
                  <a:lnTo>
                    <a:pt x="819" y="244"/>
                  </a:lnTo>
                  <a:lnTo>
                    <a:pt x="819" y="244"/>
                  </a:lnTo>
                  <a:lnTo>
                    <a:pt x="819" y="244"/>
                  </a:lnTo>
                  <a:lnTo>
                    <a:pt x="819" y="246"/>
                  </a:lnTo>
                  <a:lnTo>
                    <a:pt x="819" y="246"/>
                  </a:lnTo>
                  <a:lnTo>
                    <a:pt x="821" y="246"/>
                  </a:lnTo>
                  <a:lnTo>
                    <a:pt x="823" y="246"/>
                  </a:lnTo>
                  <a:lnTo>
                    <a:pt x="827" y="244"/>
                  </a:lnTo>
                  <a:lnTo>
                    <a:pt x="829" y="244"/>
                  </a:lnTo>
                  <a:lnTo>
                    <a:pt x="831" y="244"/>
                  </a:lnTo>
                  <a:lnTo>
                    <a:pt x="835" y="246"/>
                  </a:lnTo>
                  <a:lnTo>
                    <a:pt x="837" y="246"/>
                  </a:lnTo>
                  <a:lnTo>
                    <a:pt x="837" y="246"/>
                  </a:lnTo>
                  <a:lnTo>
                    <a:pt x="841" y="244"/>
                  </a:lnTo>
                  <a:lnTo>
                    <a:pt x="843" y="240"/>
                  </a:lnTo>
                  <a:lnTo>
                    <a:pt x="843" y="240"/>
                  </a:lnTo>
                  <a:lnTo>
                    <a:pt x="843" y="240"/>
                  </a:lnTo>
                  <a:lnTo>
                    <a:pt x="845" y="240"/>
                  </a:lnTo>
                  <a:lnTo>
                    <a:pt x="845" y="240"/>
                  </a:lnTo>
                  <a:lnTo>
                    <a:pt x="845" y="244"/>
                  </a:lnTo>
                  <a:lnTo>
                    <a:pt x="847" y="244"/>
                  </a:lnTo>
                  <a:lnTo>
                    <a:pt x="847" y="246"/>
                  </a:lnTo>
                  <a:lnTo>
                    <a:pt x="850" y="248"/>
                  </a:lnTo>
                  <a:lnTo>
                    <a:pt x="850" y="250"/>
                  </a:lnTo>
                  <a:lnTo>
                    <a:pt x="850" y="250"/>
                  </a:lnTo>
                  <a:lnTo>
                    <a:pt x="854" y="248"/>
                  </a:lnTo>
                  <a:lnTo>
                    <a:pt x="856" y="248"/>
                  </a:lnTo>
                  <a:lnTo>
                    <a:pt x="860" y="246"/>
                  </a:lnTo>
                  <a:lnTo>
                    <a:pt x="860" y="246"/>
                  </a:lnTo>
                  <a:lnTo>
                    <a:pt x="862" y="246"/>
                  </a:lnTo>
                  <a:lnTo>
                    <a:pt x="862" y="246"/>
                  </a:lnTo>
                  <a:lnTo>
                    <a:pt x="862" y="244"/>
                  </a:lnTo>
                  <a:lnTo>
                    <a:pt x="862" y="244"/>
                  </a:lnTo>
                  <a:lnTo>
                    <a:pt x="862" y="244"/>
                  </a:lnTo>
                  <a:lnTo>
                    <a:pt x="860" y="242"/>
                  </a:lnTo>
                  <a:lnTo>
                    <a:pt x="860" y="242"/>
                  </a:lnTo>
                  <a:lnTo>
                    <a:pt x="860" y="240"/>
                  </a:lnTo>
                  <a:lnTo>
                    <a:pt x="860" y="240"/>
                  </a:lnTo>
                  <a:lnTo>
                    <a:pt x="860" y="238"/>
                  </a:lnTo>
                  <a:lnTo>
                    <a:pt x="860" y="236"/>
                  </a:lnTo>
                  <a:lnTo>
                    <a:pt x="862" y="236"/>
                  </a:lnTo>
                  <a:lnTo>
                    <a:pt x="862" y="236"/>
                  </a:lnTo>
                  <a:lnTo>
                    <a:pt x="862" y="236"/>
                  </a:lnTo>
                  <a:lnTo>
                    <a:pt x="864" y="236"/>
                  </a:lnTo>
                  <a:lnTo>
                    <a:pt x="864" y="238"/>
                  </a:lnTo>
                  <a:lnTo>
                    <a:pt x="866" y="240"/>
                  </a:lnTo>
                  <a:lnTo>
                    <a:pt x="868" y="242"/>
                  </a:lnTo>
                  <a:lnTo>
                    <a:pt x="868" y="242"/>
                  </a:lnTo>
                  <a:lnTo>
                    <a:pt x="870" y="240"/>
                  </a:lnTo>
                  <a:lnTo>
                    <a:pt x="870" y="240"/>
                  </a:lnTo>
                  <a:lnTo>
                    <a:pt x="872" y="238"/>
                  </a:lnTo>
                  <a:lnTo>
                    <a:pt x="872" y="236"/>
                  </a:lnTo>
                  <a:lnTo>
                    <a:pt x="874" y="236"/>
                  </a:lnTo>
                  <a:lnTo>
                    <a:pt x="874" y="233"/>
                  </a:lnTo>
                  <a:lnTo>
                    <a:pt x="874" y="231"/>
                  </a:lnTo>
                  <a:lnTo>
                    <a:pt x="872" y="231"/>
                  </a:lnTo>
                  <a:lnTo>
                    <a:pt x="872" y="229"/>
                  </a:lnTo>
                  <a:lnTo>
                    <a:pt x="872" y="229"/>
                  </a:lnTo>
                  <a:lnTo>
                    <a:pt x="874" y="229"/>
                  </a:lnTo>
                  <a:lnTo>
                    <a:pt x="876" y="229"/>
                  </a:lnTo>
                  <a:lnTo>
                    <a:pt x="876" y="229"/>
                  </a:lnTo>
                  <a:lnTo>
                    <a:pt x="878" y="227"/>
                  </a:lnTo>
                  <a:lnTo>
                    <a:pt x="878" y="225"/>
                  </a:lnTo>
                  <a:lnTo>
                    <a:pt x="878" y="223"/>
                  </a:lnTo>
                  <a:lnTo>
                    <a:pt x="880" y="223"/>
                  </a:lnTo>
                  <a:lnTo>
                    <a:pt x="880" y="223"/>
                  </a:lnTo>
                  <a:lnTo>
                    <a:pt x="883" y="221"/>
                  </a:lnTo>
                  <a:lnTo>
                    <a:pt x="887" y="221"/>
                  </a:lnTo>
                  <a:lnTo>
                    <a:pt x="887" y="221"/>
                  </a:lnTo>
                  <a:lnTo>
                    <a:pt x="887" y="221"/>
                  </a:lnTo>
                  <a:lnTo>
                    <a:pt x="887" y="223"/>
                  </a:lnTo>
                  <a:lnTo>
                    <a:pt x="885" y="225"/>
                  </a:lnTo>
                  <a:lnTo>
                    <a:pt x="885" y="227"/>
                  </a:lnTo>
                  <a:lnTo>
                    <a:pt x="885" y="229"/>
                  </a:lnTo>
                  <a:lnTo>
                    <a:pt x="885" y="231"/>
                  </a:lnTo>
                  <a:lnTo>
                    <a:pt x="885" y="233"/>
                  </a:lnTo>
                  <a:lnTo>
                    <a:pt x="887" y="233"/>
                  </a:lnTo>
                  <a:lnTo>
                    <a:pt x="889" y="236"/>
                  </a:lnTo>
                  <a:lnTo>
                    <a:pt x="891" y="236"/>
                  </a:lnTo>
                  <a:lnTo>
                    <a:pt x="893" y="236"/>
                  </a:lnTo>
                  <a:lnTo>
                    <a:pt x="895" y="236"/>
                  </a:lnTo>
                  <a:lnTo>
                    <a:pt x="897" y="236"/>
                  </a:lnTo>
                  <a:lnTo>
                    <a:pt x="897" y="236"/>
                  </a:lnTo>
                  <a:lnTo>
                    <a:pt x="897" y="233"/>
                  </a:lnTo>
                  <a:lnTo>
                    <a:pt x="897" y="233"/>
                  </a:lnTo>
                  <a:lnTo>
                    <a:pt x="899" y="231"/>
                  </a:lnTo>
                  <a:lnTo>
                    <a:pt x="897" y="229"/>
                  </a:lnTo>
                  <a:lnTo>
                    <a:pt x="899" y="229"/>
                  </a:lnTo>
                  <a:lnTo>
                    <a:pt x="905" y="227"/>
                  </a:lnTo>
                  <a:lnTo>
                    <a:pt x="909" y="227"/>
                  </a:lnTo>
                  <a:lnTo>
                    <a:pt x="911" y="225"/>
                  </a:lnTo>
                  <a:lnTo>
                    <a:pt x="913" y="225"/>
                  </a:lnTo>
                  <a:lnTo>
                    <a:pt x="913" y="223"/>
                  </a:lnTo>
                  <a:lnTo>
                    <a:pt x="913" y="223"/>
                  </a:lnTo>
                  <a:lnTo>
                    <a:pt x="911" y="221"/>
                  </a:lnTo>
                  <a:lnTo>
                    <a:pt x="909" y="219"/>
                  </a:lnTo>
                  <a:lnTo>
                    <a:pt x="909" y="219"/>
                  </a:lnTo>
                  <a:lnTo>
                    <a:pt x="909" y="217"/>
                  </a:lnTo>
                  <a:lnTo>
                    <a:pt x="911" y="217"/>
                  </a:lnTo>
                  <a:lnTo>
                    <a:pt x="913" y="217"/>
                  </a:lnTo>
                  <a:lnTo>
                    <a:pt x="916" y="217"/>
                  </a:lnTo>
                  <a:lnTo>
                    <a:pt x="913" y="217"/>
                  </a:lnTo>
                  <a:lnTo>
                    <a:pt x="911" y="215"/>
                  </a:lnTo>
                  <a:lnTo>
                    <a:pt x="909" y="213"/>
                  </a:lnTo>
                  <a:lnTo>
                    <a:pt x="907" y="211"/>
                  </a:lnTo>
                  <a:lnTo>
                    <a:pt x="909" y="211"/>
                  </a:lnTo>
                  <a:lnTo>
                    <a:pt x="918" y="207"/>
                  </a:lnTo>
                  <a:lnTo>
                    <a:pt x="920" y="207"/>
                  </a:lnTo>
                  <a:lnTo>
                    <a:pt x="920" y="207"/>
                  </a:lnTo>
                  <a:lnTo>
                    <a:pt x="920" y="205"/>
                  </a:lnTo>
                  <a:lnTo>
                    <a:pt x="920" y="205"/>
                  </a:lnTo>
                  <a:lnTo>
                    <a:pt x="911" y="200"/>
                  </a:lnTo>
                  <a:lnTo>
                    <a:pt x="909" y="200"/>
                  </a:lnTo>
                  <a:lnTo>
                    <a:pt x="907" y="198"/>
                  </a:lnTo>
                  <a:lnTo>
                    <a:pt x="905" y="198"/>
                  </a:lnTo>
                  <a:lnTo>
                    <a:pt x="901" y="198"/>
                  </a:lnTo>
                  <a:lnTo>
                    <a:pt x="899" y="200"/>
                  </a:lnTo>
                  <a:lnTo>
                    <a:pt x="897" y="200"/>
                  </a:lnTo>
                  <a:lnTo>
                    <a:pt x="897" y="203"/>
                  </a:lnTo>
                  <a:lnTo>
                    <a:pt x="897" y="203"/>
                  </a:lnTo>
                  <a:lnTo>
                    <a:pt x="901" y="203"/>
                  </a:lnTo>
                  <a:lnTo>
                    <a:pt x="903" y="205"/>
                  </a:lnTo>
                  <a:lnTo>
                    <a:pt x="901" y="205"/>
                  </a:lnTo>
                  <a:lnTo>
                    <a:pt x="901" y="205"/>
                  </a:lnTo>
                  <a:lnTo>
                    <a:pt x="897" y="205"/>
                  </a:lnTo>
                  <a:lnTo>
                    <a:pt x="897" y="205"/>
                  </a:lnTo>
                  <a:lnTo>
                    <a:pt x="895" y="205"/>
                  </a:lnTo>
                  <a:lnTo>
                    <a:pt x="895" y="207"/>
                  </a:lnTo>
                  <a:lnTo>
                    <a:pt x="893" y="207"/>
                  </a:lnTo>
                  <a:lnTo>
                    <a:pt x="885" y="205"/>
                  </a:lnTo>
                  <a:lnTo>
                    <a:pt x="872" y="205"/>
                  </a:lnTo>
                  <a:lnTo>
                    <a:pt x="868" y="207"/>
                  </a:lnTo>
                  <a:lnTo>
                    <a:pt x="866" y="209"/>
                  </a:lnTo>
                  <a:lnTo>
                    <a:pt x="862" y="211"/>
                  </a:lnTo>
                  <a:lnTo>
                    <a:pt x="858" y="213"/>
                  </a:lnTo>
                  <a:lnTo>
                    <a:pt x="852" y="217"/>
                  </a:lnTo>
                  <a:lnTo>
                    <a:pt x="852" y="217"/>
                  </a:lnTo>
                  <a:lnTo>
                    <a:pt x="850" y="219"/>
                  </a:lnTo>
                  <a:lnTo>
                    <a:pt x="850" y="221"/>
                  </a:lnTo>
                  <a:lnTo>
                    <a:pt x="847" y="221"/>
                  </a:lnTo>
                  <a:lnTo>
                    <a:pt x="841" y="225"/>
                  </a:lnTo>
                  <a:lnTo>
                    <a:pt x="839" y="225"/>
                  </a:lnTo>
                  <a:lnTo>
                    <a:pt x="839" y="227"/>
                  </a:lnTo>
                  <a:lnTo>
                    <a:pt x="833" y="231"/>
                  </a:lnTo>
                  <a:lnTo>
                    <a:pt x="833" y="231"/>
                  </a:lnTo>
                  <a:lnTo>
                    <a:pt x="821" y="233"/>
                  </a:lnTo>
                  <a:lnTo>
                    <a:pt x="821" y="233"/>
                  </a:lnTo>
                  <a:lnTo>
                    <a:pt x="819" y="233"/>
                  </a:lnTo>
                  <a:lnTo>
                    <a:pt x="817" y="238"/>
                  </a:lnTo>
                  <a:lnTo>
                    <a:pt x="814" y="240"/>
                  </a:lnTo>
                  <a:lnTo>
                    <a:pt x="814" y="240"/>
                  </a:lnTo>
                  <a:lnTo>
                    <a:pt x="817" y="240"/>
                  </a:lnTo>
                  <a:lnTo>
                    <a:pt x="819" y="240"/>
                  </a:lnTo>
                  <a:close/>
                  <a:moveTo>
                    <a:pt x="932" y="192"/>
                  </a:moveTo>
                  <a:lnTo>
                    <a:pt x="936" y="194"/>
                  </a:lnTo>
                  <a:lnTo>
                    <a:pt x="940" y="194"/>
                  </a:lnTo>
                  <a:lnTo>
                    <a:pt x="942" y="192"/>
                  </a:lnTo>
                  <a:lnTo>
                    <a:pt x="944" y="192"/>
                  </a:lnTo>
                  <a:lnTo>
                    <a:pt x="946" y="190"/>
                  </a:lnTo>
                  <a:lnTo>
                    <a:pt x="946" y="190"/>
                  </a:lnTo>
                  <a:lnTo>
                    <a:pt x="944" y="188"/>
                  </a:lnTo>
                  <a:lnTo>
                    <a:pt x="944" y="188"/>
                  </a:lnTo>
                  <a:lnTo>
                    <a:pt x="944" y="188"/>
                  </a:lnTo>
                  <a:lnTo>
                    <a:pt x="942" y="188"/>
                  </a:lnTo>
                  <a:lnTo>
                    <a:pt x="940" y="186"/>
                  </a:lnTo>
                  <a:lnTo>
                    <a:pt x="938" y="186"/>
                  </a:lnTo>
                  <a:lnTo>
                    <a:pt x="936" y="184"/>
                  </a:lnTo>
                  <a:lnTo>
                    <a:pt x="936" y="184"/>
                  </a:lnTo>
                  <a:lnTo>
                    <a:pt x="936" y="184"/>
                  </a:lnTo>
                  <a:lnTo>
                    <a:pt x="936" y="182"/>
                  </a:lnTo>
                  <a:lnTo>
                    <a:pt x="932" y="184"/>
                  </a:lnTo>
                  <a:lnTo>
                    <a:pt x="930" y="184"/>
                  </a:lnTo>
                  <a:lnTo>
                    <a:pt x="930" y="186"/>
                  </a:lnTo>
                  <a:lnTo>
                    <a:pt x="928" y="186"/>
                  </a:lnTo>
                  <a:lnTo>
                    <a:pt x="926" y="186"/>
                  </a:lnTo>
                  <a:lnTo>
                    <a:pt x="928" y="188"/>
                  </a:lnTo>
                  <a:lnTo>
                    <a:pt x="932" y="192"/>
                  </a:lnTo>
                  <a:close/>
                  <a:moveTo>
                    <a:pt x="942" y="219"/>
                  </a:moveTo>
                  <a:lnTo>
                    <a:pt x="934" y="219"/>
                  </a:lnTo>
                  <a:lnTo>
                    <a:pt x="932" y="219"/>
                  </a:lnTo>
                  <a:lnTo>
                    <a:pt x="930" y="221"/>
                  </a:lnTo>
                  <a:lnTo>
                    <a:pt x="930" y="221"/>
                  </a:lnTo>
                  <a:lnTo>
                    <a:pt x="930" y="223"/>
                  </a:lnTo>
                  <a:lnTo>
                    <a:pt x="944" y="223"/>
                  </a:lnTo>
                  <a:lnTo>
                    <a:pt x="946" y="223"/>
                  </a:lnTo>
                  <a:lnTo>
                    <a:pt x="949" y="221"/>
                  </a:lnTo>
                  <a:lnTo>
                    <a:pt x="949" y="221"/>
                  </a:lnTo>
                  <a:lnTo>
                    <a:pt x="946" y="219"/>
                  </a:lnTo>
                  <a:lnTo>
                    <a:pt x="944" y="219"/>
                  </a:lnTo>
                  <a:lnTo>
                    <a:pt x="942" y="219"/>
                  </a:lnTo>
                  <a:close/>
                  <a:moveTo>
                    <a:pt x="837" y="250"/>
                  </a:moveTo>
                  <a:lnTo>
                    <a:pt x="837" y="252"/>
                  </a:lnTo>
                  <a:lnTo>
                    <a:pt x="839" y="252"/>
                  </a:lnTo>
                  <a:lnTo>
                    <a:pt x="839" y="252"/>
                  </a:lnTo>
                  <a:lnTo>
                    <a:pt x="841" y="252"/>
                  </a:lnTo>
                  <a:lnTo>
                    <a:pt x="841" y="250"/>
                  </a:lnTo>
                  <a:lnTo>
                    <a:pt x="841" y="250"/>
                  </a:lnTo>
                  <a:lnTo>
                    <a:pt x="843" y="248"/>
                  </a:lnTo>
                  <a:lnTo>
                    <a:pt x="843" y="248"/>
                  </a:lnTo>
                  <a:lnTo>
                    <a:pt x="843" y="246"/>
                  </a:lnTo>
                  <a:lnTo>
                    <a:pt x="843" y="246"/>
                  </a:lnTo>
                  <a:lnTo>
                    <a:pt x="841" y="246"/>
                  </a:lnTo>
                  <a:lnTo>
                    <a:pt x="841" y="248"/>
                  </a:lnTo>
                  <a:lnTo>
                    <a:pt x="841" y="248"/>
                  </a:lnTo>
                  <a:lnTo>
                    <a:pt x="841" y="248"/>
                  </a:lnTo>
                  <a:lnTo>
                    <a:pt x="841" y="248"/>
                  </a:lnTo>
                  <a:lnTo>
                    <a:pt x="837" y="250"/>
                  </a:lnTo>
                  <a:close/>
                  <a:moveTo>
                    <a:pt x="891" y="242"/>
                  </a:moveTo>
                  <a:lnTo>
                    <a:pt x="889" y="242"/>
                  </a:lnTo>
                  <a:lnTo>
                    <a:pt x="887" y="242"/>
                  </a:lnTo>
                  <a:lnTo>
                    <a:pt x="885" y="242"/>
                  </a:lnTo>
                  <a:lnTo>
                    <a:pt x="883" y="244"/>
                  </a:lnTo>
                  <a:lnTo>
                    <a:pt x="878" y="246"/>
                  </a:lnTo>
                  <a:lnTo>
                    <a:pt x="874" y="248"/>
                  </a:lnTo>
                  <a:lnTo>
                    <a:pt x="870" y="252"/>
                  </a:lnTo>
                  <a:lnTo>
                    <a:pt x="866" y="254"/>
                  </a:lnTo>
                  <a:lnTo>
                    <a:pt x="866" y="254"/>
                  </a:lnTo>
                  <a:lnTo>
                    <a:pt x="864" y="256"/>
                  </a:lnTo>
                  <a:lnTo>
                    <a:pt x="864" y="256"/>
                  </a:lnTo>
                  <a:lnTo>
                    <a:pt x="866" y="256"/>
                  </a:lnTo>
                  <a:lnTo>
                    <a:pt x="868" y="256"/>
                  </a:lnTo>
                  <a:lnTo>
                    <a:pt x="872" y="258"/>
                  </a:lnTo>
                  <a:lnTo>
                    <a:pt x="874" y="258"/>
                  </a:lnTo>
                  <a:lnTo>
                    <a:pt x="878" y="256"/>
                  </a:lnTo>
                  <a:lnTo>
                    <a:pt x="880" y="256"/>
                  </a:lnTo>
                  <a:lnTo>
                    <a:pt x="885" y="250"/>
                  </a:lnTo>
                  <a:lnTo>
                    <a:pt x="889" y="246"/>
                  </a:lnTo>
                  <a:lnTo>
                    <a:pt x="889" y="246"/>
                  </a:lnTo>
                  <a:lnTo>
                    <a:pt x="891" y="242"/>
                  </a:lnTo>
                  <a:lnTo>
                    <a:pt x="891" y="242"/>
                  </a:lnTo>
                  <a:close/>
                  <a:moveTo>
                    <a:pt x="1200" y="285"/>
                  </a:moveTo>
                  <a:lnTo>
                    <a:pt x="1206" y="287"/>
                  </a:lnTo>
                  <a:lnTo>
                    <a:pt x="1206" y="287"/>
                  </a:lnTo>
                  <a:lnTo>
                    <a:pt x="1208" y="287"/>
                  </a:lnTo>
                  <a:lnTo>
                    <a:pt x="1208" y="287"/>
                  </a:lnTo>
                  <a:lnTo>
                    <a:pt x="1208" y="285"/>
                  </a:lnTo>
                  <a:lnTo>
                    <a:pt x="1206" y="285"/>
                  </a:lnTo>
                  <a:lnTo>
                    <a:pt x="1204" y="283"/>
                  </a:lnTo>
                  <a:lnTo>
                    <a:pt x="1202" y="283"/>
                  </a:lnTo>
                  <a:lnTo>
                    <a:pt x="1202" y="283"/>
                  </a:lnTo>
                  <a:lnTo>
                    <a:pt x="1200" y="285"/>
                  </a:lnTo>
                  <a:lnTo>
                    <a:pt x="1200" y="285"/>
                  </a:lnTo>
                  <a:lnTo>
                    <a:pt x="1200" y="285"/>
                  </a:lnTo>
                  <a:lnTo>
                    <a:pt x="1200" y="285"/>
                  </a:lnTo>
                  <a:close/>
                  <a:moveTo>
                    <a:pt x="942" y="238"/>
                  </a:moveTo>
                  <a:lnTo>
                    <a:pt x="940" y="236"/>
                  </a:lnTo>
                  <a:lnTo>
                    <a:pt x="940" y="236"/>
                  </a:lnTo>
                  <a:lnTo>
                    <a:pt x="940" y="233"/>
                  </a:lnTo>
                  <a:lnTo>
                    <a:pt x="940" y="233"/>
                  </a:lnTo>
                  <a:lnTo>
                    <a:pt x="938" y="231"/>
                  </a:lnTo>
                  <a:lnTo>
                    <a:pt x="938" y="231"/>
                  </a:lnTo>
                  <a:lnTo>
                    <a:pt x="936" y="231"/>
                  </a:lnTo>
                  <a:lnTo>
                    <a:pt x="934" y="229"/>
                  </a:lnTo>
                  <a:lnTo>
                    <a:pt x="930" y="229"/>
                  </a:lnTo>
                  <a:lnTo>
                    <a:pt x="926" y="229"/>
                  </a:lnTo>
                  <a:lnTo>
                    <a:pt x="918" y="231"/>
                  </a:lnTo>
                  <a:lnTo>
                    <a:pt x="916" y="233"/>
                  </a:lnTo>
                  <a:lnTo>
                    <a:pt x="916" y="236"/>
                  </a:lnTo>
                  <a:lnTo>
                    <a:pt x="916" y="236"/>
                  </a:lnTo>
                  <a:lnTo>
                    <a:pt x="916" y="238"/>
                  </a:lnTo>
                  <a:lnTo>
                    <a:pt x="916" y="238"/>
                  </a:lnTo>
                  <a:lnTo>
                    <a:pt x="918" y="238"/>
                  </a:lnTo>
                  <a:lnTo>
                    <a:pt x="926" y="238"/>
                  </a:lnTo>
                  <a:lnTo>
                    <a:pt x="928" y="240"/>
                  </a:lnTo>
                  <a:lnTo>
                    <a:pt x="930" y="240"/>
                  </a:lnTo>
                  <a:lnTo>
                    <a:pt x="928" y="240"/>
                  </a:lnTo>
                  <a:lnTo>
                    <a:pt x="916" y="240"/>
                  </a:lnTo>
                  <a:lnTo>
                    <a:pt x="911" y="238"/>
                  </a:lnTo>
                  <a:lnTo>
                    <a:pt x="909" y="240"/>
                  </a:lnTo>
                  <a:lnTo>
                    <a:pt x="905" y="240"/>
                  </a:lnTo>
                  <a:lnTo>
                    <a:pt x="903" y="242"/>
                  </a:lnTo>
                  <a:lnTo>
                    <a:pt x="903" y="242"/>
                  </a:lnTo>
                  <a:lnTo>
                    <a:pt x="905" y="244"/>
                  </a:lnTo>
                  <a:lnTo>
                    <a:pt x="903" y="244"/>
                  </a:lnTo>
                  <a:lnTo>
                    <a:pt x="903" y="246"/>
                  </a:lnTo>
                  <a:lnTo>
                    <a:pt x="903" y="246"/>
                  </a:lnTo>
                  <a:lnTo>
                    <a:pt x="905" y="248"/>
                  </a:lnTo>
                  <a:lnTo>
                    <a:pt x="907" y="248"/>
                  </a:lnTo>
                  <a:lnTo>
                    <a:pt x="918" y="248"/>
                  </a:lnTo>
                  <a:lnTo>
                    <a:pt x="926" y="248"/>
                  </a:lnTo>
                  <a:lnTo>
                    <a:pt x="924" y="248"/>
                  </a:lnTo>
                  <a:lnTo>
                    <a:pt x="920" y="250"/>
                  </a:lnTo>
                  <a:lnTo>
                    <a:pt x="916" y="250"/>
                  </a:lnTo>
                  <a:lnTo>
                    <a:pt x="907" y="250"/>
                  </a:lnTo>
                  <a:lnTo>
                    <a:pt x="901" y="252"/>
                  </a:lnTo>
                  <a:lnTo>
                    <a:pt x="899" y="252"/>
                  </a:lnTo>
                  <a:lnTo>
                    <a:pt x="897" y="252"/>
                  </a:lnTo>
                  <a:lnTo>
                    <a:pt x="895" y="254"/>
                  </a:lnTo>
                  <a:lnTo>
                    <a:pt x="897" y="256"/>
                  </a:lnTo>
                  <a:lnTo>
                    <a:pt x="897" y="256"/>
                  </a:lnTo>
                  <a:lnTo>
                    <a:pt x="907" y="256"/>
                  </a:lnTo>
                  <a:lnTo>
                    <a:pt x="911" y="256"/>
                  </a:lnTo>
                  <a:lnTo>
                    <a:pt x="926" y="252"/>
                  </a:lnTo>
                  <a:lnTo>
                    <a:pt x="926" y="254"/>
                  </a:lnTo>
                  <a:lnTo>
                    <a:pt x="924" y="254"/>
                  </a:lnTo>
                  <a:lnTo>
                    <a:pt x="924" y="254"/>
                  </a:lnTo>
                  <a:lnTo>
                    <a:pt x="922" y="256"/>
                  </a:lnTo>
                  <a:lnTo>
                    <a:pt x="911" y="258"/>
                  </a:lnTo>
                  <a:lnTo>
                    <a:pt x="909" y="260"/>
                  </a:lnTo>
                  <a:lnTo>
                    <a:pt x="899" y="260"/>
                  </a:lnTo>
                  <a:lnTo>
                    <a:pt x="897" y="260"/>
                  </a:lnTo>
                  <a:lnTo>
                    <a:pt x="895" y="260"/>
                  </a:lnTo>
                  <a:lnTo>
                    <a:pt x="893" y="260"/>
                  </a:lnTo>
                  <a:lnTo>
                    <a:pt x="893" y="260"/>
                  </a:lnTo>
                  <a:lnTo>
                    <a:pt x="891" y="262"/>
                  </a:lnTo>
                  <a:lnTo>
                    <a:pt x="891" y="264"/>
                  </a:lnTo>
                  <a:lnTo>
                    <a:pt x="889" y="264"/>
                  </a:lnTo>
                  <a:lnTo>
                    <a:pt x="889" y="264"/>
                  </a:lnTo>
                  <a:lnTo>
                    <a:pt x="891" y="267"/>
                  </a:lnTo>
                  <a:lnTo>
                    <a:pt x="891" y="267"/>
                  </a:lnTo>
                  <a:lnTo>
                    <a:pt x="899" y="269"/>
                  </a:lnTo>
                  <a:lnTo>
                    <a:pt x="901" y="269"/>
                  </a:lnTo>
                  <a:lnTo>
                    <a:pt x="905" y="269"/>
                  </a:lnTo>
                  <a:lnTo>
                    <a:pt x="911" y="273"/>
                  </a:lnTo>
                  <a:lnTo>
                    <a:pt x="916" y="275"/>
                  </a:lnTo>
                  <a:lnTo>
                    <a:pt x="918" y="275"/>
                  </a:lnTo>
                  <a:lnTo>
                    <a:pt x="918" y="273"/>
                  </a:lnTo>
                  <a:lnTo>
                    <a:pt x="918" y="271"/>
                  </a:lnTo>
                  <a:lnTo>
                    <a:pt x="920" y="271"/>
                  </a:lnTo>
                  <a:lnTo>
                    <a:pt x="920" y="271"/>
                  </a:lnTo>
                  <a:lnTo>
                    <a:pt x="922" y="271"/>
                  </a:lnTo>
                  <a:lnTo>
                    <a:pt x="922" y="271"/>
                  </a:lnTo>
                  <a:lnTo>
                    <a:pt x="922" y="271"/>
                  </a:lnTo>
                  <a:lnTo>
                    <a:pt x="924" y="273"/>
                  </a:lnTo>
                  <a:lnTo>
                    <a:pt x="926" y="273"/>
                  </a:lnTo>
                  <a:lnTo>
                    <a:pt x="926" y="273"/>
                  </a:lnTo>
                  <a:lnTo>
                    <a:pt x="926" y="273"/>
                  </a:lnTo>
                  <a:lnTo>
                    <a:pt x="928" y="273"/>
                  </a:lnTo>
                  <a:lnTo>
                    <a:pt x="934" y="271"/>
                  </a:lnTo>
                  <a:lnTo>
                    <a:pt x="936" y="269"/>
                  </a:lnTo>
                  <a:lnTo>
                    <a:pt x="936" y="269"/>
                  </a:lnTo>
                  <a:lnTo>
                    <a:pt x="934" y="267"/>
                  </a:lnTo>
                  <a:lnTo>
                    <a:pt x="934" y="264"/>
                  </a:lnTo>
                  <a:lnTo>
                    <a:pt x="934" y="264"/>
                  </a:lnTo>
                  <a:lnTo>
                    <a:pt x="934" y="264"/>
                  </a:lnTo>
                  <a:lnTo>
                    <a:pt x="936" y="267"/>
                  </a:lnTo>
                  <a:lnTo>
                    <a:pt x="938" y="267"/>
                  </a:lnTo>
                  <a:lnTo>
                    <a:pt x="938" y="264"/>
                  </a:lnTo>
                  <a:lnTo>
                    <a:pt x="940" y="262"/>
                  </a:lnTo>
                  <a:lnTo>
                    <a:pt x="940" y="260"/>
                  </a:lnTo>
                  <a:lnTo>
                    <a:pt x="940" y="260"/>
                  </a:lnTo>
                  <a:lnTo>
                    <a:pt x="940" y="260"/>
                  </a:lnTo>
                  <a:lnTo>
                    <a:pt x="942" y="262"/>
                  </a:lnTo>
                  <a:lnTo>
                    <a:pt x="942" y="262"/>
                  </a:lnTo>
                  <a:lnTo>
                    <a:pt x="946" y="262"/>
                  </a:lnTo>
                  <a:lnTo>
                    <a:pt x="949" y="260"/>
                  </a:lnTo>
                  <a:lnTo>
                    <a:pt x="949" y="262"/>
                  </a:lnTo>
                  <a:lnTo>
                    <a:pt x="944" y="264"/>
                  </a:lnTo>
                  <a:lnTo>
                    <a:pt x="944" y="264"/>
                  </a:lnTo>
                  <a:lnTo>
                    <a:pt x="942" y="267"/>
                  </a:lnTo>
                  <a:lnTo>
                    <a:pt x="942" y="267"/>
                  </a:lnTo>
                  <a:lnTo>
                    <a:pt x="942" y="269"/>
                  </a:lnTo>
                  <a:lnTo>
                    <a:pt x="942" y="269"/>
                  </a:lnTo>
                  <a:lnTo>
                    <a:pt x="942" y="271"/>
                  </a:lnTo>
                  <a:lnTo>
                    <a:pt x="944" y="271"/>
                  </a:lnTo>
                  <a:lnTo>
                    <a:pt x="944" y="271"/>
                  </a:lnTo>
                  <a:lnTo>
                    <a:pt x="951" y="271"/>
                  </a:lnTo>
                  <a:lnTo>
                    <a:pt x="957" y="271"/>
                  </a:lnTo>
                  <a:lnTo>
                    <a:pt x="957" y="271"/>
                  </a:lnTo>
                  <a:lnTo>
                    <a:pt x="959" y="269"/>
                  </a:lnTo>
                  <a:lnTo>
                    <a:pt x="959" y="269"/>
                  </a:lnTo>
                  <a:lnTo>
                    <a:pt x="961" y="267"/>
                  </a:lnTo>
                  <a:lnTo>
                    <a:pt x="961" y="267"/>
                  </a:lnTo>
                  <a:lnTo>
                    <a:pt x="963" y="267"/>
                  </a:lnTo>
                  <a:lnTo>
                    <a:pt x="965" y="269"/>
                  </a:lnTo>
                  <a:lnTo>
                    <a:pt x="967" y="269"/>
                  </a:lnTo>
                  <a:lnTo>
                    <a:pt x="969" y="269"/>
                  </a:lnTo>
                  <a:lnTo>
                    <a:pt x="973" y="269"/>
                  </a:lnTo>
                  <a:lnTo>
                    <a:pt x="975" y="269"/>
                  </a:lnTo>
                  <a:lnTo>
                    <a:pt x="977" y="269"/>
                  </a:lnTo>
                  <a:lnTo>
                    <a:pt x="982" y="267"/>
                  </a:lnTo>
                  <a:lnTo>
                    <a:pt x="982" y="267"/>
                  </a:lnTo>
                  <a:lnTo>
                    <a:pt x="984" y="267"/>
                  </a:lnTo>
                  <a:lnTo>
                    <a:pt x="984" y="267"/>
                  </a:lnTo>
                  <a:lnTo>
                    <a:pt x="979" y="269"/>
                  </a:lnTo>
                  <a:lnTo>
                    <a:pt x="977" y="271"/>
                  </a:lnTo>
                  <a:lnTo>
                    <a:pt x="973" y="273"/>
                  </a:lnTo>
                  <a:lnTo>
                    <a:pt x="973" y="273"/>
                  </a:lnTo>
                  <a:lnTo>
                    <a:pt x="969" y="273"/>
                  </a:lnTo>
                  <a:lnTo>
                    <a:pt x="967" y="273"/>
                  </a:lnTo>
                  <a:lnTo>
                    <a:pt x="961" y="273"/>
                  </a:lnTo>
                  <a:lnTo>
                    <a:pt x="957" y="275"/>
                  </a:lnTo>
                  <a:lnTo>
                    <a:pt x="951" y="277"/>
                  </a:lnTo>
                  <a:lnTo>
                    <a:pt x="942" y="279"/>
                  </a:lnTo>
                  <a:lnTo>
                    <a:pt x="938" y="279"/>
                  </a:lnTo>
                  <a:lnTo>
                    <a:pt x="936" y="281"/>
                  </a:lnTo>
                  <a:lnTo>
                    <a:pt x="936" y="283"/>
                  </a:lnTo>
                  <a:lnTo>
                    <a:pt x="936" y="285"/>
                  </a:lnTo>
                  <a:lnTo>
                    <a:pt x="938" y="285"/>
                  </a:lnTo>
                  <a:lnTo>
                    <a:pt x="942" y="287"/>
                  </a:lnTo>
                  <a:lnTo>
                    <a:pt x="946" y="289"/>
                  </a:lnTo>
                  <a:lnTo>
                    <a:pt x="949" y="289"/>
                  </a:lnTo>
                  <a:lnTo>
                    <a:pt x="955" y="289"/>
                  </a:lnTo>
                  <a:lnTo>
                    <a:pt x="963" y="289"/>
                  </a:lnTo>
                  <a:lnTo>
                    <a:pt x="973" y="287"/>
                  </a:lnTo>
                  <a:lnTo>
                    <a:pt x="979" y="285"/>
                  </a:lnTo>
                  <a:lnTo>
                    <a:pt x="984" y="283"/>
                  </a:lnTo>
                  <a:lnTo>
                    <a:pt x="988" y="281"/>
                  </a:lnTo>
                  <a:lnTo>
                    <a:pt x="990" y="281"/>
                  </a:lnTo>
                  <a:lnTo>
                    <a:pt x="990" y="279"/>
                  </a:lnTo>
                  <a:lnTo>
                    <a:pt x="992" y="279"/>
                  </a:lnTo>
                  <a:lnTo>
                    <a:pt x="996" y="277"/>
                  </a:lnTo>
                  <a:lnTo>
                    <a:pt x="1004" y="277"/>
                  </a:lnTo>
                  <a:lnTo>
                    <a:pt x="1012" y="273"/>
                  </a:lnTo>
                  <a:lnTo>
                    <a:pt x="1015" y="271"/>
                  </a:lnTo>
                  <a:lnTo>
                    <a:pt x="1017" y="273"/>
                  </a:lnTo>
                  <a:lnTo>
                    <a:pt x="1017" y="273"/>
                  </a:lnTo>
                  <a:lnTo>
                    <a:pt x="1017" y="273"/>
                  </a:lnTo>
                  <a:lnTo>
                    <a:pt x="1017" y="273"/>
                  </a:lnTo>
                  <a:lnTo>
                    <a:pt x="1019" y="275"/>
                  </a:lnTo>
                  <a:lnTo>
                    <a:pt x="1021" y="275"/>
                  </a:lnTo>
                  <a:lnTo>
                    <a:pt x="1021" y="275"/>
                  </a:lnTo>
                  <a:lnTo>
                    <a:pt x="1023" y="275"/>
                  </a:lnTo>
                  <a:lnTo>
                    <a:pt x="1027" y="273"/>
                  </a:lnTo>
                  <a:lnTo>
                    <a:pt x="1029" y="273"/>
                  </a:lnTo>
                  <a:lnTo>
                    <a:pt x="1035" y="275"/>
                  </a:lnTo>
                  <a:lnTo>
                    <a:pt x="1039" y="275"/>
                  </a:lnTo>
                  <a:lnTo>
                    <a:pt x="1039" y="275"/>
                  </a:lnTo>
                  <a:lnTo>
                    <a:pt x="1041" y="275"/>
                  </a:lnTo>
                  <a:lnTo>
                    <a:pt x="1048" y="273"/>
                  </a:lnTo>
                  <a:lnTo>
                    <a:pt x="1054" y="271"/>
                  </a:lnTo>
                  <a:lnTo>
                    <a:pt x="1056" y="269"/>
                  </a:lnTo>
                  <a:lnTo>
                    <a:pt x="1058" y="269"/>
                  </a:lnTo>
                  <a:lnTo>
                    <a:pt x="1060" y="260"/>
                  </a:lnTo>
                  <a:lnTo>
                    <a:pt x="1060" y="258"/>
                  </a:lnTo>
                  <a:lnTo>
                    <a:pt x="1062" y="254"/>
                  </a:lnTo>
                  <a:lnTo>
                    <a:pt x="1062" y="252"/>
                  </a:lnTo>
                  <a:lnTo>
                    <a:pt x="1062" y="252"/>
                  </a:lnTo>
                  <a:lnTo>
                    <a:pt x="1062" y="248"/>
                  </a:lnTo>
                  <a:lnTo>
                    <a:pt x="1060" y="246"/>
                  </a:lnTo>
                  <a:lnTo>
                    <a:pt x="1060" y="246"/>
                  </a:lnTo>
                  <a:lnTo>
                    <a:pt x="1060" y="246"/>
                  </a:lnTo>
                  <a:lnTo>
                    <a:pt x="1056" y="244"/>
                  </a:lnTo>
                  <a:lnTo>
                    <a:pt x="1050" y="242"/>
                  </a:lnTo>
                  <a:lnTo>
                    <a:pt x="1048" y="244"/>
                  </a:lnTo>
                  <a:lnTo>
                    <a:pt x="1045" y="244"/>
                  </a:lnTo>
                  <a:lnTo>
                    <a:pt x="1043" y="246"/>
                  </a:lnTo>
                  <a:lnTo>
                    <a:pt x="1043" y="246"/>
                  </a:lnTo>
                  <a:lnTo>
                    <a:pt x="1043" y="246"/>
                  </a:lnTo>
                  <a:lnTo>
                    <a:pt x="1043" y="248"/>
                  </a:lnTo>
                  <a:lnTo>
                    <a:pt x="1043" y="250"/>
                  </a:lnTo>
                  <a:lnTo>
                    <a:pt x="1045" y="250"/>
                  </a:lnTo>
                  <a:lnTo>
                    <a:pt x="1045" y="250"/>
                  </a:lnTo>
                  <a:lnTo>
                    <a:pt x="1041" y="250"/>
                  </a:lnTo>
                  <a:lnTo>
                    <a:pt x="1041" y="252"/>
                  </a:lnTo>
                  <a:lnTo>
                    <a:pt x="1041" y="254"/>
                  </a:lnTo>
                  <a:lnTo>
                    <a:pt x="1041" y="254"/>
                  </a:lnTo>
                  <a:lnTo>
                    <a:pt x="1041" y="250"/>
                  </a:lnTo>
                  <a:lnTo>
                    <a:pt x="1039" y="248"/>
                  </a:lnTo>
                  <a:lnTo>
                    <a:pt x="1039" y="248"/>
                  </a:lnTo>
                  <a:lnTo>
                    <a:pt x="1039" y="248"/>
                  </a:lnTo>
                  <a:lnTo>
                    <a:pt x="1037" y="248"/>
                  </a:lnTo>
                  <a:lnTo>
                    <a:pt x="1035" y="248"/>
                  </a:lnTo>
                  <a:lnTo>
                    <a:pt x="1033" y="248"/>
                  </a:lnTo>
                  <a:lnTo>
                    <a:pt x="1031" y="248"/>
                  </a:lnTo>
                  <a:lnTo>
                    <a:pt x="1027" y="250"/>
                  </a:lnTo>
                  <a:lnTo>
                    <a:pt x="1027" y="250"/>
                  </a:lnTo>
                  <a:lnTo>
                    <a:pt x="1027" y="250"/>
                  </a:lnTo>
                  <a:lnTo>
                    <a:pt x="1027" y="250"/>
                  </a:lnTo>
                  <a:lnTo>
                    <a:pt x="1031" y="246"/>
                  </a:lnTo>
                  <a:lnTo>
                    <a:pt x="1031" y="246"/>
                  </a:lnTo>
                  <a:lnTo>
                    <a:pt x="1031" y="246"/>
                  </a:lnTo>
                  <a:lnTo>
                    <a:pt x="1031" y="244"/>
                  </a:lnTo>
                  <a:lnTo>
                    <a:pt x="1029" y="244"/>
                  </a:lnTo>
                  <a:lnTo>
                    <a:pt x="1029" y="244"/>
                  </a:lnTo>
                  <a:lnTo>
                    <a:pt x="1027" y="242"/>
                  </a:lnTo>
                  <a:lnTo>
                    <a:pt x="1025" y="244"/>
                  </a:lnTo>
                  <a:lnTo>
                    <a:pt x="1023" y="244"/>
                  </a:lnTo>
                  <a:lnTo>
                    <a:pt x="1021" y="242"/>
                  </a:lnTo>
                  <a:lnTo>
                    <a:pt x="1021" y="242"/>
                  </a:lnTo>
                  <a:lnTo>
                    <a:pt x="1021" y="242"/>
                  </a:lnTo>
                  <a:lnTo>
                    <a:pt x="1023" y="240"/>
                  </a:lnTo>
                  <a:lnTo>
                    <a:pt x="1025" y="238"/>
                  </a:lnTo>
                  <a:lnTo>
                    <a:pt x="1025" y="238"/>
                  </a:lnTo>
                  <a:lnTo>
                    <a:pt x="1023" y="236"/>
                  </a:lnTo>
                  <a:lnTo>
                    <a:pt x="1021" y="233"/>
                  </a:lnTo>
                  <a:lnTo>
                    <a:pt x="1019" y="231"/>
                  </a:lnTo>
                  <a:lnTo>
                    <a:pt x="1019" y="231"/>
                  </a:lnTo>
                  <a:lnTo>
                    <a:pt x="1019" y="229"/>
                  </a:lnTo>
                  <a:lnTo>
                    <a:pt x="1019" y="229"/>
                  </a:lnTo>
                  <a:lnTo>
                    <a:pt x="1017" y="227"/>
                  </a:lnTo>
                  <a:lnTo>
                    <a:pt x="1017" y="227"/>
                  </a:lnTo>
                  <a:lnTo>
                    <a:pt x="1019" y="225"/>
                  </a:lnTo>
                  <a:lnTo>
                    <a:pt x="1019" y="225"/>
                  </a:lnTo>
                  <a:lnTo>
                    <a:pt x="1021" y="223"/>
                  </a:lnTo>
                  <a:lnTo>
                    <a:pt x="1021" y="223"/>
                  </a:lnTo>
                  <a:lnTo>
                    <a:pt x="1019" y="223"/>
                  </a:lnTo>
                  <a:lnTo>
                    <a:pt x="1019" y="223"/>
                  </a:lnTo>
                  <a:lnTo>
                    <a:pt x="1015" y="221"/>
                  </a:lnTo>
                  <a:lnTo>
                    <a:pt x="1010" y="221"/>
                  </a:lnTo>
                  <a:lnTo>
                    <a:pt x="1008" y="221"/>
                  </a:lnTo>
                  <a:lnTo>
                    <a:pt x="1008" y="223"/>
                  </a:lnTo>
                  <a:lnTo>
                    <a:pt x="1004" y="225"/>
                  </a:lnTo>
                  <a:lnTo>
                    <a:pt x="1000" y="229"/>
                  </a:lnTo>
                  <a:lnTo>
                    <a:pt x="998" y="229"/>
                  </a:lnTo>
                  <a:lnTo>
                    <a:pt x="994" y="231"/>
                  </a:lnTo>
                  <a:lnTo>
                    <a:pt x="994" y="233"/>
                  </a:lnTo>
                  <a:lnTo>
                    <a:pt x="994" y="233"/>
                  </a:lnTo>
                  <a:lnTo>
                    <a:pt x="994" y="236"/>
                  </a:lnTo>
                  <a:lnTo>
                    <a:pt x="994" y="236"/>
                  </a:lnTo>
                  <a:lnTo>
                    <a:pt x="996" y="236"/>
                  </a:lnTo>
                  <a:lnTo>
                    <a:pt x="1000" y="238"/>
                  </a:lnTo>
                  <a:lnTo>
                    <a:pt x="1002" y="238"/>
                  </a:lnTo>
                  <a:lnTo>
                    <a:pt x="1006" y="240"/>
                  </a:lnTo>
                  <a:lnTo>
                    <a:pt x="1006" y="242"/>
                  </a:lnTo>
                  <a:lnTo>
                    <a:pt x="1006" y="242"/>
                  </a:lnTo>
                  <a:lnTo>
                    <a:pt x="1006" y="244"/>
                  </a:lnTo>
                  <a:lnTo>
                    <a:pt x="1006" y="244"/>
                  </a:lnTo>
                  <a:lnTo>
                    <a:pt x="1000" y="246"/>
                  </a:lnTo>
                  <a:lnTo>
                    <a:pt x="1000" y="248"/>
                  </a:lnTo>
                  <a:lnTo>
                    <a:pt x="1012" y="254"/>
                  </a:lnTo>
                  <a:lnTo>
                    <a:pt x="1012" y="254"/>
                  </a:lnTo>
                  <a:lnTo>
                    <a:pt x="1015" y="256"/>
                  </a:lnTo>
                  <a:lnTo>
                    <a:pt x="1015" y="256"/>
                  </a:lnTo>
                  <a:lnTo>
                    <a:pt x="1012" y="258"/>
                  </a:lnTo>
                  <a:lnTo>
                    <a:pt x="1012" y="258"/>
                  </a:lnTo>
                  <a:lnTo>
                    <a:pt x="1010" y="258"/>
                  </a:lnTo>
                  <a:lnTo>
                    <a:pt x="992" y="258"/>
                  </a:lnTo>
                  <a:lnTo>
                    <a:pt x="988" y="256"/>
                  </a:lnTo>
                  <a:lnTo>
                    <a:pt x="986" y="258"/>
                  </a:lnTo>
                  <a:lnTo>
                    <a:pt x="984" y="258"/>
                  </a:lnTo>
                  <a:lnTo>
                    <a:pt x="982" y="256"/>
                  </a:lnTo>
                  <a:lnTo>
                    <a:pt x="979" y="256"/>
                  </a:lnTo>
                  <a:lnTo>
                    <a:pt x="977" y="254"/>
                  </a:lnTo>
                  <a:lnTo>
                    <a:pt x="977" y="252"/>
                  </a:lnTo>
                  <a:lnTo>
                    <a:pt x="977" y="250"/>
                  </a:lnTo>
                  <a:lnTo>
                    <a:pt x="975" y="250"/>
                  </a:lnTo>
                  <a:lnTo>
                    <a:pt x="973" y="250"/>
                  </a:lnTo>
                  <a:lnTo>
                    <a:pt x="971" y="250"/>
                  </a:lnTo>
                  <a:lnTo>
                    <a:pt x="969" y="250"/>
                  </a:lnTo>
                  <a:lnTo>
                    <a:pt x="969" y="248"/>
                  </a:lnTo>
                  <a:lnTo>
                    <a:pt x="969" y="248"/>
                  </a:lnTo>
                  <a:lnTo>
                    <a:pt x="971" y="248"/>
                  </a:lnTo>
                  <a:lnTo>
                    <a:pt x="971" y="246"/>
                  </a:lnTo>
                  <a:lnTo>
                    <a:pt x="965" y="242"/>
                  </a:lnTo>
                  <a:lnTo>
                    <a:pt x="959" y="238"/>
                  </a:lnTo>
                  <a:lnTo>
                    <a:pt x="955" y="238"/>
                  </a:lnTo>
                  <a:lnTo>
                    <a:pt x="953" y="238"/>
                  </a:lnTo>
                  <a:lnTo>
                    <a:pt x="951" y="238"/>
                  </a:lnTo>
                  <a:lnTo>
                    <a:pt x="944" y="238"/>
                  </a:lnTo>
                  <a:lnTo>
                    <a:pt x="942" y="238"/>
                  </a:lnTo>
                  <a:close/>
                  <a:moveTo>
                    <a:pt x="1058" y="198"/>
                  </a:moveTo>
                  <a:lnTo>
                    <a:pt x="1058" y="198"/>
                  </a:lnTo>
                  <a:lnTo>
                    <a:pt x="1060" y="200"/>
                  </a:lnTo>
                  <a:lnTo>
                    <a:pt x="1062" y="205"/>
                  </a:lnTo>
                  <a:lnTo>
                    <a:pt x="1064" y="207"/>
                  </a:lnTo>
                  <a:lnTo>
                    <a:pt x="1066" y="209"/>
                  </a:lnTo>
                  <a:lnTo>
                    <a:pt x="1068" y="211"/>
                  </a:lnTo>
                  <a:lnTo>
                    <a:pt x="1074" y="211"/>
                  </a:lnTo>
                  <a:lnTo>
                    <a:pt x="1076" y="211"/>
                  </a:lnTo>
                  <a:lnTo>
                    <a:pt x="1076" y="211"/>
                  </a:lnTo>
                  <a:lnTo>
                    <a:pt x="1076" y="209"/>
                  </a:lnTo>
                  <a:lnTo>
                    <a:pt x="1076" y="207"/>
                  </a:lnTo>
                  <a:lnTo>
                    <a:pt x="1076" y="207"/>
                  </a:lnTo>
                  <a:lnTo>
                    <a:pt x="1076" y="205"/>
                  </a:lnTo>
                  <a:lnTo>
                    <a:pt x="1072" y="203"/>
                  </a:lnTo>
                  <a:lnTo>
                    <a:pt x="1070" y="203"/>
                  </a:lnTo>
                  <a:lnTo>
                    <a:pt x="1070" y="203"/>
                  </a:lnTo>
                  <a:lnTo>
                    <a:pt x="1070" y="200"/>
                  </a:lnTo>
                  <a:lnTo>
                    <a:pt x="1068" y="198"/>
                  </a:lnTo>
                  <a:lnTo>
                    <a:pt x="1066" y="196"/>
                  </a:lnTo>
                  <a:lnTo>
                    <a:pt x="1062" y="194"/>
                  </a:lnTo>
                  <a:lnTo>
                    <a:pt x="1060" y="192"/>
                  </a:lnTo>
                  <a:lnTo>
                    <a:pt x="1058" y="192"/>
                  </a:lnTo>
                  <a:lnTo>
                    <a:pt x="1054" y="192"/>
                  </a:lnTo>
                  <a:lnTo>
                    <a:pt x="1054" y="194"/>
                  </a:lnTo>
                  <a:lnTo>
                    <a:pt x="1056" y="196"/>
                  </a:lnTo>
                  <a:lnTo>
                    <a:pt x="1058" y="198"/>
                  </a:lnTo>
                  <a:close/>
                  <a:moveTo>
                    <a:pt x="953" y="176"/>
                  </a:moveTo>
                  <a:lnTo>
                    <a:pt x="955" y="176"/>
                  </a:lnTo>
                  <a:lnTo>
                    <a:pt x="961" y="174"/>
                  </a:lnTo>
                  <a:lnTo>
                    <a:pt x="967" y="174"/>
                  </a:lnTo>
                  <a:lnTo>
                    <a:pt x="973" y="176"/>
                  </a:lnTo>
                  <a:lnTo>
                    <a:pt x="975" y="176"/>
                  </a:lnTo>
                  <a:lnTo>
                    <a:pt x="977" y="176"/>
                  </a:lnTo>
                  <a:lnTo>
                    <a:pt x="979" y="176"/>
                  </a:lnTo>
                  <a:lnTo>
                    <a:pt x="979" y="174"/>
                  </a:lnTo>
                  <a:lnTo>
                    <a:pt x="982" y="174"/>
                  </a:lnTo>
                  <a:lnTo>
                    <a:pt x="984" y="174"/>
                  </a:lnTo>
                  <a:lnTo>
                    <a:pt x="986" y="176"/>
                  </a:lnTo>
                  <a:lnTo>
                    <a:pt x="988" y="176"/>
                  </a:lnTo>
                  <a:lnTo>
                    <a:pt x="992" y="176"/>
                  </a:lnTo>
                  <a:lnTo>
                    <a:pt x="994" y="176"/>
                  </a:lnTo>
                  <a:lnTo>
                    <a:pt x="998" y="176"/>
                  </a:lnTo>
                  <a:lnTo>
                    <a:pt x="1002" y="176"/>
                  </a:lnTo>
                  <a:lnTo>
                    <a:pt x="1006" y="176"/>
                  </a:lnTo>
                  <a:lnTo>
                    <a:pt x="1006" y="176"/>
                  </a:lnTo>
                  <a:lnTo>
                    <a:pt x="1006" y="174"/>
                  </a:lnTo>
                  <a:lnTo>
                    <a:pt x="1008" y="172"/>
                  </a:lnTo>
                  <a:lnTo>
                    <a:pt x="1008" y="172"/>
                  </a:lnTo>
                  <a:lnTo>
                    <a:pt x="1006" y="169"/>
                  </a:lnTo>
                  <a:lnTo>
                    <a:pt x="1006" y="167"/>
                  </a:lnTo>
                  <a:lnTo>
                    <a:pt x="1004" y="167"/>
                  </a:lnTo>
                  <a:lnTo>
                    <a:pt x="1004" y="167"/>
                  </a:lnTo>
                  <a:lnTo>
                    <a:pt x="1002" y="167"/>
                  </a:lnTo>
                  <a:lnTo>
                    <a:pt x="1000" y="165"/>
                  </a:lnTo>
                  <a:lnTo>
                    <a:pt x="998" y="163"/>
                  </a:lnTo>
                  <a:lnTo>
                    <a:pt x="996" y="163"/>
                  </a:lnTo>
                  <a:lnTo>
                    <a:pt x="992" y="161"/>
                  </a:lnTo>
                  <a:lnTo>
                    <a:pt x="990" y="161"/>
                  </a:lnTo>
                  <a:lnTo>
                    <a:pt x="986" y="163"/>
                  </a:lnTo>
                  <a:lnTo>
                    <a:pt x="984" y="163"/>
                  </a:lnTo>
                  <a:lnTo>
                    <a:pt x="977" y="165"/>
                  </a:lnTo>
                  <a:lnTo>
                    <a:pt x="975" y="167"/>
                  </a:lnTo>
                  <a:lnTo>
                    <a:pt x="973" y="167"/>
                  </a:lnTo>
                  <a:lnTo>
                    <a:pt x="967" y="167"/>
                  </a:lnTo>
                  <a:lnTo>
                    <a:pt x="961" y="169"/>
                  </a:lnTo>
                  <a:lnTo>
                    <a:pt x="957" y="172"/>
                  </a:lnTo>
                  <a:lnTo>
                    <a:pt x="953" y="172"/>
                  </a:lnTo>
                  <a:lnTo>
                    <a:pt x="951" y="174"/>
                  </a:lnTo>
                  <a:lnTo>
                    <a:pt x="951" y="176"/>
                  </a:lnTo>
                  <a:lnTo>
                    <a:pt x="953" y="176"/>
                  </a:lnTo>
                  <a:lnTo>
                    <a:pt x="953" y="176"/>
                  </a:lnTo>
                  <a:close/>
                  <a:moveTo>
                    <a:pt x="1062" y="153"/>
                  </a:moveTo>
                  <a:lnTo>
                    <a:pt x="1064" y="153"/>
                  </a:lnTo>
                  <a:lnTo>
                    <a:pt x="1070" y="153"/>
                  </a:lnTo>
                  <a:lnTo>
                    <a:pt x="1072" y="153"/>
                  </a:lnTo>
                  <a:lnTo>
                    <a:pt x="1072" y="155"/>
                  </a:lnTo>
                  <a:lnTo>
                    <a:pt x="1070" y="157"/>
                  </a:lnTo>
                  <a:lnTo>
                    <a:pt x="1070" y="159"/>
                  </a:lnTo>
                  <a:lnTo>
                    <a:pt x="1070" y="159"/>
                  </a:lnTo>
                  <a:lnTo>
                    <a:pt x="1070" y="159"/>
                  </a:lnTo>
                  <a:lnTo>
                    <a:pt x="1072" y="159"/>
                  </a:lnTo>
                  <a:lnTo>
                    <a:pt x="1072" y="159"/>
                  </a:lnTo>
                  <a:lnTo>
                    <a:pt x="1078" y="155"/>
                  </a:lnTo>
                  <a:lnTo>
                    <a:pt x="1081" y="155"/>
                  </a:lnTo>
                  <a:lnTo>
                    <a:pt x="1083" y="155"/>
                  </a:lnTo>
                  <a:lnTo>
                    <a:pt x="1083" y="155"/>
                  </a:lnTo>
                  <a:lnTo>
                    <a:pt x="1085" y="157"/>
                  </a:lnTo>
                  <a:lnTo>
                    <a:pt x="1085" y="157"/>
                  </a:lnTo>
                  <a:lnTo>
                    <a:pt x="1081" y="159"/>
                  </a:lnTo>
                  <a:lnTo>
                    <a:pt x="1081" y="161"/>
                  </a:lnTo>
                  <a:lnTo>
                    <a:pt x="1081" y="161"/>
                  </a:lnTo>
                  <a:lnTo>
                    <a:pt x="1083" y="161"/>
                  </a:lnTo>
                  <a:lnTo>
                    <a:pt x="1091" y="161"/>
                  </a:lnTo>
                  <a:lnTo>
                    <a:pt x="1093" y="161"/>
                  </a:lnTo>
                  <a:lnTo>
                    <a:pt x="1093" y="163"/>
                  </a:lnTo>
                  <a:lnTo>
                    <a:pt x="1089" y="163"/>
                  </a:lnTo>
                  <a:lnTo>
                    <a:pt x="1085" y="165"/>
                  </a:lnTo>
                  <a:lnTo>
                    <a:pt x="1083" y="165"/>
                  </a:lnTo>
                  <a:lnTo>
                    <a:pt x="1089" y="165"/>
                  </a:lnTo>
                  <a:lnTo>
                    <a:pt x="1091" y="167"/>
                  </a:lnTo>
                  <a:lnTo>
                    <a:pt x="1089" y="167"/>
                  </a:lnTo>
                  <a:lnTo>
                    <a:pt x="1087" y="169"/>
                  </a:lnTo>
                  <a:lnTo>
                    <a:pt x="1081" y="167"/>
                  </a:lnTo>
                  <a:lnTo>
                    <a:pt x="1072" y="167"/>
                  </a:lnTo>
                  <a:lnTo>
                    <a:pt x="1072" y="167"/>
                  </a:lnTo>
                  <a:lnTo>
                    <a:pt x="1070" y="167"/>
                  </a:lnTo>
                  <a:lnTo>
                    <a:pt x="1070" y="169"/>
                  </a:lnTo>
                  <a:lnTo>
                    <a:pt x="1070" y="172"/>
                  </a:lnTo>
                  <a:lnTo>
                    <a:pt x="1070" y="174"/>
                  </a:lnTo>
                  <a:lnTo>
                    <a:pt x="1072" y="174"/>
                  </a:lnTo>
                  <a:lnTo>
                    <a:pt x="1076" y="176"/>
                  </a:lnTo>
                  <a:lnTo>
                    <a:pt x="1078" y="178"/>
                  </a:lnTo>
                  <a:lnTo>
                    <a:pt x="1085" y="178"/>
                  </a:lnTo>
                  <a:lnTo>
                    <a:pt x="1089" y="176"/>
                  </a:lnTo>
                  <a:lnTo>
                    <a:pt x="1101" y="174"/>
                  </a:lnTo>
                  <a:lnTo>
                    <a:pt x="1101" y="176"/>
                  </a:lnTo>
                  <a:lnTo>
                    <a:pt x="1101" y="176"/>
                  </a:lnTo>
                  <a:lnTo>
                    <a:pt x="1101" y="176"/>
                  </a:lnTo>
                  <a:lnTo>
                    <a:pt x="1103" y="178"/>
                  </a:lnTo>
                  <a:lnTo>
                    <a:pt x="1103" y="178"/>
                  </a:lnTo>
                  <a:lnTo>
                    <a:pt x="1107" y="176"/>
                  </a:lnTo>
                  <a:lnTo>
                    <a:pt x="1111" y="176"/>
                  </a:lnTo>
                  <a:lnTo>
                    <a:pt x="1114" y="178"/>
                  </a:lnTo>
                  <a:lnTo>
                    <a:pt x="1122" y="180"/>
                  </a:lnTo>
                  <a:lnTo>
                    <a:pt x="1126" y="180"/>
                  </a:lnTo>
                  <a:lnTo>
                    <a:pt x="1128" y="182"/>
                  </a:lnTo>
                  <a:lnTo>
                    <a:pt x="1128" y="182"/>
                  </a:lnTo>
                  <a:lnTo>
                    <a:pt x="1130" y="182"/>
                  </a:lnTo>
                  <a:lnTo>
                    <a:pt x="1130" y="186"/>
                  </a:lnTo>
                  <a:lnTo>
                    <a:pt x="1130" y="186"/>
                  </a:lnTo>
                  <a:lnTo>
                    <a:pt x="1130" y="188"/>
                  </a:lnTo>
                  <a:lnTo>
                    <a:pt x="1132" y="188"/>
                  </a:lnTo>
                  <a:lnTo>
                    <a:pt x="1136" y="190"/>
                  </a:lnTo>
                  <a:lnTo>
                    <a:pt x="1140" y="192"/>
                  </a:lnTo>
                  <a:lnTo>
                    <a:pt x="1144" y="190"/>
                  </a:lnTo>
                  <a:lnTo>
                    <a:pt x="1151" y="190"/>
                  </a:lnTo>
                  <a:lnTo>
                    <a:pt x="1153" y="190"/>
                  </a:lnTo>
                  <a:lnTo>
                    <a:pt x="1153" y="188"/>
                  </a:lnTo>
                  <a:lnTo>
                    <a:pt x="1155" y="186"/>
                  </a:lnTo>
                  <a:lnTo>
                    <a:pt x="1155" y="186"/>
                  </a:lnTo>
                  <a:lnTo>
                    <a:pt x="1155" y="184"/>
                  </a:lnTo>
                  <a:lnTo>
                    <a:pt x="1155" y="182"/>
                  </a:lnTo>
                  <a:lnTo>
                    <a:pt x="1153" y="182"/>
                  </a:lnTo>
                  <a:lnTo>
                    <a:pt x="1146" y="176"/>
                  </a:lnTo>
                  <a:lnTo>
                    <a:pt x="1144" y="176"/>
                  </a:lnTo>
                  <a:lnTo>
                    <a:pt x="1144" y="176"/>
                  </a:lnTo>
                  <a:lnTo>
                    <a:pt x="1144" y="174"/>
                  </a:lnTo>
                  <a:lnTo>
                    <a:pt x="1144" y="174"/>
                  </a:lnTo>
                  <a:lnTo>
                    <a:pt x="1142" y="172"/>
                  </a:lnTo>
                  <a:lnTo>
                    <a:pt x="1142" y="172"/>
                  </a:lnTo>
                  <a:lnTo>
                    <a:pt x="1144" y="169"/>
                  </a:lnTo>
                  <a:lnTo>
                    <a:pt x="1146" y="167"/>
                  </a:lnTo>
                  <a:lnTo>
                    <a:pt x="1146" y="167"/>
                  </a:lnTo>
                  <a:lnTo>
                    <a:pt x="1146" y="167"/>
                  </a:lnTo>
                  <a:lnTo>
                    <a:pt x="1144" y="165"/>
                  </a:lnTo>
                  <a:lnTo>
                    <a:pt x="1140" y="163"/>
                  </a:lnTo>
                  <a:lnTo>
                    <a:pt x="1134" y="159"/>
                  </a:lnTo>
                  <a:lnTo>
                    <a:pt x="1128" y="161"/>
                  </a:lnTo>
                  <a:lnTo>
                    <a:pt x="1124" y="161"/>
                  </a:lnTo>
                  <a:lnTo>
                    <a:pt x="1124" y="159"/>
                  </a:lnTo>
                  <a:lnTo>
                    <a:pt x="1124" y="159"/>
                  </a:lnTo>
                  <a:lnTo>
                    <a:pt x="1126" y="157"/>
                  </a:lnTo>
                  <a:lnTo>
                    <a:pt x="1126" y="155"/>
                  </a:lnTo>
                  <a:lnTo>
                    <a:pt x="1126" y="155"/>
                  </a:lnTo>
                  <a:lnTo>
                    <a:pt x="1124" y="155"/>
                  </a:lnTo>
                  <a:lnTo>
                    <a:pt x="1122" y="155"/>
                  </a:lnTo>
                  <a:lnTo>
                    <a:pt x="1116" y="151"/>
                  </a:lnTo>
                  <a:lnTo>
                    <a:pt x="1114" y="151"/>
                  </a:lnTo>
                  <a:lnTo>
                    <a:pt x="1111" y="151"/>
                  </a:lnTo>
                  <a:lnTo>
                    <a:pt x="1109" y="153"/>
                  </a:lnTo>
                  <a:lnTo>
                    <a:pt x="1107" y="153"/>
                  </a:lnTo>
                  <a:lnTo>
                    <a:pt x="1105" y="155"/>
                  </a:lnTo>
                  <a:lnTo>
                    <a:pt x="1105" y="157"/>
                  </a:lnTo>
                  <a:lnTo>
                    <a:pt x="1105" y="157"/>
                  </a:lnTo>
                  <a:lnTo>
                    <a:pt x="1103" y="157"/>
                  </a:lnTo>
                  <a:lnTo>
                    <a:pt x="1103" y="157"/>
                  </a:lnTo>
                  <a:lnTo>
                    <a:pt x="1103" y="157"/>
                  </a:lnTo>
                  <a:lnTo>
                    <a:pt x="1103" y="155"/>
                  </a:lnTo>
                  <a:lnTo>
                    <a:pt x="1101" y="155"/>
                  </a:lnTo>
                  <a:lnTo>
                    <a:pt x="1103" y="155"/>
                  </a:lnTo>
                  <a:lnTo>
                    <a:pt x="1103" y="153"/>
                  </a:lnTo>
                  <a:lnTo>
                    <a:pt x="1103" y="153"/>
                  </a:lnTo>
                  <a:lnTo>
                    <a:pt x="1103" y="151"/>
                  </a:lnTo>
                  <a:lnTo>
                    <a:pt x="1103" y="151"/>
                  </a:lnTo>
                  <a:lnTo>
                    <a:pt x="1099" y="147"/>
                  </a:lnTo>
                  <a:lnTo>
                    <a:pt x="1095" y="145"/>
                  </a:lnTo>
                  <a:lnTo>
                    <a:pt x="1091" y="145"/>
                  </a:lnTo>
                  <a:lnTo>
                    <a:pt x="1089" y="143"/>
                  </a:lnTo>
                  <a:lnTo>
                    <a:pt x="1085" y="143"/>
                  </a:lnTo>
                  <a:lnTo>
                    <a:pt x="1072" y="145"/>
                  </a:lnTo>
                  <a:lnTo>
                    <a:pt x="1064" y="145"/>
                  </a:lnTo>
                  <a:lnTo>
                    <a:pt x="1064" y="145"/>
                  </a:lnTo>
                  <a:lnTo>
                    <a:pt x="1062" y="147"/>
                  </a:lnTo>
                  <a:lnTo>
                    <a:pt x="1062" y="149"/>
                  </a:lnTo>
                  <a:lnTo>
                    <a:pt x="1062" y="151"/>
                  </a:lnTo>
                  <a:lnTo>
                    <a:pt x="1062" y="153"/>
                  </a:lnTo>
                  <a:lnTo>
                    <a:pt x="1062" y="153"/>
                  </a:lnTo>
                  <a:close/>
                  <a:moveTo>
                    <a:pt x="1177" y="287"/>
                  </a:moveTo>
                  <a:lnTo>
                    <a:pt x="1179" y="285"/>
                  </a:lnTo>
                  <a:lnTo>
                    <a:pt x="1179" y="285"/>
                  </a:lnTo>
                  <a:lnTo>
                    <a:pt x="1179" y="285"/>
                  </a:lnTo>
                  <a:lnTo>
                    <a:pt x="1177" y="283"/>
                  </a:lnTo>
                  <a:lnTo>
                    <a:pt x="1175" y="285"/>
                  </a:lnTo>
                  <a:lnTo>
                    <a:pt x="1173" y="287"/>
                  </a:lnTo>
                  <a:lnTo>
                    <a:pt x="1173" y="287"/>
                  </a:lnTo>
                  <a:lnTo>
                    <a:pt x="1173" y="287"/>
                  </a:lnTo>
                  <a:lnTo>
                    <a:pt x="1177" y="287"/>
                  </a:lnTo>
                  <a:close/>
                  <a:moveTo>
                    <a:pt x="4937" y="2389"/>
                  </a:moveTo>
                  <a:lnTo>
                    <a:pt x="4935" y="2389"/>
                  </a:lnTo>
                  <a:lnTo>
                    <a:pt x="4935" y="2389"/>
                  </a:lnTo>
                  <a:lnTo>
                    <a:pt x="4935" y="2391"/>
                  </a:lnTo>
                  <a:lnTo>
                    <a:pt x="4932" y="2393"/>
                  </a:lnTo>
                  <a:lnTo>
                    <a:pt x="4932" y="2393"/>
                  </a:lnTo>
                  <a:lnTo>
                    <a:pt x="4932" y="2393"/>
                  </a:lnTo>
                  <a:lnTo>
                    <a:pt x="4932" y="2393"/>
                  </a:lnTo>
                  <a:lnTo>
                    <a:pt x="4932" y="2393"/>
                  </a:lnTo>
                  <a:lnTo>
                    <a:pt x="4935" y="2393"/>
                  </a:lnTo>
                  <a:lnTo>
                    <a:pt x="4935" y="2393"/>
                  </a:lnTo>
                  <a:lnTo>
                    <a:pt x="4937" y="2395"/>
                  </a:lnTo>
                  <a:lnTo>
                    <a:pt x="4937" y="2395"/>
                  </a:lnTo>
                  <a:lnTo>
                    <a:pt x="4937" y="2393"/>
                  </a:lnTo>
                  <a:lnTo>
                    <a:pt x="4937" y="2393"/>
                  </a:lnTo>
                  <a:lnTo>
                    <a:pt x="4937" y="2391"/>
                  </a:lnTo>
                  <a:lnTo>
                    <a:pt x="4937" y="2391"/>
                  </a:lnTo>
                  <a:lnTo>
                    <a:pt x="4937" y="2391"/>
                  </a:lnTo>
                  <a:lnTo>
                    <a:pt x="4937" y="2391"/>
                  </a:lnTo>
                  <a:lnTo>
                    <a:pt x="4937" y="2389"/>
                  </a:lnTo>
                  <a:lnTo>
                    <a:pt x="4937" y="2389"/>
                  </a:lnTo>
                  <a:lnTo>
                    <a:pt x="4937" y="2389"/>
                  </a:lnTo>
                  <a:lnTo>
                    <a:pt x="4937" y="2389"/>
                  </a:lnTo>
                  <a:close/>
                  <a:moveTo>
                    <a:pt x="4914" y="661"/>
                  </a:moveTo>
                  <a:lnTo>
                    <a:pt x="4914" y="659"/>
                  </a:lnTo>
                  <a:lnTo>
                    <a:pt x="4914" y="655"/>
                  </a:lnTo>
                  <a:lnTo>
                    <a:pt x="4912" y="653"/>
                  </a:lnTo>
                  <a:lnTo>
                    <a:pt x="4912" y="653"/>
                  </a:lnTo>
                  <a:lnTo>
                    <a:pt x="4908" y="657"/>
                  </a:lnTo>
                  <a:lnTo>
                    <a:pt x="4902" y="657"/>
                  </a:lnTo>
                  <a:lnTo>
                    <a:pt x="4902" y="659"/>
                  </a:lnTo>
                  <a:lnTo>
                    <a:pt x="4902" y="659"/>
                  </a:lnTo>
                  <a:lnTo>
                    <a:pt x="4902" y="663"/>
                  </a:lnTo>
                  <a:lnTo>
                    <a:pt x="4899" y="665"/>
                  </a:lnTo>
                  <a:lnTo>
                    <a:pt x="4895" y="667"/>
                  </a:lnTo>
                  <a:lnTo>
                    <a:pt x="4897" y="667"/>
                  </a:lnTo>
                  <a:lnTo>
                    <a:pt x="4897" y="667"/>
                  </a:lnTo>
                  <a:lnTo>
                    <a:pt x="4897" y="669"/>
                  </a:lnTo>
                  <a:lnTo>
                    <a:pt x="4899" y="667"/>
                  </a:lnTo>
                  <a:lnTo>
                    <a:pt x="4904" y="663"/>
                  </a:lnTo>
                  <a:lnTo>
                    <a:pt x="4908" y="661"/>
                  </a:lnTo>
                  <a:lnTo>
                    <a:pt x="4914" y="661"/>
                  </a:lnTo>
                  <a:close/>
                  <a:moveTo>
                    <a:pt x="4943" y="1772"/>
                  </a:moveTo>
                  <a:lnTo>
                    <a:pt x="4945" y="1772"/>
                  </a:lnTo>
                  <a:lnTo>
                    <a:pt x="4945" y="1772"/>
                  </a:lnTo>
                  <a:lnTo>
                    <a:pt x="4947" y="1772"/>
                  </a:lnTo>
                  <a:lnTo>
                    <a:pt x="4945" y="1772"/>
                  </a:lnTo>
                  <a:lnTo>
                    <a:pt x="4945" y="1772"/>
                  </a:lnTo>
                  <a:lnTo>
                    <a:pt x="4945" y="1772"/>
                  </a:lnTo>
                  <a:lnTo>
                    <a:pt x="4943" y="1772"/>
                  </a:lnTo>
                  <a:close/>
                  <a:moveTo>
                    <a:pt x="4937" y="733"/>
                  </a:moveTo>
                  <a:lnTo>
                    <a:pt x="4932" y="731"/>
                  </a:lnTo>
                  <a:lnTo>
                    <a:pt x="4930" y="733"/>
                  </a:lnTo>
                  <a:lnTo>
                    <a:pt x="4930" y="733"/>
                  </a:lnTo>
                  <a:lnTo>
                    <a:pt x="4932" y="735"/>
                  </a:lnTo>
                  <a:lnTo>
                    <a:pt x="4935" y="735"/>
                  </a:lnTo>
                  <a:lnTo>
                    <a:pt x="4935" y="737"/>
                  </a:lnTo>
                  <a:lnTo>
                    <a:pt x="4935" y="737"/>
                  </a:lnTo>
                  <a:lnTo>
                    <a:pt x="4937" y="739"/>
                  </a:lnTo>
                  <a:lnTo>
                    <a:pt x="4939" y="741"/>
                  </a:lnTo>
                  <a:lnTo>
                    <a:pt x="4939" y="741"/>
                  </a:lnTo>
                  <a:lnTo>
                    <a:pt x="4939" y="741"/>
                  </a:lnTo>
                  <a:lnTo>
                    <a:pt x="4941" y="743"/>
                  </a:lnTo>
                  <a:lnTo>
                    <a:pt x="4943" y="746"/>
                  </a:lnTo>
                  <a:lnTo>
                    <a:pt x="4943" y="741"/>
                  </a:lnTo>
                  <a:lnTo>
                    <a:pt x="4941" y="741"/>
                  </a:lnTo>
                  <a:lnTo>
                    <a:pt x="4941" y="739"/>
                  </a:lnTo>
                  <a:lnTo>
                    <a:pt x="4939" y="739"/>
                  </a:lnTo>
                  <a:lnTo>
                    <a:pt x="4937" y="735"/>
                  </a:lnTo>
                  <a:lnTo>
                    <a:pt x="4937" y="733"/>
                  </a:lnTo>
                  <a:lnTo>
                    <a:pt x="4937" y="733"/>
                  </a:lnTo>
                  <a:lnTo>
                    <a:pt x="4937" y="733"/>
                  </a:lnTo>
                  <a:close/>
                  <a:moveTo>
                    <a:pt x="4941" y="1927"/>
                  </a:moveTo>
                  <a:lnTo>
                    <a:pt x="4945" y="1929"/>
                  </a:lnTo>
                  <a:lnTo>
                    <a:pt x="4945" y="1929"/>
                  </a:lnTo>
                  <a:lnTo>
                    <a:pt x="4947" y="1929"/>
                  </a:lnTo>
                  <a:lnTo>
                    <a:pt x="4947" y="1927"/>
                  </a:lnTo>
                  <a:lnTo>
                    <a:pt x="4947" y="1927"/>
                  </a:lnTo>
                  <a:lnTo>
                    <a:pt x="4947" y="1925"/>
                  </a:lnTo>
                  <a:lnTo>
                    <a:pt x="4945" y="1923"/>
                  </a:lnTo>
                  <a:lnTo>
                    <a:pt x="4943" y="1923"/>
                  </a:lnTo>
                  <a:lnTo>
                    <a:pt x="4941" y="1920"/>
                  </a:lnTo>
                  <a:lnTo>
                    <a:pt x="4941" y="1918"/>
                  </a:lnTo>
                  <a:lnTo>
                    <a:pt x="4937" y="1916"/>
                  </a:lnTo>
                  <a:lnTo>
                    <a:pt x="4935" y="1914"/>
                  </a:lnTo>
                  <a:lnTo>
                    <a:pt x="4932" y="1914"/>
                  </a:lnTo>
                  <a:lnTo>
                    <a:pt x="4930" y="1914"/>
                  </a:lnTo>
                  <a:lnTo>
                    <a:pt x="4930" y="1912"/>
                  </a:lnTo>
                  <a:lnTo>
                    <a:pt x="4930" y="1912"/>
                  </a:lnTo>
                  <a:lnTo>
                    <a:pt x="4928" y="1912"/>
                  </a:lnTo>
                  <a:lnTo>
                    <a:pt x="4926" y="1910"/>
                  </a:lnTo>
                  <a:lnTo>
                    <a:pt x="4924" y="1908"/>
                  </a:lnTo>
                  <a:lnTo>
                    <a:pt x="4924" y="1908"/>
                  </a:lnTo>
                  <a:lnTo>
                    <a:pt x="4924" y="1908"/>
                  </a:lnTo>
                  <a:lnTo>
                    <a:pt x="4924" y="1906"/>
                  </a:lnTo>
                  <a:lnTo>
                    <a:pt x="4924" y="1906"/>
                  </a:lnTo>
                  <a:lnTo>
                    <a:pt x="4922" y="1906"/>
                  </a:lnTo>
                  <a:lnTo>
                    <a:pt x="4922" y="1904"/>
                  </a:lnTo>
                  <a:lnTo>
                    <a:pt x="4920" y="1904"/>
                  </a:lnTo>
                  <a:lnTo>
                    <a:pt x="4918" y="1904"/>
                  </a:lnTo>
                  <a:lnTo>
                    <a:pt x="4914" y="1898"/>
                  </a:lnTo>
                  <a:lnTo>
                    <a:pt x="4910" y="1898"/>
                  </a:lnTo>
                  <a:lnTo>
                    <a:pt x="4910" y="1898"/>
                  </a:lnTo>
                  <a:lnTo>
                    <a:pt x="4908" y="1896"/>
                  </a:lnTo>
                  <a:lnTo>
                    <a:pt x="4906" y="1896"/>
                  </a:lnTo>
                  <a:lnTo>
                    <a:pt x="4906" y="1896"/>
                  </a:lnTo>
                  <a:lnTo>
                    <a:pt x="4906" y="1896"/>
                  </a:lnTo>
                  <a:lnTo>
                    <a:pt x="4906" y="1898"/>
                  </a:lnTo>
                  <a:lnTo>
                    <a:pt x="4906" y="1898"/>
                  </a:lnTo>
                  <a:lnTo>
                    <a:pt x="4908" y="1898"/>
                  </a:lnTo>
                  <a:lnTo>
                    <a:pt x="4908" y="1900"/>
                  </a:lnTo>
                  <a:lnTo>
                    <a:pt x="4908" y="1900"/>
                  </a:lnTo>
                  <a:lnTo>
                    <a:pt x="4910" y="1902"/>
                  </a:lnTo>
                  <a:lnTo>
                    <a:pt x="4910" y="1904"/>
                  </a:lnTo>
                  <a:lnTo>
                    <a:pt x="4912" y="1906"/>
                  </a:lnTo>
                  <a:lnTo>
                    <a:pt x="4912" y="1906"/>
                  </a:lnTo>
                  <a:lnTo>
                    <a:pt x="4914" y="1908"/>
                  </a:lnTo>
                  <a:lnTo>
                    <a:pt x="4916" y="1910"/>
                  </a:lnTo>
                  <a:lnTo>
                    <a:pt x="4918" y="1912"/>
                  </a:lnTo>
                  <a:lnTo>
                    <a:pt x="4918" y="1912"/>
                  </a:lnTo>
                  <a:lnTo>
                    <a:pt x="4922" y="1916"/>
                  </a:lnTo>
                  <a:lnTo>
                    <a:pt x="4924" y="1916"/>
                  </a:lnTo>
                  <a:lnTo>
                    <a:pt x="4924" y="1916"/>
                  </a:lnTo>
                  <a:lnTo>
                    <a:pt x="4928" y="1918"/>
                  </a:lnTo>
                  <a:lnTo>
                    <a:pt x="4930" y="1918"/>
                  </a:lnTo>
                  <a:lnTo>
                    <a:pt x="4930" y="1920"/>
                  </a:lnTo>
                  <a:lnTo>
                    <a:pt x="4932" y="1920"/>
                  </a:lnTo>
                  <a:lnTo>
                    <a:pt x="4935" y="1923"/>
                  </a:lnTo>
                  <a:lnTo>
                    <a:pt x="4935" y="1923"/>
                  </a:lnTo>
                  <a:lnTo>
                    <a:pt x="4935" y="1923"/>
                  </a:lnTo>
                  <a:lnTo>
                    <a:pt x="4937" y="1925"/>
                  </a:lnTo>
                  <a:lnTo>
                    <a:pt x="4937" y="1925"/>
                  </a:lnTo>
                  <a:lnTo>
                    <a:pt x="4939" y="1925"/>
                  </a:lnTo>
                  <a:lnTo>
                    <a:pt x="4939" y="1927"/>
                  </a:lnTo>
                  <a:lnTo>
                    <a:pt x="4941" y="1927"/>
                  </a:lnTo>
                  <a:lnTo>
                    <a:pt x="4941" y="1927"/>
                  </a:lnTo>
                  <a:lnTo>
                    <a:pt x="4941" y="1927"/>
                  </a:lnTo>
                  <a:close/>
                  <a:moveTo>
                    <a:pt x="4889" y="1530"/>
                  </a:moveTo>
                  <a:lnTo>
                    <a:pt x="4889" y="1532"/>
                  </a:lnTo>
                  <a:lnTo>
                    <a:pt x="4889" y="1532"/>
                  </a:lnTo>
                  <a:lnTo>
                    <a:pt x="4891" y="1532"/>
                  </a:lnTo>
                  <a:lnTo>
                    <a:pt x="4889" y="1530"/>
                  </a:lnTo>
                  <a:lnTo>
                    <a:pt x="4889" y="1530"/>
                  </a:lnTo>
                  <a:close/>
                  <a:moveTo>
                    <a:pt x="4866" y="1743"/>
                  </a:moveTo>
                  <a:lnTo>
                    <a:pt x="4866" y="1743"/>
                  </a:lnTo>
                  <a:lnTo>
                    <a:pt x="4866" y="1741"/>
                  </a:lnTo>
                  <a:lnTo>
                    <a:pt x="4866" y="1739"/>
                  </a:lnTo>
                  <a:lnTo>
                    <a:pt x="4864" y="1737"/>
                  </a:lnTo>
                  <a:lnTo>
                    <a:pt x="4864" y="1737"/>
                  </a:lnTo>
                  <a:lnTo>
                    <a:pt x="4864" y="1735"/>
                  </a:lnTo>
                  <a:lnTo>
                    <a:pt x="4864" y="1733"/>
                  </a:lnTo>
                  <a:lnTo>
                    <a:pt x="4862" y="1733"/>
                  </a:lnTo>
                  <a:lnTo>
                    <a:pt x="4862" y="1733"/>
                  </a:lnTo>
                  <a:lnTo>
                    <a:pt x="4860" y="1730"/>
                  </a:lnTo>
                  <a:lnTo>
                    <a:pt x="4860" y="1730"/>
                  </a:lnTo>
                  <a:lnTo>
                    <a:pt x="4862" y="1728"/>
                  </a:lnTo>
                  <a:lnTo>
                    <a:pt x="4862" y="1728"/>
                  </a:lnTo>
                  <a:lnTo>
                    <a:pt x="4858" y="1724"/>
                  </a:lnTo>
                  <a:lnTo>
                    <a:pt x="4858" y="1724"/>
                  </a:lnTo>
                  <a:lnTo>
                    <a:pt x="4858" y="1724"/>
                  </a:lnTo>
                  <a:lnTo>
                    <a:pt x="4856" y="1724"/>
                  </a:lnTo>
                  <a:lnTo>
                    <a:pt x="4856" y="1724"/>
                  </a:lnTo>
                  <a:lnTo>
                    <a:pt x="4856" y="1724"/>
                  </a:lnTo>
                  <a:lnTo>
                    <a:pt x="4858" y="1728"/>
                  </a:lnTo>
                  <a:lnTo>
                    <a:pt x="4856" y="1728"/>
                  </a:lnTo>
                  <a:lnTo>
                    <a:pt x="4858" y="1733"/>
                  </a:lnTo>
                  <a:lnTo>
                    <a:pt x="4860" y="1737"/>
                  </a:lnTo>
                  <a:lnTo>
                    <a:pt x="4862" y="1739"/>
                  </a:lnTo>
                  <a:lnTo>
                    <a:pt x="4862" y="1739"/>
                  </a:lnTo>
                  <a:lnTo>
                    <a:pt x="4864" y="1739"/>
                  </a:lnTo>
                  <a:lnTo>
                    <a:pt x="4866" y="1743"/>
                  </a:lnTo>
                  <a:lnTo>
                    <a:pt x="4866" y="1743"/>
                  </a:lnTo>
                  <a:close/>
                  <a:moveTo>
                    <a:pt x="4881" y="1759"/>
                  </a:moveTo>
                  <a:lnTo>
                    <a:pt x="4879" y="1755"/>
                  </a:lnTo>
                  <a:lnTo>
                    <a:pt x="4877" y="1755"/>
                  </a:lnTo>
                  <a:lnTo>
                    <a:pt x="4877" y="1755"/>
                  </a:lnTo>
                  <a:lnTo>
                    <a:pt x="4875" y="1755"/>
                  </a:lnTo>
                  <a:lnTo>
                    <a:pt x="4875" y="1755"/>
                  </a:lnTo>
                  <a:lnTo>
                    <a:pt x="4873" y="1753"/>
                  </a:lnTo>
                  <a:lnTo>
                    <a:pt x="4873" y="1753"/>
                  </a:lnTo>
                  <a:lnTo>
                    <a:pt x="4871" y="1753"/>
                  </a:lnTo>
                  <a:lnTo>
                    <a:pt x="4869" y="1751"/>
                  </a:lnTo>
                  <a:lnTo>
                    <a:pt x="4866" y="1751"/>
                  </a:lnTo>
                  <a:lnTo>
                    <a:pt x="4866" y="1751"/>
                  </a:lnTo>
                  <a:lnTo>
                    <a:pt x="4866" y="1753"/>
                  </a:lnTo>
                  <a:lnTo>
                    <a:pt x="4866" y="1753"/>
                  </a:lnTo>
                  <a:lnTo>
                    <a:pt x="4866" y="1753"/>
                  </a:lnTo>
                  <a:lnTo>
                    <a:pt x="4869" y="1753"/>
                  </a:lnTo>
                  <a:lnTo>
                    <a:pt x="4869" y="1755"/>
                  </a:lnTo>
                  <a:lnTo>
                    <a:pt x="4869" y="1755"/>
                  </a:lnTo>
                  <a:lnTo>
                    <a:pt x="4869" y="1757"/>
                  </a:lnTo>
                  <a:lnTo>
                    <a:pt x="4873" y="1759"/>
                  </a:lnTo>
                  <a:lnTo>
                    <a:pt x="4875" y="1759"/>
                  </a:lnTo>
                  <a:lnTo>
                    <a:pt x="4877" y="1759"/>
                  </a:lnTo>
                  <a:lnTo>
                    <a:pt x="4877" y="1759"/>
                  </a:lnTo>
                  <a:lnTo>
                    <a:pt x="4879" y="1759"/>
                  </a:lnTo>
                  <a:lnTo>
                    <a:pt x="4881" y="1759"/>
                  </a:lnTo>
                  <a:lnTo>
                    <a:pt x="4881" y="1759"/>
                  </a:lnTo>
                  <a:lnTo>
                    <a:pt x="4881" y="1759"/>
                  </a:lnTo>
                  <a:lnTo>
                    <a:pt x="4881" y="1759"/>
                  </a:lnTo>
                  <a:close/>
                  <a:moveTo>
                    <a:pt x="4852" y="1737"/>
                  </a:moveTo>
                  <a:lnTo>
                    <a:pt x="4852" y="1737"/>
                  </a:lnTo>
                  <a:lnTo>
                    <a:pt x="4852" y="1737"/>
                  </a:lnTo>
                  <a:lnTo>
                    <a:pt x="4852" y="1737"/>
                  </a:lnTo>
                  <a:lnTo>
                    <a:pt x="4852" y="1737"/>
                  </a:lnTo>
                  <a:lnTo>
                    <a:pt x="4854" y="1737"/>
                  </a:lnTo>
                  <a:lnTo>
                    <a:pt x="4852" y="1735"/>
                  </a:lnTo>
                  <a:lnTo>
                    <a:pt x="4852" y="1735"/>
                  </a:lnTo>
                  <a:lnTo>
                    <a:pt x="4850" y="1735"/>
                  </a:lnTo>
                  <a:lnTo>
                    <a:pt x="4850" y="1735"/>
                  </a:lnTo>
                  <a:lnTo>
                    <a:pt x="4848" y="1735"/>
                  </a:lnTo>
                  <a:lnTo>
                    <a:pt x="4850" y="1735"/>
                  </a:lnTo>
                  <a:lnTo>
                    <a:pt x="4850" y="1735"/>
                  </a:lnTo>
                  <a:lnTo>
                    <a:pt x="4852" y="1737"/>
                  </a:lnTo>
                  <a:close/>
                  <a:moveTo>
                    <a:pt x="4869" y="1743"/>
                  </a:moveTo>
                  <a:lnTo>
                    <a:pt x="4869" y="1745"/>
                  </a:lnTo>
                  <a:lnTo>
                    <a:pt x="4869" y="1745"/>
                  </a:lnTo>
                  <a:lnTo>
                    <a:pt x="4871" y="1745"/>
                  </a:lnTo>
                  <a:lnTo>
                    <a:pt x="4871" y="1745"/>
                  </a:lnTo>
                  <a:lnTo>
                    <a:pt x="4871" y="1743"/>
                  </a:lnTo>
                  <a:lnTo>
                    <a:pt x="4869" y="1739"/>
                  </a:lnTo>
                  <a:lnTo>
                    <a:pt x="4866" y="1739"/>
                  </a:lnTo>
                  <a:lnTo>
                    <a:pt x="4869" y="1741"/>
                  </a:lnTo>
                  <a:lnTo>
                    <a:pt x="4869" y="1741"/>
                  </a:lnTo>
                  <a:lnTo>
                    <a:pt x="4869" y="1743"/>
                  </a:lnTo>
                  <a:lnTo>
                    <a:pt x="4869" y="1743"/>
                  </a:lnTo>
                  <a:close/>
                  <a:moveTo>
                    <a:pt x="4963" y="1819"/>
                  </a:moveTo>
                  <a:lnTo>
                    <a:pt x="4963" y="1819"/>
                  </a:lnTo>
                  <a:lnTo>
                    <a:pt x="4963" y="1821"/>
                  </a:lnTo>
                  <a:lnTo>
                    <a:pt x="4963" y="1825"/>
                  </a:lnTo>
                  <a:lnTo>
                    <a:pt x="4963" y="1825"/>
                  </a:lnTo>
                  <a:lnTo>
                    <a:pt x="4963" y="1825"/>
                  </a:lnTo>
                  <a:lnTo>
                    <a:pt x="4963" y="1823"/>
                  </a:lnTo>
                  <a:lnTo>
                    <a:pt x="4963" y="1819"/>
                  </a:lnTo>
                  <a:close/>
                  <a:moveTo>
                    <a:pt x="4968" y="1861"/>
                  </a:moveTo>
                  <a:lnTo>
                    <a:pt x="4970" y="1861"/>
                  </a:lnTo>
                  <a:lnTo>
                    <a:pt x="4970" y="1859"/>
                  </a:lnTo>
                  <a:lnTo>
                    <a:pt x="4970" y="1859"/>
                  </a:lnTo>
                  <a:lnTo>
                    <a:pt x="4968" y="1856"/>
                  </a:lnTo>
                  <a:lnTo>
                    <a:pt x="4965" y="1856"/>
                  </a:lnTo>
                  <a:lnTo>
                    <a:pt x="4965" y="1856"/>
                  </a:lnTo>
                  <a:lnTo>
                    <a:pt x="4965" y="1856"/>
                  </a:lnTo>
                  <a:lnTo>
                    <a:pt x="4965" y="1856"/>
                  </a:lnTo>
                  <a:lnTo>
                    <a:pt x="4963" y="1859"/>
                  </a:lnTo>
                  <a:lnTo>
                    <a:pt x="4963" y="1859"/>
                  </a:lnTo>
                  <a:lnTo>
                    <a:pt x="4963" y="1861"/>
                  </a:lnTo>
                  <a:lnTo>
                    <a:pt x="4965" y="1859"/>
                  </a:lnTo>
                  <a:lnTo>
                    <a:pt x="4965" y="1859"/>
                  </a:lnTo>
                  <a:lnTo>
                    <a:pt x="4965" y="1861"/>
                  </a:lnTo>
                  <a:lnTo>
                    <a:pt x="4965" y="1861"/>
                  </a:lnTo>
                  <a:lnTo>
                    <a:pt x="4968" y="1861"/>
                  </a:lnTo>
                  <a:close/>
                  <a:moveTo>
                    <a:pt x="4968" y="1846"/>
                  </a:moveTo>
                  <a:lnTo>
                    <a:pt x="4965" y="1844"/>
                  </a:lnTo>
                  <a:lnTo>
                    <a:pt x="4965" y="1844"/>
                  </a:lnTo>
                  <a:lnTo>
                    <a:pt x="4965" y="1844"/>
                  </a:lnTo>
                  <a:lnTo>
                    <a:pt x="4963" y="1844"/>
                  </a:lnTo>
                  <a:lnTo>
                    <a:pt x="4963" y="1844"/>
                  </a:lnTo>
                  <a:lnTo>
                    <a:pt x="4963" y="1844"/>
                  </a:lnTo>
                  <a:lnTo>
                    <a:pt x="4963" y="1844"/>
                  </a:lnTo>
                  <a:lnTo>
                    <a:pt x="4963" y="1846"/>
                  </a:lnTo>
                  <a:lnTo>
                    <a:pt x="4963" y="1846"/>
                  </a:lnTo>
                  <a:lnTo>
                    <a:pt x="4965" y="1846"/>
                  </a:lnTo>
                  <a:lnTo>
                    <a:pt x="4965" y="1846"/>
                  </a:lnTo>
                  <a:lnTo>
                    <a:pt x="4968" y="1846"/>
                  </a:lnTo>
                  <a:lnTo>
                    <a:pt x="4968" y="1846"/>
                  </a:lnTo>
                  <a:lnTo>
                    <a:pt x="4968" y="1846"/>
                  </a:lnTo>
                  <a:lnTo>
                    <a:pt x="4968" y="1846"/>
                  </a:lnTo>
                  <a:close/>
                  <a:moveTo>
                    <a:pt x="4961" y="1838"/>
                  </a:moveTo>
                  <a:lnTo>
                    <a:pt x="4961" y="1838"/>
                  </a:lnTo>
                  <a:lnTo>
                    <a:pt x="4961" y="1838"/>
                  </a:lnTo>
                  <a:lnTo>
                    <a:pt x="4961" y="1840"/>
                  </a:lnTo>
                  <a:lnTo>
                    <a:pt x="4963" y="1840"/>
                  </a:lnTo>
                  <a:lnTo>
                    <a:pt x="4965" y="1840"/>
                  </a:lnTo>
                  <a:lnTo>
                    <a:pt x="4965" y="1840"/>
                  </a:lnTo>
                  <a:lnTo>
                    <a:pt x="4965" y="1838"/>
                  </a:lnTo>
                  <a:lnTo>
                    <a:pt x="4965" y="1838"/>
                  </a:lnTo>
                  <a:lnTo>
                    <a:pt x="4963" y="1836"/>
                  </a:lnTo>
                  <a:lnTo>
                    <a:pt x="4963" y="1836"/>
                  </a:lnTo>
                  <a:lnTo>
                    <a:pt x="4963" y="1838"/>
                  </a:lnTo>
                  <a:lnTo>
                    <a:pt x="4961" y="1838"/>
                  </a:lnTo>
                  <a:close/>
                  <a:moveTo>
                    <a:pt x="4961" y="1916"/>
                  </a:moveTo>
                  <a:lnTo>
                    <a:pt x="4961" y="1916"/>
                  </a:lnTo>
                  <a:lnTo>
                    <a:pt x="4961" y="1916"/>
                  </a:lnTo>
                  <a:lnTo>
                    <a:pt x="4963" y="1916"/>
                  </a:lnTo>
                  <a:lnTo>
                    <a:pt x="4963" y="1914"/>
                  </a:lnTo>
                  <a:lnTo>
                    <a:pt x="4963" y="1914"/>
                  </a:lnTo>
                  <a:lnTo>
                    <a:pt x="4961" y="1914"/>
                  </a:lnTo>
                  <a:lnTo>
                    <a:pt x="4961" y="1914"/>
                  </a:lnTo>
                  <a:lnTo>
                    <a:pt x="4961" y="1912"/>
                  </a:lnTo>
                  <a:lnTo>
                    <a:pt x="4961" y="1912"/>
                  </a:lnTo>
                  <a:lnTo>
                    <a:pt x="4961" y="1914"/>
                  </a:lnTo>
                  <a:lnTo>
                    <a:pt x="4959" y="1914"/>
                  </a:lnTo>
                  <a:lnTo>
                    <a:pt x="4959" y="1916"/>
                  </a:lnTo>
                  <a:lnTo>
                    <a:pt x="4959" y="1916"/>
                  </a:lnTo>
                  <a:lnTo>
                    <a:pt x="4961" y="1916"/>
                  </a:lnTo>
                  <a:close/>
                  <a:moveTo>
                    <a:pt x="4858" y="1745"/>
                  </a:moveTo>
                  <a:lnTo>
                    <a:pt x="4858" y="1745"/>
                  </a:lnTo>
                  <a:lnTo>
                    <a:pt x="4856" y="1743"/>
                  </a:lnTo>
                  <a:lnTo>
                    <a:pt x="4854" y="1741"/>
                  </a:lnTo>
                  <a:lnTo>
                    <a:pt x="4852" y="1741"/>
                  </a:lnTo>
                  <a:lnTo>
                    <a:pt x="4848" y="1741"/>
                  </a:lnTo>
                  <a:lnTo>
                    <a:pt x="4848" y="1741"/>
                  </a:lnTo>
                  <a:lnTo>
                    <a:pt x="4844" y="1739"/>
                  </a:lnTo>
                  <a:lnTo>
                    <a:pt x="4844" y="1739"/>
                  </a:lnTo>
                  <a:lnTo>
                    <a:pt x="4842" y="1739"/>
                  </a:lnTo>
                  <a:lnTo>
                    <a:pt x="4842" y="1739"/>
                  </a:lnTo>
                  <a:lnTo>
                    <a:pt x="4842" y="1741"/>
                  </a:lnTo>
                  <a:lnTo>
                    <a:pt x="4842" y="1741"/>
                  </a:lnTo>
                  <a:lnTo>
                    <a:pt x="4844" y="1743"/>
                  </a:lnTo>
                  <a:lnTo>
                    <a:pt x="4844" y="1745"/>
                  </a:lnTo>
                  <a:lnTo>
                    <a:pt x="4844" y="1745"/>
                  </a:lnTo>
                  <a:lnTo>
                    <a:pt x="4846" y="1745"/>
                  </a:lnTo>
                  <a:lnTo>
                    <a:pt x="4848" y="1745"/>
                  </a:lnTo>
                  <a:lnTo>
                    <a:pt x="4852" y="1745"/>
                  </a:lnTo>
                  <a:lnTo>
                    <a:pt x="4854" y="1747"/>
                  </a:lnTo>
                  <a:lnTo>
                    <a:pt x="4856" y="1747"/>
                  </a:lnTo>
                  <a:lnTo>
                    <a:pt x="4858" y="1747"/>
                  </a:lnTo>
                  <a:lnTo>
                    <a:pt x="4858" y="1747"/>
                  </a:lnTo>
                  <a:lnTo>
                    <a:pt x="4858" y="1747"/>
                  </a:lnTo>
                  <a:lnTo>
                    <a:pt x="4858" y="1745"/>
                  </a:lnTo>
                  <a:lnTo>
                    <a:pt x="4858" y="1745"/>
                  </a:lnTo>
                  <a:close/>
                  <a:moveTo>
                    <a:pt x="4947" y="1613"/>
                  </a:moveTo>
                  <a:lnTo>
                    <a:pt x="4947" y="1613"/>
                  </a:lnTo>
                  <a:lnTo>
                    <a:pt x="4947" y="1613"/>
                  </a:lnTo>
                  <a:lnTo>
                    <a:pt x="4947" y="1613"/>
                  </a:lnTo>
                  <a:lnTo>
                    <a:pt x="4947" y="1615"/>
                  </a:lnTo>
                  <a:lnTo>
                    <a:pt x="4947" y="1615"/>
                  </a:lnTo>
                  <a:lnTo>
                    <a:pt x="4947" y="1615"/>
                  </a:lnTo>
                  <a:lnTo>
                    <a:pt x="4947" y="1613"/>
                  </a:lnTo>
                  <a:close/>
                  <a:moveTo>
                    <a:pt x="4943" y="1817"/>
                  </a:moveTo>
                  <a:lnTo>
                    <a:pt x="4941" y="1815"/>
                  </a:lnTo>
                  <a:lnTo>
                    <a:pt x="4941" y="1815"/>
                  </a:lnTo>
                  <a:lnTo>
                    <a:pt x="4941" y="1817"/>
                  </a:lnTo>
                  <a:lnTo>
                    <a:pt x="4941" y="1817"/>
                  </a:lnTo>
                  <a:lnTo>
                    <a:pt x="4943" y="1823"/>
                  </a:lnTo>
                  <a:lnTo>
                    <a:pt x="4943" y="1825"/>
                  </a:lnTo>
                  <a:lnTo>
                    <a:pt x="4943" y="1828"/>
                  </a:lnTo>
                  <a:lnTo>
                    <a:pt x="4945" y="1828"/>
                  </a:lnTo>
                  <a:lnTo>
                    <a:pt x="4945" y="1830"/>
                  </a:lnTo>
                  <a:lnTo>
                    <a:pt x="4945" y="1830"/>
                  </a:lnTo>
                  <a:lnTo>
                    <a:pt x="4947" y="1828"/>
                  </a:lnTo>
                  <a:lnTo>
                    <a:pt x="4949" y="1828"/>
                  </a:lnTo>
                  <a:lnTo>
                    <a:pt x="4951" y="1828"/>
                  </a:lnTo>
                  <a:lnTo>
                    <a:pt x="4951" y="1828"/>
                  </a:lnTo>
                  <a:lnTo>
                    <a:pt x="4949" y="1825"/>
                  </a:lnTo>
                  <a:lnTo>
                    <a:pt x="4949" y="1821"/>
                  </a:lnTo>
                  <a:lnTo>
                    <a:pt x="4949" y="1821"/>
                  </a:lnTo>
                  <a:lnTo>
                    <a:pt x="4949" y="1821"/>
                  </a:lnTo>
                  <a:lnTo>
                    <a:pt x="4949" y="1819"/>
                  </a:lnTo>
                  <a:lnTo>
                    <a:pt x="4949" y="1819"/>
                  </a:lnTo>
                  <a:lnTo>
                    <a:pt x="4947" y="1819"/>
                  </a:lnTo>
                  <a:lnTo>
                    <a:pt x="4947" y="1819"/>
                  </a:lnTo>
                  <a:lnTo>
                    <a:pt x="4947" y="1821"/>
                  </a:lnTo>
                  <a:lnTo>
                    <a:pt x="4947" y="1821"/>
                  </a:lnTo>
                  <a:lnTo>
                    <a:pt x="4945" y="1823"/>
                  </a:lnTo>
                  <a:lnTo>
                    <a:pt x="4945" y="1823"/>
                  </a:lnTo>
                  <a:lnTo>
                    <a:pt x="4943" y="1817"/>
                  </a:lnTo>
                  <a:lnTo>
                    <a:pt x="4943" y="1817"/>
                  </a:lnTo>
                  <a:close/>
                  <a:moveTo>
                    <a:pt x="4945" y="1448"/>
                  </a:moveTo>
                  <a:lnTo>
                    <a:pt x="4947" y="1448"/>
                  </a:lnTo>
                  <a:lnTo>
                    <a:pt x="4945" y="1448"/>
                  </a:lnTo>
                  <a:lnTo>
                    <a:pt x="4945" y="1448"/>
                  </a:lnTo>
                  <a:lnTo>
                    <a:pt x="4945" y="1448"/>
                  </a:lnTo>
                  <a:lnTo>
                    <a:pt x="4945" y="1448"/>
                  </a:lnTo>
                  <a:lnTo>
                    <a:pt x="4945" y="1448"/>
                  </a:lnTo>
                  <a:close/>
                  <a:moveTo>
                    <a:pt x="4963" y="1830"/>
                  </a:moveTo>
                  <a:lnTo>
                    <a:pt x="4963" y="1834"/>
                  </a:lnTo>
                  <a:lnTo>
                    <a:pt x="4963" y="1834"/>
                  </a:lnTo>
                  <a:lnTo>
                    <a:pt x="4965" y="1834"/>
                  </a:lnTo>
                  <a:lnTo>
                    <a:pt x="4965" y="1834"/>
                  </a:lnTo>
                  <a:lnTo>
                    <a:pt x="4965" y="1834"/>
                  </a:lnTo>
                  <a:lnTo>
                    <a:pt x="4963" y="1828"/>
                  </a:lnTo>
                  <a:lnTo>
                    <a:pt x="4963" y="1828"/>
                  </a:lnTo>
                  <a:lnTo>
                    <a:pt x="4963" y="1830"/>
                  </a:lnTo>
                  <a:close/>
                  <a:moveTo>
                    <a:pt x="4817" y="1726"/>
                  </a:moveTo>
                  <a:lnTo>
                    <a:pt x="4817" y="1724"/>
                  </a:lnTo>
                  <a:lnTo>
                    <a:pt x="4815" y="1724"/>
                  </a:lnTo>
                  <a:lnTo>
                    <a:pt x="4815" y="1722"/>
                  </a:lnTo>
                  <a:lnTo>
                    <a:pt x="4813" y="1722"/>
                  </a:lnTo>
                  <a:lnTo>
                    <a:pt x="4813" y="1720"/>
                  </a:lnTo>
                  <a:lnTo>
                    <a:pt x="4811" y="1720"/>
                  </a:lnTo>
                  <a:lnTo>
                    <a:pt x="4811" y="1720"/>
                  </a:lnTo>
                  <a:lnTo>
                    <a:pt x="4809" y="1722"/>
                  </a:lnTo>
                  <a:lnTo>
                    <a:pt x="4809" y="1722"/>
                  </a:lnTo>
                  <a:lnTo>
                    <a:pt x="4809" y="1722"/>
                  </a:lnTo>
                  <a:lnTo>
                    <a:pt x="4809" y="1724"/>
                  </a:lnTo>
                  <a:lnTo>
                    <a:pt x="4809" y="1724"/>
                  </a:lnTo>
                  <a:lnTo>
                    <a:pt x="4809" y="1724"/>
                  </a:lnTo>
                  <a:lnTo>
                    <a:pt x="4809" y="1724"/>
                  </a:lnTo>
                  <a:lnTo>
                    <a:pt x="4813" y="1724"/>
                  </a:lnTo>
                  <a:lnTo>
                    <a:pt x="4813" y="1724"/>
                  </a:lnTo>
                  <a:lnTo>
                    <a:pt x="4813" y="1724"/>
                  </a:lnTo>
                  <a:lnTo>
                    <a:pt x="4813" y="1726"/>
                  </a:lnTo>
                  <a:lnTo>
                    <a:pt x="4815" y="1726"/>
                  </a:lnTo>
                  <a:lnTo>
                    <a:pt x="4815" y="1726"/>
                  </a:lnTo>
                  <a:lnTo>
                    <a:pt x="4817" y="1728"/>
                  </a:lnTo>
                  <a:lnTo>
                    <a:pt x="4817" y="1728"/>
                  </a:lnTo>
                  <a:lnTo>
                    <a:pt x="4817" y="1728"/>
                  </a:lnTo>
                  <a:lnTo>
                    <a:pt x="4817" y="1726"/>
                  </a:lnTo>
                  <a:close/>
                  <a:moveTo>
                    <a:pt x="4809" y="1710"/>
                  </a:moveTo>
                  <a:lnTo>
                    <a:pt x="4809" y="1710"/>
                  </a:lnTo>
                  <a:lnTo>
                    <a:pt x="4809" y="1710"/>
                  </a:lnTo>
                  <a:lnTo>
                    <a:pt x="4809" y="1712"/>
                  </a:lnTo>
                  <a:lnTo>
                    <a:pt x="4811" y="1712"/>
                  </a:lnTo>
                  <a:lnTo>
                    <a:pt x="4813" y="1710"/>
                  </a:lnTo>
                  <a:lnTo>
                    <a:pt x="4811" y="1710"/>
                  </a:lnTo>
                  <a:lnTo>
                    <a:pt x="4811" y="1710"/>
                  </a:lnTo>
                  <a:lnTo>
                    <a:pt x="4811" y="1710"/>
                  </a:lnTo>
                  <a:lnTo>
                    <a:pt x="4809" y="1710"/>
                  </a:lnTo>
                  <a:lnTo>
                    <a:pt x="4807" y="1708"/>
                  </a:lnTo>
                  <a:lnTo>
                    <a:pt x="4807" y="1708"/>
                  </a:lnTo>
                  <a:lnTo>
                    <a:pt x="4807" y="1706"/>
                  </a:lnTo>
                  <a:lnTo>
                    <a:pt x="4805" y="1704"/>
                  </a:lnTo>
                  <a:lnTo>
                    <a:pt x="4800" y="1702"/>
                  </a:lnTo>
                  <a:lnTo>
                    <a:pt x="4798" y="1702"/>
                  </a:lnTo>
                  <a:lnTo>
                    <a:pt x="4796" y="1700"/>
                  </a:lnTo>
                  <a:lnTo>
                    <a:pt x="4796" y="1700"/>
                  </a:lnTo>
                  <a:lnTo>
                    <a:pt x="4796" y="1702"/>
                  </a:lnTo>
                  <a:lnTo>
                    <a:pt x="4798" y="1702"/>
                  </a:lnTo>
                  <a:lnTo>
                    <a:pt x="4800" y="1704"/>
                  </a:lnTo>
                  <a:lnTo>
                    <a:pt x="4803" y="1708"/>
                  </a:lnTo>
                  <a:lnTo>
                    <a:pt x="4807" y="1710"/>
                  </a:lnTo>
                  <a:lnTo>
                    <a:pt x="4809" y="1710"/>
                  </a:lnTo>
                  <a:close/>
                  <a:moveTo>
                    <a:pt x="4813" y="1730"/>
                  </a:moveTo>
                  <a:lnTo>
                    <a:pt x="4813" y="1730"/>
                  </a:lnTo>
                  <a:lnTo>
                    <a:pt x="4811" y="1730"/>
                  </a:lnTo>
                  <a:lnTo>
                    <a:pt x="4811" y="1730"/>
                  </a:lnTo>
                  <a:lnTo>
                    <a:pt x="4813" y="1730"/>
                  </a:lnTo>
                  <a:lnTo>
                    <a:pt x="4815" y="1730"/>
                  </a:lnTo>
                  <a:lnTo>
                    <a:pt x="4815" y="1730"/>
                  </a:lnTo>
                  <a:lnTo>
                    <a:pt x="4813" y="1730"/>
                  </a:lnTo>
                  <a:lnTo>
                    <a:pt x="4813" y="1730"/>
                  </a:lnTo>
                  <a:close/>
                  <a:moveTo>
                    <a:pt x="4811" y="1728"/>
                  </a:moveTo>
                  <a:lnTo>
                    <a:pt x="4811" y="1726"/>
                  </a:lnTo>
                  <a:lnTo>
                    <a:pt x="4811" y="1726"/>
                  </a:lnTo>
                  <a:lnTo>
                    <a:pt x="4809" y="1726"/>
                  </a:lnTo>
                  <a:lnTo>
                    <a:pt x="4809" y="1726"/>
                  </a:lnTo>
                  <a:lnTo>
                    <a:pt x="4809" y="1728"/>
                  </a:lnTo>
                  <a:lnTo>
                    <a:pt x="4809" y="1730"/>
                  </a:lnTo>
                  <a:lnTo>
                    <a:pt x="4811" y="1730"/>
                  </a:lnTo>
                  <a:lnTo>
                    <a:pt x="4811" y="1730"/>
                  </a:lnTo>
                  <a:lnTo>
                    <a:pt x="4809" y="1728"/>
                  </a:lnTo>
                  <a:lnTo>
                    <a:pt x="4809" y="1728"/>
                  </a:lnTo>
                  <a:lnTo>
                    <a:pt x="4811" y="1728"/>
                  </a:lnTo>
                  <a:close/>
                  <a:moveTo>
                    <a:pt x="4798" y="1720"/>
                  </a:moveTo>
                  <a:lnTo>
                    <a:pt x="4798" y="1720"/>
                  </a:lnTo>
                  <a:lnTo>
                    <a:pt x="4798" y="1720"/>
                  </a:lnTo>
                  <a:lnTo>
                    <a:pt x="4798" y="1722"/>
                  </a:lnTo>
                  <a:lnTo>
                    <a:pt x="4798" y="1722"/>
                  </a:lnTo>
                  <a:lnTo>
                    <a:pt x="4798" y="1722"/>
                  </a:lnTo>
                  <a:lnTo>
                    <a:pt x="4798" y="1720"/>
                  </a:lnTo>
                  <a:lnTo>
                    <a:pt x="4798" y="1720"/>
                  </a:lnTo>
                  <a:close/>
                  <a:moveTo>
                    <a:pt x="4807" y="1718"/>
                  </a:moveTo>
                  <a:lnTo>
                    <a:pt x="4807" y="1718"/>
                  </a:lnTo>
                  <a:lnTo>
                    <a:pt x="4805" y="1718"/>
                  </a:lnTo>
                  <a:lnTo>
                    <a:pt x="4805" y="1718"/>
                  </a:lnTo>
                  <a:lnTo>
                    <a:pt x="4805" y="1720"/>
                  </a:lnTo>
                  <a:lnTo>
                    <a:pt x="4805" y="1722"/>
                  </a:lnTo>
                  <a:lnTo>
                    <a:pt x="4807" y="1722"/>
                  </a:lnTo>
                  <a:lnTo>
                    <a:pt x="4807" y="1722"/>
                  </a:lnTo>
                  <a:lnTo>
                    <a:pt x="4807" y="1720"/>
                  </a:lnTo>
                  <a:lnTo>
                    <a:pt x="4807" y="1720"/>
                  </a:lnTo>
                  <a:lnTo>
                    <a:pt x="4807" y="1718"/>
                  </a:lnTo>
                  <a:lnTo>
                    <a:pt x="4807" y="1718"/>
                  </a:lnTo>
                  <a:close/>
                  <a:moveTo>
                    <a:pt x="4800" y="1714"/>
                  </a:moveTo>
                  <a:lnTo>
                    <a:pt x="4798" y="1714"/>
                  </a:lnTo>
                  <a:lnTo>
                    <a:pt x="4798" y="1714"/>
                  </a:lnTo>
                  <a:lnTo>
                    <a:pt x="4798" y="1716"/>
                  </a:lnTo>
                  <a:lnTo>
                    <a:pt x="4798" y="1718"/>
                  </a:lnTo>
                  <a:lnTo>
                    <a:pt x="4798" y="1718"/>
                  </a:lnTo>
                  <a:lnTo>
                    <a:pt x="4800" y="1718"/>
                  </a:lnTo>
                  <a:lnTo>
                    <a:pt x="4800" y="1718"/>
                  </a:lnTo>
                  <a:lnTo>
                    <a:pt x="4800" y="1718"/>
                  </a:lnTo>
                  <a:lnTo>
                    <a:pt x="4800" y="1718"/>
                  </a:lnTo>
                  <a:lnTo>
                    <a:pt x="4803" y="1716"/>
                  </a:lnTo>
                  <a:lnTo>
                    <a:pt x="4803" y="1716"/>
                  </a:lnTo>
                  <a:lnTo>
                    <a:pt x="4800" y="1716"/>
                  </a:lnTo>
                  <a:lnTo>
                    <a:pt x="4800" y="1714"/>
                  </a:lnTo>
                  <a:close/>
                  <a:moveTo>
                    <a:pt x="4788" y="1697"/>
                  </a:moveTo>
                  <a:lnTo>
                    <a:pt x="4788" y="1697"/>
                  </a:lnTo>
                  <a:lnTo>
                    <a:pt x="4786" y="1695"/>
                  </a:lnTo>
                  <a:lnTo>
                    <a:pt x="4786" y="1695"/>
                  </a:lnTo>
                  <a:lnTo>
                    <a:pt x="4784" y="1693"/>
                  </a:lnTo>
                  <a:lnTo>
                    <a:pt x="4784" y="1693"/>
                  </a:lnTo>
                  <a:lnTo>
                    <a:pt x="4782" y="1693"/>
                  </a:lnTo>
                  <a:lnTo>
                    <a:pt x="4782" y="1691"/>
                  </a:lnTo>
                  <a:lnTo>
                    <a:pt x="4780" y="1691"/>
                  </a:lnTo>
                  <a:lnTo>
                    <a:pt x="4780" y="1689"/>
                  </a:lnTo>
                  <a:lnTo>
                    <a:pt x="4780" y="1689"/>
                  </a:lnTo>
                  <a:lnTo>
                    <a:pt x="4780" y="1689"/>
                  </a:lnTo>
                  <a:lnTo>
                    <a:pt x="4778" y="1685"/>
                  </a:lnTo>
                  <a:lnTo>
                    <a:pt x="4776" y="1685"/>
                  </a:lnTo>
                  <a:lnTo>
                    <a:pt x="4774" y="1685"/>
                  </a:lnTo>
                  <a:lnTo>
                    <a:pt x="4774" y="1685"/>
                  </a:lnTo>
                  <a:lnTo>
                    <a:pt x="4774" y="1683"/>
                  </a:lnTo>
                  <a:lnTo>
                    <a:pt x="4772" y="1683"/>
                  </a:lnTo>
                  <a:lnTo>
                    <a:pt x="4772" y="1685"/>
                  </a:lnTo>
                  <a:lnTo>
                    <a:pt x="4772" y="1687"/>
                  </a:lnTo>
                  <a:lnTo>
                    <a:pt x="4772" y="1689"/>
                  </a:lnTo>
                  <a:lnTo>
                    <a:pt x="4774" y="1691"/>
                  </a:lnTo>
                  <a:lnTo>
                    <a:pt x="4774" y="1691"/>
                  </a:lnTo>
                  <a:lnTo>
                    <a:pt x="4774" y="1693"/>
                  </a:lnTo>
                  <a:lnTo>
                    <a:pt x="4776" y="1693"/>
                  </a:lnTo>
                  <a:lnTo>
                    <a:pt x="4776" y="1695"/>
                  </a:lnTo>
                  <a:lnTo>
                    <a:pt x="4778" y="1695"/>
                  </a:lnTo>
                  <a:lnTo>
                    <a:pt x="4780" y="1695"/>
                  </a:lnTo>
                  <a:lnTo>
                    <a:pt x="4780" y="1697"/>
                  </a:lnTo>
                  <a:lnTo>
                    <a:pt x="4780" y="1700"/>
                  </a:lnTo>
                  <a:lnTo>
                    <a:pt x="4780" y="1700"/>
                  </a:lnTo>
                  <a:lnTo>
                    <a:pt x="4782" y="1702"/>
                  </a:lnTo>
                  <a:lnTo>
                    <a:pt x="4782" y="1702"/>
                  </a:lnTo>
                  <a:lnTo>
                    <a:pt x="4784" y="1704"/>
                  </a:lnTo>
                  <a:lnTo>
                    <a:pt x="4786" y="1704"/>
                  </a:lnTo>
                  <a:lnTo>
                    <a:pt x="4786" y="1704"/>
                  </a:lnTo>
                  <a:lnTo>
                    <a:pt x="4788" y="1704"/>
                  </a:lnTo>
                  <a:lnTo>
                    <a:pt x="4788" y="1704"/>
                  </a:lnTo>
                  <a:lnTo>
                    <a:pt x="4788" y="1702"/>
                  </a:lnTo>
                  <a:lnTo>
                    <a:pt x="4790" y="1704"/>
                  </a:lnTo>
                  <a:lnTo>
                    <a:pt x="4790" y="1702"/>
                  </a:lnTo>
                  <a:lnTo>
                    <a:pt x="4790" y="1702"/>
                  </a:lnTo>
                  <a:lnTo>
                    <a:pt x="4790" y="1700"/>
                  </a:lnTo>
                  <a:lnTo>
                    <a:pt x="4788" y="1697"/>
                  </a:lnTo>
                  <a:close/>
                  <a:moveTo>
                    <a:pt x="4798" y="818"/>
                  </a:moveTo>
                  <a:lnTo>
                    <a:pt x="4796" y="818"/>
                  </a:lnTo>
                  <a:lnTo>
                    <a:pt x="4796" y="818"/>
                  </a:lnTo>
                  <a:lnTo>
                    <a:pt x="4794" y="820"/>
                  </a:lnTo>
                  <a:lnTo>
                    <a:pt x="4792" y="820"/>
                  </a:lnTo>
                  <a:lnTo>
                    <a:pt x="4794" y="822"/>
                  </a:lnTo>
                  <a:lnTo>
                    <a:pt x="4794" y="822"/>
                  </a:lnTo>
                  <a:lnTo>
                    <a:pt x="4796" y="822"/>
                  </a:lnTo>
                  <a:lnTo>
                    <a:pt x="4796" y="822"/>
                  </a:lnTo>
                  <a:lnTo>
                    <a:pt x="4796" y="820"/>
                  </a:lnTo>
                  <a:lnTo>
                    <a:pt x="4798" y="818"/>
                  </a:lnTo>
                  <a:close/>
                  <a:moveTo>
                    <a:pt x="4854" y="1772"/>
                  </a:moveTo>
                  <a:lnTo>
                    <a:pt x="4848" y="1770"/>
                  </a:lnTo>
                  <a:lnTo>
                    <a:pt x="4848" y="1770"/>
                  </a:lnTo>
                  <a:lnTo>
                    <a:pt x="4848" y="1770"/>
                  </a:lnTo>
                  <a:lnTo>
                    <a:pt x="4848" y="1770"/>
                  </a:lnTo>
                  <a:lnTo>
                    <a:pt x="4848" y="1772"/>
                  </a:lnTo>
                  <a:lnTo>
                    <a:pt x="4848" y="1772"/>
                  </a:lnTo>
                  <a:lnTo>
                    <a:pt x="4850" y="1772"/>
                  </a:lnTo>
                  <a:lnTo>
                    <a:pt x="4850" y="1772"/>
                  </a:lnTo>
                  <a:lnTo>
                    <a:pt x="4852" y="1772"/>
                  </a:lnTo>
                  <a:lnTo>
                    <a:pt x="4852" y="1774"/>
                  </a:lnTo>
                  <a:lnTo>
                    <a:pt x="4854" y="1774"/>
                  </a:lnTo>
                  <a:lnTo>
                    <a:pt x="4854" y="1774"/>
                  </a:lnTo>
                  <a:lnTo>
                    <a:pt x="4854" y="1774"/>
                  </a:lnTo>
                  <a:lnTo>
                    <a:pt x="4856" y="1774"/>
                  </a:lnTo>
                  <a:lnTo>
                    <a:pt x="4856" y="1774"/>
                  </a:lnTo>
                  <a:lnTo>
                    <a:pt x="4854" y="1772"/>
                  </a:lnTo>
                  <a:close/>
                  <a:moveTo>
                    <a:pt x="4784" y="820"/>
                  </a:moveTo>
                  <a:lnTo>
                    <a:pt x="4786" y="818"/>
                  </a:lnTo>
                  <a:lnTo>
                    <a:pt x="4786" y="818"/>
                  </a:lnTo>
                  <a:lnTo>
                    <a:pt x="4786" y="818"/>
                  </a:lnTo>
                  <a:lnTo>
                    <a:pt x="4784" y="816"/>
                  </a:lnTo>
                  <a:lnTo>
                    <a:pt x="4782" y="818"/>
                  </a:lnTo>
                  <a:lnTo>
                    <a:pt x="4784" y="818"/>
                  </a:lnTo>
                  <a:lnTo>
                    <a:pt x="4784" y="818"/>
                  </a:lnTo>
                  <a:lnTo>
                    <a:pt x="4784" y="820"/>
                  </a:lnTo>
                  <a:close/>
                  <a:moveTo>
                    <a:pt x="4790" y="820"/>
                  </a:moveTo>
                  <a:lnTo>
                    <a:pt x="4788" y="822"/>
                  </a:lnTo>
                  <a:lnTo>
                    <a:pt x="4788" y="826"/>
                  </a:lnTo>
                  <a:lnTo>
                    <a:pt x="4786" y="826"/>
                  </a:lnTo>
                  <a:lnTo>
                    <a:pt x="4782" y="828"/>
                  </a:lnTo>
                  <a:lnTo>
                    <a:pt x="4780" y="828"/>
                  </a:lnTo>
                  <a:lnTo>
                    <a:pt x="4780" y="828"/>
                  </a:lnTo>
                  <a:lnTo>
                    <a:pt x="4780" y="828"/>
                  </a:lnTo>
                  <a:lnTo>
                    <a:pt x="4780" y="830"/>
                  </a:lnTo>
                  <a:lnTo>
                    <a:pt x="4780" y="832"/>
                  </a:lnTo>
                  <a:lnTo>
                    <a:pt x="4780" y="832"/>
                  </a:lnTo>
                  <a:lnTo>
                    <a:pt x="4782" y="832"/>
                  </a:lnTo>
                  <a:lnTo>
                    <a:pt x="4782" y="832"/>
                  </a:lnTo>
                  <a:lnTo>
                    <a:pt x="4784" y="832"/>
                  </a:lnTo>
                  <a:lnTo>
                    <a:pt x="4784" y="830"/>
                  </a:lnTo>
                  <a:lnTo>
                    <a:pt x="4788" y="830"/>
                  </a:lnTo>
                  <a:lnTo>
                    <a:pt x="4790" y="828"/>
                  </a:lnTo>
                  <a:lnTo>
                    <a:pt x="4790" y="826"/>
                  </a:lnTo>
                  <a:lnTo>
                    <a:pt x="4792" y="824"/>
                  </a:lnTo>
                  <a:lnTo>
                    <a:pt x="4792" y="822"/>
                  </a:lnTo>
                  <a:lnTo>
                    <a:pt x="4792" y="820"/>
                  </a:lnTo>
                  <a:lnTo>
                    <a:pt x="4790" y="820"/>
                  </a:lnTo>
                  <a:close/>
                  <a:moveTo>
                    <a:pt x="4844" y="1726"/>
                  </a:moveTo>
                  <a:lnTo>
                    <a:pt x="4846" y="1728"/>
                  </a:lnTo>
                  <a:lnTo>
                    <a:pt x="4846" y="1728"/>
                  </a:lnTo>
                  <a:lnTo>
                    <a:pt x="4846" y="1726"/>
                  </a:lnTo>
                  <a:lnTo>
                    <a:pt x="4844" y="1726"/>
                  </a:lnTo>
                  <a:lnTo>
                    <a:pt x="4846" y="1724"/>
                  </a:lnTo>
                  <a:lnTo>
                    <a:pt x="4840" y="1720"/>
                  </a:lnTo>
                  <a:lnTo>
                    <a:pt x="4838" y="1720"/>
                  </a:lnTo>
                  <a:lnTo>
                    <a:pt x="4838" y="1720"/>
                  </a:lnTo>
                  <a:lnTo>
                    <a:pt x="4836" y="1718"/>
                  </a:lnTo>
                  <a:lnTo>
                    <a:pt x="4836" y="1718"/>
                  </a:lnTo>
                  <a:lnTo>
                    <a:pt x="4833" y="1718"/>
                  </a:lnTo>
                  <a:lnTo>
                    <a:pt x="4833" y="1716"/>
                  </a:lnTo>
                  <a:lnTo>
                    <a:pt x="4831" y="1716"/>
                  </a:lnTo>
                  <a:lnTo>
                    <a:pt x="4829" y="1714"/>
                  </a:lnTo>
                  <a:lnTo>
                    <a:pt x="4825" y="1714"/>
                  </a:lnTo>
                  <a:lnTo>
                    <a:pt x="4825" y="1714"/>
                  </a:lnTo>
                  <a:lnTo>
                    <a:pt x="4827" y="1714"/>
                  </a:lnTo>
                  <a:lnTo>
                    <a:pt x="4827" y="1716"/>
                  </a:lnTo>
                  <a:lnTo>
                    <a:pt x="4829" y="1718"/>
                  </a:lnTo>
                  <a:lnTo>
                    <a:pt x="4829" y="1718"/>
                  </a:lnTo>
                  <a:lnTo>
                    <a:pt x="4831" y="1718"/>
                  </a:lnTo>
                  <a:lnTo>
                    <a:pt x="4831" y="1720"/>
                  </a:lnTo>
                  <a:lnTo>
                    <a:pt x="4833" y="1720"/>
                  </a:lnTo>
                  <a:lnTo>
                    <a:pt x="4836" y="1722"/>
                  </a:lnTo>
                  <a:lnTo>
                    <a:pt x="4838" y="1722"/>
                  </a:lnTo>
                  <a:lnTo>
                    <a:pt x="4838" y="1722"/>
                  </a:lnTo>
                  <a:lnTo>
                    <a:pt x="4838" y="1724"/>
                  </a:lnTo>
                  <a:lnTo>
                    <a:pt x="4842" y="1724"/>
                  </a:lnTo>
                  <a:lnTo>
                    <a:pt x="4844" y="1726"/>
                  </a:lnTo>
                  <a:close/>
                  <a:moveTo>
                    <a:pt x="4786" y="1706"/>
                  </a:moveTo>
                  <a:lnTo>
                    <a:pt x="4786" y="1708"/>
                  </a:lnTo>
                  <a:lnTo>
                    <a:pt x="4786" y="1708"/>
                  </a:lnTo>
                  <a:lnTo>
                    <a:pt x="4788" y="1708"/>
                  </a:lnTo>
                  <a:lnTo>
                    <a:pt x="4788" y="1706"/>
                  </a:lnTo>
                  <a:lnTo>
                    <a:pt x="4786" y="1706"/>
                  </a:lnTo>
                  <a:lnTo>
                    <a:pt x="4786" y="1706"/>
                  </a:lnTo>
                  <a:close/>
                  <a:moveTo>
                    <a:pt x="4844" y="1726"/>
                  </a:moveTo>
                  <a:lnTo>
                    <a:pt x="4842" y="1726"/>
                  </a:lnTo>
                  <a:lnTo>
                    <a:pt x="4842" y="1726"/>
                  </a:lnTo>
                  <a:lnTo>
                    <a:pt x="4842" y="1724"/>
                  </a:lnTo>
                  <a:lnTo>
                    <a:pt x="4842" y="1726"/>
                  </a:lnTo>
                  <a:lnTo>
                    <a:pt x="4842" y="1726"/>
                  </a:lnTo>
                  <a:lnTo>
                    <a:pt x="4842" y="1726"/>
                  </a:lnTo>
                  <a:lnTo>
                    <a:pt x="4842" y="1726"/>
                  </a:lnTo>
                  <a:lnTo>
                    <a:pt x="4844" y="1726"/>
                  </a:lnTo>
                  <a:close/>
                  <a:moveTo>
                    <a:pt x="4846" y="1881"/>
                  </a:moveTo>
                  <a:lnTo>
                    <a:pt x="4846" y="1883"/>
                  </a:lnTo>
                  <a:lnTo>
                    <a:pt x="4846" y="1883"/>
                  </a:lnTo>
                  <a:lnTo>
                    <a:pt x="4848" y="1881"/>
                  </a:lnTo>
                  <a:lnTo>
                    <a:pt x="4848" y="1879"/>
                  </a:lnTo>
                  <a:lnTo>
                    <a:pt x="4846" y="1881"/>
                  </a:lnTo>
                  <a:close/>
                  <a:moveTo>
                    <a:pt x="4821" y="1728"/>
                  </a:moveTo>
                  <a:lnTo>
                    <a:pt x="4819" y="1726"/>
                  </a:lnTo>
                  <a:lnTo>
                    <a:pt x="4819" y="1728"/>
                  </a:lnTo>
                  <a:lnTo>
                    <a:pt x="4819" y="1728"/>
                  </a:lnTo>
                  <a:lnTo>
                    <a:pt x="4817" y="1728"/>
                  </a:lnTo>
                  <a:lnTo>
                    <a:pt x="4817" y="1728"/>
                  </a:lnTo>
                  <a:lnTo>
                    <a:pt x="4817" y="1728"/>
                  </a:lnTo>
                  <a:lnTo>
                    <a:pt x="4819" y="1730"/>
                  </a:lnTo>
                  <a:lnTo>
                    <a:pt x="4819" y="1730"/>
                  </a:lnTo>
                  <a:lnTo>
                    <a:pt x="4821" y="1730"/>
                  </a:lnTo>
                  <a:lnTo>
                    <a:pt x="4821" y="1728"/>
                  </a:lnTo>
                  <a:lnTo>
                    <a:pt x="4821" y="1728"/>
                  </a:lnTo>
                  <a:lnTo>
                    <a:pt x="4819" y="1728"/>
                  </a:lnTo>
                  <a:lnTo>
                    <a:pt x="4821" y="1728"/>
                  </a:lnTo>
                  <a:lnTo>
                    <a:pt x="4821" y="1728"/>
                  </a:lnTo>
                  <a:close/>
                  <a:moveTo>
                    <a:pt x="4959" y="1825"/>
                  </a:moveTo>
                  <a:lnTo>
                    <a:pt x="4957" y="1828"/>
                  </a:lnTo>
                  <a:lnTo>
                    <a:pt x="4957" y="1828"/>
                  </a:lnTo>
                  <a:lnTo>
                    <a:pt x="4959" y="1828"/>
                  </a:lnTo>
                  <a:lnTo>
                    <a:pt x="4961" y="1825"/>
                  </a:lnTo>
                  <a:lnTo>
                    <a:pt x="4961" y="1823"/>
                  </a:lnTo>
                  <a:lnTo>
                    <a:pt x="4959" y="1825"/>
                  </a:lnTo>
                  <a:close/>
                  <a:moveTo>
                    <a:pt x="4821" y="1730"/>
                  </a:moveTo>
                  <a:lnTo>
                    <a:pt x="4821" y="1730"/>
                  </a:lnTo>
                  <a:lnTo>
                    <a:pt x="4821" y="1733"/>
                  </a:lnTo>
                  <a:lnTo>
                    <a:pt x="4821" y="1733"/>
                  </a:lnTo>
                  <a:lnTo>
                    <a:pt x="4823" y="1730"/>
                  </a:lnTo>
                  <a:lnTo>
                    <a:pt x="4823" y="1730"/>
                  </a:lnTo>
                  <a:lnTo>
                    <a:pt x="4821" y="1730"/>
                  </a:lnTo>
                  <a:close/>
                  <a:moveTo>
                    <a:pt x="4831" y="2468"/>
                  </a:moveTo>
                  <a:lnTo>
                    <a:pt x="4831" y="2470"/>
                  </a:lnTo>
                  <a:lnTo>
                    <a:pt x="4831" y="2468"/>
                  </a:lnTo>
                  <a:lnTo>
                    <a:pt x="4833" y="2466"/>
                  </a:lnTo>
                  <a:lnTo>
                    <a:pt x="4833" y="2464"/>
                  </a:lnTo>
                  <a:lnTo>
                    <a:pt x="4831" y="2464"/>
                  </a:lnTo>
                  <a:lnTo>
                    <a:pt x="4831" y="2468"/>
                  </a:lnTo>
                  <a:close/>
                  <a:moveTo>
                    <a:pt x="4823" y="1507"/>
                  </a:moveTo>
                  <a:lnTo>
                    <a:pt x="4821" y="1507"/>
                  </a:lnTo>
                  <a:lnTo>
                    <a:pt x="4821" y="1507"/>
                  </a:lnTo>
                  <a:lnTo>
                    <a:pt x="4821" y="1510"/>
                  </a:lnTo>
                  <a:lnTo>
                    <a:pt x="4821" y="1510"/>
                  </a:lnTo>
                  <a:lnTo>
                    <a:pt x="4821" y="1510"/>
                  </a:lnTo>
                  <a:lnTo>
                    <a:pt x="4823" y="1510"/>
                  </a:lnTo>
                  <a:lnTo>
                    <a:pt x="4823" y="1510"/>
                  </a:lnTo>
                  <a:lnTo>
                    <a:pt x="4823" y="1510"/>
                  </a:lnTo>
                  <a:lnTo>
                    <a:pt x="4823" y="1510"/>
                  </a:lnTo>
                  <a:lnTo>
                    <a:pt x="4823" y="1507"/>
                  </a:lnTo>
                  <a:close/>
                  <a:moveTo>
                    <a:pt x="4836" y="1735"/>
                  </a:moveTo>
                  <a:lnTo>
                    <a:pt x="4836" y="1735"/>
                  </a:lnTo>
                  <a:lnTo>
                    <a:pt x="4836" y="1735"/>
                  </a:lnTo>
                  <a:lnTo>
                    <a:pt x="4833" y="1735"/>
                  </a:lnTo>
                  <a:lnTo>
                    <a:pt x="4833" y="1735"/>
                  </a:lnTo>
                  <a:lnTo>
                    <a:pt x="4833" y="1737"/>
                  </a:lnTo>
                  <a:lnTo>
                    <a:pt x="4836" y="1737"/>
                  </a:lnTo>
                  <a:lnTo>
                    <a:pt x="4836" y="1737"/>
                  </a:lnTo>
                  <a:lnTo>
                    <a:pt x="4836" y="1737"/>
                  </a:lnTo>
                  <a:lnTo>
                    <a:pt x="4838" y="1735"/>
                  </a:lnTo>
                  <a:lnTo>
                    <a:pt x="4836" y="1735"/>
                  </a:lnTo>
                  <a:lnTo>
                    <a:pt x="4836" y="1735"/>
                  </a:lnTo>
                  <a:close/>
                  <a:moveTo>
                    <a:pt x="5036" y="1588"/>
                  </a:moveTo>
                  <a:lnTo>
                    <a:pt x="5036" y="1588"/>
                  </a:lnTo>
                  <a:lnTo>
                    <a:pt x="5036" y="1588"/>
                  </a:lnTo>
                  <a:lnTo>
                    <a:pt x="5036" y="1586"/>
                  </a:lnTo>
                  <a:lnTo>
                    <a:pt x="5036" y="1588"/>
                  </a:lnTo>
                  <a:lnTo>
                    <a:pt x="5034" y="1588"/>
                  </a:lnTo>
                  <a:lnTo>
                    <a:pt x="5034" y="1588"/>
                  </a:lnTo>
                  <a:lnTo>
                    <a:pt x="5034" y="1588"/>
                  </a:lnTo>
                  <a:lnTo>
                    <a:pt x="5034" y="1588"/>
                  </a:lnTo>
                  <a:lnTo>
                    <a:pt x="5034" y="1588"/>
                  </a:lnTo>
                  <a:lnTo>
                    <a:pt x="5036" y="1588"/>
                  </a:lnTo>
                  <a:close/>
                  <a:moveTo>
                    <a:pt x="5031" y="1594"/>
                  </a:moveTo>
                  <a:lnTo>
                    <a:pt x="5034" y="1594"/>
                  </a:lnTo>
                  <a:lnTo>
                    <a:pt x="5034" y="1594"/>
                  </a:lnTo>
                  <a:lnTo>
                    <a:pt x="5034" y="1592"/>
                  </a:lnTo>
                  <a:lnTo>
                    <a:pt x="5034" y="1592"/>
                  </a:lnTo>
                  <a:lnTo>
                    <a:pt x="5034" y="1592"/>
                  </a:lnTo>
                  <a:lnTo>
                    <a:pt x="5034" y="1592"/>
                  </a:lnTo>
                  <a:lnTo>
                    <a:pt x="5034" y="1592"/>
                  </a:lnTo>
                  <a:lnTo>
                    <a:pt x="5034" y="1592"/>
                  </a:lnTo>
                  <a:lnTo>
                    <a:pt x="5034" y="1592"/>
                  </a:lnTo>
                  <a:lnTo>
                    <a:pt x="5034" y="1592"/>
                  </a:lnTo>
                  <a:lnTo>
                    <a:pt x="5034" y="1592"/>
                  </a:lnTo>
                  <a:lnTo>
                    <a:pt x="5034" y="1594"/>
                  </a:lnTo>
                  <a:lnTo>
                    <a:pt x="5031" y="1594"/>
                  </a:lnTo>
                  <a:close/>
                  <a:moveTo>
                    <a:pt x="5029" y="1563"/>
                  </a:moveTo>
                  <a:lnTo>
                    <a:pt x="5029" y="1563"/>
                  </a:lnTo>
                  <a:lnTo>
                    <a:pt x="5031" y="1563"/>
                  </a:lnTo>
                  <a:lnTo>
                    <a:pt x="5031" y="1563"/>
                  </a:lnTo>
                  <a:lnTo>
                    <a:pt x="5031" y="1563"/>
                  </a:lnTo>
                  <a:lnTo>
                    <a:pt x="5029" y="1563"/>
                  </a:lnTo>
                  <a:lnTo>
                    <a:pt x="5029" y="1563"/>
                  </a:lnTo>
                  <a:lnTo>
                    <a:pt x="5029" y="1563"/>
                  </a:lnTo>
                  <a:close/>
                  <a:moveTo>
                    <a:pt x="5046" y="2218"/>
                  </a:moveTo>
                  <a:lnTo>
                    <a:pt x="5046" y="2216"/>
                  </a:lnTo>
                  <a:lnTo>
                    <a:pt x="5046" y="2216"/>
                  </a:lnTo>
                  <a:lnTo>
                    <a:pt x="5046" y="2216"/>
                  </a:lnTo>
                  <a:lnTo>
                    <a:pt x="5044" y="2218"/>
                  </a:lnTo>
                  <a:lnTo>
                    <a:pt x="5044" y="2218"/>
                  </a:lnTo>
                  <a:lnTo>
                    <a:pt x="5044" y="2220"/>
                  </a:lnTo>
                  <a:lnTo>
                    <a:pt x="5046" y="2218"/>
                  </a:lnTo>
                  <a:lnTo>
                    <a:pt x="5046" y="2218"/>
                  </a:lnTo>
                  <a:close/>
                  <a:moveTo>
                    <a:pt x="5034" y="1582"/>
                  </a:moveTo>
                  <a:lnTo>
                    <a:pt x="5034" y="1582"/>
                  </a:lnTo>
                  <a:lnTo>
                    <a:pt x="5034" y="1582"/>
                  </a:lnTo>
                  <a:lnTo>
                    <a:pt x="5034" y="1582"/>
                  </a:lnTo>
                  <a:lnTo>
                    <a:pt x="5034" y="1582"/>
                  </a:lnTo>
                  <a:lnTo>
                    <a:pt x="5034" y="1582"/>
                  </a:lnTo>
                  <a:lnTo>
                    <a:pt x="5034" y="1582"/>
                  </a:lnTo>
                  <a:lnTo>
                    <a:pt x="5034" y="1582"/>
                  </a:lnTo>
                  <a:lnTo>
                    <a:pt x="5034" y="1582"/>
                  </a:lnTo>
                  <a:close/>
                  <a:moveTo>
                    <a:pt x="5042" y="789"/>
                  </a:moveTo>
                  <a:lnTo>
                    <a:pt x="5042" y="789"/>
                  </a:lnTo>
                  <a:lnTo>
                    <a:pt x="5044" y="789"/>
                  </a:lnTo>
                  <a:lnTo>
                    <a:pt x="5044" y="789"/>
                  </a:lnTo>
                  <a:lnTo>
                    <a:pt x="5044" y="787"/>
                  </a:lnTo>
                  <a:lnTo>
                    <a:pt x="5042" y="787"/>
                  </a:lnTo>
                  <a:lnTo>
                    <a:pt x="5040" y="789"/>
                  </a:lnTo>
                  <a:lnTo>
                    <a:pt x="5040" y="789"/>
                  </a:lnTo>
                  <a:lnTo>
                    <a:pt x="5038" y="789"/>
                  </a:lnTo>
                  <a:lnTo>
                    <a:pt x="5042" y="789"/>
                  </a:lnTo>
                  <a:close/>
                  <a:moveTo>
                    <a:pt x="4959" y="746"/>
                  </a:moveTo>
                  <a:lnTo>
                    <a:pt x="4957" y="743"/>
                  </a:lnTo>
                  <a:lnTo>
                    <a:pt x="4955" y="743"/>
                  </a:lnTo>
                  <a:lnTo>
                    <a:pt x="4955" y="741"/>
                  </a:lnTo>
                  <a:lnTo>
                    <a:pt x="4953" y="741"/>
                  </a:lnTo>
                  <a:lnTo>
                    <a:pt x="4955" y="743"/>
                  </a:lnTo>
                  <a:lnTo>
                    <a:pt x="4957" y="746"/>
                  </a:lnTo>
                  <a:lnTo>
                    <a:pt x="4963" y="748"/>
                  </a:lnTo>
                  <a:lnTo>
                    <a:pt x="4961" y="748"/>
                  </a:lnTo>
                  <a:lnTo>
                    <a:pt x="4959" y="746"/>
                  </a:lnTo>
                  <a:close/>
                  <a:moveTo>
                    <a:pt x="5034" y="1580"/>
                  </a:moveTo>
                  <a:lnTo>
                    <a:pt x="5034" y="1580"/>
                  </a:lnTo>
                  <a:lnTo>
                    <a:pt x="5034" y="1580"/>
                  </a:lnTo>
                  <a:lnTo>
                    <a:pt x="5031" y="1580"/>
                  </a:lnTo>
                  <a:lnTo>
                    <a:pt x="5031" y="1580"/>
                  </a:lnTo>
                  <a:lnTo>
                    <a:pt x="5031" y="1580"/>
                  </a:lnTo>
                  <a:lnTo>
                    <a:pt x="5031" y="1580"/>
                  </a:lnTo>
                  <a:lnTo>
                    <a:pt x="5031" y="1580"/>
                  </a:lnTo>
                  <a:lnTo>
                    <a:pt x="5034" y="1580"/>
                  </a:lnTo>
                  <a:close/>
                  <a:moveTo>
                    <a:pt x="5110" y="2164"/>
                  </a:moveTo>
                  <a:lnTo>
                    <a:pt x="5108" y="2164"/>
                  </a:lnTo>
                  <a:lnTo>
                    <a:pt x="5104" y="2164"/>
                  </a:lnTo>
                  <a:lnTo>
                    <a:pt x="5104" y="2164"/>
                  </a:lnTo>
                  <a:lnTo>
                    <a:pt x="5104" y="2164"/>
                  </a:lnTo>
                  <a:lnTo>
                    <a:pt x="5102" y="2166"/>
                  </a:lnTo>
                  <a:lnTo>
                    <a:pt x="5099" y="2166"/>
                  </a:lnTo>
                  <a:lnTo>
                    <a:pt x="5099" y="2168"/>
                  </a:lnTo>
                  <a:lnTo>
                    <a:pt x="5097" y="2168"/>
                  </a:lnTo>
                  <a:lnTo>
                    <a:pt x="5095" y="2170"/>
                  </a:lnTo>
                  <a:lnTo>
                    <a:pt x="5095" y="2170"/>
                  </a:lnTo>
                  <a:lnTo>
                    <a:pt x="5093" y="2170"/>
                  </a:lnTo>
                  <a:lnTo>
                    <a:pt x="5091" y="2170"/>
                  </a:lnTo>
                  <a:lnTo>
                    <a:pt x="5087" y="2168"/>
                  </a:lnTo>
                  <a:lnTo>
                    <a:pt x="5085" y="2168"/>
                  </a:lnTo>
                  <a:lnTo>
                    <a:pt x="5079" y="2166"/>
                  </a:lnTo>
                  <a:lnTo>
                    <a:pt x="5079" y="2166"/>
                  </a:lnTo>
                  <a:lnTo>
                    <a:pt x="5079" y="2166"/>
                  </a:lnTo>
                  <a:lnTo>
                    <a:pt x="5077" y="2164"/>
                  </a:lnTo>
                  <a:lnTo>
                    <a:pt x="5077" y="2164"/>
                  </a:lnTo>
                  <a:lnTo>
                    <a:pt x="5077" y="2164"/>
                  </a:lnTo>
                  <a:lnTo>
                    <a:pt x="5077" y="2164"/>
                  </a:lnTo>
                  <a:lnTo>
                    <a:pt x="5077" y="2164"/>
                  </a:lnTo>
                  <a:lnTo>
                    <a:pt x="5077" y="2164"/>
                  </a:lnTo>
                  <a:lnTo>
                    <a:pt x="5075" y="2162"/>
                  </a:lnTo>
                  <a:lnTo>
                    <a:pt x="5075" y="2158"/>
                  </a:lnTo>
                  <a:lnTo>
                    <a:pt x="5075" y="2154"/>
                  </a:lnTo>
                  <a:lnTo>
                    <a:pt x="5073" y="2152"/>
                  </a:lnTo>
                  <a:lnTo>
                    <a:pt x="5073" y="2152"/>
                  </a:lnTo>
                  <a:lnTo>
                    <a:pt x="5073" y="2150"/>
                  </a:lnTo>
                  <a:lnTo>
                    <a:pt x="5071" y="2150"/>
                  </a:lnTo>
                  <a:lnTo>
                    <a:pt x="5069" y="2148"/>
                  </a:lnTo>
                  <a:lnTo>
                    <a:pt x="5069" y="2148"/>
                  </a:lnTo>
                  <a:lnTo>
                    <a:pt x="5069" y="2146"/>
                  </a:lnTo>
                  <a:lnTo>
                    <a:pt x="5066" y="2146"/>
                  </a:lnTo>
                  <a:lnTo>
                    <a:pt x="5066" y="2148"/>
                  </a:lnTo>
                  <a:lnTo>
                    <a:pt x="5066" y="2148"/>
                  </a:lnTo>
                  <a:lnTo>
                    <a:pt x="5069" y="2150"/>
                  </a:lnTo>
                  <a:lnTo>
                    <a:pt x="5069" y="2150"/>
                  </a:lnTo>
                  <a:lnTo>
                    <a:pt x="5069" y="2150"/>
                  </a:lnTo>
                  <a:lnTo>
                    <a:pt x="5069" y="2152"/>
                  </a:lnTo>
                  <a:lnTo>
                    <a:pt x="5069" y="2152"/>
                  </a:lnTo>
                  <a:lnTo>
                    <a:pt x="5069" y="2156"/>
                  </a:lnTo>
                  <a:lnTo>
                    <a:pt x="5069" y="2158"/>
                  </a:lnTo>
                  <a:lnTo>
                    <a:pt x="5069" y="2158"/>
                  </a:lnTo>
                  <a:lnTo>
                    <a:pt x="5069" y="2158"/>
                  </a:lnTo>
                  <a:lnTo>
                    <a:pt x="5066" y="2158"/>
                  </a:lnTo>
                  <a:lnTo>
                    <a:pt x="5066" y="2158"/>
                  </a:lnTo>
                  <a:lnTo>
                    <a:pt x="5066" y="2156"/>
                  </a:lnTo>
                  <a:lnTo>
                    <a:pt x="5066" y="2154"/>
                  </a:lnTo>
                  <a:lnTo>
                    <a:pt x="5064" y="2154"/>
                  </a:lnTo>
                  <a:lnTo>
                    <a:pt x="5062" y="2154"/>
                  </a:lnTo>
                  <a:lnTo>
                    <a:pt x="5060" y="2152"/>
                  </a:lnTo>
                  <a:lnTo>
                    <a:pt x="5060" y="2152"/>
                  </a:lnTo>
                  <a:lnTo>
                    <a:pt x="5060" y="2154"/>
                  </a:lnTo>
                  <a:lnTo>
                    <a:pt x="5058" y="2152"/>
                  </a:lnTo>
                  <a:lnTo>
                    <a:pt x="5058" y="2152"/>
                  </a:lnTo>
                  <a:lnTo>
                    <a:pt x="5058" y="2152"/>
                  </a:lnTo>
                  <a:lnTo>
                    <a:pt x="5058" y="2152"/>
                  </a:lnTo>
                  <a:lnTo>
                    <a:pt x="5058" y="2152"/>
                  </a:lnTo>
                  <a:lnTo>
                    <a:pt x="5058" y="2150"/>
                  </a:lnTo>
                  <a:lnTo>
                    <a:pt x="5058" y="2148"/>
                  </a:lnTo>
                  <a:lnTo>
                    <a:pt x="5058" y="2146"/>
                  </a:lnTo>
                  <a:lnTo>
                    <a:pt x="5058" y="2146"/>
                  </a:lnTo>
                  <a:lnTo>
                    <a:pt x="5058" y="2146"/>
                  </a:lnTo>
                  <a:lnTo>
                    <a:pt x="5058" y="2143"/>
                  </a:lnTo>
                  <a:lnTo>
                    <a:pt x="5056" y="2139"/>
                  </a:lnTo>
                  <a:lnTo>
                    <a:pt x="5054" y="2139"/>
                  </a:lnTo>
                  <a:lnTo>
                    <a:pt x="5054" y="2137"/>
                  </a:lnTo>
                  <a:lnTo>
                    <a:pt x="5052" y="2135"/>
                  </a:lnTo>
                  <a:lnTo>
                    <a:pt x="5052" y="2135"/>
                  </a:lnTo>
                  <a:lnTo>
                    <a:pt x="5054" y="2135"/>
                  </a:lnTo>
                  <a:lnTo>
                    <a:pt x="5056" y="2135"/>
                  </a:lnTo>
                  <a:lnTo>
                    <a:pt x="5054" y="2133"/>
                  </a:lnTo>
                  <a:lnTo>
                    <a:pt x="5054" y="2133"/>
                  </a:lnTo>
                  <a:lnTo>
                    <a:pt x="5054" y="2131"/>
                  </a:lnTo>
                  <a:lnTo>
                    <a:pt x="5054" y="2129"/>
                  </a:lnTo>
                  <a:lnTo>
                    <a:pt x="5054" y="2129"/>
                  </a:lnTo>
                  <a:lnTo>
                    <a:pt x="5052" y="2129"/>
                  </a:lnTo>
                  <a:lnTo>
                    <a:pt x="5052" y="2129"/>
                  </a:lnTo>
                  <a:lnTo>
                    <a:pt x="5052" y="2127"/>
                  </a:lnTo>
                  <a:lnTo>
                    <a:pt x="5052" y="2127"/>
                  </a:lnTo>
                  <a:lnTo>
                    <a:pt x="5052" y="2127"/>
                  </a:lnTo>
                  <a:lnTo>
                    <a:pt x="5050" y="2127"/>
                  </a:lnTo>
                  <a:lnTo>
                    <a:pt x="5050" y="2127"/>
                  </a:lnTo>
                  <a:lnTo>
                    <a:pt x="5048" y="2127"/>
                  </a:lnTo>
                  <a:lnTo>
                    <a:pt x="5048" y="2125"/>
                  </a:lnTo>
                  <a:lnTo>
                    <a:pt x="5048" y="2125"/>
                  </a:lnTo>
                  <a:lnTo>
                    <a:pt x="5048" y="2125"/>
                  </a:lnTo>
                  <a:lnTo>
                    <a:pt x="5046" y="2123"/>
                  </a:lnTo>
                  <a:lnTo>
                    <a:pt x="5046" y="2123"/>
                  </a:lnTo>
                  <a:lnTo>
                    <a:pt x="5044" y="2123"/>
                  </a:lnTo>
                  <a:lnTo>
                    <a:pt x="5044" y="2123"/>
                  </a:lnTo>
                  <a:lnTo>
                    <a:pt x="5044" y="2123"/>
                  </a:lnTo>
                  <a:lnTo>
                    <a:pt x="5042" y="2123"/>
                  </a:lnTo>
                  <a:lnTo>
                    <a:pt x="5040" y="2121"/>
                  </a:lnTo>
                  <a:lnTo>
                    <a:pt x="5040" y="2121"/>
                  </a:lnTo>
                  <a:lnTo>
                    <a:pt x="5040" y="2121"/>
                  </a:lnTo>
                  <a:lnTo>
                    <a:pt x="5038" y="2121"/>
                  </a:lnTo>
                  <a:lnTo>
                    <a:pt x="5038" y="2121"/>
                  </a:lnTo>
                  <a:lnTo>
                    <a:pt x="5038" y="2123"/>
                  </a:lnTo>
                  <a:lnTo>
                    <a:pt x="5038" y="2121"/>
                  </a:lnTo>
                  <a:lnTo>
                    <a:pt x="5036" y="2121"/>
                  </a:lnTo>
                  <a:lnTo>
                    <a:pt x="5036" y="2121"/>
                  </a:lnTo>
                  <a:lnTo>
                    <a:pt x="5036" y="2119"/>
                  </a:lnTo>
                  <a:lnTo>
                    <a:pt x="5034" y="2117"/>
                  </a:lnTo>
                  <a:lnTo>
                    <a:pt x="5034" y="2117"/>
                  </a:lnTo>
                  <a:lnTo>
                    <a:pt x="5031" y="2115"/>
                  </a:lnTo>
                  <a:lnTo>
                    <a:pt x="5034" y="2112"/>
                  </a:lnTo>
                  <a:lnTo>
                    <a:pt x="5031" y="2112"/>
                  </a:lnTo>
                  <a:lnTo>
                    <a:pt x="5029" y="2115"/>
                  </a:lnTo>
                  <a:lnTo>
                    <a:pt x="5031" y="2117"/>
                  </a:lnTo>
                  <a:lnTo>
                    <a:pt x="5034" y="2119"/>
                  </a:lnTo>
                  <a:lnTo>
                    <a:pt x="5036" y="2121"/>
                  </a:lnTo>
                  <a:lnTo>
                    <a:pt x="5036" y="2123"/>
                  </a:lnTo>
                  <a:lnTo>
                    <a:pt x="5036" y="2125"/>
                  </a:lnTo>
                  <a:lnTo>
                    <a:pt x="5034" y="2125"/>
                  </a:lnTo>
                  <a:lnTo>
                    <a:pt x="5036" y="2127"/>
                  </a:lnTo>
                  <a:lnTo>
                    <a:pt x="5036" y="2127"/>
                  </a:lnTo>
                  <a:lnTo>
                    <a:pt x="5038" y="2127"/>
                  </a:lnTo>
                  <a:lnTo>
                    <a:pt x="5038" y="2129"/>
                  </a:lnTo>
                  <a:lnTo>
                    <a:pt x="5038" y="2129"/>
                  </a:lnTo>
                  <a:lnTo>
                    <a:pt x="5038" y="2129"/>
                  </a:lnTo>
                  <a:lnTo>
                    <a:pt x="5038" y="2131"/>
                  </a:lnTo>
                  <a:lnTo>
                    <a:pt x="5038" y="2129"/>
                  </a:lnTo>
                  <a:lnTo>
                    <a:pt x="5040" y="2129"/>
                  </a:lnTo>
                  <a:lnTo>
                    <a:pt x="5040" y="2129"/>
                  </a:lnTo>
                  <a:lnTo>
                    <a:pt x="5040" y="2127"/>
                  </a:lnTo>
                  <a:lnTo>
                    <a:pt x="5042" y="2127"/>
                  </a:lnTo>
                  <a:lnTo>
                    <a:pt x="5042" y="2127"/>
                  </a:lnTo>
                  <a:lnTo>
                    <a:pt x="5042" y="2129"/>
                  </a:lnTo>
                  <a:lnTo>
                    <a:pt x="5042" y="2129"/>
                  </a:lnTo>
                  <a:lnTo>
                    <a:pt x="5040" y="2129"/>
                  </a:lnTo>
                  <a:lnTo>
                    <a:pt x="5040" y="2131"/>
                  </a:lnTo>
                  <a:lnTo>
                    <a:pt x="5046" y="2141"/>
                  </a:lnTo>
                  <a:lnTo>
                    <a:pt x="5048" y="2141"/>
                  </a:lnTo>
                  <a:lnTo>
                    <a:pt x="5048" y="2143"/>
                  </a:lnTo>
                  <a:lnTo>
                    <a:pt x="5048" y="2146"/>
                  </a:lnTo>
                  <a:lnTo>
                    <a:pt x="5050" y="2143"/>
                  </a:lnTo>
                  <a:lnTo>
                    <a:pt x="5050" y="2143"/>
                  </a:lnTo>
                  <a:lnTo>
                    <a:pt x="5050" y="2143"/>
                  </a:lnTo>
                  <a:lnTo>
                    <a:pt x="5048" y="2141"/>
                  </a:lnTo>
                  <a:lnTo>
                    <a:pt x="5046" y="2139"/>
                  </a:lnTo>
                  <a:lnTo>
                    <a:pt x="5046" y="2137"/>
                  </a:lnTo>
                  <a:lnTo>
                    <a:pt x="5046" y="2137"/>
                  </a:lnTo>
                  <a:lnTo>
                    <a:pt x="5046" y="2139"/>
                  </a:lnTo>
                  <a:lnTo>
                    <a:pt x="5048" y="2139"/>
                  </a:lnTo>
                  <a:lnTo>
                    <a:pt x="5050" y="2141"/>
                  </a:lnTo>
                  <a:lnTo>
                    <a:pt x="5052" y="2141"/>
                  </a:lnTo>
                  <a:lnTo>
                    <a:pt x="5050" y="2141"/>
                  </a:lnTo>
                  <a:lnTo>
                    <a:pt x="5050" y="2141"/>
                  </a:lnTo>
                  <a:lnTo>
                    <a:pt x="5052" y="2141"/>
                  </a:lnTo>
                  <a:lnTo>
                    <a:pt x="5052" y="2141"/>
                  </a:lnTo>
                  <a:lnTo>
                    <a:pt x="5052" y="2143"/>
                  </a:lnTo>
                  <a:lnTo>
                    <a:pt x="5052" y="2143"/>
                  </a:lnTo>
                  <a:lnTo>
                    <a:pt x="5052" y="2143"/>
                  </a:lnTo>
                  <a:lnTo>
                    <a:pt x="5052" y="2146"/>
                  </a:lnTo>
                  <a:lnTo>
                    <a:pt x="5054" y="2146"/>
                  </a:lnTo>
                  <a:lnTo>
                    <a:pt x="5054" y="2148"/>
                  </a:lnTo>
                  <a:lnTo>
                    <a:pt x="5054" y="2148"/>
                  </a:lnTo>
                  <a:lnTo>
                    <a:pt x="5052" y="2148"/>
                  </a:lnTo>
                  <a:lnTo>
                    <a:pt x="5050" y="2146"/>
                  </a:lnTo>
                  <a:lnTo>
                    <a:pt x="5050" y="2146"/>
                  </a:lnTo>
                  <a:lnTo>
                    <a:pt x="5052" y="2150"/>
                  </a:lnTo>
                  <a:lnTo>
                    <a:pt x="5052" y="2152"/>
                  </a:lnTo>
                  <a:lnTo>
                    <a:pt x="5054" y="2152"/>
                  </a:lnTo>
                  <a:lnTo>
                    <a:pt x="5054" y="2154"/>
                  </a:lnTo>
                  <a:lnTo>
                    <a:pt x="5054" y="2154"/>
                  </a:lnTo>
                  <a:lnTo>
                    <a:pt x="5056" y="2154"/>
                  </a:lnTo>
                  <a:lnTo>
                    <a:pt x="5056" y="2154"/>
                  </a:lnTo>
                  <a:lnTo>
                    <a:pt x="5058" y="2154"/>
                  </a:lnTo>
                  <a:lnTo>
                    <a:pt x="5058" y="2154"/>
                  </a:lnTo>
                  <a:lnTo>
                    <a:pt x="5060" y="2156"/>
                  </a:lnTo>
                  <a:lnTo>
                    <a:pt x="5060" y="2156"/>
                  </a:lnTo>
                  <a:lnTo>
                    <a:pt x="5058" y="2156"/>
                  </a:lnTo>
                  <a:lnTo>
                    <a:pt x="5058" y="2158"/>
                  </a:lnTo>
                  <a:lnTo>
                    <a:pt x="5058" y="2158"/>
                  </a:lnTo>
                  <a:lnTo>
                    <a:pt x="5056" y="2156"/>
                  </a:lnTo>
                  <a:lnTo>
                    <a:pt x="5056" y="2156"/>
                  </a:lnTo>
                  <a:lnTo>
                    <a:pt x="5056" y="2156"/>
                  </a:lnTo>
                  <a:lnTo>
                    <a:pt x="5056" y="2160"/>
                  </a:lnTo>
                  <a:lnTo>
                    <a:pt x="5056" y="2160"/>
                  </a:lnTo>
                  <a:lnTo>
                    <a:pt x="5058" y="2160"/>
                  </a:lnTo>
                  <a:lnTo>
                    <a:pt x="5058" y="2160"/>
                  </a:lnTo>
                  <a:lnTo>
                    <a:pt x="5058" y="2162"/>
                  </a:lnTo>
                  <a:lnTo>
                    <a:pt x="5058" y="2162"/>
                  </a:lnTo>
                  <a:lnTo>
                    <a:pt x="5058" y="2166"/>
                  </a:lnTo>
                  <a:lnTo>
                    <a:pt x="5060" y="2168"/>
                  </a:lnTo>
                  <a:lnTo>
                    <a:pt x="5060" y="2168"/>
                  </a:lnTo>
                  <a:lnTo>
                    <a:pt x="5058" y="2168"/>
                  </a:lnTo>
                  <a:lnTo>
                    <a:pt x="5058" y="2168"/>
                  </a:lnTo>
                  <a:lnTo>
                    <a:pt x="5058" y="2170"/>
                  </a:lnTo>
                  <a:lnTo>
                    <a:pt x="5058" y="2172"/>
                  </a:lnTo>
                  <a:lnTo>
                    <a:pt x="5058" y="2174"/>
                  </a:lnTo>
                  <a:lnTo>
                    <a:pt x="5056" y="2179"/>
                  </a:lnTo>
                  <a:lnTo>
                    <a:pt x="5056" y="2181"/>
                  </a:lnTo>
                  <a:lnTo>
                    <a:pt x="5056" y="2185"/>
                  </a:lnTo>
                  <a:lnTo>
                    <a:pt x="5056" y="2185"/>
                  </a:lnTo>
                  <a:lnTo>
                    <a:pt x="5054" y="2187"/>
                  </a:lnTo>
                  <a:lnTo>
                    <a:pt x="5052" y="2187"/>
                  </a:lnTo>
                  <a:lnTo>
                    <a:pt x="5052" y="2187"/>
                  </a:lnTo>
                  <a:lnTo>
                    <a:pt x="5052" y="2187"/>
                  </a:lnTo>
                  <a:lnTo>
                    <a:pt x="5048" y="2189"/>
                  </a:lnTo>
                  <a:lnTo>
                    <a:pt x="5046" y="2189"/>
                  </a:lnTo>
                  <a:lnTo>
                    <a:pt x="5044" y="2191"/>
                  </a:lnTo>
                  <a:lnTo>
                    <a:pt x="5044" y="2191"/>
                  </a:lnTo>
                  <a:lnTo>
                    <a:pt x="5044" y="2191"/>
                  </a:lnTo>
                  <a:lnTo>
                    <a:pt x="5044" y="2193"/>
                  </a:lnTo>
                  <a:lnTo>
                    <a:pt x="5044" y="2193"/>
                  </a:lnTo>
                  <a:lnTo>
                    <a:pt x="5044" y="2195"/>
                  </a:lnTo>
                  <a:lnTo>
                    <a:pt x="5046" y="2195"/>
                  </a:lnTo>
                  <a:lnTo>
                    <a:pt x="5050" y="2197"/>
                  </a:lnTo>
                  <a:lnTo>
                    <a:pt x="5052" y="2197"/>
                  </a:lnTo>
                  <a:lnTo>
                    <a:pt x="5054" y="2199"/>
                  </a:lnTo>
                  <a:lnTo>
                    <a:pt x="5056" y="2201"/>
                  </a:lnTo>
                  <a:lnTo>
                    <a:pt x="5056" y="2201"/>
                  </a:lnTo>
                  <a:lnTo>
                    <a:pt x="5058" y="2201"/>
                  </a:lnTo>
                  <a:lnTo>
                    <a:pt x="5062" y="2203"/>
                  </a:lnTo>
                  <a:lnTo>
                    <a:pt x="5064" y="2205"/>
                  </a:lnTo>
                  <a:lnTo>
                    <a:pt x="5064" y="2207"/>
                  </a:lnTo>
                  <a:lnTo>
                    <a:pt x="5064" y="2210"/>
                  </a:lnTo>
                  <a:lnTo>
                    <a:pt x="5064" y="2212"/>
                  </a:lnTo>
                  <a:lnTo>
                    <a:pt x="5064" y="2214"/>
                  </a:lnTo>
                  <a:lnTo>
                    <a:pt x="5062" y="2218"/>
                  </a:lnTo>
                  <a:lnTo>
                    <a:pt x="5058" y="2222"/>
                  </a:lnTo>
                  <a:lnTo>
                    <a:pt x="5056" y="2224"/>
                  </a:lnTo>
                  <a:lnTo>
                    <a:pt x="5056" y="2224"/>
                  </a:lnTo>
                  <a:lnTo>
                    <a:pt x="5056" y="2226"/>
                  </a:lnTo>
                  <a:lnTo>
                    <a:pt x="5056" y="2226"/>
                  </a:lnTo>
                  <a:lnTo>
                    <a:pt x="5056" y="2226"/>
                  </a:lnTo>
                  <a:lnTo>
                    <a:pt x="5058" y="2226"/>
                  </a:lnTo>
                  <a:lnTo>
                    <a:pt x="5058" y="2226"/>
                  </a:lnTo>
                  <a:lnTo>
                    <a:pt x="5058" y="2226"/>
                  </a:lnTo>
                  <a:lnTo>
                    <a:pt x="5058" y="2224"/>
                  </a:lnTo>
                  <a:lnTo>
                    <a:pt x="5060" y="2224"/>
                  </a:lnTo>
                  <a:lnTo>
                    <a:pt x="5060" y="2224"/>
                  </a:lnTo>
                  <a:lnTo>
                    <a:pt x="5060" y="2226"/>
                  </a:lnTo>
                  <a:lnTo>
                    <a:pt x="5060" y="2228"/>
                  </a:lnTo>
                  <a:lnTo>
                    <a:pt x="5060" y="2228"/>
                  </a:lnTo>
                  <a:lnTo>
                    <a:pt x="5060" y="2228"/>
                  </a:lnTo>
                  <a:lnTo>
                    <a:pt x="5062" y="2228"/>
                  </a:lnTo>
                  <a:lnTo>
                    <a:pt x="5064" y="2228"/>
                  </a:lnTo>
                  <a:lnTo>
                    <a:pt x="5064" y="2228"/>
                  </a:lnTo>
                  <a:lnTo>
                    <a:pt x="5064" y="2230"/>
                  </a:lnTo>
                  <a:lnTo>
                    <a:pt x="5064" y="2230"/>
                  </a:lnTo>
                  <a:lnTo>
                    <a:pt x="5066" y="2230"/>
                  </a:lnTo>
                  <a:lnTo>
                    <a:pt x="5066" y="2230"/>
                  </a:lnTo>
                  <a:lnTo>
                    <a:pt x="5069" y="2230"/>
                  </a:lnTo>
                  <a:lnTo>
                    <a:pt x="5071" y="2228"/>
                  </a:lnTo>
                  <a:lnTo>
                    <a:pt x="5073" y="2226"/>
                  </a:lnTo>
                  <a:lnTo>
                    <a:pt x="5075" y="2224"/>
                  </a:lnTo>
                  <a:lnTo>
                    <a:pt x="5077" y="2222"/>
                  </a:lnTo>
                  <a:lnTo>
                    <a:pt x="5077" y="2222"/>
                  </a:lnTo>
                  <a:lnTo>
                    <a:pt x="5079" y="2218"/>
                  </a:lnTo>
                  <a:lnTo>
                    <a:pt x="5081" y="2218"/>
                  </a:lnTo>
                  <a:lnTo>
                    <a:pt x="5081" y="2216"/>
                  </a:lnTo>
                  <a:lnTo>
                    <a:pt x="5083" y="2214"/>
                  </a:lnTo>
                  <a:lnTo>
                    <a:pt x="5085" y="2212"/>
                  </a:lnTo>
                  <a:lnTo>
                    <a:pt x="5085" y="2210"/>
                  </a:lnTo>
                  <a:lnTo>
                    <a:pt x="5087" y="2207"/>
                  </a:lnTo>
                  <a:lnTo>
                    <a:pt x="5087" y="2207"/>
                  </a:lnTo>
                  <a:lnTo>
                    <a:pt x="5089" y="2203"/>
                  </a:lnTo>
                  <a:lnTo>
                    <a:pt x="5091" y="2199"/>
                  </a:lnTo>
                  <a:lnTo>
                    <a:pt x="5089" y="2197"/>
                  </a:lnTo>
                  <a:lnTo>
                    <a:pt x="5089" y="2197"/>
                  </a:lnTo>
                  <a:lnTo>
                    <a:pt x="5089" y="2195"/>
                  </a:lnTo>
                  <a:lnTo>
                    <a:pt x="5089" y="2193"/>
                  </a:lnTo>
                  <a:lnTo>
                    <a:pt x="5091" y="2191"/>
                  </a:lnTo>
                  <a:lnTo>
                    <a:pt x="5091" y="2191"/>
                  </a:lnTo>
                  <a:lnTo>
                    <a:pt x="5091" y="2191"/>
                  </a:lnTo>
                  <a:lnTo>
                    <a:pt x="5093" y="2189"/>
                  </a:lnTo>
                  <a:lnTo>
                    <a:pt x="5095" y="2189"/>
                  </a:lnTo>
                  <a:lnTo>
                    <a:pt x="5097" y="2189"/>
                  </a:lnTo>
                  <a:lnTo>
                    <a:pt x="5099" y="2189"/>
                  </a:lnTo>
                  <a:lnTo>
                    <a:pt x="5102" y="2189"/>
                  </a:lnTo>
                  <a:lnTo>
                    <a:pt x="5102" y="2189"/>
                  </a:lnTo>
                  <a:lnTo>
                    <a:pt x="5102" y="2191"/>
                  </a:lnTo>
                  <a:lnTo>
                    <a:pt x="5104" y="2191"/>
                  </a:lnTo>
                  <a:lnTo>
                    <a:pt x="5104" y="2189"/>
                  </a:lnTo>
                  <a:lnTo>
                    <a:pt x="5104" y="2189"/>
                  </a:lnTo>
                  <a:lnTo>
                    <a:pt x="5104" y="2189"/>
                  </a:lnTo>
                  <a:lnTo>
                    <a:pt x="5104" y="2187"/>
                  </a:lnTo>
                  <a:lnTo>
                    <a:pt x="5104" y="2185"/>
                  </a:lnTo>
                  <a:lnTo>
                    <a:pt x="5104" y="2183"/>
                  </a:lnTo>
                  <a:lnTo>
                    <a:pt x="5106" y="2183"/>
                  </a:lnTo>
                  <a:lnTo>
                    <a:pt x="5108" y="2181"/>
                  </a:lnTo>
                  <a:lnTo>
                    <a:pt x="5108" y="2181"/>
                  </a:lnTo>
                  <a:lnTo>
                    <a:pt x="5108" y="2179"/>
                  </a:lnTo>
                  <a:lnTo>
                    <a:pt x="5110" y="2174"/>
                  </a:lnTo>
                  <a:lnTo>
                    <a:pt x="5110" y="2170"/>
                  </a:lnTo>
                  <a:lnTo>
                    <a:pt x="5110" y="2168"/>
                  </a:lnTo>
                  <a:lnTo>
                    <a:pt x="5112" y="2166"/>
                  </a:lnTo>
                  <a:lnTo>
                    <a:pt x="5112" y="2166"/>
                  </a:lnTo>
                  <a:lnTo>
                    <a:pt x="5112" y="2166"/>
                  </a:lnTo>
                  <a:lnTo>
                    <a:pt x="5110" y="2164"/>
                  </a:lnTo>
                  <a:close/>
                  <a:moveTo>
                    <a:pt x="5031" y="1563"/>
                  </a:moveTo>
                  <a:lnTo>
                    <a:pt x="5031" y="1563"/>
                  </a:lnTo>
                  <a:lnTo>
                    <a:pt x="5031" y="1563"/>
                  </a:lnTo>
                  <a:lnTo>
                    <a:pt x="5031" y="1561"/>
                  </a:lnTo>
                  <a:lnTo>
                    <a:pt x="5031" y="1561"/>
                  </a:lnTo>
                  <a:lnTo>
                    <a:pt x="5031" y="1563"/>
                  </a:lnTo>
                  <a:close/>
                  <a:moveTo>
                    <a:pt x="5056" y="1918"/>
                  </a:moveTo>
                  <a:lnTo>
                    <a:pt x="5056" y="1918"/>
                  </a:lnTo>
                  <a:lnTo>
                    <a:pt x="5056" y="1918"/>
                  </a:lnTo>
                  <a:lnTo>
                    <a:pt x="5056" y="1918"/>
                  </a:lnTo>
                  <a:lnTo>
                    <a:pt x="5056" y="1918"/>
                  </a:lnTo>
                  <a:lnTo>
                    <a:pt x="5056" y="1918"/>
                  </a:lnTo>
                  <a:lnTo>
                    <a:pt x="5056" y="1918"/>
                  </a:lnTo>
                  <a:close/>
                  <a:moveTo>
                    <a:pt x="5093" y="1850"/>
                  </a:moveTo>
                  <a:lnTo>
                    <a:pt x="5093" y="1852"/>
                  </a:lnTo>
                  <a:lnTo>
                    <a:pt x="5093" y="1852"/>
                  </a:lnTo>
                  <a:lnTo>
                    <a:pt x="5093" y="1850"/>
                  </a:lnTo>
                  <a:lnTo>
                    <a:pt x="5093" y="1850"/>
                  </a:lnTo>
                  <a:lnTo>
                    <a:pt x="5093" y="1850"/>
                  </a:lnTo>
                  <a:lnTo>
                    <a:pt x="5093" y="1850"/>
                  </a:lnTo>
                  <a:lnTo>
                    <a:pt x="5093" y="1850"/>
                  </a:lnTo>
                  <a:close/>
                  <a:moveTo>
                    <a:pt x="5095" y="799"/>
                  </a:moveTo>
                  <a:lnTo>
                    <a:pt x="5095" y="799"/>
                  </a:lnTo>
                  <a:lnTo>
                    <a:pt x="5097" y="797"/>
                  </a:lnTo>
                  <a:lnTo>
                    <a:pt x="5097" y="797"/>
                  </a:lnTo>
                  <a:lnTo>
                    <a:pt x="5099" y="795"/>
                  </a:lnTo>
                  <a:lnTo>
                    <a:pt x="5099" y="795"/>
                  </a:lnTo>
                  <a:lnTo>
                    <a:pt x="5099" y="795"/>
                  </a:lnTo>
                  <a:lnTo>
                    <a:pt x="5097" y="795"/>
                  </a:lnTo>
                  <a:lnTo>
                    <a:pt x="5097" y="797"/>
                  </a:lnTo>
                  <a:lnTo>
                    <a:pt x="5097" y="797"/>
                  </a:lnTo>
                  <a:lnTo>
                    <a:pt x="5095" y="797"/>
                  </a:lnTo>
                  <a:lnTo>
                    <a:pt x="5093" y="799"/>
                  </a:lnTo>
                  <a:lnTo>
                    <a:pt x="5093" y="799"/>
                  </a:lnTo>
                  <a:lnTo>
                    <a:pt x="5095" y="799"/>
                  </a:lnTo>
                  <a:close/>
                  <a:moveTo>
                    <a:pt x="5106" y="1879"/>
                  </a:moveTo>
                  <a:lnTo>
                    <a:pt x="5108" y="1879"/>
                  </a:lnTo>
                  <a:lnTo>
                    <a:pt x="5108" y="1879"/>
                  </a:lnTo>
                  <a:lnTo>
                    <a:pt x="5108" y="1879"/>
                  </a:lnTo>
                  <a:lnTo>
                    <a:pt x="5108" y="1879"/>
                  </a:lnTo>
                  <a:lnTo>
                    <a:pt x="5108" y="1879"/>
                  </a:lnTo>
                  <a:lnTo>
                    <a:pt x="5110" y="1879"/>
                  </a:lnTo>
                  <a:lnTo>
                    <a:pt x="5112" y="1879"/>
                  </a:lnTo>
                  <a:lnTo>
                    <a:pt x="5112" y="1877"/>
                  </a:lnTo>
                  <a:lnTo>
                    <a:pt x="5110" y="1877"/>
                  </a:lnTo>
                  <a:lnTo>
                    <a:pt x="5110" y="1877"/>
                  </a:lnTo>
                  <a:lnTo>
                    <a:pt x="5108" y="1877"/>
                  </a:lnTo>
                  <a:lnTo>
                    <a:pt x="5108" y="1877"/>
                  </a:lnTo>
                  <a:lnTo>
                    <a:pt x="5106" y="1879"/>
                  </a:lnTo>
                  <a:lnTo>
                    <a:pt x="5106" y="1879"/>
                  </a:lnTo>
                  <a:lnTo>
                    <a:pt x="5106" y="1879"/>
                  </a:lnTo>
                  <a:lnTo>
                    <a:pt x="5104" y="1879"/>
                  </a:lnTo>
                  <a:lnTo>
                    <a:pt x="5104" y="1879"/>
                  </a:lnTo>
                  <a:lnTo>
                    <a:pt x="5104" y="1881"/>
                  </a:lnTo>
                  <a:lnTo>
                    <a:pt x="5106" y="1879"/>
                  </a:lnTo>
                  <a:close/>
                  <a:moveTo>
                    <a:pt x="5112" y="1861"/>
                  </a:moveTo>
                  <a:lnTo>
                    <a:pt x="5112" y="1861"/>
                  </a:lnTo>
                  <a:lnTo>
                    <a:pt x="5112" y="1859"/>
                  </a:lnTo>
                  <a:lnTo>
                    <a:pt x="5112" y="1859"/>
                  </a:lnTo>
                  <a:lnTo>
                    <a:pt x="5112" y="1859"/>
                  </a:lnTo>
                  <a:lnTo>
                    <a:pt x="5110" y="1856"/>
                  </a:lnTo>
                  <a:lnTo>
                    <a:pt x="5110" y="1856"/>
                  </a:lnTo>
                  <a:lnTo>
                    <a:pt x="5108" y="1856"/>
                  </a:lnTo>
                  <a:lnTo>
                    <a:pt x="5108" y="1854"/>
                  </a:lnTo>
                  <a:lnTo>
                    <a:pt x="5108" y="1854"/>
                  </a:lnTo>
                  <a:lnTo>
                    <a:pt x="5108" y="1854"/>
                  </a:lnTo>
                  <a:lnTo>
                    <a:pt x="5108" y="1854"/>
                  </a:lnTo>
                  <a:lnTo>
                    <a:pt x="5106" y="1854"/>
                  </a:lnTo>
                  <a:lnTo>
                    <a:pt x="5104" y="1854"/>
                  </a:lnTo>
                  <a:lnTo>
                    <a:pt x="5102" y="1854"/>
                  </a:lnTo>
                  <a:lnTo>
                    <a:pt x="5099" y="1856"/>
                  </a:lnTo>
                  <a:lnTo>
                    <a:pt x="5097" y="1856"/>
                  </a:lnTo>
                  <a:lnTo>
                    <a:pt x="5095" y="1859"/>
                  </a:lnTo>
                  <a:lnTo>
                    <a:pt x="5095" y="1859"/>
                  </a:lnTo>
                  <a:lnTo>
                    <a:pt x="5095" y="1861"/>
                  </a:lnTo>
                  <a:lnTo>
                    <a:pt x="5095" y="1861"/>
                  </a:lnTo>
                  <a:lnTo>
                    <a:pt x="5095" y="1861"/>
                  </a:lnTo>
                  <a:lnTo>
                    <a:pt x="5095" y="1861"/>
                  </a:lnTo>
                  <a:lnTo>
                    <a:pt x="5095" y="1861"/>
                  </a:lnTo>
                  <a:lnTo>
                    <a:pt x="5095" y="1861"/>
                  </a:lnTo>
                  <a:lnTo>
                    <a:pt x="5093" y="1863"/>
                  </a:lnTo>
                  <a:lnTo>
                    <a:pt x="5093" y="1863"/>
                  </a:lnTo>
                  <a:lnTo>
                    <a:pt x="5093" y="1863"/>
                  </a:lnTo>
                  <a:lnTo>
                    <a:pt x="5095" y="1865"/>
                  </a:lnTo>
                  <a:lnTo>
                    <a:pt x="5095" y="1865"/>
                  </a:lnTo>
                  <a:lnTo>
                    <a:pt x="5097" y="1867"/>
                  </a:lnTo>
                  <a:lnTo>
                    <a:pt x="5099" y="1867"/>
                  </a:lnTo>
                  <a:lnTo>
                    <a:pt x="5102" y="1867"/>
                  </a:lnTo>
                  <a:lnTo>
                    <a:pt x="5102" y="1867"/>
                  </a:lnTo>
                  <a:lnTo>
                    <a:pt x="5104" y="1867"/>
                  </a:lnTo>
                  <a:lnTo>
                    <a:pt x="5106" y="1867"/>
                  </a:lnTo>
                  <a:lnTo>
                    <a:pt x="5106" y="1867"/>
                  </a:lnTo>
                  <a:lnTo>
                    <a:pt x="5108" y="1867"/>
                  </a:lnTo>
                  <a:lnTo>
                    <a:pt x="5110" y="1865"/>
                  </a:lnTo>
                  <a:lnTo>
                    <a:pt x="5110" y="1865"/>
                  </a:lnTo>
                  <a:lnTo>
                    <a:pt x="5110" y="1867"/>
                  </a:lnTo>
                  <a:lnTo>
                    <a:pt x="5112" y="1865"/>
                  </a:lnTo>
                  <a:lnTo>
                    <a:pt x="5112" y="1865"/>
                  </a:lnTo>
                  <a:lnTo>
                    <a:pt x="5114" y="1865"/>
                  </a:lnTo>
                  <a:lnTo>
                    <a:pt x="5114" y="1863"/>
                  </a:lnTo>
                  <a:lnTo>
                    <a:pt x="5112" y="1861"/>
                  </a:lnTo>
                  <a:close/>
                  <a:moveTo>
                    <a:pt x="5091" y="1784"/>
                  </a:moveTo>
                  <a:lnTo>
                    <a:pt x="5091" y="1784"/>
                  </a:lnTo>
                  <a:lnTo>
                    <a:pt x="5091" y="1784"/>
                  </a:lnTo>
                  <a:lnTo>
                    <a:pt x="5091" y="1784"/>
                  </a:lnTo>
                  <a:lnTo>
                    <a:pt x="5091" y="1784"/>
                  </a:lnTo>
                  <a:lnTo>
                    <a:pt x="5089" y="1784"/>
                  </a:lnTo>
                  <a:lnTo>
                    <a:pt x="5089" y="1784"/>
                  </a:lnTo>
                  <a:lnTo>
                    <a:pt x="5091" y="1784"/>
                  </a:lnTo>
                  <a:lnTo>
                    <a:pt x="5091" y="1784"/>
                  </a:lnTo>
                  <a:close/>
                  <a:moveTo>
                    <a:pt x="5058" y="1625"/>
                  </a:moveTo>
                  <a:lnTo>
                    <a:pt x="5058" y="1625"/>
                  </a:lnTo>
                  <a:lnTo>
                    <a:pt x="5058" y="1623"/>
                  </a:lnTo>
                  <a:lnTo>
                    <a:pt x="5058" y="1623"/>
                  </a:lnTo>
                  <a:lnTo>
                    <a:pt x="5058" y="1623"/>
                  </a:lnTo>
                  <a:lnTo>
                    <a:pt x="5058" y="1623"/>
                  </a:lnTo>
                  <a:lnTo>
                    <a:pt x="5058" y="1623"/>
                  </a:lnTo>
                  <a:lnTo>
                    <a:pt x="5058" y="1623"/>
                  </a:lnTo>
                  <a:lnTo>
                    <a:pt x="5058" y="1625"/>
                  </a:lnTo>
                  <a:close/>
                  <a:moveTo>
                    <a:pt x="5013" y="1507"/>
                  </a:moveTo>
                  <a:lnTo>
                    <a:pt x="5015" y="1507"/>
                  </a:lnTo>
                  <a:lnTo>
                    <a:pt x="5015" y="1507"/>
                  </a:lnTo>
                  <a:lnTo>
                    <a:pt x="5015" y="1507"/>
                  </a:lnTo>
                  <a:lnTo>
                    <a:pt x="5015" y="1507"/>
                  </a:lnTo>
                  <a:lnTo>
                    <a:pt x="5013" y="1507"/>
                  </a:lnTo>
                  <a:lnTo>
                    <a:pt x="5013" y="1507"/>
                  </a:lnTo>
                  <a:lnTo>
                    <a:pt x="5013" y="1507"/>
                  </a:lnTo>
                  <a:lnTo>
                    <a:pt x="5013" y="1507"/>
                  </a:lnTo>
                  <a:lnTo>
                    <a:pt x="5013" y="1507"/>
                  </a:lnTo>
                  <a:close/>
                  <a:moveTo>
                    <a:pt x="5069" y="2143"/>
                  </a:moveTo>
                  <a:lnTo>
                    <a:pt x="5069" y="2143"/>
                  </a:lnTo>
                  <a:lnTo>
                    <a:pt x="5069" y="2143"/>
                  </a:lnTo>
                  <a:lnTo>
                    <a:pt x="5069" y="2143"/>
                  </a:lnTo>
                  <a:lnTo>
                    <a:pt x="5069" y="2141"/>
                  </a:lnTo>
                  <a:lnTo>
                    <a:pt x="5069" y="2139"/>
                  </a:lnTo>
                  <a:lnTo>
                    <a:pt x="5066" y="2139"/>
                  </a:lnTo>
                  <a:lnTo>
                    <a:pt x="5066" y="2139"/>
                  </a:lnTo>
                  <a:lnTo>
                    <a:pt x="5066" y="2139"/>
                  </a:lnTo>
                  <a:lnTo>
                    <a:pt x="5066" y="2141"/>
                  </a:lnTo>
                  <a:lnTo>
                    <a:pt x="5066" y="2141"/>
                  </a:lnTo>
                  <a:lnTo>
                    <a:pt x="5066" y="2141"/>
                  </a:lnTo>
                  <a:lnTo>
                    <a:pt x="5069" y="2143"/>
                  </a:lnTo>
                  <a:close/>
                  <a:moveTo>
                    <a:pt x="5054" y="1619"/>
                  </a:moveTo>
                  <a:lnTo>
                    <a:pt x="5054" y="1617"/>
                  </a:lnTo>
                  <a:lnTo>
                    <a:pt x="5054" y="1617"/>
                  </a:lnTo>
                  <a:lnTo>
                    <a:pt x="5054" y="1615"/>
                  </a:lnTo>
                  <a:lnTo>
                    <a:pt x="5054" y="1615"/>
                  </a:lnTo>
                  <a:lnTo>
                    <a:pt x="5052" y="1615"/>
                  </a:lnTo>
                  <a:lnTo>
                    <a:pt x="5052" y="1615"/>
                  </a:lnTo>
                  <a:lnTo>
                    <a:pt x="5052" y="1615"/>
                  </a:lnTo>
                  <a:lnTo>
                    <a:pt x="5054" y="1615"/>
                  </a:lnTo>
                  <a:lnTo>
                    <a:pt x="5054" y="1617"/>
                  </a:lnTo>
                  <a:lnTo>
                    <a:pt x="5054" y="1617"/>
                  </a:lnTo>
                  <a:lnTo>
                    <a:pt x="5054" y="1619"/>
                  </a:lnTo>
                  <a:close/>
                  <a:moveTo>
                    <a:pt x="5034" y="779"/>
                  </a:moveTo>
                  <a:lnTo>
                    <a:pt x="5034" y="779"/>
                  </a:lnTo>
                  <a:lnTo>
                    <a:pt x="5029" y="777"/>
                  </a:lnTo>
                  <a:lnTo>
                    <a:pt x="5027" y="777"/>
                  </a:lnTo>
                  <a:lnTo>
                    <a:pt x="5025" y="779"/>
                  </a:lnTo>
                  <a:lnTo>
                    <a:pt x="5027" y="779"/>
                  </a:lnTo>
                  <a:lnTo>
                    <a:pt x="5029" y="781"/>
                  </a:lnTo>
                  <a:lnTo>
                    <a:pt x="5029" y="781"/>
                  </a:lnTo>
                  <a:lnTo>
                    <a:pt x="5031" y="783"/>
                  </a:lnTo>
                  <a:lnTo>
                    <a:pt x="5034" y="781"/>
                  </a:lnTo>
                  <a:lnTo>
                    <a:pt x="5036" y="781"/>
                  </a:lnTo>
                  <a:lnTo>
                    <a:pt x="5038" y="781"/>
                  </a:lnTo>
                  <a:lnTo>
                    <a:pt x="5038" y="781"/>
                  </a:lnTo>
                  <a:lnTo>
                    <a:pt x="5038" y="781"/>
                  </a:lnTo>
                  <a:lnTo>
                    <a:pt x="5040" y="781"/>
                  </a:lnTo>
                  <a:lnTo>
                    <a:pt x="5036" y="779"/>
                  </a:lnTo>
                  <a:lnTo>
                    <a:pt x="5034" y="779"/>
                  </a:lnTo>
                  <a:close/>
                  <a:moveTo>
                    <a:pt x="4943" y="1900"/>
                  </a:moveTo>
                  <a:lnTo>
                    <a:pt x="4943" y="1900"/>
                  </a:lnTo>
                  <a:lnTo>
                    <a:pt x="4941" y="1900"/>
                  </a:lnTo>
                  <a:lnTo>
                    <a:pt x="4941" y="1900"/>
                  </a:lnTo>
                  <a:lnTo>
                    <a:pt x="4941" y="1902"/>
                  </a:lnTo>
                  <a:lnTo>
                    <a:pt x="4941" y="1902"/>
                  </a:lnTo>
                  <a:lnTo>
                    <a:pt x="4941" y="1904"/>
                  </a:lnTo>
                  <a:lnTo>
                    <a:pt x="4941" y="1904"/>
                  </a:lnTo>
                  <a:lnTo>
                    <a:pt x="4941" y="1902"/>
                  </a:lnTo>
                  <a:lnTo>
                    <a:pt x="4943" y="1902"/>
                  </a:lnTo>
                  <a:lnTo>
                    <a:pt x="4941" y="1902"/>
                  </a:lnTo>
                  <a:lnTo>
                    <a:pt x="4941" y="1900"/>
                  </a:lnTo>
                  <a:lnTo>
                    <a:pt x="4943" y="1900"/>
                  </a:lnTo>
                  <a:lnTo>
                    <a:pt x="4943" y="1900"/>
                  </a:lnTo>
                  <a:close/>
                  <a:moveTo>
                    <a:pt x="4949" y="1830"/>
                  </a:moveTo>
                  <a:lnTo>
                    <a:pt x="4951" y="1832"/>
                  </a:lnTo>
                  <a:lnTo>
                    <a:pt x="4951" y="1830"/>
                  </a:lnTo>
                  <a:lnTo>
                    <a:pt x="4951" y="1830"/>
                  </a:lnTo>
                  <a:lnTo>
                    <a:pt x="4949" y="1830"/>
                  </a:lnTo>
                  <a:lnTo>
                    <a:pt x="4949" y="1830"/>
                  </a:lnTo>
                  <a:close/>
                  <a:moveTo>
                    <a:pt x="4947" y="2292"/>
                  </a:moveTo>
                  <a:lnTo>
                    <a:pt x="4945" y="2294"/>
                  </a:lnTo>
                  <a:lnTo>
                    <a:pt x="4947" y="2294"/>
                  </a:lnTo>
                  <a:lnTo>
                    <a:pt x="4947" y="2294"/>
                  </a:lnTo>
                  <a:lnTo>
                    <a:pt x="4947" y="2292"/>
                  </a:lnTo>
                  <a:lnTo>
                    <a:pt x="4947" y="2292"/>
                  </a:lnTo>
                  <a:close/>
                  <a:moveTo>
                    <a:pt x="4953" y="1933"/>
                  </a:moveTo>
                  <a:lnTo>
                    <a:pt x="4955" y="1933"/>
                  </a:lnTo>
                  <a:lnTo>
                    <a:pt x="4955" y="1933"/>
                  </a:lnTo>
                  <a:lnTo>
                    <a:pt x="4955" y="1931"/>
                  </a:lnTo>
                  <a:lnTo>
                    <a:pt x="4953" y="1931"/>
                  </a:lnTo>
                  <a:lnTo>
                    <a:pt x="4953" y="1931"/>
                  </a:lnTo>
                  <a:lnTo>
                    <a:pt x="4953" y="1933"/>
                  </a:lnTo>
                  <a:lnTo>
                    <a:pt x="4953" y="1933"/>
                  </a:lnTo>
                  <a:close/>
                  <a:moveTo>
                    <a:pt x="4935" y="1757"/>
                  </a:moveTo>
                  <a:lnTo>
                    <a:pt x="4932" y="1757"/>
                  </a:lnTo>
                  <a:lnTo>
                    <a:pt x="4932" y="1757"/>
                  </a:lnTo>
                  <a:lnTo>
                    <a:pt x="4930" y="1759"/>
                  </a:lnTo>
                  <a:lnTo>
                    <a:pt x="4930" y="1759"/>
                  </a:lnTo>
                  <a:lnTo>
                    <a:pt x="4930" y="1759"/>
                  </a:lnTo>
                  <a:lnTo>
                    <a:pt x="4930" y="1759"/>
                  </a:lnTo>
                  <a:lnTo>
                    <a:pt x="4930" y="1759"/>
                  </a:lnTo>
                  <a:lnTo>
                    <a:pt x="4930" y="1759"/>
                  </a:lnTo>
                  <a:lnTo>
                    <a:pt x="4932" y="1761"/>
                  </a:lnTo>
                  <a:lnTo>
                    <a:pt x="4932" y="1759"/>
                  </a:lnTo>
                  <a:lnTo>
                    <a:pt x="4932" y="1759"/>
                  </a:lnTo>
                  <a:lnTo>
                    <a:pt x="4935" y="1759"/>
                  </a:lnTo>
                  <a:lnTo>
                    <a:pt x="4935" y="1759"/>
                  </a:lnTo>
                  <a:lnTo>
                    <a:pt x="4935" y="1759"/>
                  </a:lnTo>
                  <a:lnTo>
                    <a:pt x="4935" y="1757"/>
                  </a:lnTo>
                  <a:lnTo>
                    <a:pt x="4935" y="1757"/>
                  </a:lnTo>
                  <a:close/>
                  <a:moveTo>
                    <a:pt x="4951" y="1834"/>
                  </a:moveTo>
                  <a:lnTo>
                    <a:pt x="4951" y="1834"/>
                  </a:lnTo>
                  <a:lnTo>
                    <a:pt x="4949" y="1834"/>
                  </a:lnTo>
                  <a:lnTo>
                    <a:pt x="4949" y="1836"/>
                  </a:lnTo>
                  <a:lnTo>
                    <a:pt x="4951" y="1838"/>
                  </a:lnTo>
                  <a:lnTo>
                    <a:pt x="4951" y="1836"/>
                  </a:lnTo>
                  <a:lnTo>
                    <a:pt x="4951" y="1836"/>
                  </a:lnTo>
                  <a:lnTo>
                    <a:pt x="4953" y="1838"/>
                  </a:lnTo>
                  <a:lnTo>
                    <a:pt x="4953" y="1838"/>
                  </a:lnTo>
                  <a:lnTo>
                    <a:pt x="4953" y="1840"/>
                  </a:lnTo>
                  <a:lnTo>
                    <a:pt x="4953" y="1842"/>
                  </a:lnTo>
                  <a:lnTo>
                    <a:pt x="4953" y="1842"/>
                  </a:lnTo>
                  <a:lnTo>
                    <a:pt x="4953" y="1842"/>
                  </a:lnTo>
                  <a:lnTo>
                    <a:pt x="4955" y="1842"/>
                  </a:lnTo>
                  <a:lnTo>
                    <a:pt x="4955" y="1842"/>
                  </a:lnTo>
                  <a:lnTo>
                    <a:pt x="4957" y="1842"/>
                  </a:lnTo>
                  <a:lnTo>
                    <a:pt x="4959" y="1842"/>
                  </a:lnTo>
                  <a:lnTo>
                    <a:pt x="4959" y="1840"/>
                  </a:lnTo>
                  <a:lnTo>
                    <a:pt x="4959" y="1840"/>
                  </a:lnTo>
                  <a:lnTo>
                    <a:pt x="4957" y="1840"/>
                  </a:lnTo>
                  <a:lnTo>
                    <a:pt x="4957" y="1838"/>
                  </a:lnTo>
                  <a:lnTo>
                    <a:pt x="4957" y="1838"/>
                  </a:lnTo>
                  <a:lnTo>
                    <a:pt x="4955" y="1838"/>
                  </a:lnTo>
                  <a:lnTo>
                    <a:pt x="4955" y="1836"/>
                  </a:lnTo>
                  <a:lnTo>
                    <a:pt x="4953" y="1836"/>
                  </a:lnTo>
                  <a:lnTo>
                    <a:pt x="4953" y="1836"/>
                  </a:lnTo>
                  <a:lnTo>
                    <a:pt x="4953" y="1834"/>
                  </a:lnTo>
                  <a:lnTo>
                    <a:pt x="4951" y="1834"/>
                  </a:lnTo>
                  <a:close/>
                  <a:moveTo>
                    <a:pt x="4953" y="1803"/>
                  </a:moveTo>
                  <a:lnTo>
                    <a:pt x="4953" y="1805"/>
                  </a:lnTo>
                  <a:lnTo>
                    <a:pt x="4953" y="1805"/>
                  </a:lnTo>
                  <a:lnTo>
                    <a:pt x="4955" y="1805"/>
                  </a:lnTo>
                  <a:lnTo>
                    <a:pt x="4955" y="1805"/>
                  </a:lnTo>
                  <a:lnTo>
                    <a:pt x="4955" y="1805"/>
                  </a:lnTo>
                  <a:lnTo>
                    <a:pt x="4955" y="1803"/>
                  </a:lnTo>
                  <a:lnTo>
                    <a:pt x="4955" y="1803"/>
                  </a:lnTo>
                  <a:lnTo>
                    <a:pt x="4955" y="1803"/>
                  </a:lnTo>
                  <a:lnTo>
                    <a:pt x="4955" y="1801"/>
                  </a:lnTo>
                  <a:lnTo>
                    <a:pt x="4953" y="1803"/>
                  </a:lnTo>
                  <a:lnTo>
                    <a:pt x="4953" y="1803"/>
                  </a:lnTo>
                  <a:close/>
                  <a:moveTo>
                    <a:pt x="4953" y="1809"/>
                  </a:moveTo>
                  <a:lnTo>
                    <a:pt x="4953" y="1809"/>
                  </a:lnTo>
                  <a:lnTo>
                    <a:pt x="4953" y="1809"/>
                  </a:lnTo>
                  <a:lnTo>
                    <a:pt x="4953" y="1809"/>
                  </a:lnTo>
                  <a:lnTo>
                    <a:pt x="4955" y="1811"/>
                  </a:lnTo>
                  <a:lnTo>
                    <a:pt x="4955" y="1809"/>
                  </a:lnTo>
                  <a:lnTo>
                    <a:pt x="4955" y="1809"/>
                  </a:lnTo>
                  <a:lnTo>
                    <a:pt x="4955" y="1807"/>
                  </a:lnTo>
                  <a:lnTo>
                    <a:pt x="4953" y="1809"/>
                  </a:lnTo>
                  <a:close/>
                  <a:moveTo>
                    <a:pt x="4947" y="1906"/>
                  </a:moveTo>
                  <a:lnTo>
                    <a:pt x="4949" y="1908"/>
                  </a:lnTo>
                  <a:lnTo>
                    <a:pt x="4949" y="1908"/>
                  </a:lnTo>
                  <a:lnTo>
                    <a:pt x="4951" y="1910"/>
                  </a:lnTo>
                  <a:lnTo>
                    <a:pt x="4953" y="1910"/>
                  </a:lnTo>
                  <a:lnTo>
                    <a:pt x="4953" y="1910"/>
                  </a:lnTo>
                  <a:lnTo>
                    <a:pt x="4953" y="1908"/>
                  </a:lnTo>
                  <a:lnTo>
                    <a:pt x="4953" y="1908"/>
                  </a:lnTo>
                  <a:lnTo>
                    <a:pt x="4953" y="1906"/>
                  </a:lnTo>
                  <a:lnTo>
                    <a:pt x="4951" y="1906"/>
                  </a:lnTo>
                  <a:lnTo>
                    <a:pt x="4951" y="1904"/>
                  </a:lnTo>
                  <a:lnTo>
                    <a:pt x="4951" y="1904"/>
                  </a:lnTo>
                  <a:lnTo>
                    <a:pt x="4951" y="1904"/>
                  </a:lnTo>
                  <a:lnTo>
                    <a:pt x="4949" y="1904"/>
                  </a:lnTo>
                  <a:lnTo>
                    <a:pt x="4949" y="1904"/>
                  </a:lnTo>
                  <a:lnTo>
                    <a:pt x="4949" y="1904"/>
                  </a:lnTo>
                  <a:lnTo>
                    <a:pt x="4951" y="1904"/>
                  </a:lnTo>
                  <a:lnTo>
                    <a:pt x="4949" y="1906"/>
                  </a:lnTo>
                  <a:lnTo>
                    <a:pt x="4947" y="1906"/>
                  </a:lnTo>
                  <a:close/>
                  <a:moveTo>
                    <a:pt x="5007" y="1505"/>
                  </a:moveTo>
                  <a:lnTo>
                    <a:pt x="5009" y="1505"/>
                  </a:lnTo>
                  <a:lnTo>
                    <a:pt x="5009" y="1505"/>
                  </a:lnTo>
                  <a:lnTo>
                    <a:pt x="5009" y="1505"/>
                  </a:lnTo>
                  <a:lnTo>
                    <a:pt x="5011" y="1505"/>
                  </a:lnTo>
                  <a:lnTo>
                    <a:pt x="5007" y="1505"/>
                  </a:lnTo>
                  <a:lnTo>
                    <a:pt x="5007" y="1505"/>
                  </a:lnTo>
                  <a:lnTo>
                    <a:pt x="5005" y="1505"/>
                  </a:lnTo>
                  <a:lnTo>
                    <a:pt x="5005" y="1505"/>
                  </a:lnTo>
                  <a:lnTo>
                    <a:pt x="5007" y="1505"/>
                  </a:lnTo>
                  <a:lnTo>
                    <a:pt x="5007" y="1505"/>
                  </a:lnTo>
                  <a:lnTo>
                    <a:pt x="5007" y="1505"/>
                  </a:lnTo>
                  <a:close/>
                  <a:moveTo>
                    <a:pt x="4941" y="2302"/>
                  </a:moveTo>
                  <a:lnTo>
                    <a:pt x="4941" y="2302"/>
                  </a:lnTo>
                  <a:lnTo>
                    <a:pt x="4941" y="2302"/>
                  </a:lnTo>
                  <a:lnTo>
                    <a:pt x="4943" y="2302"/>
                  </a:lnTo>
                  <a:lnTo>
                    <a:pt x="4943" y="2302"/>
                  </a:lnTo>
                  <a:lnTo>
                    <a:pt x="4943" y="2302"/>
                  </a:lnTo>
                  <a:lnTo>
                    <a:pt x="4943" y="2302"/>
                  </a:lnTo>
                  <a:lnTo>
                    <a:pt x="4943" y="2300"/>
                  </a:lnTo>
                  <a:lnTo>
                    <a:pt x="4943" y="2300"/>
                  </a:lnTo>
                  <a:lnTo>
                    <a:pt x="4943" y="2300"/>
                  </a:lnTo>
                  <a:lnTo>
                    <a:pt x="4941" y="2300"/>
                  </a:lnTo>
                  <a:lnTo>
                    <a:pt x="4941" y="2302"/>
                  </a:lnTo>
                  <a:close/>
                  <a:moveTo>
                    <a:pt x="4986" y="1522"/>
                  </a:moveTo>
                  <a:lnTo>
                    <a:pt x="4986" y="1522"/>
                  </a:lnTo>
                  <a:lnTo>
                    <a:pt x="4986" y="1522"/>
                  </a:lnTo>
                  <a:lnTo>
                    <a:pt x="4986" y="1522"/>
                  </a:lnTo>
                  <a:lnTo>
                    <a:pt x="4986" y="1522"/>
                  </a:lnTo>
                  <a:lnTo>
                    <a:pt x="4984" y="1524"/>
                  </a:lnTo>
                  <a:lnTo>
                    <a:pt x="4984" y="1524"/>
                  </a:lnTo>
                  <a:lnTo>
                    <a:pt x="4984" y="1524"/>
                  </a:lnTo>
                  <a:lnTo>
                    <a:pt x="4984" y="1524"/>
                  </a:lnTo>
                  <a:lnTo>
                    <a:pt x="4984" y="1524"/>
                  </a:lnTo>
                  <a:lnTo>
                    <a:pt x="4986" y="1522"/>
                  </a:lnTo>
                  <a:close/>
                  <a:moveTo>
                    <a:pt x="4980" y="1885"/>
                  </a:moveTo>
                  <a:lnTo>
                    <a:pt x="4980" y="1885"/>
                  </a:lnTo>
                  <a:lnTo>
                    <a:pt x="4980" y="1887"/>
                  </a:lnTo>
                  <a:lnTo>
                    <a:pt x="4982" y="1887"/>
                  </a:lnTo>
                  <a:lnTo>
                    <a:pt x="4982" y="1885"/>
                  </a:lnTo>
                  <a:lnTo>
                    <a:pt x="4982" y="1885"/>
                  </a:lnTo>
                  <a:lnTo>
                    <a:pt x="4980" y="1883"/>
                  </a:lnTo>
                  <a:lnTo>
                    <a:pt x="4980" y="1883"/>
                  </a:lnTo>
                  <a:lnTo>
                    <a:pt x="4980" y="1883"/>
                  </a:lnTo>
                  <a:lnTo>
                    <a:pt x="4980" y="1885"/>
                  </a:lnTo>
                  <a:close/>
                  <a:moveTo>
                    <a:pt x="4984" y="1619"/>
                  </a:moveTo>
                  <a:lnTo>
                    <a:pt x="4984" y="1619"/>
                  </a:lnTo>
                  <a:lnTo>
                    <a:pt x="4984" y="1619"/>
                  </a:lnTo>
                  <a:lnTo>
                    <a:pt x="4984" y="1619"/>
                  </a:lnTo>
                  <a:lnTo>
                    <a:pt x="4984" y="1619"/>
                  </a:lnTo>
                  <a:lnTo>
                    <a:pt x="4984" y="1619"/>
                  </a:lnTo>
                  <a:lnTo>
                    <a:pt x="4984" y="1619"/>
                  </a:lnTo>
                  <a:close/>
                  <a:moveTo>
                    <a:pt x="4988" y="1896"/>
                  </a:moveTo>
                  <a:lnTo>
                    <a:pt x="4988" y="1896"/>
                  </a:lnTo>
                  <a:lnTo>
                    <a:pt x="4988" y="1896"/>
                  </a:lnTo>
                  <a:lnTo>
                    <a:pt x="4988" y="1896"/>
                  </a:lnTo>
                  <a:lnTo>
                    <a:pt x="4986" y="1896"/>
                  </a:lnTo>
                  <a:lnTo>
                    <a:pt x="4986" y="1896"/>
                  </a:lnTo>
                  <a:lnTo>
                    <a:pt x="4988" y="1896"/>
                  </a:lnTo>
                  <a:lnTo>
                    <a:pt x="4988" y="1896"/>
                  </a:lnTo>
                  <a:close/>
                  <a:moveTo>
                    <a:pt x="5050" y="2224"/>
                  </a:moveTo>
                  <a:lnTo>
                    <a:pt x="5048" y="2224"/>
                  </a:lnTo>
                  <a:lnTo>
                    <a:pt x="5048" y="2224"/>
                  </a:lnTo>
                  <a:lnTo>
                    <a:pt x="5050" y="2224"/>
                  </a:lnTo>
                  <a:lnTo>
                    <a:pt x="5050" y="2222"/>
                  </a:lnTo>
                  <a:lnTo>
                    <a:pt x="5050" y="2222"/>
                  </a:lnTo>
                  <a:lnTo>
                    <a:pt x="5052" y="2222"/>
                  </a:lnTo>
                  <a:lnTo>
                    <a:pt x="5050" y="2222"/>
                  </a:lnTo>
                  <a:lnTo>
                    <a:pt x="5050" y="2220"/>
                  </a:lnTo>
                  <a:lnTo>
                    <a:pt x="5050" y="2220"/>
                  </a:lnTo>
                  <a:lnTo>
                    <a:pt x="5048" y="2220"/>
                  </a:lnTo>
                  <a:lnTo>
                    <a:pt x="5048" y="2220"/>
                  </a:lnTo>
                  <a:lnTo>
                    <a:pt x="5048" y="2220"/>
                  </a:lnTo>
                  <a:lnTo>
                    <a:pt x="5048" y="2222"/>
                  </a:lnTo>
                  <a:lnTo>
                    <a:pt x="5048" y="2222"/>
                  </a:lnTo>
                  <a:lnTo>
                    <a:pt x="5046" y="2222"/>
                  </a:lnTo>
                  <a:lnTo>
                    <a:pt x="5046" y="2224"/>
                  </a:lnTo>
                  <a:lnTo>
                    <a:pt x="5046" y="2224"/>
                  </a:lnTo>
                  <a:lnTo>
                    <a:pt x="5046" y="2224"/>
                  </a:lnTo>
                  <a:lnTo>
                    <a:pt x="5044" y="2226"/>
                  </a:lnTo>
                  <a:lnTo>
                    <a:pt x="5046" y="2224"/>
                  </a:lnTo>
                  <a:lnTo>
                    <a:pt x="5046" y="2222"/>
                  </a:lnTo>
                  <a:lnTo>
                    <a:pt x="5046" y="2222"/>
                  </a:lnTo>
                  <a:lnTo>
                    <a:pt x="5046" y="2222"/>
                  </a:lnTo>
                  <a:lnTo>
                    <a:pt x="5046" y="2220"/>
                  </a:lnTo>
                  <a:lnTo>
                    <a:pt x="5046" y="2220"/>
                  </a:lnTo>
                  <a:lnTo>
                    <a:pt x="5048" y="2220"/>
                  </a:lnTo>
                  <a:lnTo>
                    <a:pt x="5046" y="2220"/>
                  </a:lnTo>
                  <a:lnTo>
                    <a:pt x="5046" y="2220"/>
                  </a:lnTo>
                  <a:lnTo>
                    <a:pt x="5044" y="2220"/>
                  </a:lnTo>
                  <a:lnTo>
                    <a:pt x="5044" y="2220"/>
                  </a:lnTo>
                  <a:lnTo>
                    <a:pt x="5042" y="2222"/>
                  </a:lnTo>
                  <a:lnTo>
                    <a:pt x="5040" y="2224"/>
                  </a:lnTo>
                  <a:lnTo>
                    <a:pt x="5038" y="2224"/>
                  </a:lnTo>
                  <a:lnTo>
                    <a:pt x="5036" y="2226"/>
                  </a:lnTo>
                  <a:lnTo>
                    <a:pt x="5034" y="2226"/>
                  </a:lnTo>
                  <a:lnTo>
                    <a:pt x="5034" y="2224"/>
                  </a:lnTo>
                  <a:lnTo>
                    <a:pt x="5034" y="2222"/>
                  </a:lnTo>
                  <a:lnTo>
                    <a:pt x="5034" y="2220"/>
                  </a:lnTo>
                  <a:lnTo>
                    <a:pt x="5034" y="2218"/>
                  </a:lnTo>
                  <a:lnTo>
                    <a:pt x="5031" y="2218"/>
                  </a:lnTo>
                  <a:lnTo>
                    <a:pt x="5029" y="2218"/>
                  </a:lnTo>
                  <a:lnTo>
                    <a:pt x="5029" y="2216"/>
                  </a:lnTo>
                  <a:lnTo>
                    <a:pt x="5029" y="2216"/>
                  </a:lnTo>
                  <a:lnTo>
                    <a:pt x="5029" y="2214"/>
                  </a:lnTo>
                  <a:lnTo>
                    <a:pt x="5029" y="2214"/>
                  </a:lnTo>
                  <a:lnTo>
                    <a:pt x="5031" y="2212"/>
                  </a:lnTo>
                  <a:lnTo>
                    <a:pt x="5031" y="2212"/>
                  </a:lnTo>
                  <a:lnTo>
                    <a:pt x="5029" y="2212"/>
                  </a:lnTo>
                  <a:lnTo>
                    <a:pt x="5027" y="2212"/>
                  </a:lnTo>
                  <a:lnTo>
                    <a:pt x="5025" y="2214"/>
                  </a:lnTo>
                  <a:lnTo>
                    <a:pt x="5023" y="2216"/>
                  </a:lnTo>
                  <a:lnTo>
                    <a:pt x="5021" y="2220"/>
                  </a:lnTo>
                  <a:lnTo>
                    <a:pt x="5019" y="2224"/>
                  </a:lnTo>
                  <a:lnTo>
                    <a:pt x="5019" y="2228"/>
                  </a:lnTo>
                  <a:lnTo>
                    <a:pt x="5017" y="2230"/>
                  </a:lnTo>
                  <a:lnTo>
                    <a:pt x="5017" y="2232"/>
                  </a:lnTo>
                  <a:lnTo>
                    <a:pt x="5015" y="2232"/>
                  </a:lnTo>
                  <a:lnTo>
                    <a:pt x="5015" y="2232"/>
                  </a:lnTo>
                  <a:lnTo>
                    <a:pt x="5013" y="2234"/>
                  </a:lnTo>
                  <a:lnTo>
                    <a:pt x="5011" y="2234"/>
                  </a:lnTo>
                  <a:lnTo>
                    <a:pt x="5011" y="2236"/>
                  </a:lnTo>
                  <a:lnTo>
                    <a:pt x="5009" y="2238"/>
                  </a:lnTo>
                  <a:lnTo>
                    <a:pt x="5009" y="2241"/>
                  </a:lnTo>
                  <a:lnTo>
                    <a:pt x="5009" y="2243"/>
                  </a:lnTo>
                  <a:lnTo>
                    <a:pt x="5009" y="2245"/>
                  </a:lnTo>
                  <a:lnTo>
                    <a:pt x="5009" y="2245"/>
                  </a:lnTo>
                  <a:lnTo>
                    <a:pt x="5009" y="2245"/>
                  </a:lnTo>
                  <a:lnTo>
                    <a:pt x="5009" y="2245"/>
                  </a:lnTo>
                  <a:lnTo>
                    <a:pt x="5007" y="2247"/>
                  </a:lnTo>
                  <a:lnTo>
                    <a:pt x="5007" y="2247"/>
                  </a:lnTo>
                  <a:lnTo>
                    <a:pt x="5005" y="2249"/>
                  </a:lnTo>
                  <a:lnTo>
                    <a:pt x="5005" y="2251"/>
                  </a:lnTo>
                  <a:lnTo>
                    <a:pt x="5005" y="2253"/>
                  </a:lnTo>
                  <a:lnTo>
                    <a:pt x="5005" y="2253"/>
                  </a:lnTo>
                  <a:lnTo>
                    <a:pt x="5005" y="2251"/>
                  </a:lnTo>
                  <a:lnTo>
                    <a:pt x="5005" y="2251"/>
                  </a:lnTo>
                  <a:lnTo>
                    <a:pt x="5005" y="2251"/>
                  </a:lnTo>
                  <a:lnTo>
                    <a:pt x="5003" y="2253"/>
                  </a:lnTo>
                  <a:lnTo>
                    <a:pt x="5001" y="2253"/>
                  </a:lnTo>
                  <a:lnTo>
                    <a:pt x="5001" y="2255"/>
                  </a:lnTo>
                  <a:lnTo>
                    <a:pt x="5001" y="2255"/>
                  </a:lnTo>
                  <a:lnTo>
                    <a:pt x="5001" y="2255"/>
                  </a:lnTo>
                  <a:lnTo>
                    <a:pt x="4998" y="2255"/>
                  </a:lnTo>
                  <a:lnTo>
                    <a:pt x="4998" y="2255"/>
                  </a:lnTo>
                  <a:lnTo>
                    <a:pt x="4998" y="2255"/>
                  </a:lnTo>
                  <a:lnTo>
                    <a:pt x="4998" y="2257"/>
                  </a:lnTo>
                  <a:lnTo>
                    <a:pt x="4998" y="2255"/>
                  </a:lnTo>
                  <a:lnTo>
                    <a:pt x="4996" y="2255"/>
                  </a:lnTo>
                  <a:lnTo>
                    <a:pt x="4996" y="2255"/>
                  </a:lnTo>
                  <a:lnTo>
                    <a:pt x="4994" y="2257"/>
                  </a:lnTo>
                  <a:lnTo>
                    <a:pt x="4996" y="2257"/>
                  </a:lnTo>
                  <a:lnTo>
                    <a:pt x="4996" y="2257"/>
                  </a:lnTo>
                  <a:lnTo>
                    <a:pt x="4994" y="2257"/>
                  </a:lnTo>
                  <a:lnTo>
                    <a:pt x="4994" y="2257"/>
                  </a:lnTo>
                  <a:lnTo>
                    <a:pt x="4994" y="2257"/>
                  </a:lnTo>
                  <a:lnTo>
                    <a:pt x="4992" y="2259"/>
                  </a:lnTo>
                  <a:lnTo>
                    <a:pt x="4992" y="2259"/>
                  </a:lnTo>
                  <a:lnTo>
                    <a:pt x="4992" y="2259"/>
                  </a:lnTo>
                  <a:lnTo>
                    <a:pt x="4990" y="2261"/>
                  </a:lnTo>
                  <a:lnTo>
                    <a:pt x="4988" y="2261"/>
                  </a:lnTo>
                  <a:lnTo>
                    <a:pt x="4988" y="2263"/>
                  </a:lnTo>
                  <a:lnTo>
                    <a:pt x="4988" y="2263"/>
                  </a:lnTo>
                  <a:lnTo>
                    <a:pt x="4988" y="2263"/>
                  </a:lnTo>
                  <a:lnTo>
                    <a:pt x="4988" y="2263"/>
                  </a:lnTo>
                  <a:lnTo>
                    <a:pt x="4988" y="2263"/>
                  </a:lnTo>
                  <a:lnTo>
                    <a:pt x="4986" y="2263"/>
                  </a:lnTo>
                  <a:lnTo>
                    <a:pt x="4986" y="2265"/>
                  </a:lnTo>
                  <a:lnTo>
                    <a:pt x="4984" y="2265"/>
                  </a:lnTo>
                  <a:lnTo>
                    <a:pt x="4980" y="2267"/>
                  </a:lnTo>
                  <a:lnTo>
                    <a:pt x="4978" y="2267"/>
                  </a:lnTo>
                  <a:lnTo>
                    <a:pt x="4978" y="2269"/>
                  </a:lnTo>
                  <a:lnTo>
                    <a:pt x="4978" y="2269"/>
                  </a:lnTo>
                  <a:lnTo>
                    <a:pt x="4978" y="2269"/>
                  </a:lnTo>
                  <a:lnTo>
                    <a:pt x="4976" y="2269"/>
                  </a:lnTo>
                  <a:lnTo>
                    <a:pt x="4976" y="2269"/>
                  </a:lnTo>
                  <a:lnTo>
                    <a:pt x="4974" y="2271"/>
                  </a:lnTo>
                  <a:lnTo>
                    <a:pt x="4972" y="2271"/>
                  </a:lnTo>
                  <a:lnTo>
                    <a:pt x="4972" y="2271"/>
                  </a:lnTo>
                  <a:lnTo>
                    <a:pt x="4968" y="2271"/>
                  </a:lnTo>
                  <a:lnTo>
                    <a:pt x="4968" y="2274"/>
                  </a:lnTo>
                  <a:lnTo>
                    <a:pt x="4963" y="2276"/>
                  </a:lnTo>
                  <a:lnTo>
                    <a:pt x="4961" y="2278"/>
                  </a:lnTo>
                  <a:lnTo>
                    <a:pt x="4959" y="2280"/>
                  </a:lnTo>
                  <a:lnTo>
                    <a:pt x="4959" y="2282"/>
                  </a:lnTo>
                  <a:lnTo>
                    <a:pt x="4959" y="2282"/>
                  </a:lnTo>
                  <a:lnTo>
                    <a:pt x="4959" y="2284"/>
                  </a:lnTo>
                  <a:lnTo>
                    <a:pt x="4959" y="2282"/>
                  </a:lnTo>
                  <a:lnTo>
                    <a:pt x="4959" y="2282"/>
                  </a:lnTo>
                  <a:lnTo>
                    <a:pt x="4957" y="2284"/>
                  </a:lnTo>
                  <a:lnTo>
                    <a:pt x="4955" y="2284"/>
                  </a:lnTo>
                  <a:lnTo>
                    <a:pt x="4955" y="2286"/>
                  </a:lnTo>
                  <a:lnTo>
                    <a:pt x="4953" y="2286"/>
                  </a:lnTo>
                  <a:lnTo>
                    <a:pt x="4953" y="2286"/>
                  </a:lnTo>
                  <a:lnTo>
                    <a:pt x="4955" y="2288"/>
                  </a:lnTo>
                  <a:lnTo>
                    <a:pt x="4955" y="2288"/>
                  </a:lnTo>
                  <a:lnTo>
                    <a:pt x="4953" y="2288"/>
                  </a:lnTo>
                  <a:lnTo>
                    <a:pt x="4953" y="2286"/>
                  </a:lnTo>
                  <a:lnTo>
                    <a:pt x="4951" y="2288"/>
                  </a:lnTo>
                  <a:lnTo>
                    <a:pt x="4949" y="2290"/>
                  </a:lnTo>
                  <a:lnTo>
                    <a:pt x="4951" y="2290"/>
                  </a:lnTo>
                  <a:lnTo>
                    <a:pt x="4951" y="2290"/>
                  </a:lnTo>
                  <a:lnTo>
                    <a:pt x="4951" y="2290"/>
                  </a:lnTo>
                  <a:lnTo>
                    <a:pt x="4949" y="2290"/>
                  </a:lnTo>
                  <a:lnTo>
                    <a:pt x="4947" y="2292"/>
                  </a:lnTo>
                  <a:lnTo>
                    <a:pt x="4947" y="2292"/>
                  </a:lnTo>
                  <a:lnTo>
                    <a:pt x="4947" y="2292"/>
                  </a:lnTo>
                  <a:lnTo>
                    <a:pt x="4949" y="2294"/>
                  </a:lnTo>
                  <a:lnTo>
                    <a:pt x="4951" y="2294"/>
                  </a:lnTo>
                  <a:lnTo>
                    <a:pt x="4951" y="2294"/>
                  </a:lnTo>
                  <a:lnTo>
                    <a:pt x="4949" y="2294"/>
                  </a:lnTo>
                  <a:lnTo>
                    <a:pt x="4949" y="2294"/>
                  </a:lnTo>
                  <a:lnTo>
                    <a:pt x="4949" y="2296"/>
                  </a:lnTo>
                  <a:lnTo>
                    <a:pt x="4949" y="2296"/>
                  </a:lnTo>
                  <a:lnTo>
                    <a:pt x="4949" y="2296"/>
                  </a:lnTo>
                  <a:lnTo>
                    <a:pt x="4947" y="2294"/>
                  </a:lnTo>
                  <a:lnTo>
                    <a:pt x="4945" y="2294"/>
                  </a:lnTo>
                  <a:lnTo>
                    <a:pt x="4945" y="2296"/>
                  </a:lnTo>
                  <a:lnTo>
                    <a:pt x="4947" y="2296"/>
                  </a:lnTo>
                  <a:lnTo>
                    <a:pt x="4945" y="2296"/>
                  </a:lnTo>
                  <a:lnTo>
                    <a:pt x="4943" y="2298"/>
                  </a:lnTo>
                  <a:lnTo>
                    <a:pt x="4943" y="2298"/>
                  </a:lnTo>
                  <a:lnTo>
                    <a:pt x="4945" y="2298"/>
                  </a:lnTo>
                  <a:lnTo>
                    <a:pt x="4947" y="2298"/>
                  </a:lnTo>
                  <a:lnTo>
                    <a:pt x="4945" y="2300"/>
                  </a:lnTo>
                  <a:lnTo>
                    <a:pt x="4945" y="2300"/>
                  </a:lnTo>
                  <a:lnTo>
                    <a:pt x="4945" y="2302"/>
                  </a:lnTo>
                  <a:lnTo>
                    <a:pt x="4947" y="2302"/>
                  </a:lnTo>
                  <a:lnTo>
                    <a:pt x="4947" y="2302"/>
                  </a:lnTo>
                  <a:lnTo>
                    <a:pt x="4945" y="2302"/>
                  </a:lnTo>
                  <a:lnTo>
                    <a:pt x="4941" y="2305"/>
                  </a:lnTo>
                  <a:lnTo>
                    <a:pt x="4941" y="2305"/>
                  </a:lnTo>
                  <a:lnTo>
                    <a:pt x="4941" y="2305"/>
                  </a:lnTo>
                  <a:lnTo>
                    <a:pt x="4941" y="2307"/>
                  </a:lnTo>
                  <a:lnTo>
                    <a:pt x="4943" y="2307"/>
                  </a:lnTo>
                  <a:lnTo>
                    <a:pt x="4943" y="2305"/>
                  </a:lnTo>
                  <a:lnTo>
                    <a:pt x="4943" y="2305"/>
                  </a:lnTo>
                  <a:lnTo>
                    <a:pt x="4943" y="2307"/>
                  </a:lnTo>
                  <a:lnTo>
                    <a:pt x="4943" y="2307"/>
                  </a:lnTo>
                  <a:lnTo>
                    <a:pt x="4943" y="2309"/>
                  </a:lnTo>
                  <a:lnTo>
                    <a:pt x="4945" y="2307"/>
                  </a:lnTo>
                  <a:lnTo>
                    <a:pt x="4947" y="2307"/>
                  </a:lnTo>
                  <a:lnTo>
                    <a:pt x="4943" y="2309"/>
                  </a:lnTo>
                  <a:lnTo>
                    <a:pt x="4943" y="2311"/>
                  </a:lnTo>
                  <a:lnTo>
                    <a:pt x="4945" y="2311"/>
                  </a:lnTo>
                  <a:lnTo>
                    <a:pt x="4949" y="2311"/>
                  </a:lnTo>
                  <a:lnTo>
                    <a:pt x="4953" y="2311"/>
                  </a:lnTo>
                  <a:lnTo>
                    <a:pt x="4953" y="2311"/>
                  </a:lnTo>
                  <a:lnTo>
                    <a:pt x="4955" y="2309"/>
                  </a:lnTo>
                  <a:lnTo>
                    <a:pt x="4955" y="2309"/>
                  </a:lnTo>
                  <a:lnTo>
                    <a:pt x="4957" y="2311"/>
                  </a:lnTo>
                  <a:lnTo>
                    <a:pt x="4957" y="2311"/>
                  </a:lnTo>
                  <a:lnTo>
                    <a:pt x="4959" y="2313"/>
                  </a:lnTo>
                  <a:lnTo>
                    <a:pt x="4959" y="2313"/>
                  </a:lnTo>
                  <a:lnTo>
                    <a:pt x="4963" y="2313"/>
                  </a:lnTo>
                  <a:lnTo>
                    <a:pt x="4963" y="2313"/>
                  </a:lnTo>
                  <a:lnTo>
                    <a:pt x="4965" y="2313"/>
                  </a:lnTo>
                  <a:lnTo>
                    <a:pt x="4965" y="2315"/>
                  </a:lnTo>
                  <a:lnTo>
                    <a:pt x="4965" y="2315"/>
                  </a:lnTo>
                  <a:lnTo>
                    <a:pt x="4965" y="2315"/>
                  </a:lnTo>
                  <a:lnTo>
                    <a:pt x="4965" y="2317"/>
                  </a:lnTo>
                  <a:lnTo>
                    <a:pt x="4968" y="2317"/>
                  </a:lnTo>
                  <a:lnTo>
                    <a:pt x="4968" y="2317"/>
                  </a:lnTo>
                  <a:lnTo>
                    <a:pt x="4968" y="2317"/>
                  </a:lnTo>
                  <a:lnTo>
                    <a:pt x="4970" y="2317"/>
                  </a:lnTo>
                  <a:lnTo>
                    <a:pt x="4970" y="2317"/>
                  </a:lnTo>
                  <a:lnTo>
                    <a:pt x="4972" y="2317"/>
                  </a:lnTo>
                  <a:lnTo>
                    <a:pt x="4974" y="2317"/>
                  </a:lnTo>
                  <a:lnTo>
                    <a:pt x="4976" y="2317"/>
                  </a:lnTo>
                  <a:lnTo>
                    <a:pt x="4978" y="2319"/>
                  </a:lnTo>
                  <a:lnTo>
                    <a:pt x="4980" y="2317"/>
                  </a:lnTo>
                  <a:lnTo>
                    <a:pt x="4986" y="2317"/>
                  </a:lnTo>
                  <a:lnTo>
                    <a:pt x="4986" y="2317"/>
                  </a:lnTo>
                  <a:lnTo>
                    <a:pt x="4986" y="2315"/>
                  </a:lnTo>
                  <a:lnTo>
                    <a:pt x="4988" y="2313"/>
                  </a:lnTo>
                  <a:lnTo>
                    <a:pt x="4992" y="2309"/>
                  </a:lnTo>
                  <a:lnTo>
                    <a:pt x="4994" y="2309"/>
                  </a:lnTo>
                  <a:lnTo>
                    <a:pt x="4994" y="2307"/>
                  </a:lnTo>
                  <a:lnTo>
                    <a:pt x="4996" y="2307"/>
                  </a:lnTo>
                  <a:lnTo>
                    <a:pt x="5001" y="2305"/>
                  </a:lnTo>
                  <a:lnTo>
                    <a:pt x="5001" y="2305"/>
                  </a:lnTo>
                  <a:lnTo>
                    <a:pt x="5001" y="2305"/>
                  </a:lnTo>
                  <a:lnTo>
                    <a:pt x="5001" y="2305"/>
                  </a:lnTo>
                  <a:lnTo>
                    <a:pt x="5001" y="2302"/>
                  </a:lnTo>
                  <a:lnTo>
                    <a:pt x="5001" y="2302"/>
                  </a:lnTo>
                  <a:lnTo>
                    <a:pt x="5001" y="2302"/>
                  </a:lnTo>
                  <a:lnTo>
                    <a:pt x="5001" y="2300"/>
                  </a:lnTo>
                  <a:lnTo>
                    <a:pt x="5003" y="2298"/>
                  </a:lnTo>
                  <a:lnTo>
                    <a:pt x="5003" y="2296"/>
                  </a:lnTo>
                  <a:lnTo>
                    <a:pt x="5003" y="2292"/>
                  </a:lnTo>
                  <a:lnTo>
                    <a:pt x="5005" y="2292"/>
                  </a:lnTo>
                  <a:lnTo>
                    <a:pt x="5007" y="2290"/>
                  </a:lnTo>
                  <a:lnTo>
                    <a:pt x="5007" y="2288"/>
                  </a:lnTo>
                  <a:lnTo>
                    <a:pt x="5005" y="2288"/>
                  </a:lnTo>
                  <a:lnTo>
                    <a:pt x="5005" y="2288"/>
                  </a:lnTo>
                  <a:lnTo>
                    <a:pt x="5007" y="2288"/>
                  </a:lnTo>
                  <a:lnTo>
                    <a:pt x="5007" y="2286"/>
                  </a:lnTo>
                  <a:lnTo>
                    <a:pt x="5007" y="2282"/>
                  </a:lnTo>
                  <a:lnTo>
                    <a:pt x="5007" y="2282"/>
                  </a:lnTo>
                  <a:lnTo>
                    <a:pt x="5009" y="2278"/>
                  </a:lnTo>
                  <a:lnTo>
                    <a:pt x="5009" y="2278"/>
                  </a:lnTo>
                  <a:lnTo>
                    <a:pt x="5009" y="2276"/>
                  </a:lnTo>
                  <a:lnTo>
                    <a:pt x="5009" y="2276"/>
                  </a:lnTo>
                  <a:lnTo>
                    <a:pt x="5011" y="2276"/>
                  </a:lnTo>
                  <a:lnTo>
                    <a:pt x="5011" y="2274"/>
                  </a:lnTo>
                  <a:lnTo>
                    <a:pt x="5011" y="2274"/>
                  </a:lnTo>
                  <a:lnTo>
                    <a:pt x="5013" y="2274"/>
                  </a:lnTo>
                  <a:lnTo>
                    <a:pt x="5015" y="2274"/>
                  </a:lnTo>
                  <a:lnTo>
                    <a:pt x="5015" y="2274"/>
                  </a:lnTo>
                  <a:lnTo>
                    <a:pt x="5017" y="2271"/>
                  </a:lnTo>
                  <a:lnTo>
                    <a:pt x="5019" y="2271"/>
                  </a:lnTo>
                  <a:lnTo>
                    <a:pt x="5019" y="2271"/>
                  </a:lnTo>
                  <a:lnTo>
                    <a:pt x="5021" y="2269"/>
                  </a:lnTo>
                  <a:lnTo>
                    <a:pt x="5021" y="2269"/>
                  </a:lnTo>
                  <a:lnTo>
                    <a:pt x="5019" y="2267"/>
                  </a:lnTo>
                  <a:lnTo>
                    <a:pt x="5019" y="2267"/>
                  </a:lnTo>
                  <a:lnTo>
                    <a:pt x="5021" y="2267"/>
                  </a:lnTo>
                  <a:lnTo>
                    <a:pt x="5021" y="2269"/>
                  </a:lnTo>
                  <a:lnTo>
                    <a:pt x="5023" y="2269"/>
                  </a:lnTo>
                  <a:lnTo>
                    <a:pt x="5023" y="2269"/>
                  </a:lnTo>
                  <a:lnTo>
                    <a:pt x="5023" y="2269"/>
                  </a:lnTo>
                  <a:lnTo>
                    <a:pt x="5025" y="2267"/>
                  </a:lnTo>
                  <a:lnTo>
                    <a:pt x="5025" y="2267"/>
                  </a:lnTo>
                  <a:lnTo>
                    <a:pt x="5025" y="2267"/>
                  </a:lnTo>
                  <a:lnTo>
                    <a:pt x="5025" y="2267"/>
                  </a:lnTo>
                  <a:lnTo>
                    <a:pt x="5027" y="2267"/>
                  </a:lnTo>
                  <a:lnTo>
                    <a:pt x="5025" y="2269"/>
                  </a:lnTo>
                  <a:lnTo>
                    <a:pt x="5025" y="2269"/>
                  </a:lnTo>
                  <a:lnTo>
                    <a:pt x="5027" y="2269"/>
                  </a:lnTo>
                  <a:lnTo>
                    <a:pt x="5029" y="2269"/>
                  </a:lnTo>
                  <a:lnTo>
                    <a:pt x="5029" y="2269"/>
                  </a:lnTo>
                  <a:lnTo>
                    <a:pt x="5031" y="2269"/>
                  </a:lnTo>
                  <a:lnTo>
                    <a:pt x="5034" y="2269"/>
                  </a:lnTo>
                  <a:lnTo>
                    <a:pt x="5034" y="2269"/>
                  </a:lnTo>
                  <a:lnTo>
                    <a:pt x="5034" y="2269"/>
                  </a:lnTo>
                  <a:lnTo>
                    <a:pt x="5034" y="2267"/>
                  </a:lnTo>
                  <a:lnTo>
                    <a:pt x="5034" y="2267"/>
                  </a:lnTo>
                  <a:lnTo>
                    <a:pt x="5034" y="2265"/>
                  </a:lnTo>
                  <a:lnTo>
                    <a:pt x="5031" y="2265"/>
                  </a:lnTo>
                  <a:lnTo>
                    <a:pt x="5029" y="2265"/>
                  </a:lnTo>
                  <a:lnTo>
                    <a:pt x="5029" y="2265"/>
                  </a:lnTo>
                  <a:lnTo>
                    <a:pt x="5029" y="2263"/>
                  </a:lnTo>
                  <a:lnTo>
                    <a:pt x="5029" y="2263"/>
                  </a:lnTo>
                  <a:lnTo>
                    <a:pt x="5029" y="2263"/>
                  </a:lnTo>
                  <a:lnTo>
                    <a:pt x="5025" y="2263"/>
                  </a:lnTo>
                  <a:lnTo>
                    <a:pt x="5027" y="2261"/>
                  </a:lnTo>
                  <a:lnTo>
                    <a:pt x="5027" y="2261"/>
                  </a:lnTo>
                  <a:lnTo>
                    <a:pt x="5029" y="2261"/>
                  </a:lnTo>
                  <a:lnTo>
                    <a:pt x="5029" y="2261"/>
                  </a:lnTo>
                  <a:lnTo>
                    <a:pt x="5029" y="2259"/>
                  </a:lnTo>
                  <a:lnTo>
                    <a:pt x="5027" y="2259"/>
                  </a:lnTo>
                  <a:lnTo>
                    <a:pt x="5027" y="2259"/>
                  </a:lnTo>
                  <a:lnTo>
                    <a:pt x="5029" y="2259"/>
                  </a:lnTo>
                  <a:lnTo>
                    <a:pt x="5029" y="2257"/>
                  </a:lnTo>
                  <a:lnTo>
                    <a:pt x="5031" y="2257"/>
                  </a:lnTo>
                  <a:lnTo>
                    <a:pt x="5034" y="2255"/>
                  </a:lnTo>
                  <a:lnTo>
                    <a:pt x="5036" y="2255"/>
                  </a:lnTo>
                  <a:lnTo>
                    <a:pt x="5036" y="2255"/>
                  </a:lnTo>
                  <a:lnTo>
                    <a:pt x="5038" y="2253"/>
                  </a:lnTo>
                  <a:lnTo>
                    <a:pt x="5040" y="2247"/>
                  </a:lnTo>
                  <a:lnTo>
                    <a:pt x="5042" y="2245"/>
                  </a:lnTo>
                  <a:lnTo>
                    <a:pt x="5044" y="2243"/>
                  </a:lnTo>
                  <a:lnTo>
                    <a:pt x="5046" y="2241"/>
                  </a:lnTo>
                  <a:lnTo>
                    <a:pt x="5046" y="2241"/>
                  </a:lnTo>
                  <a:lnTo>
                    <a:pt x="5046" y="2238"/>
                  </a:lnTo>
                  <a:lnTo>
                    <a:pt x="5048" y="2238"/>
                  </a:lnTo>
                  <a:lnTo>
                    <a:pt x="5050" y="2234"/>
                  </a:lnTo>
                  <a:lnTo>
                    <a:pt x="5050" y="2234"/>
                  </a:lnTo>
                  <a:lnTo>
                    <a:pt x="5052" y="2232"/>
                  </a:lnTo>
                  <a:lnTo>
                    <a:pt x="5050" y="2232"/>
                  </a:lnTo>
                  <a:lnTo>
                    <a:pt x="5050" y="2232"/>
                  </a:lnTo>
                  <a:lnTo>
                    <a:pt x="5048" y="2232"/>
                  </a:lnTo>
                  <a:lnTo>
                    <a:pt x="5050" y="2230"/>
                  </a:lnTo>
                  <a:lnTo>
                    <a:pt x="5048" y="2230"/>
                  </a:lnTo>
                  <a:lnTo>
                    <a:pt x="5048" y="2228"/>
                  </a:lnTo>
                  <a:lnTo>
                    <a:pt x="5048" y="2228"/>
                  </a:lnTo>
                  <a:lnTo>
                    <a:pt x="5048" y="2226"/>
                  </a:lnTo>
                  <a:lnTo>
                    <a:pt x="5050" y="2226"/>
                  </a:lnTo>
                  <a:lnTo>
                    <a:pt x="5050" y="2226"/>
                  </a:lnTo>
                  <a:lnTo>
                    <a:pt x="5052" y="2226"/>
                  </a:lnTo>
                  <a:lnTo>
                    <a:pt x="5052" y="2224"/>
                  </a:lnTo>
                  <a:lnTo>
                    <a:pt x="5052" y="2222"/>
                  </a:lnTo>
                  <a:lnTo>
                    <a:pt x="5052" y="2224"/>
                  </a:lnTo>
                  <a:lnTo>
                    <a:pt x="5050" y="2224"/>
                  </a:lnTo>
                  <a:close/>
                  <a:moveTo>
                    <a:pt x="4980" y="1877"/>
                  </a:moveTo>
                  <a:lnTo>
                    <a:pt x="4980" y="1879"/>
                  </a:lnTo>
                  <a:lnTo>
                    <a:pt x="4980" y="1877"/>
                  </a:lnTo>
                  <a:lnTo>
                    <a:pt x="4980" y="1877"/>
                  </a:lnTo>
                  <a:lnTo>
                    <a:pt x="4978" y="1875"/>
                  </a:lnTo>
                  <a:lnTo>
                    <a:pt x="4980" y="1875"/>
                  </a:lnTo>
                  <a:lnTo>
                    <a:pt x="4978" y="1875"/>
                  </a:lnTo>
                  <a:lnTo>
                    <a:pt x="4978" y="1873"/>
                  </a:lnTo>
                  <a:lnTo>
                    <a:pt x="4978" y="1873"/>
                  </a:lnTo>
                  <a:lnTo>
                    <a:pt x="4976" y="1873"/>
                  </a:lnTo>
                  <a:lnTo>
                    <a:pt x="4976" y="1875"/>
                  </a:lnTo>
                  <a:lnTo>
                    <a:pt x="4976" y="1875"/>
                  </a:lnTo>
                  <a:lnTo>
                    <a:pt x="4976" y="1877"/>
                  </a:lnTo>
                  <a:lnTo>
                    <a:pt x="4980" y="1877"/>
                  </a:lnTo>
                  <a:close/>
                  <a:moveTo>
                    <a:pt x="4978" y="2426"/>
                  </a:moveTo>
                  <a:lnTo>
                    <a:pt x="4978" y="2426"/>
                  </a:lnTo>
                  <a:lnTo>
                    <a:pt x="4976" y="2426"/>
                  </a:lnTo>
                  <a:lnTo>
                    <a:pt x="4976" y="2426"/>
                  </a:lnTo>
                  <a:lnTo>
                    <a:pt x="4978" y="2426"/>
                  </a:lnTo>
                  <a:lnTo>
                    <a:pt x="4978" y="2426"/>
                  </a:lnTo>
                  <a:lnTo>
                    <a:pt x="4980" y="2426"/>
                  </a:lnTo>
                  <a:lnTo>
                    <a:pt x="4978" y="2426"/>
                  </a:lnTo>
                  <a:lnTo>
                    <a:pt x="4978" y="2426"/>
                  </a:lnTo>
                  <a:close/>
                  <a:moveTo>
                    <a:pt x="4963" y="2325"/>
                  </a:moveTo>
                  <a:lnTo>
                    <a:pt x="4963" y="2323"/>
                  </a:lnTo>
                  <a:lnTo>
                    <a:pt x="4961" y="2323"/>
                  </a:lnTo>
                  <a:lnTo>
                    <a:pt x="4961" y="2323"/>
                  </a:lnTo>
                  <a:lnTo>
                    <a:pt x="4963" y="2323"/>
                  </a:lnTo>
                  <a:lnTo>
                    <a:pt x="4963" y="2323"/>
                  </a:lnTo>
                  <a:lnTo>
                    <a:pt x="4961" y="2319"/>
                  </a:lnTo>
                  <a:lnTo>
                    <a:pt x="4959" y="2319"/>
                  </a:lnTo>
                  <a:lnTo>
                    <a:pt x="4957" y="2321"/>
                  </a:lnTo>
                  <a:lnTo>
                    <a:pt x="4959" y="2323"/>
                  </a:lnTo>
                  <a:lnTo>
                    <a:pt x="4957" y="2323"/>
                  </a:lnTo>
                  <a:lnTo>
                    <a:pt x="4957" y="2325"/>
                  </a:lnTo>
                  <a:lnTo>
                    <a:pt x="4957" y="2325"/>
                  </a:lnTo>
                  <a:lnTo>
                    <a:pt x="4957" y="2325"/>
                  </a:lnTo>
                  <a:lnTo>
                    <a:pt x="4957" y="2327"/>
                  </a:lnTo>
                  <a:lnTo>
                    <a:pt x="4955" y="2327"/>
                  </a:lnTo>
                  <a:lnTo>
                    <a:pt x="4955" y="2329"/>
                  </a:lnTo>
                  <a:lnTo>
                    <a:pt x="4955" y="2329"/>
                  </a:lnTo>
                  <a:lnTo>
                    <a:pt x="4957" y="2329"/>
                  </a:lnTo>
                  <a:lnTo>
                    <a:pt x="4959" y="2327"/>
                  </a:lnTo>
                  <a:lnTo>
                    <a:pt x="4959" y="2327"/>
                  </a:lnTo>
                  <a:lnTo>
                    <a:pt x="4959" y="2327"/>
                  </a:lnTo>
                  <a:lnTo>
                    <a:pt x="4961" y="2327"/>
                  </a:lnTo>
                  <a:lnTo>
                    <a:pt x="4963" y="2327"/>
                  </a:lnTo>
                  <a:lnTo>
                    <a:pt x="4965" y="2325"/>
                  </a:lnTo>
                  <a:lnTo>
                    <a:pt x="4965" y="2325"/>
                  </a:lnTo>
                  <a:lnTo>
                    <a:pt x="4965" y="2325"/>
                  </a:lnTo>
                  <a:lnTo>
                    <a:pt x="4963" y="2325"/>
                  </a:lnTo>
                  <a:close/>
                  <a:moveTo>
                    <a:pt x="4974" y="1503"/>
                  </a:moveTo>
                  <a:lnTo>
                    <a:pt x="4972" y="1503"/>
                  </a:lnTo>
                  <a:lnTo>
                    <a:pt x="4972" y="1503"/>
                  </a:lnTo>
                  <a:lnTo>
                    <a:pt x="4972" y="1503"/>
                  </a:lnTo>
                  <a:lnTo>
                    <a:pt x="4972" y="1503"/>
                  </a:lnTo>
                  <a:lnTo>
                    <a:pt x="4974" y="1503"/>
                  </a:lnTo>
                  <a:lnTo>
                    <a:pt x="4974" y="1503"/>
                  </a:lnTo>
                  <a:close/>
                  <a:moveTo>
                    <a:pt x="4772" y="1679"/>
                  </a:moveTo>
                  <a:lnTo>
                    <a:pt x="4772" y="1679"/>
                  </a:lnTo>
                  <a:lnTo>
                    <a:pt x="4772" y="1677"/>
                  </a:lnTo>
                  <a:lnTo>
                    <a:pt x="4772" y="1677"/>
                  </a:lnTo>
                  <a:lnTo>
                    <a:pt x="4770" y="1679"/>
                  </a:lnTo>
                  <a:lnTo>
                    <a:pt x="4770" y="1679"/>
                  </a:lnTo>
                  <a:lnTo>
                    <a:pt x="4770" y="1681"/>
                  </a:lnTo>
                  <a:lnTo>
                    <a:pt x="4770" y="1681"/>
                  </a:lnTo>
                  <a:lnTo>
                    <a:pt x="4772" y="1683"/>
                  </a:lnTo>
                  <a:lnTo>
                    <a:pt x="4772" y="1683"/>
                  </a:lnTo>
                  <a:lnTo>
                    <a:pt x="4772" y="1683"/>
                  </a:lnTo>
                  <a:lnTo>
                    <a:pt x="4772" y="1681"/>
                  </a:lnTo>
                  <a:lnTo>
                    <a:pt x="4772" y="1679"/>
                  </a:lnTo>
                  <a:close/>
                  <a:moveTo>
                    <a:pt x="4357" y="1458"/>
                  </a:moveTo>
                  <a:lnTo>
                    <a:pt x="4357" y="1458"/>
                  </a:lnTo>
                  <a:lnTo>
                    <a:pt x="4357" y="1460"/>
                  </a:lnTo>
                  <a:lnTo>
                    <a:pt x="4357" y="1460"/>
                  </a:lnTo>
                  <a:lnTo>
                    <a:pt x="4355" y="1460"/>
                  </a:lnTo>
                  <a:lnTo>
                    <a:pt x="4355" y="1462"/>
                  </a:lnTo>
                  <a:lnTo>
                    <a:pt x="4355" y="1462"/>
                  </a:lnTo>
                  <a:lnTo>
                    <a:pt x="4357" y="1464"/>
                  </a:lnTo>
                  <a:lnTo>
                    <a:pt x="4357" y="1464"/>
                  </a:lnTo>
                  <a:lnTo>
                    <a:pt x="4357" y="1466"/>
                  </a:lnTo>
                  <a:lnTo>
                    <a:pt x="4357" y="1466"/>
                  </a:lnTo>
                  <a:lnTo>
                    <a:pt x="4359" y="1466"/>
                  </a:lnTo>
                  <a:lnTo>
                    <a:pt x="4359" y="1466"/>
                  </a:lnTo>
                  <a:lnTo>
                    <a:pt x="4359" y="1466"/>
                  </a:lnTo>
                  <a:lnTo>
                    <a:pt x="4359" y="1464"/>
                  </a:lnTo>
                  <a:lnTo>
                    <a:pt x="4357" y="1462"/>
                  </a:lnTo>
                  <a:lnTo>
                    <a:pt x="4359" y="1460"/>
                  </a:lnTo>
                  <a:lnTo>
                    <a:pt x="4357" y="1458"/>
                  </a:lnTo>
                  <a:close/>
                  <a:moveTo>
                    <a:pt x="4322" y="1423"/>
                  </a:moveTo>
                  <a:lnTo>
                    <a:pt x="4320" y="1421"/>
                  </a:lnTo>
                  <a:lnTo>
                    <a:pt x="4320" y="1421"/>
                  </a:lnTo>
                  <a:lnTo>
                    <a:pt x="4320" y="1421"/>
                  </a:lnTo>
                  <a:lnTo>
                    <a:pt x="4320" y="1421"/>
                  </a:lnTo>
                  <a:lnTo>
                    <a:pt x="4320" y="1421"/>
                  </a:lnTo>
                  <a:lnTo>
                    <a:pt x="4320" y="1423"/>
                  </a:lnTo>
                  <a:lnTo>
                    <a:pt x="4322" y="1423"/>
                  </a:lnTo>
                  <a:lnTo>
                    <a:pt x="4324" y="1425"/>
                  </a:lnTo>
                  <a:lnTo>
                    <a:pt x="4326" y="1427"/>
                  </a:lnTo>
                  <a:lnTo>
                    <a:pt x="4324" y="1423"/>
                  </a:lnTo>
                  <a:lnTo>
                    <a:pt x="4322" y="1423"/>
                  </a:lnTo>
                  <a:close/>
                  <a:moveTo>
                    <a:pt x="4339" y="1456"/>
                  </a:moveTo>
                  <a:lnTo>
                    <a:pt x="4341" y="1456"/>
                  </a:lnTo>
                  <a:lnTo>
                    <a:pt x="4341" y="1456"/>
                  </a:lnTo>
                  <a:lnTo>
                    <a:pt x="4339" y="1454"/>
                  </a:lnTo>
                  <a:lnTo>
                    <a:pt x="4339" y="1454"/>
                  </a:lnTo>
                  <a:lnTo>
                    <a:pt x="4339" y="1456"/>
                  </a:lnTo>
                  <a:lnTo>
                    <a:pt x="4339" y="1456"/>
                  </a:lnTo>
                  <a:close/>
                  <a:moveTo>
                    <a:pt x="4314" y="1458"/>
                  </a:moveTo>
                  <a:lnTo>
                    <a:pt x="4314" y="1458"/>
                  </a:lnTo>
                  <a:lnTo>
                    <a:pt x="4316" y="1458"/>
                  </a:lnTo>
                  <a:lnTo>
                    <a:pt x="4316" y="1458"/>
                  </a:lnTo>
                  <a:lnTo>
                    <a:pt x="4316" y="1456"/>
                  </a:lnTo>
                  <a:lnTo>
                    <a:pt x="4316" y="1454"/>
                  </a:lnTo>
                  <a:lnTo>
                    <a:pt x="4316" y="1454"/>
                  </a:lnTo>
                  <a:lnTo>
                    <a:pt x="4316" y="1454"/>
                  </a:lnTo>
                  <a:lnTo>
                    <a:pt x="4316" y="1454"/>
                  </a:lnTo>
                  <a:lnTo>
                    <a:pt x="4314" y="1454"/>
                  </a:lnTo>
                  <a:lnTo>
                    <a:pt x="4314" y="1456"/>
                  </a:lnTo>
                  <a:lnTo>
                    <a:pt x="4314" y="1458"/>
                  </a:lnTo>
                  <a:lnTo>
                    <a:pt x="4314" y="1458"/>
                  </a:lnTo>
                  <a:lnTo>
                    <a:pt x="4314" y="1458"/>
                  </a:lnTo>
                  <a:close/>
                  <a:moveTo>
                    <a:pt x="4308" y="1427"/>
                  </a:moveTo>
                  <a:lnTo>
                    <a:pt x="4306" y="1427"/>
                  </a:lnTo>
                  <a:lnTo>
                    <a:pt x="4306" y="1429"/>
                  </a:lnTo>
                  <a:lnTo>
                    <a:pt x="4306" y="1431"/>
                  </a:lnTo>
                  <a:lnTo>
                    <a:pt x="4306" y="1431"/>
                  </a:lnTo>
                  <a:lnTo>
                    <a:pt x="4306" y="1431"/>
                  </a:lnTo>
                  <a:lnTo>
                    <a:pt x="4306" y="1433"/>
                  </a:lnTo>
                  <a:lnTo>
                    <a:pt x="4306" y="1433"/>
                  </a:lnTo>
                  <a:lnTo>
                    <a:pt x="4306" y="1435"/>
                  </a:lnTo>
                  <a:lnTo>
                    <a:pt x="4308" y="1431"/>
                  </a:lnTo>
                  <a:lnTo>
                    <a:pt x="4308" y="1429"/>
                  </a:lnTo>
                  <a:lnTo>
                    <a:pt x="4308" y="1427"/>
                  </a:lnTo>
                  <a:lnTo>
                    <a:pt x="4308" y="1427"/>
                  </a:lnTo>
                  <a:lnTo>
                    <a:pt x="4308" y="1427"/>
                  </a:lnTo>
                  <a:close/>
                  <a:moveTo>
                    <a:pt x="4332" y="1448"/>
                  </a:moveTo>
                  <a:lnTo>
                    <a:pt x="4330" y="1446"/>
                  </a:lnTo>
                  <a:lnTo>
                    <a:pt x="4330" y="1446"/>
                  </a:lnTo>
                  <a:lnTo>
                    <a:pt x="4330" y="1448"/>
                  </a:lnTo>
                  <a:lnTo>
                    <a:pt x="4330" y="1448"/>
                  </a:lnTo>
                  <a:lnTo>
                    <a:pt x="4332" y="1448"/>
                  </a:lnTo>
                  <a:close/>
                  <a:moveTo>
                    <a:pt x="4337" y="1464"/>
                  </a:moveTo>
                  <a:lnTo>
                    <a:pt x="4334" y="1464"/>
                  </a:lnTo>
                  <a:lnTo>
                    <a:pt x="4332" y="1466"/>
                  </a:lnTo>
                  <a:lnTo>
                    <a:pt x="4332" y="1466"/>
                  </a:lnTo>
                  <a:lnTo>
                    <a:pt x="4332" y="1468"/>
                  </a:lnTo>
                  <a:lnTo>
                    <a:pt x="4332" y="1468"/>
                  </a:lnTo>
                  <a:lnTo>
                    <a:pt x="4332" y="1470"/>
                  </a:lnTo>
                  <a:lnTo>
                    <a:pt x="4332" y="1470"/>
                  </a:lnTo>
                  <a:lnTo>
                    <a:pt x="4337" y="1470"/>
                  </a:lnTo>
                  <a:lnTo>
                    <a:pt x="4339" y="1470"/>
                  </a:lnTo>
                  <a:lnTo>
                    <a:pt x="4341" y="1470"/>
                  </a:lnTo>
                  <a:lnTo>
                    <a:pt x="4341" y="1468"/>
                  </a:lnTo>
                  <a:lnTo>
                    <a:pt x="4341" y="1468"/>
                  </a:lnTo>
                  <a:lnTo>
                    <a:pt x="4343" y="1468"/>
                  </a:lnTo>
                  <a:lnTo>
                    <a:pt x="4343" y="1468"/>
                  </a:lnTo>
                  <a:lnTo>
                    <a:pt x="4343" y="1466"/>
                  </a:lnTo>
                  <a:lnTo>
                    <a:pt x="4343" y="1466"/>
                  </a:lnTo>
                  <a:lnTo>
                    <a:pt x="4343" y="1464"/>
                  </a:lnTo>
                  <a:lnTo>
                    <a:pt x="4341" y="1464"/>
                  </a:lnTo>
                  <a:lnTo>
                    <a:pt x="4341" y="1462"/>
                  </a:lnTo>
                  <a:lnTo>
                    <a:pt x="4339" y="1462"/>
                  </a:lnTo>
                  <a:lnTo>
                    <a:pt x="4339" y="1462"/>
                  </a:lnTo>
                  <a:lnTo>
                    <a:pt x="4339" y="1462"/>
                  </a:lnTo>
                  <a:lnTo>
                    <a:pt x="4337" y="1462"/>
                  </a:lnTo>
                  <a:lnTo>
                    <a:pt x="4337" y="1464"/>
                  </a:lnTo>
                  <a:close/>
                  <a:moveTo>
                    <a:pt x="4334" y="1446"/>
                  </a:moveTo>
                  <a:lnTo>
                    <a:pt x="4334" y="1448"/>
                  </a:lnTo>
                  <a:lnTo>
                    <a:pt x="4334" y="1448"/>
                  </a:lnTo>
                  <a:lnTo>
                    <a:pt x="4334" y="1450"/>
                  </a:lnTo>
                  <a:lnTo>
                    <a:pt x="4332" y="1450"/>
                  </a:lnTo>
                  <a:lnTo>
                    <a:pt x="4332" y="1452"/>
                  </a:lnTo>
                  <a:lnTo>
                    <a:pt x="4332" y="1454"/>
                  </a:lnTo>
                  <a:lnTo>
                    <a:pt x="4330" y="1456"/>
                  </a:lnTo>
                  <a:lnTo>
                    <a:pt x="4330" y="1458"/>
                  </a:lnTo>
                  <a:lnTo>
                    <a:pt x="4328" y="1460"/>
                  </a:lnTo>
                  <a:lnTo>
                    <a:pt x="4328" y="1462"/>
                  </a:lnTo>
                  <a:lnTo>
                    <a:pt x="4326" y="1466"/>
                  </a:lnTo>
                  <a:lnTo>
                    <a:pt x="4326" y="1466"/>
                  </a:lnTo>
                  <a:lnTo>
                    <a:pt x="4324" y="1470"/>
                  </a:lnTo>
                  <a:lnTo>
                    <a:pt x="4324" y="1472"/>
                  </a:lnTo>
                  <a:lnTo>
                    <a:pt x="4324" y="1472"/>
                  </a:lnTo>
                  <a:lnTo>
                    <a:pt x="4326" y="1472"/>
                  </a:lnTo>
                  <a:lnTo>
                    <a:pt x="4326" y="1470"/>
                  </a:lnTo>
                  <a:lnTo>
                    <a:pt x="4328" y="1466"/>
                  </a:lnTo>
                  <a:lnTo>
                    <a:pt x="4328" y="1464"/>
                  </a:lnTo>
                  <a:lnTo>
                    <a:pt x="4330" y="1462"/>
                  </a:lnTo>
                  <a:lnTo>
                    <a:pt x="4330" y="1462"/>
                  </a:lnTo>
                  <a:lnTo>
                    <a:pt x="4332" y="1460"/>
                  </a:lnTo>
                  <a:lnTo>
                    <a:pt x="4334" y="1460"/>
                  </a:lnTo>
                  <a:lnTo>
                    <a:pt x="4334" y="1460"/>
                  </a:lnTo>
                  <a:lnTo>
                    <a:pt x="4334" y="1456"/>
                  </a:lnTo>
                  <a:lnTo>
                    <a:pt x="4334" y="1454"/>
                  </a:lnTo>
                  <a:lnTo>
                    <a:pt x="4334" y="1452"/>
                  </a:lnTo>
                  <a:lnTo>
                    <a:pt x="4334" y="1450"/>
                  </a:lnTo>
                  <a:lnTo>
                    <a:pt x="4334" y="1450"/>
                  </a:lnTo>
                  <a:lnTo>
                    <a:pt x="4334" y="1450"/>
                  </a:lnTo>
                  <a:lnTo>
                    <a:pt x="4334" y="1448"/>
                  </a:lnTo>
                  <a:lnTo>
                    <a:pt x="4334" y="1446"/>
                  </a:lnTo>
                  <a:close/>
                  <a:moveTo>
                    <a:pt x="4312" y="1466"/>
                  </a:moveTo>
                  <a:lnTo>
                    <a:pt x="4312" y="1466"/>
                  </a:lnTo>
                  <a:lnTo>
                    <a:pt x="4312" y="1468"/>
                  </a:lnTo>
                  <a:lnTo>
                    <a:pt x="4314" y="1472"/>
                  </a:lnTo>
                  <a:lnTo>
                    <a:pt x="4314" y="1472"/>
                  </a:lnTo>
                  <a:lnTo>
                    <a:pt x="4316" y="1472"/>
                  </a:lnTo>
                  <a:lnTo>
                    <a:pt x="4316" y="1474"/>
                  </a:lnTo>
                  <a:lnTo>
                    <a:pt x="4318" y="1474"/>
                  </a:lnTo>
                  <a:lnTo>
                    <a:pt x="4320" y="1477"/>
                  </a:lnTo>
                  <a:lnTo>
                    <a:pt x="4320" y="1479"/>
                  </a:lnTo>
                  <a:lnTo>
                    <a:pt x="4320" y="1479"/>
                  </a:lnTo>
                  <a:lnTo>
                    <a:pt x="4322" y="1479"/>
                  </a:lnTo>
                  <a:lnTo>
                    <a:pt x="4322" y="1479"/>
                  </a:lnTo>
                  <a:lnTo>
                    <a:pt x="4324" y="1477"/>
                  </a:lnTo>
                  <a:lnTo>
                    <a:pt x="4324" y="1477"/>
                  </a:lnTo>
                  <a:lnTo>
                    <a:pt x="4324" y="1474"/>
                  </a:lnTo>
                  <a:lnTo>
                    <a:pt x="4324" y="1474"/>
                  </a:lnTo>
                  <a:lnTo>
                    <a:pt x="4324" y="1474"/>
                  </a:lnTo>
                  <a:lnTo>
                    <a:pt x="4322" y="1470"/>
                  </a:lnTo>
                  <a:lnTo>
                    <a:pt x="4322" y="1470"/>
                  </a:lnTo>
                  <a:lnTo>
                    <a:pt x="4322" y="1468"/>
                  </a:lnTo>
                  <a:lnTo>
                    <a:pt x="4322" y="1466"/>
                  </a:lnTo>
                  <a:lnTo>
                    <a:pt x="4322" y="1466"/>
                  </a:lnTo>
                  <a:lnTo>
                    <a:pt x="4324" y="1464"/>
                  </a:lnTo>
                  <a:lnTo>
                    <a:pt x="4324" y="1462"/>
                  </a:lnTo>
                  <a:lnTo>
                    <a:pt x="4324" y="1460"/>
                  </a:lnTo>
                  <a:lnTo>
                    <a:pt x="4326" y="1458"/>
                  </a:lnTo>
                  <a:lnTo>
                    <a:pt x="4326" y="1456"/>
                  </a:lnTo>
                  <a:lnTo>
                    <a:pt x="4328" y="1456"/>
                  </a:lnTo>
                  <a:lnTo>
                    <a:pt x="4328" y="1454"/>
                  </a:lnTo>
                  <a:lnTo>
                    <a:pt x="4328" y="1454"/>
                  </a:lnTo>
                  <a:lnTo>
                    <a:pt x="4328" y="1452"/>
                  </a:lnTo>
                  <a:lnTo>
                    <a:pt x="4324" y="1450"/>
                  </a:lnTo>
                  <a:lnTo>
                    <a:pt x="4324" y="1450"/>
                  </a:lnTo>
                  <a:lnTo>
                    <a:pt x="4320" y="1452"/>
                  </a:lnTo>
                  <a:lnTo>
                    <a:pt x="4320" y="1452"/>
                  </a:lnTo>
                  <a:lnTo>
                    <a:pt x="4320" y="1452"/>
                  </a:lnTo>
                  <a:lnTo>
                    <a:pt x="4320" y="1454"/>
                  </a:lnTo>
                  <a:lnTo>
                    <a:pt x="4320" y="1454"/>
                  </a:lnTo>
                  <a:lnTo>
                    <a:pt x="4318" y="1456"/>
                  </a:lnTo>
                  <a:lnTo>
                    <a:pt x="4318" y="1456"/>
                  </a:lnTo>
                  <a:lnTo>
                    <a:pt x="4318" y="1458"/>
                  </a:lnTo>
                  <a:lnTo>
                    <a:pt x="4318" y="1460"/>
                  </a:lnTo>
                  <a:lnTo>
                    <a:pt x="4318" y="1460"/>
                  </a:lnTo>
                  <a:lnTo>
                    <a:pt x="4318" y="1462"/>
                  </a:lnTo>
                  <a:lnTo>
                    <a:pt x="4318" y="1464"/>
                  </a:lnTo>
                  <a:lnTo>
                    <a:pt x="4316" y="1464"/>
                  </a:lnTo>
                  <a:lnTo>
                    <a:pt x="4316" y="1464"/>
                  </a:lnTo>
                  <a:lnTo>
                    <a:pt x="4314" y="1464"/>
                  </a:lnTo>
                  <a:lnTo>
                    <a:pt x="4312" y="1466"/>
                  </a:lnTo>
                  <a:lnTo>
                    <a:pt x="4312" y="1466"/>
                  </a:lnTo>
                  <a:close/>
                  <a:moveTo>
                    <a:pt x="4330" y="1474"/>
                  </a:moveTo>
                  <a:lnTo>
                    <a:pt x="4328" y="1474"/>
                  </a:lnTo>
                  <a:lnTo>
                    <a:pt x="4328" y="1477"/>
                  </a:lnTo>
                  <a:lnTo>
                    <a:pt x="4326" y="1477"/>
                  </a:lnTo>
                  <a:lnTo>
                    <a:pt x="4326" y="1477"/>
                  </a:lnTo>
                  <a:lnTo>
                    <a:pt x="4328" y="1477"/>
                  </a:lnTo>
                  <a:lnTo>
                    <a:pt x="4328" y="1477"/>
                  </a:lnTo>
                  <a:lnTo>
                    <a:pt x="4330" y="1477"/>
                  </a:lnTo>
                  <a:lnTo>
                    <a:pt x="4330" y="1477"/>
                  </a:lnTo>
                  <a:lnTo>
                    <a:pt x="4330" y="1474"/>
                  </a:lnTo>
                  <a:close/>
                  <a:moveTo>
                    <a:pt x="4304" y="1514"/>
                  </a:moveTo>
                  <a:lnTo>
                    <a:pt x="4304" y="1514"/>
                  </a:lnTo>
                  <a:lnTo>
                    <a:pt x="4306" y="1516"/>
                  </a:lnTo>
                  <a:lnTo>
                    <a:pt x="4306" y="1516"/>
                  </a:lnTo>
                  <a:lnTo>
                    <a:pt x="4308" y="1516"/>
                  </a:lnTo>
                  <a:lnTo>
                    <a:pt x="4308" y="1516"/>
                  </a:lnTo>
                  <a:lnTo>
                    <a:pt x="4310" y="1514"/>
                  </a:lnTo>
                  <a:lnTo>
                    <a:pt x="4310" y="1514"/>
                  </a:lnTo>
                  <a:lnTo>
                    <a:pt x="4310" y="1512"/>
                  </a:lnTo>
                  <a:lnTo>
                    <a:pt x="4306" y="1512"/>
                  </a:lnTo>
                  <a:lnTo>
                    <a:pt x="4304" y="1512"/>
                  </a:lnTo>
                  <a:lnTo>
                    <a:pt x="4304" y="1512"/>
                  </a:lnTo>
                  <a:lnTo>
                    <a:pt x="4304" y="1514"/>
                  </a:lnTo>
                  <a:lnTo>
                    <a:pt x="4304" y="1514"/>
                  </a:lnTo>
                  <a:close/>
                  <a:moveTo>
                    <a:pt x="4277" y="1534"/>
                  </a:moveTo>
                  <a:lnTo>
                    <a:pt x="4277" y="1534"/>
                  </a:lnTo>
                  <a:lnTo>
                    <a:pt x="4279" y="1534"/>
                  </a:lnTo>
                  <a:lnTo>
                    <a:pt x="4279" y="1532"/>
                  </a:lnTo>
                  <a:lnTo>
                    <a:pt x="4279" y="1532"/>
                  </a:lnTo>
                  <a:lnTo>
                    <a:pt x="4281" y="1534"/>
                  </a:lnTo>
                  <a:lnTo>
                    <a:pt x="4281" y="1532"/>
                  </a:lnTo>
                  <a:lnTo>
                    <a:pt x="4281" y="1532"/>
                  </a:lnTo>
                  <a:lnTo>
                    <a:pt x="4281" y="1532"/>
                  </a:lnTo>
                  <a:lnTo>
                    <a:pt x="4281" y="1530"/>
                  </a:lnTo>
                  <a:lnTo>
                    <a:pt x="4279" y="1530"/>
                  </a:lnTo>
                  <a:lnTo>
                    <a:pt x="4279" y="1532"/>
                  </a:lnTo>
                  <a:lnTo>
                    <a:pt x="4277" y="1532"/>
                  </a:lnTo>
                  <a:lnTo>
                    <a:pt x="4275" y="1534"/>
                  </a:lnTo>
                  <a:lnTo>
                    <a:pt x="4275" y="1534"/>
                  </a:lnTo>
                  <a:lnTo>
                    <a:pt x="4275" y="1534"/>
                  </a:lnTo>
                  <a:lnTo>
                    <a:pt x="4277" y="1534"/>
                  </a:lnTo>
                  <a:close/>
                  <a:moveTo>
                    <a:pt x="4281" y="1412"/>
                  </a:moveTo>
                  <a:lnTo>
                    <a:pt x="4281" y="1410"/>
                  </a:lnTo>
                  <a:lnTo>
                    <a:pt x="4281" y="1410"/>
                  </a:lnTo>
                  <a:lnTo>
                    <a:pt x="4279" y="1408"/>
                  </a:lnTo>
                  <a:lnTo>
                    <a:pt x="4279" y="1410"/>
                  </a:lnTo>
                  <a:lnTo>
                    <a:pt x="4279" y="1410"/>
                  </a:lnTo>
                  <a:lnTo>
                    <a:pt x="4279" y="1410"/>
                  </a:lnTo>
                  <a:lnTo>
                    <a:pt x="4281" y="1412"/>
                  </a:lnTo>
                  <a:close/>
                  <a:moveTo>
                    <a:pt x="4299" y="1427"/>
                  </a:moveTo>
                  <a:lnTo>
                    <a:pt x="4299" y="1427"/>
                  </a:lnTo>
                  <a:lnTo>
                    <a:pt x="4297" y="1425"/>
                  </a:lnTo>
                  <a:lnTo>
                    <a:pt x="4297" y="1423"/>
                  </a:lnTo>
                  <a:lnTo>
                    <a:pt x="4299" y="1421"/>
                  </a:lnTo>
                  <a:lnTo>
                    <a:pt x="4299" y="1421"/>
                  </a:lnTo>
                  <a:lnTo>
                    <a:pt x="4299" y="1421"/>
                  </a:lnTo>
                  <a:lnTo>
                    <a:pt x="4297" y="1419"/>
                  </a:lnTo>
                  <a:lnTo>
                    <a:pt x="4297" y="1419"/>
                  </a:lnTo>
                  <a:lnTo>
                    <a:pt x="4295" y="1417"/>
                  </a:lnTo>
                  <a:lnTo>
                    <a:pt x="4295" y="1415"/>
                  </a:lnTo>
                  <a:lnTo>
                    <a:pt x="4293" y="1417"/>
                  </a:lnTo>
                  <a:lnTo>
                    <a:pt x="4293" y="1417"/>
                  </a:lnTo>
                  <a:lnTo>
                    <a:pt x="4291" y="1415"/>
                  </a:lnTo>
                  <a:lnTo>
                    <a:pt x="4291" y="1415"/>
                  </a:lnTo>
                  <a:lnTo>
                    <a:pt x="4291" y="1415"/>
                  </a:lnTo>
                  <a:lnTo>
                    <a:pt x="4287" y="1415"/>
                  </a:lnTo>
                  <a:lnTo>
                    <a:pt x="4287" y="1415"/>
                  </a:lnTo>
                  <a:lnTo>
                    <a:pt x="4287" y="1415"/>
                  </a:lnTo>
                  <a:lnTo>
                    <a:pt x="4283" y="1415"/>
                  </a:lnTo>
                  <a:lnTo>
                    <a:pt x="4283" y="1415"/>
                  </a:lnTo>
                  <a:lnTo>
                    <a:pt x="4283" y="1415"/>
                  </a:lnTo>
                  <a:lnTo>
                    <a:pt x="4283" y="1417"/>
                  </a:lnTo>
                  <a:lnTo>
                    <a:pt x="4283" y="1417"/>
                  </a:lnTo>
                  <a:lnTo>
                    <a:pt x="4283" y="1417"/>
                  </a:lnTo>
                  <a:lnTo>
                    <a:pt x="4283" y="1417"/>
                  </a:lnTo>
                  <a:lnTo>
                    <a:pt x="4285" y="1417"/>
                  </a:lnTo>
                  <a:lnTo>
                    <a:pt x="4285" y="1419"/>
                  </a:lnTo>
                  <a:lnTo>
                    <a:pt x="4285" y="1419"/>
                  </a:lnTo>
                  <a:lnTo>
                    <a:pt x="4287" y="1419"/>
                  </a:lnTo>
                  <a:lnTo>
                    <a:pt x="4287" y="1421"/>
                  </a:lnTo>
                  <a:lnTo>
                    <a:pt x="4289" y="1423"/>
                  </a:lnTo>
                  <a:lnTo>
                    <a:pt x="4289" y="1425"/>
                  </a:lnTo>
                  <a:lnTo>
                    <a:pt x="4289" y="1425"/>
                  </a:lnTo>
                  <a:lnTo>
                    <a:pt x="4289" y="1425"/>
                  </a:lnTo>
                  <a:lnTo>
                    <a:pt x="4289" y="1427"/>
                  </a:lnTo>
                  <a:lnTo>
                    <a:pt x="4289" y="1427"/>
                  </a:lnTo>
                  <a:lnTo>
                    <a:pt x="4291" y="1427"/>
                  </a:lnTo>
                  <a:lnTo>
                    <a:pt x="4291" y="1429"/>
                  </a:lnTo>
                  <a:lnTo>
                    <a:pt x="4291" y="1429"/>
                  </a:lnTo>
                  <a:lnTo>
                    <a:pt x="4291" y="1431"/>
                  </a:lnTo>
                  <a:lnTo>
                    <a:pt x="4293" y="1431"/>
                  </a:lnTo>
                  <a:lnTo>
                    <a:pt x="4293" y="1431"/>
                  </a:lnTo>
                  <a:lnTo>
                    <a:pt x="4293" y="1433"/>
                  </a:lnTo>
                  <a:lnTo>
                    <a:pt x="4293" y="1433"/>
                  </a:lnTo>
                  <a:lnTo>
                    <a:pt x="4295" y="1433"/>
                  </a:lnTo>
                  <a:lnTo>
                    <a:pt x="4295" y="1431"/>
                  </a:lnTo>
                  <a:lnTo>
                    <a:pt x="4295" y="1431"/>
                  </a:lnTo>
                  <a:lnTo>
                    <a:pt x="4297" y="1431"/>
                  </a:lnTo>
                  <a:lnTo>
                    <a:pt x="4297" y="1431"/>
                  </a:lnTo>
                  <a:lnTo>
                    <a:pt x="4297" y="1431"/>
                  </a:lnTo>
                  <a:lnTo>
                    <a:pt x="4297" y="1431"/>
                  </a:lnTo>
                  <a:lnTo>
                    <a:pt x="4297" y="1429"/>
                  </a:lnTo>
                  <a:lnTo>
                    <a:pt x="4297" y="1429"/>
                  </a:lnTo>
                  <a:lnTo>
                    <a:pt x="4299" y="1427"/>
                  </a:lnTo>
                  <a:close/>
                  <a:moveTo>
                    <a:pt x="4275" y="1237"/>
                  </a:moveTo>
                  <a:lnTo>
                    <a:pt x="4275" y="1235"/>
                  </a:lnTo>
                  <a:lnTo>
                    <a:pt x="4273" y="1237"/>
                  </a:lnTo>
                  <a:lnTo>
                    <a:pt x="4273" y="1237"/>
                  </a:lnTo>
                  <a:lnTo>
                    <a:pt x="4273" y="1237"/>
                  </a:lnTo>
                  <a:lnTo>
                    <a:pt x="4273" y="1239"/>
                  </a:lnTo>
                  <a:lnTo>
                    <a:pt x="4273" y="1239"/>
                  </a:lnTo>
                  <a:lnTo>
                    <a:pt x="4273" y="1239"/>
                  </a:lnTo>
                  <a:lnTo>
                    <a:pt x="4275" y="1239"/>
                  </a:lnTo>
                  <a:lnTo>
                    <a:pt x="4275" y="1239"/>
                  </a:lnTo>
                  <a:lnTo>
                    <a:pt x="4275" y="1239"/>
                  </a:lnTo>
                  <a:lnTo>
                    <a:pt x="4275" y="1237"/>
                  </a:lnTo>
                  <a:lnTo>
                    <a:pt x="4275" y="1237"/>
                  </a:lnTo>
                  <a:lnTo>
                    <a:pt x="4275" y="1237"/>
                  </a:lnTo>
                  <a:lnTo>
                    <a:pt x="4275" y="1237"/>
                  </a:lnTo>
                  <a:close/>
                  <a:moveTo>
                    <a:pt x="4283" y="1435"/>
                  </a:moveTo>
                  <a:lnTo>
                    <a:pt x="4281" y="1433"/>
                  </a:lnTo>
                  <a:lnTo>
                    <a:pt x="4281" y="1433"/>
                  </a:lnTo>
                  <a:lnTo>
                    <a:pt x="4281" y="1433"/>
                  </a:lnTo>
                  <a:lnTo>
                    <a:pt x="4279" y="1433"/>
                  </a:lnTo>
                  <a:lnTo>
                    <a:pt x="4279" y="1433"/>
                  </a:lnTo>
                  <a:lnTo>
                    <a:pt x="4279" y="1433"/>
                  </a:lnTo>
                  <a:lnTo>
                    <a:pt x="4277" y="1433"/>
                  </a:lnTo>
                  <a:lnTo>
                    <a:pt x="4277" y="1431"/>
                  </a:lnTo>
                  <a:lnTo>
                    <a:pt x="4277" y="1431"/>
                  </a:lnTo>
                  <a:lnTo>
                    <a:pt x="4275" y="1431"/>
                  </a:lnTo>
                  <a:lnTo>
                    <a:pt x="4275" y="1431"/>
                  </a:lnTo>
                  <a:lnTo>
                    <a:pt x="4275" y="1433"/>
                  </a:lnTo>
                  <a:lnTo>
                    <a:pt x="4275" y="1433"/>
                  </a:lnTo>
                  <a:lnTo>
                    <a:pt x="4275" y="1433"/>
                  </a:lnTo>
                  <a:lnTo>
                    <a:pt x="4277" y="1433"/>
                  </a:lnTo>
                  <a:lnTo>
                    <a:pt x="4277" y="1435"/>
                  </a:lnTo>
                  <a:lnTo>
                    <a:pt x="4277" y="1435"/>
                  </a:lnTo>
                  <a:lnTo>
                    <a:pt x="4279" y="1435"/>
                  </a:lnTo>
                  <a:lnTo>
                    <a:pt x="4279" y="1435"/>
                  </a:lnTo>
                  <a:lnTo>
                    <a:pt x="4281" y="1435"/>
                  </a:lnTo>
                  <a:lnTo>
                    <a:pt x="4281" y="1435"/>
                  </a:lnTo>
                  <a:lnTo>
                    <a:pt x="4283" y="1435"/>
                  </a:lnTo>
                  <a:close/>
                  <a:moveTo>
                    <a:pt x="4277" y="1437"/>
                  </a:moveTo>
                  <a:lnTo>
                    <a:pt x="4277" y="1437"/>
                  </a:lnTo>
                  <a:lnTo>
                    <a:pt x="4277" y="1437"/>
                  </a:lnTo>
                  <a:lnTo>
                    <a:pt x="4277" y="1437"/>
                  </a:lnTo>
                  <a:lnTo>
                    <a:pt x="4275" y="1437"/>
                  </a:lnTo>
                  <a:lnTo>
                    <a:pt x="4277" y="1439"/>
                  </a:lnTo>
                  <a:lnTo>
                    <a:pt x="4277" y="1439"/>
                  </a:lnTo>
                  <a:lnTo>
                    <a:pt x="4277" y="1441"/>
                  </a:lnTo>
                  <a:lnTo>
                    <a:pt x="4277" y="1441"/>
                  </a:lnTo>
                  <a:lnTo>
                    <a:pt x="4279" y="1439"/>
                  </a:lnTo>
                  <a:lnTo>
                    <a:pt x="4279" y="1439"/>
                  </a:lnTo>
                  <a:lnTo>
                    <a:pt x="4279" y="1439"/>
                  </a:lnTo>
                  <a:lnTo>
                    <a:pt x="4279" y="1437"/>
                  </a:lnTo>
                  <a:lnTo>
                    <a:pt x="4277" y="1437"/>
                  </a:lnTo>
                  <a:close/>
                  <a:moveTo>
                    <a:pt x="4277" y="1458"/>
                  </a:moveTo>
                  <a:lnTo>
                    <a:pt x="4277" y="1458"/>
                  </a:lnTo>
                  <a:lnTo>
                    <a:pt x="4277" y="1456"/>
                  </a:lnTo>
                  <a:lnTo>
                    <a:pt x="4277" y="1456"/>
                  </a:lnTo>
                  <a:lnTo>
                    <a:pt x="4275" y="1456"/>
                  </a:lnTo>
                  <a:lnTo>
                    <a:pt x="4275" y="1456"/>
                  </a:lnTo>
                  <a:lnTo>
                    <a:pt x="4275" y="1458"/>
                  </a:lnTo>
                  <a:lnTo>
                    <a:pt x="4277" y="1458"/>
                  </a:lnTo>
                  <a:close/>
                  <a:moveTo>
                    <a:pt x="4295" y="1522"/>
                  </a:moveTo>
                  <a:lnTo>
                    <a:pt x="4295" y="1522"/>
                  </a:lnTo>
                  <a:lnTo>
                    <a:pt x="4293" y="1520"/>
                  </a:lnTo>
                  <a:lnTo>
                    <a:pt x="4291" y="1520"/>
                  </a:lnTo>
                  <a:lnTo>
                    <a:pt x="4289" y="1522"/>
                  </a:lnTo>
                  <a:lnTo>
                    <a:pt x="4289" y="1522"/>
                  </a:lnTo>
                  <a:lnTo>
                    <a:pt x="4291" y="1524"/>
                  </a:lnTo>
                  <a:lnTo>
                    <a:pt x="4291" y="1522"/>
                  </a:lnTo>
                  <a:lnTo>
                    <a:pt x="4293" y="1524"/>
                  </a:lnTo>
                  <a:lnTo>
                    <a:pt x="4295" y="1522"/>
                  </a:lnTo>
                  <a:lnTo>
                    <a:pt x="4295" y="1524"/>
                  </a:lnTo>
                  <a:lnTo>
                    <a:pt x="4297" y="1522"/>
                  </a:lnTo>
                  <a:lnTo>
                    <a:pt x="4297" y="1522"/>
                  </a:lnTo>
                  <a:lnTo>
                    <a:pt x="4297" y="1522"/>
                  </a:lnTo>
                  <a:lnTo>
                    <a:pt x="4295" y="1522"/>
                  </a:lnTo>
                  <a:close/>
                  <a:moveTo>
                    <a:pt x="4275" y="1443"/>
                  </a:moveTo>
                  <a:lnTo>
                    <a:pt x="4275" y="1443"/>
                  </a:lnTo>
                  <a:lnTo>
                    <a:pt x="4273" y="1443"/>
                  </a:lnTo>
                  <a:lnTo>
                    <a:pt x="4273" y="1443"/>
                  </a:lnTo>
                  <a:lnTo>
                    <a:pt x="4275" y="1446"/>
                  </a:lnTo>
                  <a:lnTo>
                    <a:pt x="4275" y="1446"/>
                  </a:lnTo>
                  <a:lnTo>
                    <a:pt x="4275" y="1446"/>
                  </a:lnTo>
                  <a:lnTo>
                    <a:pt x="4275" y="1443"/>
                  </a:lnTo>
                  <a:lnTo>
                    <a:pt x="4275" y="1443"/>
                  </a:lnTo>
                  <a:lnTo>
                    <a:pt x="4275" y="1443"/>
                  </a:lnTo>
                  <a:close/>
                  <a:moveTo>
                    <a:pt x="4365" y="1099"/>
                  </a:moveTo>
                  <a:lnTo>
                    <a:pt x="4365" y="1099"/>
                  </a:lnTo>
                  <a:lnTo>
                    <a:pt x="4365" y="1099"/>
                  </a:lnTo>
                  <a:lnTo>
                    <a:pt x="4363" y="1101"/>
                  </a:lnTo>
                  <a:lnTo>
                    <a:pt x="4365" y="1101"/>
                  </a:lnTo>
                  <a:lnTo>
                    <a:pt x="4365" y="1101"/>
                  </a:lnTo>
                  <a:lnTo>
                    <a:pt x="4365" y="1101"/>
                  </a:lnTo>
                  <a:lnTo>
                    <a:pt x="4367" y="1101"/>
                  </a:lnTo>
                  <a:lnTo>
                    <a:pt x="4367" y="1099"/>
                  </a:lnTo>
                  <a:lnTo>
                    <a:pt x="4367" y="1099"/>
                  </a:lnTo>
                  <a:lnTo>
                    <a:pt x="4365" y="1099"/>
                  </a:lnTo>
                  <a:close/>
                  <a:moveTo>
                    <a:pt x="4361" y="1468"/>
                  </a:moveTo>
                  <a:lnTo>
                    <a:pt x="4361" y="1470"/>
                  </a:lnTo>
                  <a:lnTo>
                    <a:pt x="4361" y="1470"/>
                  </a:lnTo>
                  <a:lnTo>
                    <a:pt x="4363" y="1470"/>
                  </a:lnTo>
                  <a:lnTo>
                    <a:pt x="4363" y="1468"/>
                  </a:lnTo>
                  <a:lnTo>
                    <a:pt x="4363" y="1468"/>
                  </a:lnTo>
                  <a:lnTo>
                    <a:pt x="4361" y="1468"/>
                  </a:lnTo>
                  <a:close/>
                  <a:moveTo>
                    <a:pt x="4363" y="1466"/>
                  </a:moveTo>
                  <a:lnTo>
                    <a:pt x="4363" y="1468"/>
                  </a:lnTo>
                  <a:lnTo>
                    <a:pt x="4363" y="1468"/>
                  </a:lnTo>
                  <a:lnTo>
                    <a:pt x="4365" y="1468"/>
                  </a:lnTo>
                  <a:lnTo>
                    <a:pt x="4365" y="1468"/>
                  </a:lnTo>
                  <a:lnTo>
                    <a:pt x="4365" y="1466"/>
                  </a:lnTo>
                  <a:lnTo>
                    <a:pt x="4365" y="1466"/>
                  </a:lnTo>
                  <a:lnTo>
                    <a:pt x="4365" y="1466"/>
                  </a:lnTo>
                  <a:lnTo>
                    <a:pt x="4363" y="1464"/>
                  </a:lnTo>
                  <a:lnTo>
                    <a:pt x="4363" y="1466"/>
                  </a:lnTo>
                  <a:lnTo>
                    <a:pt x="4363" y="1466"/>
                  </a:lnTo>
                  <a:close/>
                  <a:moveTo>
                    <a:pt x="4318" y="1501"/>
                  </a:moveTo>
                  <a:lnTo>
                    <a:pt x="4318" y="1501"/>
                  </a:lnTo>
                  <a:lnTo>
                    <a:pt x="4318" y="1501"/>
                  </a:lnTo>
                  <a:lnTo>
                    <a:pt x="4318" y="1503"/>
                  </a:lnTo>
                  <a:lnTo>
                    <a:pt x="4318" y="1503"/>
                  </a:lnTo>
                  <a:lnTo>
                    <a:pt x="4320" y="1501"/>
                  </a:lnTo>
                  <a:lnTo>
                    <a:pt x="4320" y="1501"/>
                  </a:lnTo>
                  <a:lnTo>
                    <a:pt x="4320" y="1501"/>
                  </a:lnTo>
                  <a:lnTo>
                    <a:pt x="4318" y="1501"/>
                  </a:lnTo>
                  <a:lnTo>
                    <a:pt x="4318" y="1501"/>
                  </a:lnTo>
                  <a:close/>
                  <a:moveTo>
                    <a:pt x="4357" y="1470"/>
                  </a:moveTo>
                  <a:lnTo>
                    <a:pt x="4355" y="1468"/>
                  </a:lnTo>
                  <a:lnTo>
                    <a:pt x="4355" y="1468"/>
                  </a:lnTo>
                  <a:lnTo>
                    <a:pt x="4355" y="1470"/>
                  </a:lnTo>
                  <a:lnTo>
                    <a:pt x="4355" y="1474"/>
                  </a:lnTo>
                  <a:lnTo>
                    <a:pt x="4357" y="1477"/>
                  </a:lnTo>
                  <a:lnTo>
                    <a:pt x="4355" y="1479"/>
                  </a:lnTo>
                  <a:lnTo>
                    <a:pt x="4353" y="1479"/>
                  </a:lnTo>
                  <a:lnTo>
                    <a:pt x="4353" y="1479"/>
                  </a:lnTo>
                  <a:lnTo>
                    <a:pt x="4351" y="1479"/>
                  </a:lnTo>
                  <a:lnTo>
                    <a:pt x="4351" y="1481"/>
                  </a:lnTo>
                  <a:lnTo>
                    <a:pt x="4351" y="1481"/>
                  </a:lnTo>
                  <a:lnTo>
                    <a:pt x="4349" y="1481"/>
                  </a:lnTo>
                  <a:lnTo>
                    <a:pt x="4347" y="1479"/>
                  </a:lnTo>
                  <a:lnTo>
                    <a:pt x="4347" y="1479"/>
                  </a:lnTo>
                  <a:lnTo>
                    <a:pt x="4345" y="1481"/>
                  </a:lnTo>
                  <a:lnTo>
                    <a:pt x="4345" y="1481"/>
                  </a:lnTo>
                  <a:lnTo>
                    <a:pt x="4345" y="1483"/>
                  </a:lnTo>
                  <a:lnTo>
                    <a:pt x="4345" y="1485"/>
                  </a:lnTo>
                  <a:lnTo>
                    <a:pt x="4343" y="1485"/>
                  </a:lnTo>
                  <a:lnTo>
                    <a:pt x="4341" y="1485"/>
                  </a:lnTo>
                  <a:lnTo>
                    <a:pt x="4341" y="1485"/>
                  </a:lnTo>
                  <a:lnTo>
                    <a:pt x="4339" y="1485"/>
                  </a:lnTo>
                  <a:lnTo>
                    <a:pt x="4339" y="1487"/>
                  </a:lnTo>
                  <a:lnTo>
                    <a:pt x="4339" y="1487"/>
                  </a:lnTo>
                  <a:lnTo>
                    <a:pt x="4337" y="1489"/>
                  </a:lnTo>
                  <a:lnTo>
                    <a:pt x="4337" y="1489"/>
                  </a:lnTo>
                  <a:lnTo>
                    <a:pt x="4337" y="1491"/>
                  </a:lnTo>
                  <a:lnTo>
                    <a:pt x="4334" y="1491"/>
                  </a:lnTo>
                  <a:lnTo>
                    <a:pt x="4332" y="1491"/>
                  </a:lnTo>
                  <a:lnTo>
                    <a:pt x="4332" y="1493"/>
                  </a:lnTo>
                  <a:lnTo>
                    <a:pt x="4330" y="1493"/>
                  </a:lnTo>
                  <a:lnTo>
                    <a:pt x="4332" y="1491"/>
                  </a:lnTo>
                  <a:lnTo>
                    <a:pt x="4332" y="1491"/>
                  </a:lnTo>
                  <a:lnTo>
                    <a:pt x="4332" y="1487"/>
                  </a:lnTo>
                  <a:lnTo>
                    <a:pt x="4332" y="1487"/>
                  </a:lnTo>
                  <a:lnTo>
                    <a:pt x="4330" y="1485"/>
                  </a:lnTo>
                  <a:lnTo>
                    <a:pt x="4330" y="1485"/>
                  </a:lnTo>
                  <a:lnTo>
                    <a:pt x="4328" y="1485"/>
                  </a:lnTo>
                  <a:lnTo>
                    <a:pt x="4326" y="1483"/>
                  </a:lnTo>
                  <a:lnTo>
                    <a:pt x="4326" y="1483"/>
                  </a:lnTo>
                  <a:lnTo>
                    <a:pt x="4326" y="1485"/>
                  </a:lnTo>
                  <a:lnTo>
                    <a:pt x="4324" y="1485"/>
                  </a:lnTo>
                  <a:lnTo>
                    <a:pt x="4324" y="1485"/>
                  </a:lnTo>
                  <a:lnTo>
                    <a:pt x="4322" y="1487"/>
                  </a:lnTo>
                  <a:lnTo>
                    <a:pt x="4322" y="1487"/>
                  </a:lnTo>
                  <a:lnTo>
                    <a:pt x="4320" y="1487"/>
                  </a:lnTo>
                  <a:lnTo>
                    <a:pt x="4320" y="1487"/>
                  </a:lnTo>
                  <a:lnTo>
                    <a:pt x="4320" y="1489"/>
                  </a:lnTo>
                  <a:lnTo>
                    <a:pt x="4320" y="1489"/>
                  </a:lnTo>
                  <a:lnTo>
                    <a:pt x="4320" y="1491"/>
                  </a:lnTo>
                  <a:lnTo>
                    <a:pt x="4318" y="1491"/>
                  </a:lnTo>
                  <a:lnTo>
                    <a:pt x="4318" y="1491"/>
                  </a:lnTo>
                  <a:lnTo>
                    <a:pt x="4316" y="1491"/>
                  </a:lnTo>
                  <a:lnTo>
                    <a:pt x="4314" y="1491"/>
                  </a:lnTo>
                  <a:lnTo>
                    <a:pt x="4312" y="1493"/>
                  </a:lnTo>
                  <a:lnTo>
                    <a:pt x="4310" y="1493"/>
                  </a:lnTo>
                  <a:lnTo>
                    <a:pt x="4310" y="1493"/>
                  </a:lnTo>
                  <a:lnTo>
                    <a:pt x="4308" y="1495"/>
                  </a:lnTo>
                  <a:lnTo>
                    <a:pt x="4308" y="1497"/>
                  </a:lnTo>
                  <a:lnTo>
                    <a:pt x="4308" y="1497"/>
                  </a:lnTo>
                  <a:lnTo>
                    <a:pt x="4306" y="1501"/>
                  </a:lnTo>
                  <a:lnTo>
                    <a:pt x="4306" y="1503"/>
                  </a:lnTo>
                  <a:lnTo>
                    <a:pt x="4306" y="1505"/>
                  </a:lnTo>
                  <a:lnTo>
                    <a:pt x="4304" y="1505"/>
                  </a:lnTo>
                  <a:lnTo>
                    <a:pt x="4306" y="1507"/>
                  </a:lnTo>
                  <a:lnTo>
                    <a:pt x="4306" y="1507"/>
                  </a:lnTo>
                  <a:lnTo>
                    <a:pt x="4308" y="1510"/>
                  </a:lnTo>
                  <a:lnTo>
                    <a:pt x="4308" y="1507"/>
                  </a:lnTo>
                  <a:lnTo>
                    <a:pt x="4308" y="1507"/>
                  </a:lnTo>
                  <a:lnTo>
                    <a:pt x="4310" y="1505"/>
                  </a:lnTo>
                  <a:lnTo>
                    <a:pt x="4310" y="1503"/>
                  </a:lnTo>
                  <a:lnTo>
                    <a:pt x="4312" y="1499"/>
                  </a:lnTo>
                  <a:lnTo>
                    <a:pt x="4312" y="1499"/>
                  </a:lnTo>
                  <a:lnTo>
                    <a:pt x="4314" y="1497"/>
                  </a:lnTo>
                  <a:lnTo>
                    <a:pt x="4314" y="1497"/>
                  </a:lnTo>
                  <a:lnTo>
                    <a:pt x="4316" y="1497"/>
                  </a:lnTo>
                  <a:lnTo>
                    <a:pt x="4318" y="1497"/>
                  </a:lnTo>
                  <a:lnTo>
                    <a:pt x="4318" y="1499"/>
                  </a:lnTo>
                  <a:lnTo>
                    <a:pt x="4318" y="1499"/>
                  </a:lnTo>
                  <a:lnTo>
                    <a:pt x="4318" y="1499"/>
                  </a:lnTo>
                  <a:lnTo>
                    <a:pt x="4320" y="1499"/>
                  </a:lnTo>
                  <a:lnTo>
                    <a:pt x="4320" y="1499"/>
                  </a:lnTo>
                  <a:lnTo>
                    <a:pt x="4322" y="1497"/>
                  </a:lnTo>
                  <a:lnTo>
                    <a:pt x="4322" y="1497"/>
                  </a:lnTo>
                  <a:lnTo>
                    <a:pt x="4322" y="1499"/>
                  </a:lnTo>
                  <a:lnTo>
                    <a:pt x="4322" y="1499"/>
                  </a:lnTo>
                  <a:lnTo>
                    <a:pt x="4322" y="1499"/>
                  </a:lnTo>
                  <a:lnTo>
                    <a:pt x="4324" y="1501"/>
                  </a:lnTo>
                  <a:lnTo>
                    <a:pt x="4326" y="1501"/>
                  </a:lnTo>
                  <a:lnTo>
                    <a:pt x="4326" y="1497"/>
                  </a:lnTo>
                  <a:lnTo>
                    <a:pt x="4326" y="1497"/>
                  </a:lnTo>
                  <a:lnTo>
                    <a:pt x="4326" y="1497"/>
                  </a:lnTo>
                  <a:lnTo>
                    <a:pt x="4326" y="1495"/>
                  </a:lnTo>
                  <a:lnTo>
                    <a:pt x="4328" y="1495"/>
                  </a:lnTo>
                  <a:lnTo>
                    <a:pt x="4328" y="1495"/>
                  </a:lnTo>
                  <a:lnTo>
                    <a:pt x="4330" y="1495"/>
                  </a:lnTo>
                  <a:lnTo>
                    <a:pt x="4330" y="1497"/>
                  </a:lnTo>
                  <a:lnTo>
                    <a:pt x="4330" y="1497"/>
                  </a:lnTo>
                  <a:lnTo>
                    <a:pt x="4334" y="1497"/>
                  </a:lnTo>
                  <a:lnTo>
                    <a:pt x="4334" y="1499"/>
                  </a:lnTo>
                  <a:lnTo>
                    <a:pt x="4337" y="1501"/>
                  </a:lnTo>
                  <a:lnTo>
                    <a:pt x="4337" y="1501"/>
                  </a:lnTo>
                  <a:lnTo>
                    <a:pt x="4337" y="1503"/>
                  </a:lnTo>
                  <a:lnTo>
                    <a:pt x="4337" y="1503"/>
                  </a:lnTo>
                  <a:lnTo>
                    <a:pt x="4337" y="1503"/>
                  </a:lnTo>
                  <a:lnTo>
                    <a:pt x="4337" y="1505"/>
                  </a:lnTo>
                  <a:lnTo>
                    <a:pt x="4334" y="1505"/>
                  </a:lnTo>
                  <a:lnTo>
                    <a:pt x="4334" y="1507"/>
                  </a:lnTo>
                  <a:lnTo>
                    <a:pt x="4334" y="1507"/>
                  </a:lnTo>
                  <a:lnTo>
                    <a:pt x="4334" y="1510"/>
                  </a:lnTo>
                  <a:lnTo>
                    <a:pt x="4334" y="1512"/>
                  </a:lnTo>
                  <a:lnTo>
                    <a:pt x="4334" y="1514"/>
                  </a:lnTo>
                  <a:lnTo>
                    <a:pt x="4334" y="1516"/>
                  </a:lnTo>
                  <a:lnTo>
                    <a:pt x="4337" y="1518"/>
                  </a:lnTo>
                  <a:lnTo>
                    <a:pt x="4341" y="1520"/>
                  </a:lnTo>
                  <a:lnTo>
                    <a:pt x="4343" y="1522"/>
                  </a:lnTo>
                  <a:lnTo>
                    <a:pt x="4347" y="1524"/>
                  </a:lnTo>
                  <a:lnTo>
                    <a:pt x="4349" y="1524"/>
                  </a:lnTo>
                  <a:lnTo>
                    <a:pt x="4349" y="1524"/>
                  </a:lnTo>
                  <a:lnTo>
                    <a:pt x="4349" y="1522"/>
                  </a:lnTo>
                  <a:lnTo>
                    <a:pt x="4351" y="1522"/>
                  </a:lnTo>
                  <a:lnTo>
                    <a:pt x="4351" y="1520"/>
                  </a:lnTo>
                  <a:lnTo>
                    <a:pt x="4351" y="1520"/>
                  </a:lnTo>
                  <a:lnTo>
                    <a:pt x="4353" y="1522"/>
                  </a:lnTo>
                  <a:lnTo>
                    <a:pt x="4353" y="1522"/>
                  </a:lnTo>
                  <a:lnTo>
                    <a:pt x="4351" y="1524"/>
                  </a:lnTo>
                  <a:lnTo>
                    <a:pt x="4351" y="1526"/>
                  </a:lnTo>
                  <a:lnTo>
                    <a:pt x="4353" y="1526"/>
                  </a:lnTo>
                  <a:lnTo>
                    <a:pt x="4353" y="1528"/>
                  </a:lnTo>
                  <a:lnTo>
                    <a:pt x="4355" y="1526"/>
                  </a:lnTo>
                  <a:lnTo>
                    <a:pt x="4357" y="1524"/>
                  </a:lnTo>
                  <a:lnTo>
                    <a:pt x="4357" y="1522"/>
                  </a:lnTo>
                  <a:lnTo>
                    <a:pt x="4357" y="1518"/>
                  </a:lnTo>
                  <a:lnTo>
                    <a:pt x="4357" y="1516"/>
                  </a:lnTo>
                  <a:lnTo>
                    <a:pt x="4357" y="1514"/>
                  </a:lnTo>
                  <a:lnTo>
                    <a:pt x="4355" y="1514"/>
                  </a:lnTo>
                  <a:lnTo>
                    <a:pt x="4355" y="1514"/>
                  </a:lnTo>
                  <a:lnTo>
                    <a:pt x="4353" y="1512"/>
                  </a:lnTo>
                  <a:lnTo>
                    <a:pt x="4355" y="1510"/>
                  </a:lnTo>
                  <a:lnTo>
                    <a:pt x="4355" y="1510"/>
                  </a:lnTo>
                  <a:lnTo>
                    <a:pt x="4357" y="1507"/>
                  </a:lnTo>
                  <a:lnTo>
                    <a:pt x="4357" y="1505"/>
                  </a:lnTo>
                  <a:lnTo>
                    <a:pt x="4357" y="1505"/>
                  </a:lnTo>
                  <a:lnTo>
                    <a:pt x="4357" y="1503"/>
                  </a:lnTo>
                  <a:lnTo>
                    <a:pt x="4359" y="1503"/>
                  </a:lnTo>
                  <a:lnTo>
                    <a:pt x="4359" y="1503"/>
                  </a:lnTo>
                  <a:lnTo>
                    <a:pt x="4361" y="1503"/>
                  </a:lnTo>
                  <a:lnTo>
                    <a:pt x="4361" y="1505"/>
                  </a:lnTo>
                  <a:lnTo>
                    <a:pt x="4361" y="1507"/>
                  </a:lnTo>
                  <a:lnTo>
                    <a:pt x="4363" y="1507"/>
                  </a:lnTo>
                  <a:lnTo>
                    <a:pt x="4363" y="1510"/>
                  </a:lnTo>
                  <a:lnTo>
                    <a:pt x="4363" y="1512"/>
                  </a:lnTo>
                  <a:lnTo>
                    <a:pt x="4363" y="1514"/>
                  </a:lnTo>
                  <a:lnTo>
                    <a:pt x="4365" y="1516"/>
                  </a:lnTo>
                  <a:lnTo>
                    <a:pt x="4365" y="1518"/>
                  </a:lnTo>
                  <a:lnTo>
                    <a:pt x="4365" y="1516"/>
                  </a:lnTo>
                  <a:lnTo>
                    <a:pt x="4365" y="1512"/>
                  </a:lnTo>
                  <a:lnTo>
                    <a:pt x="4365" y="1510"/>
                  </a:lnTo>
                  <a:lnTo>
                    <a:pt x="4365" y="1510"/>
                  </a:lnTo>
                  <a:lnTo>
                    <a:pt x="4367" y="1510"/>
                  </a:lnTo>
                  <a:lnTo>
                    <a:pt x="4370" y="1507"/>
                  </a:lnTo>
                  <a:lnTo>
                    <a:pt x="4372" y="1505"/>
                  </a:lnTo>
                  <a:lnTo>
                    <a:pt x="4372" y="1503"/>
                  </a:lnTo>
                  <a:lnTo>
                    <a:pt x="4372" y="1503"/>
                  </a:lnTo>
                  <a:lnTo>
                    <a:pt x="4372" y="1499"/>
                  </a:lnTo>
                  <a:lnTo>
                    <a:pt x="4372" y="1497"/>
                  </a:lnTo>
                  <a:lnTo>
                    <a:pt x="4370" y="1497"/>
                  </a:lnTo>
                  <a:lnTo>
                    <a:pt x="4370" y="1497"/>
                  </a:lnTo>
                  <a:lnTo>
                    <a:pt x="4370" y="1495"/>
                  </a:lnTo>
                  <a:lnTo>
                    <a:pt x="4370" y="1495"/>
                  </a:lnTo>
                  <a:lnTo>
                    <a:pt x="4370" y="1491"/>
                  </a:lnTo>
                  <a:lnTo>
                    <a:pt x="4370" y="1491"/>
                  </a:lnTo>
                  <a:lnTo>
                    <a:pt x="4367" y="1489"/>
                  </a:lnTo>
                  <a:lnTo>
                    <a:pt x="4367" y="1487"/>
                  </a:lnTo>
                  <a:lnTo>
                    <a:pt x="4367" y="1485"/>
                  </a:lnTo>
                  <a:lnTo>
                    <a:pt x="4365" y="1485"/>
                  </a:lnTo>
                  <a:lnTo>
                    <a:pt x="4365" y="1485"/>
                  </a:lnTo>
                  <a:lnTo>
                    <a:pt x="4365" y="1485"/>
                  </a:lnTo>
                  <a:lnTo>
                    <a:pt x="4365" y="1483"/>
                  </a:lnTo>
                  <a:lnTo>
                    <a:pt x="4367" y="1483"/>
                  </a:lnTo>
                  <a:lnTo>
                    <a:pt x="4367" y="1481"/>
                  </a:lnTo>
                  <a:lnTo>
                    <a:pt x="4367" y="1481"/>
                  </a:lnTo>
                  <a:lnTo>
                    <a:pt x="4365" y="1479"/>
                  </a:lnTo>
                  <a:lnTo>
                    <a:pt x="4365" y="1477"/>
                  </a:lnTo>
                  <a:lnTo>
                    <a:pt x="4365" y="1474"/>
                  </a:lnTo>
                  <a:lnTo>
                    <a:pt x="4363" y="1474"/>
                  </a:lnTo>
                  <a:lnTo>
                    <a:pt x="4363" y="1474"/>
                  </a:lnTo>
                  <a:lnTo>
                    <a:pt x="4361" y="1472"/>
                  </a:lnTo>
                  <a:lnTo>
                    <a:pt x="4361" y="1472"/>
                  </a:lnTo>
                  <a:lnTo>
                    <a:pt x="4357" y="1470"/>
                  </a:lnTo>
                  <a:close/>
                  <a:moveTo>
                    <a:pt x="4363" y="1092"/>
                  </a:moveTo>
                  <a:lnTo>
                    <a:pt x="4363" y="1092"/>
                  </a:lnTo>
                  <a:lnTo>
                    <a:pt x="4363" y="1092"/>
                  </a:lnTo>
                  <a:lnTo>
                    <a:pt x="4363" y="1095"/>
                  </a:lnTo>
                  <a:lnTo>
                    <a:pt x="4365" y="1095"/>
                  </a:lnTo>
                  <a:lnTo>
                    <a:pt x="4365" y="1095"/>
                  </a:lnTo>
                  <a:lnTo>
                    <a:pt x="4365" y="1095"/>
                  </a:lnTo>
                  <a:lnTo>
                    <a:pt x="4365" y="1092"/>
                  </a:lnTo>
                  <a:lnTo>
                    <a:pt x="4363" y="1092"/>
                  </a:lnTo>
                  <a:close/>
                  <a:moveTo>
                    <a:pt x="4776" y="841"/>
                  </a:moveTo>
                  <a:lnTo>
                    <a:pt x="4774" y="841"/>
                  </a:lnTo>
                  <a:lnTo>
                    <a:pt x="4772" y="845"/>
                  </a:lnTo>
                  <a:lnTo>
                    <a:pt x="4772" y="847"/>
                  </a:lnTo>
                  <a:lnTo>
                    <a:pt x="4772" y="847"/>
                  </a:lnTo>
                  <a:lnTo>
                    <a:pt x="4774" y="847"/>
                  </a:lnTo>
                  <a:lnTo>
                    <a:pt x="4774" y="847"/>
                  </a:lnTo>
                  <a:lnTo>
                    <a:pt x="4774" y="845"/>
                  </a:lnTo>
                  <a:lnTo>
                    <a:pt x="4774" y="843"/>
                  </a:lnTo>
                  <a:lnTo>
                    <a:pt x="4776" y="841"/>
                  </a:lnTo>
                  <a:close/>
                  <a:moveTo>
                    <a:pt x="4271" y="1619"/>
                  </a:moveTo>
                  <a:lnTo>
                    <a:pt x="4268" y="1623"/>
                  </a:lnTo>
                  <a:lnTo>
                    <a:pt x="4266" y="1627"/>
                  </a:lnTo>
                  <a:lnTo>
                    <a:pt x="4266" y="1627"/>
                  </a:lnTo>
                  <a:lnTo>
                    <a:pt x="4268" y="1629"/>
                  </a:lnTo>
                  <a:lnTo>
                    <a:pt x="4266" y="1629"/>
                  </a:lnTo>
                  <a:lnTo>
                    <a:pt x="4268" y="1631"/>
                  </a:lnTo>
                  <a:lnTo>
                    <a:pt x="4268" y="1633"/>
                  </a:lnTo>
                  <a:lnTo>
                    <a:pt x="4266" y="1636"/>
                  </a:lnTo>
                  <a:lnTo>
                    <a:pt x="4266" y="1638"/>
                  </a:lnTo>
                  <a:lnTo>
                    <a:pt x="4264" y="1638"/>
                  </a:lnTo>
                  <a:lnTo>
                    <a:pt x="4264" y="1640"/>
                  </a:lnTo>
                  <a:lnTo>
                    <a:pt x="4264" y="1642"/>
                  </a:lnTo>
                  <a:lnTo>
                    <a:pt x="4262" y="1644"/>
                  </a:lnTo>
                  <a:lnTo>
                    <a:pt x="4262" y="1644"/>
                  </a:lnTo>
                  <a:lnTo>
                    <a:pt x="4260" y="1644"/>
                  </a:lnTo>
                  <a:lnTo>
                    <a:pt x="4260" y="1644"/>
                  </a:lnTo>
                  <a:lnTo>
                    <a:pt x="4260" y="1646"/>
                  </a:lnTo>
                  <a:lnTo>
                    <a:pt x="4260" y="1646"/>
                  </a:lnTo>
                  <a:lnTo>
                    <a:pt x="4260" y="1646"/>
                  </a:lnTo>
                  <a:lnTo>
                    <a:pt x="4260" y="1648"/>
                  </a:lnTo>
                  <a:lnTo>
                    <a:pt x="4260" y="1650"/>
                  </a:lnTo>
                  <a:lnTo>
                    <a:pt x="4260" y="1652"/>
                  </a:lnTo>
                  <a:lnTo>
                    <a:pt x="4260" y="1652"/>
                  </a:lnTo>
                  <a:lnTo>
                    <a:pt x="4260" y="1654"/>
                  </a:lnTo>
                  <a:lnTo>
                    <a:pt x="4262" y="1656"/>
                  </a:lnTo>
                  <a:lnTo>
                    <a:pt x="4262" y="1656"/>
                  </a:lnTo>
                  <a:lnTo>
                    <a:pt x="4266" y="1656"/>
                  </a:lnTo>
                  <a:lnTo>
                    <a:pt x="4268" y="1656"/>
                  </a:lnTo>
                  <a:lnTo>
                    <a:pt x="4268" y="1656"/>
                  </a:lnTo>
                  <a:lnTo>
                    <a:pt x="4271" y="1656"/>
                  </a:lnTo>
                  <a:lnTo>
                    <a:pt x="4271" y="1656"/>
                  </a:lnTo>
                  <a:lnTo>
                    <a:pt x="4271" y="1658"/>
                  </a:lnTo>
                  <a:lnTo>
                    <a:pt x="4271" y="1658"/>
                  </a:lnTo>
                  <a:lnTo>
                    <a:pt x="4271" y="1660"/>
                  </a:lnTo>
                  <a:lnTo>
                    <a:pt x="4271" y="1660"/>
                  </a:lnTo>
                  <a:lnTo>
                    <a:pt x="4273" y="1662"/>
                  </a:lnTo>
                  <a:lnTo>
                    <a:pt x="4273" y="1664"/>
                  </a:lnTo>
                  <a:lnTo>
                    <a:pt x="4273" y="1669"/>
                  </a:lnTo>
                  <a:lnTo>
                    <a:pt x="4271" y="1671"/>
                  </a:lnTo>
                  <a:lnTo>
                    <a:pt x="4271" y="1673"/>
                  </a:lnTo>
                  <a:lnTo>
                    <a:pt x="4271" y="1673"/>
                  </a:lnTo>
                  <a:lnTo>
                    <a:pt x="4271" y="1675"/>
                  </a:lnTo>
                  <a:lnTo>
                    <a:pt x="4268" y="1679"/>
                  </a:lnTo>
                  <a:lnTo>
                    <a:pt x="4268" y="1681"/>
                  </a:lnTo>
                  <a:lnTo>
                    <a:pt x="4268" y="1681"/>
                  </a:lnTo>
                  <a:lnTo>
                    <a:pt x="4268" y="1683"/>
                  </a:lnTo>
                  <a:lnTo>
                    <a:pt x="4271" y="1685"/>
                  </a:lnTo>
                  <a:lnTo>
                    <a:pt x="4271" y="1685"/>
                  </a:lnTo>
                  <a:lnTo>
                    <a:pt x="4273" y="1687"/>
                  </a:lnTo>
                  <a:lnTo>
                    <a:pt x="4275" y="1687"/>
                  </a:lnTo>
                  <a:lnTo>
                    <a:pt x="4275" y="1687"/>
                  </a:lnTo>
                  <a:lnTo>
                    <a:pt x="4277" y="1685"/>
                  </a:lnTo>
                  <a:lnTo>
                    <a:pt x="4277" y="1685"/>
                  </a:lnTo>
                  <a:lnTo>
                    <a:pt x="4279" y="1685"/>
                  </a:lnTo>
                  <a:lnTo>
                    <a:pt x="4281" y="1685"/>
                  </a:lnTo>
                  <a:lnTo>
                    <a:pt x="4281" y="1685"/>
                  </a:lnTo>
                  <a:lnTo>
                    <a:pt x="4281" y="1685"/>
                  </a:lnTo>
                  <a:lnTo>
                    <a:pt x="4283" y="1685"/>
                  </a:lnTo>
                  <a:lnTo>
                    <a:pt x="4283" y="1685"/>
                  </a:lnTo>
                  <a:lnTo>
                    <a:pt x="4283" y="1683"/>
                  </a:lnTo>
                  <a:lnTo>
                    <a:pt x="4281" y="1679"/>
                  </a:lnTo>
                  <a:lnTo>
                    <a:pt x="4281" y="1679"/>
                  </a:lnTo>
                  <a:lnTo>
                    <a:pt x="4281" y="1677"/>
                  </a:lnTo>
                  <a:lnTo>
                    <a:pt x="4283" y="1673"/>
                  </a:lnTo>
                  <a:lnTo>
                    <a:pt x="4283" y="1673"/>
                  </a:lnTo>
                  <a:lnTo>
                    <a:pt x="4283" y="1669"/>
                  </a:lnTo>
                  <a:lnTo>
                    <a:pt x="4283" y="1664"/>
                  </a:lnTo>
                  <a:lnTo>
                    <a:pt x="4283" y="1660"/>
                  </a:lnTo>
                  <a:lnTo>
                    <a:pt x="4283" y="1660"/>
                  </a:lnTo>
                  <a:lnTo>
                    <a:pt x="4283" y="1658"/>
                  </a:lnTo>
                  <a:lnTo>
                    <a:pt x="4283" y="1654"/>
                  </a:lnTo>
                  <a:lnTo>
                    <a:pt x="4283" y="1652"/>
                  </a:lnTo>
                  <a:lnTo>
                    <a:pt x="4281" y="1652"/>
                  </a:lnTo>
                  <a:lnTo>
                    <a:pt x="4281" y="1650"/>
                  </a:lnTo>
                  <a:lnTo>
                    <a:pt x="4281" y="1648"/>
                  </a:lnTo>
                  <a:lnTo>
                    <a:pt x="4283" y="1648"/>
                  </a:lnTo>
                  <a:lnTo>
                    <a:pt x="4285" y="1646"/>
                  </a:lnTo>
                  <a:lnTo>
                    <a:pt x="4287" y="1644"/>
                  </a:lnTo>
                  <a:lnTo>
                    <a:pt x="4289" y="1644"/>
                  </a:lnTo>
                  <a:lnTo>
                    <a:pt x="4289" y="1644"/>
                  </a:lnTo>
                  <a:lnTo>
                    <a:pt x="4291" y="1644"/>
                  </a:lnTo>
                  <a:lnTo>
                    <a:pt x="4293" y="1646"/>
                  </a:lnTo>
                  <a:lnTo>
                    <a:pt x="4293" y="1648"/>
                  </a:lnTo>
                  <a:lnTo>
                    <a:pt x="4293" y="1650"/>
                  </a:lnTo>
                  <a:lnTo>
                    <a:pt x="4293" y="1652"/>
                  </a:lnTo>
                  <a:lnTo>
                    <a:pt x="4291" y="1652"/>
                  </a:lnTo>
                  <a:lnTo>
                    <a:pt x="4291" y="1654"/>
                  </a:lnTo>
                  <a:lnTo>
                    <a:pt x="4289" y="1656"/>
                  </a:lnTo>
                  <a:lnTo>
                    <a:pt x="4289" y="1656"/>
                  </a:lnTo>
                  <a:lnTo>
                    <a:pt x="4291" y="1656"/>
                  </a:lnTo>
                  <a:lnTo>
                    <a:pt x="4295" y="1662"/>
                  </a:lnTo>
                  <a:lnTo>
                    <a:pt x="4297" y="1662"/>
                  </a:lnTo>
                  <a:lnTo>
                    <a:pt x="4299" y="1662"/>
                  </a:lnTo>
                  <a:lnTo>
                    <a:pt x="4299" y="1664"/>
                  </a:lnTo>
                  <a:lnTo>
                    <a:pt x="4299" y="1664"/>
                  </a:lnTo>
                  <a:lnTo>
                    <a:pt x="4299" y="1666"/>
                  </a:lnTo>
                  <a:lnTo>
                    <a:pt x="4299" y="1666"/>
                  </a:lnTo>
                  <a:lnTo>
                    <a:pt x="4299" y="1666"/>
                  </a:lnTo>
                  <a:lnTo>
                    <a:pt x="4299" y="1671"/>
                  </a:lnTo>
                  <a:lnTo>
                    <a:pt x="4299" y="1673"/>
                  </a:lnTo>
                  <a:lnTo>
                    <a:pt x="4299" y="1675"/>
                  </a:lnTo>
                  <a:lnTo>
                    <a:pt x="4301" y="1675"/>
                  </a:lnTo>
                  <a:lnTo>
                    <a:pt x="4301" y="1675"/>
                  </a:lnTo>
                  <a:lnTo>
                    <a:pt x="4304" y="1675"/>
                  </a:lnTo>
                  <a:lnTo>
                    <a:pt x="4306" y="1675"/>
                  </a:lnTo>
                  <a:lnTo>
                    <a:pt x="4308" y="1675"/>
                  </a:lnTo>
                  <a:lnTo>
                    <a:pt x="4306" y="1673"/>
                  </a:lnTo>
                  <a:lnTo>
                    <a:pt x="4306" y="1673"/>
                  </a:lnTo>
                  <a:lnTo>
                    <a:pt x="4308" y="1671"/>
                  </a:lnTo>
                  <a:lnTo>
                    <a:pt x="4310" y="1671"/>
                  </a:lnTo>
                  <a:lnTo>
                    <a:pt x="4312" y="1669"/>
                  </a:lnTo>
                  <a:lnTo>
                    <a:pt x="4314" y="1669"/>
                  </a:lnTo>
                  <a:lnTo>
                    <a:pt x="4316" y="1669"/>
                  </a:lnTo>
                  <a:lnTo>
                    <a:pt x="4316" y="1669"/>
                  </a:lnTo>
                  <a:lnTo>
                    <a:pt x="4316" y="1669"/>
                  </a:lnTo>
                  <a:lnTo>
                    <a:pt x="4316" y="1669"/>
                  </a:lnTo>
                  <a:lnTo>
                    <a:pt x="4318" y="1669"/>
                  </a:lnTo>
                  <a:lnTo>
                    <a:pt x="4318" y="1669"/>
                  </a:lnTo>
                  <a:lnTo>
                    <a:pt x="4318" y="1669"/>
                  </a:lnTo>
                  <a:lnTo>
                    <a:pt x="4318" y="1666"/>
                  </a:lnTo>
                  <a:lnTo>
                    <a:pt x="4318" y="1666"/>
                  </a:lnTo>
                  <a:lnTo>
                    <a:pt x="4318" y="1664"/>
                  </a:lnTo>
                  <a:lnTo>
                    <a:pt x="4318" y="1664"/>
                  </a:lnTo>
                  <a:lnTo>
                    <a:pt x="4318" y="1664"/>
                  </a:lnTo>
                  <a:lnTo>
                    <a:pt x="4316" y="1664"/>
                  </a:lnTo>
                  <a:lnTo>
                    <a:pt x="4316" y="1664"/>
                  </a:lnTo>
                  <a:lnTo>
                    <a:pt x="4316" y="1664"/>
                  </a:lnTo>
                  <a:lnTo>
                    <a:pt x="4316" y="1664"/>
                  </a:lnTo>
                  <a:lnTo>
                    <a:pt x="4314" y="1662"/>
                  </a:lnTo>
                  <a:lnTo>
                    <a:pt x="4314" y="1662"/>
                  </a:lnTo>
                  <a:lnTo>
                    <a:pt x="4314" y="1662"/>
                  </a:lnTo>
                  <a:lnTo>
                    <a:pt x="4314" y="1660"/>
                  </a:lnTo>
                  <a:lnTo>
                    <a:pt x="4312" y="1660"/>
                  </a:lnTo>
                  <a:lnTo>
                    <a:pt x="4312" y="1658"/>
                  </a:lnTo>
                  <a:lnTo>
                    <a:pt x="4310" y="1658"/>
                  </a:lnTo>
                  <a:lnTo>
                    <a:pt x="4310" y="1658"/>
                  </a:lnTo>
                  <a:lnTo>
                    <a:pt x="4310" y="1658"/>
                  </a:lnTo>
                  <a:lnTo>
                    <a:pt x="4310" y="1656"/>
                  </a:lnTo>
                  <a:lnTo>
                    <a:pt x="4310" y="1656"/>
                  </a:lnTo>
                  <a:lnTo>
                    <a:pt x="4310" y="1654"/>
                  </a:lnTo>
                  <a:lnTo>
                    <a:pt x="4310" y="1652"/>
                  </a:lnTo>
                  <a:lnTo>
                    <a:pt x="4312" y="1652"/>
                  </a:lnTo>
                  <a:lnTo>
                    <a:pt x="4312" y="1650"/>
                  </a:lnTo>
                  <a:lnTo>
                    <a:pt x="4310" y="1650"/>
                  </a:lnTo>
                  <a:lnTo>
                    <a:pt x="4310" y="1650"/>
                  </a:lnTo>
                  <a:lnTo>
                    <a:pt x="4310" y="1648"/>
                  </a:lnTo>
                  <a:lnTo>
                    <a:pt x="4310" y="1648"/>
                  </a:lnTo>
                  <a:lnTo>
                    <a:pt x="4308" y="1646"/>
                  </a:lnTo>
                  <a:lnTo>
                    <a:pt x="4306" y="1644"/>
                  </a:lnTo>
                  <a:lnTo>
                    <a:pt x="4306" y="1642"/>
                  </a:lnTo>
                  <a:lnTo>
                    <a:pt x="4304" y="1640"/>
                  </a:lnTo>
                  <a:lnTo>
                    <a:pt x="4301" y="1638"/>
                  </a:lnTo>
                  <a:lnTo>
                    <a:pt x="4301" y="1638"/>
                  </a:lnTo>
                  <a:lnTo>
                    <a:pt x="4299" y="1638"/>
                  </a:lnTo>
                  <a:lnTo>
                    <a:pt x="4299" y="1638"/>
                  </a:lnTo>
                  <a:lnTo>
                    <a:pt x="4299" y="1636"/>
                  </a:lnTo>
                  <a:lnTo>
                    <a:pt x="4297" y="1633"/>
                  </a:lnTo>
                  <a:lnTo>
                    <a:pt x="4297" y="1633"/>
                  </a:lnTo>
                  <a:lnTo>
                    <a:pt x="4297" y="1633"/>
                  </a:lnTo>
                  <a:lnTo>
                    <a:pt x="4297" y="1633"/>
                  </a:lnTo>
                  <a:lnTo>
                    <a:pt x="4299" y="1633"/>
                  </a:lnTo>
                  <a:lnTo>
                    <a:pt x="4299" y="1633"/>
                  </a:lnTo>
                  <a:lnTo>
                    <a:pt x="4301" y="1633"/>
                  </a:lnTo>
                  <a:lnTo>
                    <a:pt x="4301" y="1633"/>
                  </a:lnTo>
                  <a:lnTo>
                    <a:pt x="4304" y="1631"/>
                  </a:lnTo>
                  <a:lnTo>
                    <a:pt x="4304" y="1631"/>
                  </a:lnTo>
                  <a:lnTo>
                    <a:pt x="4308" y="1629"/>
                  </a:lnTo>
                  <a:lnTo>
                    <a:pt x="4310" y="1629"/>
                  </a:lnTo>
                  <a:lnTo>
                    <a:pt x="4310" y="1627"/>
                  </a:lnTo>
                  <a:lnTo>
                    <a:pt x="4314" y="1625"/>
                  </a:lnTo>
                  <a:lnTo>
                    <a:pt x="4316" y="1623"/>
                  </a:lnTo>
                  <a:lnTo>
                    <a:pt x="4316" y="1621"/>
                  </a:lnTo>
                  <a:lnTo>
                    <a:pt x="4318" y="1621"/>
                  </a:lnTo>
                  <a:lnTo>
                    <a:pt x="4318" y="1619"/>
                  </a:lnTo>
                  <a:lnTo>
                    <a:pt x="4318" y="1619"/>
                  </a:lnTo>
                  <a:lnTo>
                    <a:pt x="4320" y="1619"/>
                  </a:lnTo>
                  <a:lnTo>
                    <a:pt x="4322" y="1619"/>
                  </a:lnTo>
                  <a:lnTo>
                    <a:pt x="4324" y="1621"/>
                  </a:lnTo>
                  <a:lnTo>
                    <a:pt x="4324" y="1621"/>
                  </a:lnTo>
                  <a:lnTo>
                    <a:pt x="4326" y="1621"/>
                  </a:lnTo>
                  <a:lnTo>
                    <a:pt x="4326" y="1621"/>
                  </a:lnTo>
                  <a:lnTo>
                    <a:pt x="4326" y="1617"/>
                  </a:lnTo>
                  <a:lnTo>
                    <a:pt x="4326" y="1617"/>
                  </a:lnTo>
                  <a:lnTo>
                    <a:pt x="4326" y="1615"/>
                  </a:lnTo>
                  <a:lnTo>
                    <a:pt x="4324" y="1615"/>
                  </a:lnTo>
                  <a:lnTo>
                    <a:pt x="4322" y="1615"/>
                  </a:lnTo>
                  <a:lnTo>
                    <a:pt x="4320" y="1615"/>
                  </a:lnTo>
                  <a:lnTo>
                    <a:pt x="4318" y="1615"/>
                  </a:lnTo>
                  <a:lnTo>
                    <a:pt x="4318" y="1615"/>
                  </a:lnTo>
                  <a:lnTo>
                    <a:pt x="4318" y="1617"/>
                  </a:lnTo>
                  <a:lnTo>
                    <a:pt x="4318" y="1617"/>
                  </a:lnTo>
                  <a:lnTo>
                    <a:pt x="4318" y="1617"/>
                  </a:lnTo>
                  <a:lnTo>
                    <a:pt x="4316" y="1617"/>
                  </a:lnTo>
                  <a:lnTo>
                    <a:pt x="4314" y="1617"/>
                  </a:lnTo>
                  <a:lnTo>
                    <a:pt x="4310" y="1617"/>
                  </a:lnTo>
                  <a:lnTo>
                    <a:pt x="4308" y="1617"/>
                  </a:lnTo>
                  <a:lnTo>
                    <a:pt x="4308" y="1619"/>
                  </a:lnTo>
                  <a:lnTo>
                    <a:pt x="4308" y="1619"/>
                  </a:lnTo>
                  <a:lnTo>
                    <a:pt x="4306" y="1619"/>
                  </a:lnTo>
                  <a:lnTo>
                    <a:pt x="4304" y="1619"/>
                  </a:lnTo>
                  <a:lnTo>
                    <a:pt x="4301" y="1619"/>
                  </a:lnTo>
                  <a:lnTo>
                    <a:pt x="4301" y="1619"/>
                  </a:lnTo>
                  <a:lnTo>
                    <a:pt x="4301" y="1619"/>
                  </a:lnTo>
                  <a:lnTo>
                    <a:pt x="4299" y="1619"/>
                  </a:lnTo>
                  <a:lnTo>
                    <a:pt x="4299" y="1619"/>
                  </a:lnTo>
                  <a:lnTo>
                    <a:pt x="4297" y="1619"/>
                  </a:lnTo>
                  <a:lnTo>
                    <a:pt x="4295" y="1623"/>
                  </a:lnTo>
                  <a:lnTo>
                    <a:pt x="4295" y="1623"/>
                  </a:lnTo>
                  <a:lnTo>
                    <a:pt x="4293" y="1625"/>
                  </a:lnTo>
                  <a:lnTo>
                    <a:pt x="4291" y="1627"/>
                  </a:lnTo>
                  <a:lnTo>
                    <a:pt x="4291" y="1625"/>
                  </a:lnTo>
                  <a:lnTo>
                    <a:pt x="4289" y="1625"/>
                  </a:lnTo>
                  <a:lnTo>
                    <a:pt x="4287" y="1625"/>
                  </a:lnTo>
                  <a:lnTo>
                    <a:pt x="4287" y="1625"/>
                  </a:lnTo>
                  <a:lnTo>
                    <a:pt x="4285" y="1625"/>
                  </a:lnTo>
                  <a:lnTo>
                    <a:pt x="4285" y="1621"/>
                  </a:lnTo>
                  <a:lnTo>
                    <a:pt x="4283" y="1621"/>
                  </a:lnTo>
                  <a:lnTo>
                    <a:pt x="4281" y="1619"/>
                  </a:lnTo>
                  <a:lnTo>
                    <a:pt x="4281" y="1619"/>
                  </a:lnTo>
                  <a:lnTo>
                    <a:pt x="4279" y="1615"/>
                  </a:lnTo>
                  <a:lnTo>
                    <a:pt x="4279" y="1615"/>
                  </a:lnTo>
                  <a:lnTo>
                    <a:pt x="4277" y="1613"/>
                  </a:lnTo>
                  <a:lnTo>
                    <a:pt x="4277" y="1611"/>
                  </a:lnTo>
                  <a:lnTo>
                    <a:pt x="4277" y="1609"/>
                  </a:lnTo>
                  <a:lnTo>
                    <a:pt x="4277" y="1609"/>
                  </a:lnTo>
                  <a:lnTo>
                    <a:pt x="4279" y="1607"/>
                  </a:lnTo>
                  <a:lnTo>
                    <a:pt x="4279" y="1605"/>
                  </a:lnTo>
                  <a:lnTo>
                    <a:pt x="4281" y="1602"/>
                  </a:lnTo>
                  <a:lnTo>
                    <a:pt x="4281" y="1600"/>
                  </a:lnTo>
                  <a:lnTo>
                    <a:pt x="4283" y="1600"/>
                  </a:lnTo>
                  <a:lnTo>
                    <a:pt x="4283" y="1598"/>
                  </a:lnTo>
                  <a:lnTo>
                    <a:pt x="4285" y="1598"/>
                  </a:lnTo>
                  <a:lnTo>
                    <a:pt x="4287" y="1598"/>
                  </a:lnTo>
                  <a:lnTo>
                    <a:pt x="4291" y="1600"/>
                  </a:lnTo>
                  <a:lnTo>
                    <a:pt x="4291" y="1600"/>
                  </a:lnTo>
                  <a:lnTo>
                    <a:pt x="4297" y="1600"/>
                  </a:lnTo>
                  <a:lnTo>
                    <a:pt x="4299" y="1600"/>
                  </a:lnTo>
                  <a:lnTo>
                    <a:pt x="4299" y="1600"/>
                  </a:lnTo>
                  <a:lnTo>
                    <a:pt x="4301" y="1600"/>
                  </a:lnTo>
                  <a:lnTo>
                    <a:pt x="4304" y="1600"/>
                  </a:lnTo>
                  <a:lnTo>
                    <a:pt x="4306" y="1600"/>
                  </a:lnTo>
                  <a:lnTo>
                    <a:pt x="4310" y="1600"/>
                  </a:lnTo>
                  <a:lnTo>
                    <a:pt x="4318" y="1600"/>
                  </a:lnTo>
                  <a:lnTo>
                    <a:pt x="4320" y="1600"/>
                  </a:lnTo>
                  <a:lnTo>
                    <a:pt x="4322" y="1600"/>
                  </a:lnTo>
                  <a:lnTo>
                    <a:pt x="4322" y="1600"/>
                  </a:lnTo>
                  <a:lnTo>
                    <a:pt x="4324" y="1602"/>
                  </a:lnTo>
                  <a:lnTo>
                    <a:pt x="4324" y="1602"/>
                  </a:lnTo>
                  <a:lnTo>
                    <a:pt x="4328" y="1602"/>
                  </a:lnTo>
                  <a:lnTo>
                    <a:pt x="4328" y="1602"/>
                  </a:lnTo>
                  <a:lnTo>
                    <a:pt x="4330" y="1602"/>
                  </a:lnTo>
                  <a:lnTo>
                    <a:pt x="4337" y="1600"/>
                  </a:lnTo>
                  <a:lnTo>
                    <a:pt x="4337" y="1600"/>
                  </a:lnTo>
                  <a:lnTo>
                    <a:pt x="4339" y="1600"/>
                  </a:lnTo>
                  <a:lnTo>
                    <a:pt x="4341" y="1600"/>
                  </a:lnTo>
                  <a:lnTo>
                    <a:pt x="4341" y="1600"/>
                  </a:lnTo>
                  <a:lnTo>
                    <a:pt x="4341" y="1598"/>
                  </a:lnTo>
                  <a:lnTo>
                    <a:pt x="4343" y="1596"/>
                  </a:lnTo>
                  <a:lnTo>
                    <a:pt x="4343" y="1596"/>
                  </a:lnTo>
                  <a:lnTo>
                    <a:pt x="4345" y="1594"/>
                  </a:lnTo>
                  <a:lnTo>
                    <a:pt x="4347" y="1592"/>
                  </a:lnTo>
                  <a:lnTo>
                    <a:pt x="4349" y="1592"/>
                  </a:lnTo>
                  <a:lnTo>
                    <a:pt x="4349" y="1590"/>
                  </a:lnTo>
                  <a:lnTo>
                    <a:pt x="4351" y="1588"/>
                  </a:lnTo>
                  <a:lnTo>
                    <a:pt x="4351" y="1586"/>
                  </a:lnTo>
                  <a:lnTo>
                    <a:pt x="4351" y="1586"/>
                  </a:lnTo>
                  <a:lnTo>
                    <a:pt x="4351" y="1586"/>
                  </a:lnTo>
                  <a:lnTo>
                    <a:pt x="4351" y="1584"/>
                  </a:lnTo>
                  <a:lnTo>
                    <a:pt x="4351" y="1582"/>
                  </a:lnTo>
                  <a:lnTo>
                    <a:pt x="4349" y="1582"/>
                  </a:lnTo>
                  <a:lnTo>
                    <a:pt x="4347" y="1584"/>
                  </a:lnTo>
                  <a:lnTo>
                    <a:pt x="4347" y="1584"/>
                  </a:lnTo>
                  <a:lnTo>
                    <a:pt x="4345" y="1586"/>
                  </a:lnTo>
                  <a:lnTo>
                    <a:pt x="4345" y="1586"/>
                  </a:lnTo>
                  <a:lnTo>
                    <a:pt x="4343" y="1586"/>
                  </a:lnTo>
                  <a:lnTo>
                    <a:pt x="4343" y="1586"/>
                  </a:lnTo>
                  <a:lnTo>
                    <a:pt x="4343" y="1588"/>
                  </a:lnTo>
                  <a:lnTo>
                    <a:pt x="4343" y="1590"/>
                  </a:lnTo>
                  <a:lnTo>
                    <a:pt x="4341" y="1590"/>
                  </a:lnTo>
                  <a:lnTo>
                    <a:pt x="4339" y="1592"/>
                  </a:lnTo>
                  <a:lnTo>
                    <a:pt x="4332" y="1594"/>
                  </a:lnTo>
                  <a:lnTo>
                    <a:pt x="4332" y="1594"/>
                  </a:lnTo>
                  <a:lnTo>
                    <a:pt x="4324" y="1594"/>
                  </a:lnTo>
                  <a:lnTo>
                    <a:pt x="4320" y="1594"/>
                  </a:lnTo>
                  <a:lnTo>
                    <a:pt x="4320" y="1594"/>
                  </a:lnTo>
                  <a:lnTo>
                    <a:pt x="4320" y="1594"/>
                  </a:lnTo>
                  <a:lnTo>
                    <a:pt x="4318" y="1594"/>
                  </a:lnTo>
                  <a:lnTo>
                    <a:pt x="4318" y="1594"/>
                  </a:lnTo>
                  <a:lnTo>
                    <a:pt x="4318" y="1594"/>
                  </a:lnTo>
                  <a:lnTo>
                    <a:pt x="4316" y="1594"/>
                  </a:lnTo>
                  <a:lnTo>
                    <a:pt x="4314" y="1592"/>
                  </a:lnTo>
                  <a:lnTo>
                    <a:pt x="4312" y="1592"/>
                  </a:lnTo>
                  <a:lnTo>
                    <a:pt x="4308" y="1592"/>
                  </a:lnTo>
                  <a:lnTo>
                    <a:pt x="4304" y="1592"/>
                  </a:lnTo>
                  <a:lnTo>
                    <a:pt x="4299" y="1592"/>
                  </a:lnTo>
                  <a:lnTo>
                    <a:pt x="4299" y="1592"/>
                  </a:lnTo>
                  <a:lnTo>
                    <a:pt x="4299" y="1590"/>
                  </a:lnTo>
                  <a:lnTo>
                    <a:pt x="4297" y="1590"/>
                  </a:lnTo>
                  <a:lnTo>
                    <a:pt x="4297" y="1590"/>
                  </a:lnTo>
                  <a:lnTo>
                    <a:pt x="4297" y="1588"/>
                  </a:lnTo>
                  <a:lnTo>
                    <a:pt x="4297" y="1588"/>
                  </a:lnTo>
                  <a:lnTo>
                    <a:pt x="4295" y="1588"/>
                  </a:lnTo>
                  <a:lnTo>
                    <a:pt x="4295" y="1588"/>
                  </a:lnTo>
                  <a:lnTo>
                    <a:pt x="4293" y="1588"/>
                  </a:lnTo>
                  <a:lnTo>
                    <a:pt x="4291" y="1588"/>
                  </a:lnTo>
                  <a:lnTo>
                    <a:pt x="4291" y="1588"/>
                  </a:lnTo>
                  <a:lnTo>
                    <a:pt x="4291" y="1588"/>
                  </a:lnTo>
                  <a:lnTo>
                    <a:pt x="4289" y="1588"/>
                  </a:lnTo>
                  <a:lnTo>
                    <a:pt x="4289" y="1590"/>
                  </a:lnTo>
                  <a:lnTo>
                    <a:pt x="4287" y="1592"/>
                  </a:lnTo>
                  <a:lnTo>
                    <a:pt x="4287" y="1592"/>
                  </a:lnTo>
                  <a:lnTo>
                    <a:pt x="4287" y="1594"/>
                  </a:lnTo>
                  <a:lnTo>
                    <a:pt x="4287" y="1594"/>
                  </a:lnTo>
                  <a:lnTo>
                    <a:pt x="4285" y="1594"/>
                  </a:lnTo>
                  <a:lnTo>
                    <a:pt x="4285" y="1594"/>
                  </a:lnTo>
                  <a:lnTo>
                    <a:pt x="4283" y="1594"/>
                  </a:lnTo>
                  <a:lnTo>
                    <a:pt x="4283" y="1594"/>
                  </a:lnTo>
                  <a:lnTo>
                    <a:pt x="4281" y="1592"/>
                  </a:lnTo>
                  <a:lnTo>
                    <a:pt x="4281" y="1592"/>
                  </a:lnTo>
                  <a:lnTo>
                    <a:pt x="4281" y="1592"/>
                  </a:lnTo>
                  <a:lnTo>
                    <a:pt x="4281" y="1594"/>
                  </a:lnTo>
                  <a:lnTo>
                    <a:pt x="4279" y="1596"/>
                  </a:lnTo>
                  <a:lnTo>
                    <a:pt x="4279" y="1596"/>
                  </a:lnTo>
                  <a:lnTo>
                    <a:pt x="4279" y="1596"/>
                  </a:lnTo>
                  <a:lnTo>
                    <a:pt x="4277" y="1598"/>
                  </a:lnTo>
                  <a:lnTo>
                    <a:pt x="4277" y="1598"/>
                  </a:lnTo>
                  <a:lnTo>
                    <a:pt x="4277" y="1600"/>
                  </a:lnTo>
                  <a:lnTo>
                    <a:pt x="4275" y="1602"/>
                  </a:lnTo>
                  <a:lnTo>
                    <a:pt x="4275" y="1605"/>
                  </a:lnTo>
                  <a:lnTo>
                    <a:pt x="4275" y="1607"/>
                  </a:lnTo>
                  <a:lnTo>
                    <a:pt x="4275" y="1607"/>
                  </a:lnTo>
                  <a:lnTo>
                    <a:pt x="4275" y="1607"/>
                  </a:lnTo>
                  <a:lnTo>
                    <a:pt x="4273" y="1607"/>
                  </a:lnTo>
                  <a:lnTo>
                    <a:pt x="4273" y="1609"/>
                  </a:lnTo>
                  <a:lnTo>
                    <a:pt x="4275" y="1613"/>
                  </a:lnTo>
                  <a:lnTo>
                    <a:pt x="4275" y="1617"/>
                  </a:lnTo>
                  <a:lnTo>
                    <a:pt x="4275" y="1617"/>
                  </a:lnTo>
                  <a:lnTo>
                    <a:pt x="4275" y="1619"/>
                  </a:lnTo>
                  <a:lnTo>
                    <a:pt x="4275" y="1617"/>
                  </a:lnTo>
                  <a:lnTo>
                    <a:pt x="4273" y="1617"/>
                  </a:lnTo>
                  <a:lnTo>
                    <a:pt x="4273" y="1617"/>
                  </a:lnTo>
                  <a:lnTo>
                    <a:pt x="4271" y="1619"/>
                  </a:lnTo>
                  <a:close/>
                  <a:moveTo>
                    <a:pt x="4374" y="1553"/>
                  </a:moveTo>
                  <a:lnTo>
                    <a:pt x="4374" y="1553"/>
                  </a:lnTo>
                  <a:lnTo>
                    <a:pt x="4374" y="1553"/>
                  </a:lnTo>
                  <a:lnTo>
                    <a:pt x="4376" y="1553"/>
                  </a:lnTo>
                  <a:lnTo>
                    <a:pt x="4376" y="1553"/>
                  </a:lnTo>
                  <a:lnTo>
                    <a:pt x="4376" y="1553"/>
                  </a:lnTo>
                  <a:lnTo>
                    <a:pt x="4376" y="1553"/>
                  </a:lnTo>
                  <a:lnTo>
                    <a:pt x="4374" y="1553"/>
                  </a:lnTo>
                  <a:lnTo>
                    <a:pt x="4374" y="1553"/>
                  </a:lnTo>
                  <a:close/>
                  <a:moveTo>
                    <a:pt x="4345" y="1477"/>
                  </a:moveTo>
                  <a:lnTo>
                    <a:pt x="4343" y="1477"/>
                  </a:lnTo>
                  <a:lnTo>
                    <a:pt x="4343" y="1477"/>
                  </a:lnTo>
                  <a:lnTo>
                    <a:pt x="4345" y="1477"/>
                  </a:lnTo>
                  <a:lnTo>
                    <a:pt x="4345" y="1479"/>
                  </a:lnTo>
                  <a:lnTo>
                    <a:pt x="4345" y="1477"/>
                  </a:lnTo>
                  <a:lnTo>
                    <a:pt x="4345" y="1477"/>
                  </a:lnTo>
                  <a:lnTo>
                    <a:pt x="4345" y="1477"/>
                  </a:lnTo>
                  <a:lnTo>
                    <a:pt x="4345" y="1477"/>
                  </a:lnTo>
                  <a:close/>
                  <a:moveTo>
                    <a:pt x="4372" y="1549"/>
                  </a:moveTo>
                  <a:lnTo>
                    <a:pt x="4372" y="1551"/>
                  </a:lnTo>
                  <a:lnTo>
                    <a:pt x="4374" y="1553"/>
                  </a:lnTo>
                  <a:lnTo>
                    <a:pt x="4374" y="1551"/>
                  </a:lnTo>
                  <a:lnTo>
                    <a:pt x="4374" y="1551"/>
                  </a:lnTo>
                  <a:lnTo>
                    <a:pt x="4372" y="1551"/>
                  </a:lnTo>
                  <a:lnTo>
                    <a:pt x="4372" y="1549"/>
                  </a:lnTo>
                  <a:close/>
                  <a:moveTo>
                    <a:pt x="4306" y="1415"/>
                  </a:moveTo>
                  <a:lnTo>
                    <a:pt x="4306" y="1415"/>
                  </a:lnTo>
                  <a:lnTo>
                    <a:pt x="4304" y="1415"/>
                  </a:lnTo>
                  <a:lnTo>
                    <a:pt x="4304" y="1415"/>
                  </a:lnTo>
                  <a:lnTo>
                    <a:pt x="4304" y="1417"/>
                  </a:lnTo>
                  <a:lnTo>
                    <a:pt x="4304" y="1417"/>
                  </a:lnTo>
                  <a:lnTo>
                    <a:pt x="4304" y="1419"/>
                  </a:lnTo>
                  <a:lnTo>
                    <a:pt x="4306" y="1419"/>
                  </a:lnTo>
                  <a:lnTo>
                    <a:pt x="4306" y="1419"/>
                  </a:lnTo>
                  <a:lnTo>
                    <a:pt x="4306" y="1419"/>
                  </a:lnTo>
                  <a:lnTo>
                    <a:pt x="4308" y="1417"/>
                  </a:lnTo>
                  <a:lnTo>
                    <a:pt x="4308" y="1417"/>
                  </a:lnTo>
                  <a:lnTo>
                    <a:pt x="4308" y="1415"/>
                  </a:lnTo>
                  <a:lnTo>
                    <a:pt x="4306" y="1415"/>
                  </a:lnTo>
                  <a:close/>
                  <a:moveTo>
                    <a:pt x="4345" y="1441"/>
                  </a:moveTo>
                  <a:lnTo>
                    <a:pt x="4347" y="1443"/>
                  </a:lnTo>
                  <a:lnTo>
                    <a:pt x="4347" y="1441"/>
                  </a:lnTo>
                  <a:lnTo>
                    <a:pt x="4347" y="1441"/>
                  </a:lnTo>
                  <a:lnTo>
                    <a:pt x="4345" y="1441"/>
                  </a:lnTo>
                  <a:lnTo>
                    <a:pt x="4345" y="1439"/>
                  </a:lnTo>
                  <a:lnTo>
                    <a:pt x="4345" y="1441"/>
                  </a:lnTo>
                  <a:lnTo>
                    <a:pt x="4345" y="1441"/>
                  </a:lnTo>
                  <a:lnTo>
                    <a:pt x="4345" y="1441"/>
                  </a:lnTo>
                  <a:close/>
                  <a:moveTo>
                    <a:pt x="4341" y="1443"/>
                  </a:moveTo>
                  <a:lnTo>
                    <a:pt x="4343" y="1443"/>
                  </a:lnTo>
                  <a:lnTo>
                    <a:pt x="4343" y="1443"/>
                  </a:lnTo>
                  <a:lnTo>
                    <a:pt x="4343" y="1441"/>
                  </a:lnTo>
                  <a:lnTo>
                    <a:pt x="4341" y="1441"/>
                  </a:lnTo>
                  <a:lnTo>
                    <a:pt x="4341" y="1441"/>
                  </a:lnTo>
                  <a:lnTo>
                    <a:pt x="4339" y="1441"/>
                  </a:lnTo>
                  <a:lnTo>
                    <a:pt x="4341" y="1443"/>
                  </a:lnTo>
                  <a:lnTo>
                    <a:pt x="4341" y="1443"/>
                  </a:lnTo>
                  <a:close/>
                  <a:moveTo>
                    <a:pt x="4306" y="1437"/>
                  </a:moveTo>
                  <a:lnTo>
                    <a:pt x="4306" y="1437"/>
                  </a:lnTo>
                  <a:lnTo>
                    <a:pt x="4304" y="1437"/>
                  </a:lnTo>
                  <a:lnTo>
                    <a:pt x="4304" y="1439"/>
                  </a:lnTo>
                  <a:lnTo>
                    <a:pt x="4306" y="1439"/>
                  </a:lnTo>
                  <a:lnTo>
                    <a:pt x="4308" y="1439"/>
                  </a:lnTo>
                  <a:lnTo>
                    <a:pt x="4308" y="1441"/>
                  </a:lnTo>
                  <a:lnTo>
                    <a:pt x="4308" y="1441"/>
                  </a:lnTo>
                  <a:lnTo>
                    <a:pt x="4306" y="1446"/>
                  </a:lnTo>
                  <a:lnTo>
                    <a:pt x="4306" y="1450"/>
                  </a:lnTo>
                  <a:lnTo>
                    <a:pt x="4306" y="1450"/>
                  </a:lnTo>
                  <a:lnTo>
                    <a:pt x="4306" y="1452"/>
                  </a:lnTo>
                  <a:lnTo>
                    <a:pt x="4306" y="1454"/>
                  </a:lnTo>
                  <a:lnTo>
                    <a:pt x="4306" y="1454"/>
                  </a:lnTo>
                  <a:lnTo>
                    <a:pt x="4306" y="1456"/>
                  </a:lnTo>
                  <a:lnTo>
                    <a:pt x="4306" y="1458"/>
                  </a:lnTo>
                  <a:lnTo>
                    <a:pt x="4306" y="1458"/>
                  </a:lnTo>
                  <a:lnTo>
                    <a:pt x="4306" y="1458"/>
                  </a:lnTo>
                  <a:lnTo>
                    <a:pt x="4306" y="1458"/>
                  </a:lnTo>
                  <a:lnTo>
                    <a:pt x="4306" y="1458"/>
                  </a:lnTo>
                  <a:lnTo>
                    <a:pt x="4308" y="1456"/>
                  </a:lnTo>
                  <a:lnTo>
                    <a:pt x="4308" y="1456"/>
                  </a:lnTo>
                  <a:lnTo>
                    <a:pt x="4314" y="1454"/>
                  </a:lnTo>
                  <a:lnTo>
                    <a:pt x="4316" y="1454"/>
                  </a:lnTo>
                  <a:lnTo>
                    <a:pt x="4316" y="1454"/>
                  </a:lnTo>
                  <a:lnTo>
                    <a:pt x="4318" y="1452"/>
                  </a:lnTo>
                  <a:lnTo>
                    <a:pt x="4318" y="1452"/>
                  </a:lnTo>
                  <a:lnTo>
                    <a:pt x="4318" y="1450"/>
                  </a:lnTo>
                  <a:lnTo>
                    <a:pt x="4318" y="1450"/>
                  </a:lnTo>
                  <a:lnTo>
                    <a:pt x="4320" y="1450"/>
                  </a:lnTo>
                  <a:lnTo>
                    <a:pt x="4320" y="1450"/>
                  </a:lnTo>
                  <a:lnTo>
                    <a:pt x="4322" y="1448"/>
                  </a:lnTo>
                  <a:lnTo>
                    <a:pt x="4322" y="1446"/>
                  </a:lnTo>
                  <a:lnTo>
                    <a:pt x="4322" y="1446"/>
                  </a:lnTo>
                  <a:lnTo>
                    <a:pt x="4322" y="1443"/>
                  </a:lnTo>
                  <a:lnTo>
                    <a:pt x="4322" y="1443"/>
                  </a:lnTo>
                  <a:lnTo>
                    <a:pt x="4322" y="1443"/>
                  </a:lnTo>
                  <a:lnTo>
                    <a:pt x="4318" y="1443"/>
                  </a:lnTo>
                  <a:lnTo>
                    <a:pt x="4318" y="1443"/>
                  </a:lnTo>
                  <a:lnTo>
                    <a:pt x="4320" y="1443"/>
                  </a:lnTo>
                  <a:lnTo>
                    <a:pt x="4318" y="1441"/>
                  </a:lnTo>
                  <a:lnTo>
                    <a:pt x="4316" y="1441"/>
                  </a:lnTo>
                  <a:lnTo>
                    <a:pt x="4314" y="1441"/>
                  </a:lnTo>
                  <a:lnTo>
                    <a:pt x="4314" y="1441"/>
                  </a:lnTo>
                  <a:lnTo>
                    <a:pt x="4312" y="1439"/>
                  </a:lnTo>
                  <a:lnTo>
                    <a:pt x="4310" y="1439"/>
                  </a:lnTo>
                  <a:lnTo>
                    <a:pt x="4308" y="1437"/>
                  </a:lnTo>
                  <a:lnTo>
                    <a:pt x="4306" y="1437"/>
                  </a:lnTo>
                  <a:close/>
                  <a:moveTo>
                    <a:pt x="4351" y="1462"/>
                  </a:moveTo>
                  <a:lnTo>
                    <a:pt x="4351" y="1462"/>
                  </a:lnTo>
                  <a:lnTo>
                    <a:pt x="4351" y="1464"/>
                  </a:lnTo>
                  <a:lnTo>
                    <a:pt x="4353" y="1466"/>
                  </a:lnTo>
                  <a:lnTo>
                    <a:pt x="4353" y="1464"/>
                  </a:lnTo>
                  <a:lnTo>
                    <a:pt x="4351" y="1462"/>
                  </a:lnTo>
                  <a:lnTo>
                    <a:pt x="4351" y="1462"/>
                  </a:lnTo>
                  <a:close/>
                  <a:moveTo>
                    <a:pt x="4339" y="1443"/>
                  </a:moveTo>
                  <a:lnTo>
                    <a:pt x="4339" y="1443"/>
                  </a:lnTo>
                  <a:lnTo>
                    <a:pt x="4339" y="1446"/>
                  </a:lnTo>
                  <a:lnTo>
                    <a:pt x="4341" y="1448"/>
                  </a:lnTo>
                  <a:lnTo>
                    <a:pt x="4341" y="1452"/>
                  </a:lnTo>
                  <a:lnTo>
                    <a:pt x="4341" y="1452"/>
                  </a:lnTo>
                  <a:lnTo>
                    <a:pt x="4343" y="1452"/>
                  </a:lnTo>
                  <a:lnTo>
                    <a:pt x="4343" y="1452"/>
                  </a:lnTo>
                  <a:lnTo>
                    <a:pt x="4345" y="1452"/>
                  </a:lnTo>
                  <a:lnTo>
                    <a:pt x="4345" y="1454"/>
                  </a:lnTo>
                  <a:lnTo>
                    <a:pt x="4345" y="1454"/>
                  </a:lnTo>
                  <a:lnTo>
                    <a:pt x="4345" y="1456"/>
                  </a:lnTo>
                  <a:lnTo>
                    <a:pt x="4345" y="1458"/>
                  </a:lnTo>
                  <a:lnTo>
                    <a:pt x="4345" y="1460"/>
                  </a:lnTo>
                  <a:lnTo>
                    <a:pt x="4345" y="1460"/>
                  </a:lnTo>
                  <a:lnTo>
                    <a:pt x="4345" y="1462"/>
                  </a:lnTo>
                  <a:lnTo>
                    <a:pt x="4347" y="1462"/>
                  </a:lnTo>
                  <a:lnTo>
                    <a:pt x="4347" y="1464"/>
                  </a:lnTo>
                  <a:lnTo>
                    <a:pt x="4349" y="1464"/>
                  </a:lnTo>
                  <a:lnTo>
                    <a:pt x="4349" y="1462"/>
                  </a:lnTo>
                  <a:lnTo>
                    <a:pt x="4349" y="1462"/>
                  </a:lnTo>
                  <a:lnTo>
                    <a:pt x="4349" y="1460"/>
                  </a:lnTo>
                  <a:lnTo>
                    <a:pt x="4349" y="1460"/>
                  </a:lnTo>
                  <a:lnTo>
                    <a:pt x="4351" y="1462"/>
                  </a:lnTo>
                  <a:lnTo>
                    <a:pt x="4351" y="1462"/>
                  </a:lnTo>
                  <a:lnTo>
                    <a:pt x="4351" y="1462"/>
                  </a:lnTo>
                  <a:lnTo>
                    <a:pt x="4351" y="1460"/>
                  </a:lnTo>
                  <a:lnTo>
                    <a:pt x="4353" y="1460"/>
                  </a:lnTo>
                  <a:lnTo>
                    <a:pt x="4353" y="1460"/>
                  </a:lnTo>
                  <a:lnTo>
                    <a:pt x="4353" y="1460"/>
                  </a:lnTo>
                  <a:lnTo>
                    <a:pt x="4351" y="1458"/>
                  </a:lnTo>
                  <a:lnTo>
                    <a:pt x="4351" y="1456"/>
                  </a:lnTo>
                  <a:lnTo>
                    <a:pt x="4351" y="1456"/>
                  </a:lnTo>
                  <a:lnTo>
                    <a:pt x="4351" y="1456"/>
                  </a:lnTo>
                  <a:lnTo>
                    <a:pt x="4349" y="1454"/>
                  </a:lnTo>
                  <a:lnTo>
                    <a:pt x="4349" y="1454"/>
                  </a:lnTo>
                  <a:lnTo>
                    <a:pt x="4349" y="1454"/>
                  </a:lnTo>
                  <a:lnTo>
                    <a:pt x="4349" y="1452"/>
                  </a:lnTo>
                  <a:lnTo>
                    <a:pt x="4349" y="1448"/>
                  </a:lnTo>
                  <a:lnTo>
                    <a:pt x="4349" y="1448"/>
                  </a:lnTo>
                  <a:lnTo>
                    <a:pt x="4349" y="1448"/>
                  </a:lnTo>
                  <a:lnTo>
                    <a:pt x="4347" y="1446"/>
                  </a:lnTo>
                  <a:lnTo>
                    <a:pt x="4347" y="1446"/>
                  </a:lnTo>
                  <a:lnTo>
                    <a:pt x="4345" y="1446"/>
                  </a:lnTo>
                  <a:lnTo>
                    <a:pt x="4343" y="1446"/>
                  </a:lnTo>
                  <a:lnTo>
                    <a:pt x="4343" y="1446"/>
                  </a:lnTo>
                  <a:lnTo>
                    <a:pt x="4343" y="1446"/>
                  </a:lnTo>
                  <a:lnTo>
                    <a:pt x="4341" y="1443"/>
                  </a:lnTo>
                  <a:lnTo>
                    <a:pt x="4341" y="1443"/>
                  </a:lnTo>
                  <a:lnTo>
                    <a:pt x="4339" y="1443"/>
                  </a:lnTo>
                  <a:lnTo>
                    <a:pt x="4339" y="1443"/>
                  </a:lnTo>
                  <a:lnTo>
                    <a:pt x="4339" y="1443"/>
                  </a:lnTo>
                  <a:close/>
                  <a:moveTo>
                    <a:pt x="4314" y="1431"/>
                  </a:moveTo>
                  <a:lnTo>
                    <a:pt x="4316" y="1431"/>
                  </a:lnTo>
                  <a:lnTo>
                    <a:pt x="4316" y="1431"/>
                  </a:lnTo>
                  <a:lnTo>
                    <a:pt x="4316" y="1429"/>
                  </a:lnTo>
                  <a:lnTo>
                    <a:pt x="4314" y="1429"/>
                  </a:lnTo>
                  <a:lnTo>
                    <a:pt x="4312" y="1429"/>
                  </a:lnTo>
                  <a:lnTo>
                    <a:pt x="4312" y="1429"/>
                  </a:lnTo>
                  <a:lnTo>
                    <a:pt x="4312" y="1429"/>
                  </a:lnTo>
                  <a:lnTo>
                    <a:pt x="4314" y="1431"/>
                  </a:lnTo>
                  <a:lnTo>
                    <a:pt x="4314" y="1431"/>
                  </a:lnTo>
                  <a:close/>
                  <a:moveTo>
                    <a:pt x="4310" y="1429"/>
                  </a:moveTo>
                  <a:lnTo>
                    <a:pt x="4310" y="1427"/>
                  </a:lnTo>
                  <a:lnTo>
                    <a:pt x="4310" y="1427"/>
                  </a:lnTo>
                  <a:lnTo>
                    <a:pt x="4310" y="1429"/>
                  </a:lnTo>
                  <a:lnTo>
                    <a:pt x="4310" y="1429"/>
                  </a:lnTo>
                  <a:lnTo>
                    <a:pt x="4310" y="1429"/>
                  </a:lnTo>
                  <a:lnTo>
                    <a:pt x="4310" y="1429"/>
                  </a:lnTo>
                  <a:close/>
                  <a:moveTo>
                    <a:pt x="4330" y="1431"/>
                  </a:moveTo>
                  <a:lnTo>
                    <a:pt x="4330" y="1429"/>
                  </a:lnTo>
                  <a:lnTo>
                    <a:pt x="4330" y="1427"/>
                  </a:lnTo>
                  <a:lnTo>
                    <a:pt x="4328" y="1427"/>
                  </a:lnTo>
                  <a:lnTo>
                    <a:pt x="4328" y="1427"/>
                  </a:lnTo>
                  <a:lnTo>
                    <a:pt x="4328" y="1427"/>
                  </a:lnTo>
                  <a:lnTo>
                    <a:pt x="4330" y="1431"/>
                  </a:lnTo>
                  <a:lnTo>
                    <a:pt x="4330" y="1431"/>
                  </a:lnTo>
                  <a:close/>
                  <a:moveTo>
                    <a:pt x="4328" y="1429"/>
                  </a:moveTo>
                  <a:lnTo>
                    <a:pt x="4326" y="1429"/>
                  </a:lnTo>
                  <a:lnTo>
                    <a:pt x="4324" y="1429"/>
                  </a:lnTo>
                  <a:lnTo>
                    <a:pt x="4324" y="1427"/>
                  </a:lnTo>
                  <a:lnTo>
                    <a:pt x="4324" y="1429"/>
                  </a:lnTo>
                  <a:lnTo>
                    <a:pt x="4324" y="1431"/>
                  </a:lnTo>
                  <a:lnTo>
                    <a:pt x="4324" y="1431"/>
                  </a:lnTo>
                  <a:lnTo>
                    <a:pt x="4322" y="1435"/>
                  </a:lnTo>
                  <a:lnTo>
                    <a:pt x="4322" y="1437"/>
                  </a:lnTo>
                  <a:lnTo>
                    <a:pt x="4322" y="1437"/>
                  </a:lnTo>
                  <a:lnTo>
                    <a:pt x="4324" y="1435"/>
                  </a:lnTo>
                  <a:lnTo>
                    <a:pt x="4326" y="1433"/>
                  </a:lnTo>
                  <a:lnTo>
                    <a:pt x="4326" y="1433"/>
                  </a:lnTo>
                  <a:lnTo>
                    <a:pt x="4328" y="1433"/>
                  </a:lnTo>
                  <a:lnTo>
                    <a:pt x="4328" y="1435"/>
                  </a:lnTo>
                  <a:lnTo>
                    <a:pt x="4330" y="1435"/>
                  </a:lnTo>
                  <a:lnTo>
                    <a:pt x="4330" y="1435"/>
                  </a:lnTo>
                  <a:lnTo>
                    <a:pt x="4330" y="1435"/>
                  </a:lnTo>
                  <a:lnTo>
                    <a:pt x="4330" y="1437"/>
                  </a:lnTo>
                  <a:lnTo>
                    <a:pt x="4330" y="1437"/>
                  </a:lnTo>
                  <a:lnTo>
                    <a:pt x="4332" y="1437"/>
                  </a:lnTo>
                  <a:lnTo>
                    <a:pt x="4334" y="1439"/>
                  </a:lnTo>
                  <a:lnTo>
                    <a:pt x="4334" y="1439"/>
                  </a:lnTo>
                  <a:lnTo>
                    <a:pt x="4334" y="1439"/>
                  </a:lnTo>
                  <a:lnTo>
                    <a:pt x="4334" y="1437"/>
                  </a:lnTo>
                  <a:lnTo>
                    <a:pt x="4332" y="1433"/>
                  </a:lnTo>
                  <a:lnTo>
                    <a:pt x="4330" y="1431"/>
                  </a:lnTo>
                  <a:lnTo>
                    <a:pt x="4328" y="1431"/>
                  </a:lnTo>
                  <a:lnTo>
                    <a:pt x="4328" y="1429"/>
                  </a:lnTo>
                  <a:close/>
                  <a:moveTo>
                    <a:pt x="4374" y="1549"/>
                  </a:moveTo>
                  <a:lnTo>
                    <a:pt x="4374" y="1549"/>
                  </a:lnTo>
                  <a:lnTo>
                    <a:pt x="4374" y="1549"/>
                  </a:lnTo>
                  <a:lnTo>
                    <a:pt x="4374" y="1549"/>
                  </a:lnTo>
                  <a:lnTo>
                    <a:pt x="4376" y="1547"/>
                  </a:lnTo>
                  <a:lnTo>
                    <a:pt x="4376" y="1547"/>
                  </a:lnTo>
                  <a:lnTo>
                    <a:pt x="4376" y="1545"/>
                  </a:lnTo>
                  <a:lnTo>
                    <a:pt x="4376" y="1543"/>
                  </a:lnTo>
                  <a:lnTo>
                    <a:pt x="4374" y="1543"/>
                  </a:lnTo>
                  <a:lnTo>
                    <a:pt x="4374" y="1543"/>
                  </a:lnTo>
                  <a:lnTo>
                    <a:pt x="4374" y="1545"/>
                  </a:lnTo>
                  <a:lnTo>
                    <a:pt x="4374" y="1545"/>
                  </a:lnTo>
                  <a:lnTo>
                    <a:pt x="4374" y="1547"/>
                  </a:lnTo>
                  <a:lnTo>
                    <a:pt x="4374" y="1547"/>
                  </a:lnTo>
                  <a:lnTo>
                    <a:pt x="4374" y="1547"/>
                  </a:lnTo>
                  <a:lnTo>
                    <a:pt x="4374" y="1549"/>
                  </a:lnTo>
                  <a:close/>
                  <a:moveTo>
                    <a:pt x="4640" y="2176"/>
                  </a:moveTo>
                  <a:lnTo>
                    <a:pt x="4640" y="2176"/>
                  </a:lnTo>
                  <a:lnTo>
                    <a:pt x="4638" y="2176"/>
                  </a:lnTo>
                  <a:lnTo>
                    <a:pt x="4638" y="2176"/>
                  </a:lnTo>
                  <a:lnTo>
                    <a:pt x="4638" y="2176"/>
                  </a:lnTo>
                  <a:lnTo>
                    <a:pt x="4638" y="2179"/>
                  </a:lnTo>
                  <a:lnTo>
                    <a:pt x="4640" y="2176"/>
                  </a:lnTo>
                  <a:close/>
                  <a:moveTo>
                    <a:pt x="4636" y="2179"/>
                  </a:moveTo>
                  <a:lnTo>
                    <a:pt x="4638" y="2179"/>
                  </a:lnTo>
                  <a:lnTo>
                    <a:pt x="4640" y="2181"/>
                  </a:lnTo>
                  <a:lnTo>
                    <a:pt x="4640" y="2181"/>
                  </a:lnTo>
                  <a:lnTo>
                    <a:pt x="4638" y="2179"/>
                  </a:lnTo>
                  <a:lnTo>
                    <a:pt x="4638" y="2179"/>
                  </a:lnTo>
                  <a:lnTo>
                    <a:pt x="4638" y="2179"/>
                  </a:lnTo>
                  <a:lnTo>
                    <a:pt x="4636" y="2179"/>
                  </a:lnTo>
                  <a:close/>
                  <a:moveTo>
                    <a:pt x="4681" y="2203"/>
                  </a:moveTo>
                  <a:lnTo>
                    <a:pt x="4681" y="2203"/>
                  </a:lnTo>
                  <a:lnTo>
                    <a:pt x="4679" y="2203"/>
                  </a:lnTo>
                  <a:lnTo>
                    <a:pt x="4677" y="2199"/>
                  </a:lnTo>
                  <a:lnTo>
                    <a:pt x="4675" y="2199"/>
                  </a:lnTo>
                  <a:lnTo>
                    <a:pt x="4675" y="2201"/>
                  </a:lnTo>
                  <a:lnTo>
                    <a:pt x="4673" y="2201"/>
                  </a:lnTo>
                  <a:lnTo>
                    <a:pt x="4675" y="2203"/>
                  </a:lnTo>
                  <a:lnTo>
                    <a:pt x="4675" y="2203"/>
                  </a:lnTo>
                  <a:lnTo>
                    <a:pt x="4675" y="2203"/>
                  </a:lnTo>
                  <a:lnTo>
                    <a:pt x="4675" y="2203"/>
                  </a:lnTo>
                  <a:lnTo>
                    <a:pt x="4677" y="2207"/>
                  </a:lnTo>
                  <a:lnTo>
                    <a:pt x="4677" y="2207"/>
                  </a:lnTo>
                  <a:lnTo>
                    <a:pt x="4677" y="2207"/>
                  </a:lnTo>
                  <a:lnTo>
                    <a:pt x="4679" y="2207"/>
                  </a:lnTo>
                  <a:lnTo>
                    <a:pt x="4679" y="2207"/>
                  </a:lnTo>
                  <a:lnTo>
                    <a:pt x="4681" y="2207"/>
                  </a:lnTo>
                  <a:lnTo>
                    <a:pt x="4681" y="2207"/>
                  </a:lnTo>
                  <a:lnTo>
                    <a:pt x="4681" y="2205"/>
                  </a:lnTo>
                  <a:lnTo>
                    <a:pt x="4681" y="2205"/>
                  </a:lnTo>
                  <a:lnTo>
                    <a:pt x="4681" y="2205"/>
                  </a:lnTo>
                  <a:lnTo>
                    <a:pt x="4681" y="2203"/>
                  </a:lnTo>
                  <a:close/>
                  <a:moveTo>
                    <a:pt x="4681" y="2210"/>
                  </a:moveTo>
                  <a:lnTo>
                    <a:pt x="4679" y="2210"/>
                  </a:lnTo>
                  <a:lnTo>
                    <a:pt x="4677" y="2210"/>
                  </a:lnTo>
                  <a:lnTo>
                    <a:pt x="4677" y="2210"/>
                  </a:lnTo>
                  <a:lnTo>
                    <a:pt x="4677" y="2212"/>
                  </a:lnTo>
                  <a:lnTo>
                    <a:pt x="4679" y="2212"/>
                  </a:lnTo>
                  <a:lnTo>
                    <a:pt x="4679" y="2212"/>
                  </a:lnTo>
                  <a:lnTo>
                    <a:pt x="4681" y="2212"/>
                  </a:lnTo>
                  <a:lnTo>
                    <a:pt x="4681" y="2212"/>
                  </a:lnTo>
                  <a:lnTo>
                    <a:pt x="4683" y="2212"/>
                  </a:lnTo>
                  <a:lnTo>
                    <a:pt x="4683" y="2212"/>
                  </a:lnTo>
                  <a:lnTo>
                    <a:pt x="4683" y="2210"/>
                  </a:lnTo>
                  <a:lnTo>
                    <a:pt x="4681" y="2210"/>
                  </a:lnTo>
                  <a:close/>
                  <a:moveTo>
                    <a:pt x="4679" y="2212"/>
                  </a:moveTo>
                  <a:lnTo>
                    <a:pt x="4679" y="2212"/>
                  </a:lnTo>
                  <a:lnTo>
                    <a:pt x="4679" y="2212"/>
                  </a:lnTo>
                  <a:lnTo>
                    <a:pt x="4679" y="2214"/>
                  </a:lnTo>
                  <a:lnTo>
                    <a:pt x="4679" y="2214"/>
                  </a:lnTo>
                  <a:lnTo>
                    <a:pt x="4679" y="2214"/>
                  </a:lnTo>
                  <a:lnTo>
                    <a:pt x="4679" y="2212"/>
                  </a:lnTo>
                  <a:close/>
                  <a:moveTo>
                    <a:pt x="4631" y="2212"/>
                  </a:moveTo>
                  <a:lnTo>
                    <a:pt x="4631" y="2212"/>
                  </a:lnTo>
                  <a:lnTo>
                    <a:pt x="4631" y="2212"/>
                  </a:lnTo>
                  <a:lnTo>
                    <a:pt x="4629" y="2212"/>
                  </a:lnTo>
                  <a:lnTo>
                    <a:pt x="4629" y="2212"/>
                  </a:lnTo>
                  <a:lnTo>
                    <a:pt x="4629" y="2214"/>
                  </a:lnTo>
                  <a:lnTo>
                    <a:pt x="4631" y="2212"/>
                  </a:lnTo>
                  <a:close/>
                  <a:moveTo>
                    <a:pt x="4621" y="2201"/>
                  </a:moveTo>
                  <a:lnTo>
                    <a:pt x="4621" y="2197"/>
                  </a:lnTo>
                  <a:lnTo>
                    <a:pt x="4619" y="2197"/>
                  </a:lnTo>
                  <a:lnTo>
                    <a:pt x="4619" y="2197"/>
                  </a:lnTo>
                  <a:lnTo>
                    <a:pt x="4619" y="2199"/>
                  </a:lnTo>
                  <a:lnTo>
                    <a:pt x="4617" y="2199"/>
                  </a:lnTo>
                  <a:lnTo>
                    <a:pt x="4617" y="2199"/>
                  </a:lnTo>
                  <a:lnTo>
                    <a:pt x="4617" y="2201"/>
                  </a:lnTo>
                  <a:lnTo>
                    <a:pt x="4617" y="2203"/>
                  </a:lnTo>
                  <a:lnTo>
                    <a:pt x="4617" y="2203"/>
                  </a:lnTo>
                  <a:lnTo>
                    <a:pt x="4617" y="2205"/>
                  </a:lnTo>
                  <a:lnTo>
                    <a:pt x="4617" y="2205"/>
                  </a:lnTo>
                  <a:lnTo>
                    <a:pt x="4619" y="2205"/>
                  </a:lnTo>
                  <a:lnTo>
                    <a:pt x="4619" y="2205"/>
                  </a:lnTo>
                  <a:lnTo>
                    <a:pt x="4621" y="2203"/>
                  </a:lnTo>
                  <a:lnTo>
                    <a:pt x="4621" y="2203"/>
                  </a:lnTo>
                  <a:lnTo>
                    <a:pt x="4621" y="2201"/>
                  </a:lnTo>
                  <a:lnTo>
                    <a:pt x="4621" y="2201"/>
                  </a:lnTo>
                  <a:close/>
                  <a:moveTo>
                    <a:pt x="4681" y="2241"/>
                  </a:moveTo>
                  <a:lnTo>
                    <a:pt x="4681" y="2238"/>
                  </a:lnTo>
                  <a:lnTo>
                    <a:pt x="4681" y="2238"/>
                  </a:lnTo>
                  <a:lnTo>
                    <a:pt x="4681" y="2238"/>
                  </a:lnTo>
                  <a:lnTo>
                    <a:pt x="4681" y="2236"/>
                  </a:lnTo>
                  <a:lnTo>
                    <a:pt x="4681" y="2234"/>
                  </a:lnTo>
                  <a:lnTo>
                    <a:pt x="4681" y="2232"/>
                  </a:lnTo>
                  <a:lnTo>
                    <a:pt x="4681" y="2230"/>
                  </a:lnTo>
                  <a:lnTo>
                    <a:pt x="4681" y="2228"/>
                  </a:lnTo>
                  <a:lnTo>
                    <a:pt x="4681" y="2226"/>
                  </a:lnTo>
                  <a:lnTo>
                    <a:pt x="4681" y="2224"/>
                  </a:lnTo>
                  <a:lnTo>
                    <a:pt x="4681" y="2224"/>
                  </a:lnTo>
                  <a:lnTo>
                    <a:pt x="4681" y="2222"/>
                  </a:lnTo>
                  <a:lnTo>
                    <a:pt x="4681" y="2220"/>
                  </a:lnTo>
                  <a:lnTo>
                    <a:pt x="4679" y="2218"/>
                  </a:lnTo>
                  <a:lnTo>
                    <a:pt x="4677" y="2218"/>
                  </a:lnTo>
                  <a:lnTo>
                    <a:pt x="4677" y="2218"/>
                  </a:lnTo>
                  <a:lnTo>
                    <a:pt x="4675" y="2218"/>
                  </a:lnTo>
                  <a:lnTo>
                    <a:pt x="4675" y="2218"/>
                  </a:lnTo>
                  <a:lnTo>
                    <a:pt x="4671" y="2218"/>
                  </a:lnTo>
                  <a:lnTo>
                    <a:pt x="4671" y="2218"/>
                  </a:lnTo>
                  <a:lnTo>
                    <a:pt x="4669" y="2220"/>
                  </a:lnTo>
                  <a:lnTo>
                    <a:pt x="4669" y="2220"/>
                  </a:lnTo>
                  <a:lnTo>
                    <a:pt x="4669" y="2220"/>
                  </a:lnTo>
                  <a:lnTo>
                    <a:pt x="4666" y="2220"/>
                  </a:lnTo>
                  <a:lnTo>
                    <a:pt x="4666" y="2220"/>
                  </a:lnTo>
                  <a:lnTo>
                    <a:pt x="4664" y="2220"/>
                  </a:lnTo>
                  <a:lnTo>
                    <a:pt x="4664" y="2220"/>
                  </a:lnTo>
                  <a:lnTo>
                    <a:pt x="4662" y="2220"/>
                  </a:lnTo>
                  <a:lnTo>
                    <a:pt x="4660" y="2222"/>
                  </a:lnTo>
                  <a:lnTo>
                    <a:pt x="4660" y="2222"/>
                  </a:lnTo>
                  <a:lnTo>
                    <a:pt x="4660" y="2222"/>
                  </a:lnTo>
                  <a:lnTo>
                    <a:pt x="4660" y="2224"/>
                  </a:lnTo>
                  <a:lnTo>
                    <a:pt x="4658" y="2222"/>
                  </a:lnTo>
                  <a:lnTo>
                    <a:pt x="4658" y="2222"/>
                  </a:lnTo>
                  <a:lnTo>
                    <a:pt x="4658" y="2222"/>
                  </a:lnTo>
                  <a:lnTo>
                    <a:pt x="4656" y="2224"/>
                  </a:lnTo>
                  <a:lnTo>
                    <a:pt x="4652" y="2224"/>
                  </a:lnTo>
                  <a:lnTo>
                    <a:pt x="4650" y="2222"/>
                  </a:lnTo>
                  <a:lnTo>
                    <a:pt x="4646" y="2222"/>
                  </a:lnTo>
                  <a:lnTo>
                    <a:pt x="4644" y="2220"/>
                  </a:lnTo>
                  <a:lnTo>
                    <a:pt x="4644" y="2220"/>
                  </a:lnTo>
                  <a:lnTo>
                    <a:pt x="4644" y="2220"/>
                  </a:lnTo>
                  <a:lnTo>
                    <a:pt x="4642" y="2220"/>
                  </a:lnTo>
                  <a:lnTo>
                    <a:pt x="4642" y="2218"/>
                  </a:lnTo>
                  <a:lnTo>
                    <a:pt x="4640" y="2218"/>
                  </a:lnTo>
                  <a:lnTo>
                    <a:pt x="4640" y="2218"/>
                  </a:lnTo>
                  <a:lnTo>
                    <a:pt x="4640" y="2218"/>
                  </a:lnTo>
                  <a:lnTo>
                    <a:pt x="4638" y="2218"/>
                  </a:lnTo>
                  <a:lnTo>
                    <a:pt x="4638" y="2216"/>
                  </a:lnTo>
                  <a:lnTo>
                    <a:pt x="4636" y="2218"/>
                  </a:lnTo>
                  <a:lnTo>
                    <a:pt x="4633" y="2218"/>
                  </a:lnTo>
                  <a:lnTo>
                    <a:pt x="4631" y="2216"/>
                  </a:lnTo>
                  <a:lnTo>
                    <a:pt x="4629" y="2216"/>
                  </a:lnTo>
                  <a:lnTo>
                    <a:pt x="4629" y="2218"/>
                  </a:lnTo>
                  <a:lnTo>
                    <a:pt x="4629" y="2220"/>
                  </a:lnTo>
                  <a:lnTo>
                    <a:pt x="4629" y="2222"/>
                  </a:lnTo>
                  <a:lnTo>
                    <a:pt x="4629" y="2224"/>
                  </a:lnTo>
                  <a:lnTo>
                    <a:pt x="4629" y="2226"/>
                  </a:lnTo>
                  <a:lnTo>
                    <a:pt x="4629" y="2228"/>
                  </a:lnTo>
                  <a:lnTo>
                    <a:pt x="4631" y="2228"/>
                  </a:lnTo>
                  <a:lnTo>
                    <a:pt x="4633" y="2232"/>
                  </a:lnTo>
                  <a:lnTo>
                    <a:pt x="4633" y="2234"/>
                  </a:lnTo>
                  <a:lnTo>
                    <a:pt x="4638" y="2238"/>
                  </a:lnTo>
                  <a:lnTo>
                    <a:pt x="4638" y="2238"/>
                  </a:lnTo>
                  <a:lnTo>
                    <a:pt x="4638" y="2241"/>
                  </a:lnTo>
                  <a:lnTo>
                    <a:pt x="4638" y="2241"/>
                  </a:lnTo>
                  <a:lnTo>
                    <a:pt x="4638" y="2241"/>
                  </a:lnTo>
                  <a:lnTo>
                    <a:pt x="4638" y="2241"/>
                  </a:lnTo>
                  <a:lnTo>
                    <a:pt x="4640" y="2241"/>
                  </a:lnTo>
                  <a:lnTo>
                    <a:pt x="4642" y="2245"/>
                  </a:lnTo>
                  <a:lnTo>
                    <a:pt x="4642" y="2245"/>
                  </a:lnTo>
                  <a:lnTo>
                    <a:pt x="4640" y="2247"/>
                  </a:lnTo>
                  <a:lnTo>
                    <a:pt x="4640" y="2245"/>
                  </a:lnTo>
                  <a:lnTo>
                    <a:pt x="4640" y="2243"/>
                  </a:lnTo>
                  <a:lnTo>
                    <a:pt x="4636" y="2241"/>
                  </a:lnTo>
                  <a:lnTo>
                    <a:pt x="4638" y="2245"/>
                  </a:lnTo>
                  <a:lnTo>
                    <a:pt x="4638" y="2247"/>
                  </a:lnTo>
                  <a:lnTo>
                    <a:pt x="4640" y="2253"/>
                  </a:lnTo>
                  <a:lnTo>
                    <a:pt x="4642" y="2253"/>
                  </a:lnTo>
                  <a:lnTo>
                    <a:pt x="4642" y="2255"/>
                  </a:lnTo>
                  <a:lnTo>
                    <a:pt x="4642" y="2255"/>
                  </a:lnTo>
                  <a:lnTo>
                    <a:pt x="4644" y="2255"/>
                  </a:lnTo>
                  <a:lnTo>
                    <a:pt x="4646" y="2259"/>
                  </a:lnTo>
                  <a:lnTo>
                    <a:pt x="4646" y="2259"/>
                  </a:lnTo>
                  <a:lnTo>
                    <a:pt x="4648" y="2259"/>
                  </a:lnTo>
                  <a:lnTo>
                    <a:pt x="4650" y="2259"/>
                  </a:lnTo>
                  <a:lnTo>
                    <a:pt x="4650" y="2259"/>
                  </a:lnTo>
                  <a:lnTo>
                    <a:pt x="4650" y="2259"/>
                  </a:lnTo>
                  <a:lnTo>
                    <a:pt x="4652" y="2261"/>
                  </a:lnTo>
                  <a:lnTo>
                    <a:pt x="4650" y="2261"/>
                  </a:lnTo>
                  <a:lnTo>
                    <a:pt x="4648" y="2261"/>
                  </a:lnTo>
                  <a:lnTo>
                    <a:pt x="4648" y="2261"/>
                  </a:lnTo>
                  <a:lnTo>
                    <a:pt x="4648" y="2263"/>
                  </a:lnTo>
                  <a:lnTo>
                    <a:pt x="4648" y="2263"/>
                  </a:lnTo>
                  <a:lnTo>
                    <a:pt x="4650" y="2263"/>
                  </a:lnTo>
                  <a:lnTo>
                    <a:pt x="4654" y="2263"/>
                  </a:lnTo>
                  <a:lnTo>
                    <a:pt x="4656" y="2263"/>
                  </a:lnTo>
                  <a:lnTo>
                    <a:pt x="4658" y="2265"/>
                  </a:lnTo>
                  <a:lnTo>
                    <a:pt x="4660" y="2265"/>
                  </a:lnTo>
                  <a:lnTo>
                    <a:pt x="4660" y="2265"/>
                  </a:lnTo>
                  <a:lnTo>
                    <a:pt x="4662" y="2263"/>
                  </a:lnTo>
                  <a:lnTo>
                    <a:pt x="4662" y="2261"/>
                  </a:lnTo>
                  <a:lnTo>
                    <a:pt x="4662" y="2259"/>
                  </a:lnTo>
                  <a:lnTo>
                    <a:pt x="4662" y="2259"/>
                  </a:lnTo>
                  <a:lnTo>
                    <a:pt x="4662" y="2259"/>
                  </a:lnTo>
                  <a:lnTo>
                    <a:pt x="4662" y="2257"/>
                  </a:lnTo>
                  <a:lnTo>
                    <a:pt x="4662" y="2257"/>
                  </a:lnTo>
                  <a:lnTo>
                    <a:pt x="4664" y="2259"/>
                  </a:lnTo>
                  <a:lnTo>
                    <a:pt x="4666" y="2259"/>
                  </a:lnTo>
                  <a:lnTo>
                    <a:pt x="4666" y="2257"/>
                  </a:lnTo>
                  <a:lnTo>
                    <a:pt x="4666" y="2255"/>
                  </a:lnTo>
                  <a:lnTo>
                    <a:pt x="4666" y="2255"/>
                  </a:lnTo>
                  <a:lnTo>
                    <a:pt x="4666" y="2255"/>
                  </a:lnTo>
                  <a:lnTo>
                    <a:pt x="4666" y="2255"/>
                  </a:lnTo>
                  <a:lnTo>
                    <a:pt x="4666" y="2253"/>
                  </a:lnTo>
                  <a:lnTo>
                    <a:pt x="4666" y="2253"/>
                  </a:lnTo>
                  <a:lnTo>
                    <a:pt x="4666" y="2251"/>
                  </a:lnTo>
                  <a:lnTo>
                    <a:pt x="4669" y="2253"/>
                  </a:lnTo>
                  <a:lnTo>
                    <a:pt x="4669" y="2255"/>
                  </a:lnTo>
                  <a:lnTo>
                    <a:pt x="4671" y="2255"/>
                  </a:lnTo>
                  <a:lnTo>
                    <a:pt x="4671" y="2255"/>
                  </a:lnTo>
                  <a:lnTo>
                    <a:pt x="4671" y="2253"/>
                  </a:lnTo>
                  <a:lnTo>
                    <a:pt x="4671" y="2253"/>
                  </a:lnTo>
                  <a:lnTo>
                    <a:pt x="4673" y="2253"/>
                  </a:lnTo>
                  <a:lnTo>
                    <a:pt x="4673" y="2253"/>
                  </a:lnTo>
                  <a:lnTo>
                    <a:pt x="4675" y="2253"/>
                  </a:lnTo>
                  <a:lnTo>
                    <a:pt x="4673" y="2255"/>
                  </a:lnTo>
                  <a:lnTo>
                    <a:pt x="4673" y="2255"/>
                  </a:lnTo>
                  <a:lnTo>
                    <a:pt x="4673" y="2255"/>
                  </a:lnTo>
                  <a:lnTo>
                    <a:pt x="4671" y="2255"/>
                  </a:lnTo>
                  <a:lnTo>
                    <a:pt x="4673" y="2257"/>
                  </a:lnTo>
                  <a:lnTo>
                    <a:pt x="4673" y="2259"/>
                  </a:lnTo>
                  <a:lnTo>
                    <a:pt x="4675" y="2257"/>
                  </a:lnTo>
                  <a:lnTo>
                    <a:pt x="4675" y="2257"/>
                  </a:lnTo>
                  <a:lnTo>
                    <a:pt x="4677" y="2257"/>
                  </a:lnTo>
                  <a:lnTo>
                    <a:pt x="4677" y="2255"/>
                  </a:lnTo>
                  <a:lnTo>
                    <a:pt x="4675" y="2251"/>
                  </a:lnTo>
                  <a:lnTo>
                    <a:pt x="4675" y="2249"/>
                  </a:lnTo>
                  <a:lnTo>
                    <a:pt x="4675" y="2247"/>
                  </a:lnTo>
                  <a:lnTo>
                    <a:pt x="4677" y="2247"/>
                  </a:lnTo>
                  <a:lnTo>
                    <a:pt x="4677" y="2245"/>
                  </a:lnTo>
                  <a:lnTo>
                    <a:pt x="4677" y="2243"/>
                  </a:lnTo>
                  <a:lnTo>
                    <a:pt x="4677" y="2243"/>
                  </a:lnTo>
                  <a:lnTo>
                    <a:pt x="4677" y="2241"/>
                  </a:lnTo>
                  <a:lnTo>
                    <a:pt x="4679" y="2238"/>
                  </a:lnTo>
                  <a:lnTo>
                    <a:pt x="4679" y="2238"/>
                  </a:lnTo>
                  <a:lnTo>
                    <a:pt x="4679" y="2238"/>
                  </a:lnTo>
                  <a:lnTo>
                    <a:pt x="4679" y="2238"/>
                  </a:lnTo>
                  <a:lnTo>
                    <a:pt x="4679" y="2236"/>
                  </a:lnTo>
                  <a:lnTo>
                    <a:pt x="4681" y="2238"/>
                  </a:lnTo>
                  <a:lnTo>
                    <a:pt x="4679" y="2238"/>
                  </a:lnTo>
                  <a:lnTo>
                    <a:pt x="4679" y="2238"/>
                  </a:lnTo>
                  <a:lnTo>
                    <a:pt x="4681" y="2238"/>
                  </a:lnTo>
                  <a:lnTo>
                    <a:pt x="4681" y="2241"/>
                  </a:lnTo>
                  <a:lnTo>
                    <a:pt x="4681" y="2241"/>
                  </a:lnTo>
                  <a:lnTo>
                    <a:pt x="4681" y="2241"/>
                  </a:lnTo>
                  <a:lnTo>
                    <a:pt x="4681" y="2243"/>
                  </a:lnTo>
                  <a:lnTo>
                    <a:pt x="4681" y="2243"/>
                  </a:lnTo>
                  <a:lnTo>
                    <a:pt x="4681" y="2241"/>
                  </a:lnTo>
                  <a:lnTo>
                    <a:pt x="4681" y="2241"/>
                  </a:lnTo>
                  <a:lnTo>
                    <a:pt x="4681" y="2241"/>
                  </a:lnTo>
                  <a:close/>
                  <a:moveTo>
                    <a:pt x="4666" y="2257"/>
                  </a:moveTo>
                  <a:lnTo>
                    <a:pt x="4666" y="2257"/>
                  </a:lnTo>
                  <a:lnTo>
                    <a:pt x="4666" y="2257"/>
                  </a:lnTo>
                  <a:lnTo>
                    <a:pt x="4666" y="2257"/>
                  </a:lnTo>
                  <a:lnTo>
                    <a:pt x="4666" y="2257"/>
                  </a:lnTo>
                  <a:lnTo>
                    <a:pt x="4666" y="2259"/>
                  </a:lnTo>
                  <a:lnTo>
                    <a:pt x="4666" y="2259"/>
                  </a:lnTo>
                  <a:lnTo>
                    <a:pt x="4669" y="2259"/>
                  </a:lnTo>
                  <a:lnTo>
                    <a:pt x="4669" y="2257"/>
                  </a:lnTo>
                  <a:lnTo>
                    <a:pt x="4666" y="2257"/>
                  </a:lnTo>
                  <a:close/>
                  <a:moveTo>
                    <a:pt x="4679" y="2249"/>
                  </a:moveTo>
                  <a:lnTo>
                    <a:pt x="4677" y="2247"/>
                  </a:lnTo>
                  <a:lnTo>
                    <a:pt x="4677" y="2249"/>
                  </a:lnTo>
                  <a:lnTo>
                    <a:pt x="4677" y="2249"/>
                  </a:lnTo>
                  <a:lnTo>
                    <a:pt x="4677" y="2249"/>
                  </a:lnTo>
                  <a:lnTo>
                    <a:pt x="4677" y="2251"/>
                  </a:lnTo>
                  <a:lnTo>
                    <a:pt x="4679" y="2249"/>
                  </a:lnTo>
                  <a:lnTo>
                    <a:pt x="4679" y="2249"/>
                  </a:lnTo>
                  <a:lnTo>
                    <a:pt x="4679" y="2249"/>
                  </a:lnTo>
                  <a:lnTo>
                    <a:pt x="4679" y="2249"/>
                  </a:lnTo>
                  <a:close/>
                  <a:moveTo>
                    <a:pt x="4666" y="2259"/>
                  </a:moveTo>
                  <a:lnTo>
                    <a:pt x="4666" y="2259"/>
                  </a:lnTo>
                  <a:lnTo>
                    <a:pt x="4666" y="2261"/>
                  </a:lnTo>
                  <a:lnTo>
                    <a:pt x="4664" y="2261"/>
                  </a:lnTo>
                  <a:lnTo>
                    <a:pt x="4664" y="2261"/>
                  </a:lnTo>
                  <a:lnTo>
                    <a:pt x="4664" y="2261"/>
                  </a:lnTo>
                  <a:lnTo>
                    <a:pt x="4664" y="2261"/>
                  </a:lnTo>
                  <a:lnTo>
                    <a:pt x="4664" y="2261"/>
                  </a:lnTo>
                  <a:lnTo>
                    <a:pt x="4664" y="2261"/>
                  </a:lnTo>
                  <a:lnTo>
                    <a:pt x="4664" y="2263"/>
                  </a:lnTo>
                  <a:lnTo>
                    <a:pt x="4666" y="2263"/>
                  </a:lnTo>
                  <a:lnTo>
                    <a:pt x="4666" y="2263"/>
                  </a:lnTo>
                  <a:lnTo>
                    <a:pt x="4666" y="2261"/>
                  </a:lnTo>
                  <a:lnTo>
                    <a:pt x="4666" y="2261"/>
                  </a:lnTo>
                  <a:lnTo>
                    <a:pt x="4666" y="2259"/>
                  </a:lnTo>
                  <a:close/>
                  <a:moveTo>
                    <a:pt x="4755" y="2017"/>
                  </a:moveTo>
                  <a:lnTo>
                    <a:pt x="4755" y="2013"/>
                  </a:lnTo>
                  <a:lnTo>
                    <a:pt x="4753" y="2011"/>
                  </a:lnTo>
                  <a:lnTo>
                    <a:pt x="4753" y="2009"/>
                  </a:lnTo>
                  <a:lnTo>
                    <a:pt x="4751" y="2003"/>
                  </a:lnTo>
                  <a:lnTo>
                    <a:pt x="4749" y="2001"/>
                  </a:lnTo>
                  <a:lnTo>
                    <a:pt x="4751" y="1997"/>
                  </a:lnTo>
                  <a:lnTo>
                    <a:pt x="4749" y="1987"/>
                  </a:lnTo>
                  <a:lnTo>
                    <a:pt x="4751" y="1982"/>
                  </a:lnTo>
                  <a:lnTo>
                    <a:pt x="4749" y="1980"/>
                  </a:lnTo>
                  <a:lnTo>
                    <a:pt x="4749" y="1980"/>
                  </a:lnTo>
                  <a:lnTo>
                    <a:pt x="4747" y="1980"/>
                  </a:lnTo>
                  <a:lnTo>
                    <a:pt x="4747" y="1978"/>
                  </a:lnTo>
                  <a:lnTo>
                    <a:pt x="4747" y="1974"/>
                  </a:lnTo>
                  <a:lnTo>
                    <a:pt x="4745" y="1972"/>
                  </a:lnTo>
                  <a:lnTo>
                    <a:pt x="4743" y="1970"/>
                  </a:lnTo>
                  <a:lnTo>
                    <a:pt x="4741" y="1968"/>
                  </a:lnTo>
                  <a:lnTo>
                    <a:pt x="4741" y="1966"/>
                  </a:lnTo>
                  <a:lnTo>
                    <a:pt x="4741" y="1966"/>
                  </a:lnTo>
                  <a:lnTo>
                    <a:pt x="4741" y="1964"/>
                  </a:lnTo>
                  <a:lnTo>
                    <a:pt x="4739" y="1964"/>
                  </a:lnTo>
                  <a:lnTo>
                    <a:pt x="4737" y="1964"/>
                  </a:lnTo>
                  <a:lnTo>
                    <a:pt x="4735" y="1962"/>
                  </a:lnTo>
                  <a:lnTo>
                    <a:pt x="4735" y="1960"/>
                  </a:lnTo>
                  <a:lnTo>
                    <a:pt x="4732" y="1956"/>
                  </a:lnTo>
                  <a:lnTo>
                    <a:pt x="4730" y="1953"/>
                  </a:lnTo>
                  <a:lnTo>
                    <a:pt x="4728" y="1953"/>
                  </a:lnTo>
                  <a:lnTo>
                    <a:pt x="4728" y="1953"/>
                  </a:lnTo>
                  <a:lnTo>
                    <a:pt x="4726" y="1953"/>
                  </a:lnTo>
                  <a:lnTo>
                    <a:pt x="4722" y="1949"/>
                  </a:lnTo>
                  <a:lnTo>
                    <a:pt x="4722" y="1949"/>
                  </a:lnTo>
                  <a:lnTo>
                    <a:pt x="4720" y="1947"/>
                  </a:lnTo>
                  <a:lnTo>
                    <a:pt x="4720" y="1947"/>
                  </a:lnTo>
                  <a:lnTo>
                    <a:pt x="4718" y="1945"/>
                  </a:lnTo>
                  <a:lnTo>
                    <a:pt x="4716" y="1945"/>
                  </a:lnTo>
                  <a:lnTo>
                    <a:pt x="4716" y="1939"/>
                  </a:lnTo>
                  <a:lnTo>
                    <a:pt x="4716" y="1937"/>
                  </a:lnTo>
                  <a:lnTo>
                    <a:pt x="4716" y="1931"/>
                  </a:lnTo>
                  <a:lnTo>
                    <a:pt x="4714" y="1929"/>
                  </a:lnTo>
                  <a:lnTo>
                    <a:pt x="4714" y="1929"/>
                  </a:lnTo>
                  <a:lnTo>
                    <a:pt x="4714" y="1929"/>
                  </a:lnTo>
                  <a:lnTo>
                    <a:pt x="4714" y="1931"/>
                  </a:lnTo>
                  <a:lnTo>
                    <a:pt x="4714" y="1931"/>
                  </a:lnTo>
                  <a:lnTo>
                    <a:pt x="4712" y="1931"/>
                  </a:lnTo>
                  <a:lnTo>
                    <a:pt x="4710" y="1929"/>
                  </a:lnTo>
                  <a:lnTo>
                    <a:pt x="4708" y="1929"/>
                  </a:lnTo>
                  <a:lnTo>
                    <a:pt x="4708" y="1927"/>
                  </a:lnTo>
                  <a:lnTo>
                    <a:pt x="4706" y="1925"/>
                  </a:lnTo>
                  <a:lnTo>
                    <a:pt x="4706" y="1925"/>
                  </a:lnTo>
                  <a:lnTo>
                    <a:pt x="4706" y="1925"/>
                  </a:lnTo>
                  <a:lnTo>
                    <a:pt x="4704" y="1927"/>
                  </a:lnTo>
                  <a:lnTo>
                    <a:pt x="4706" y="1931"/>
                  </a:lnTo>
                  <a:lnTo>
                    <a:pt x="4704" y="1931"/>
                  </a:lnTo>
                  <a:lnTo>
                    <a:pt x="4704" y="1931"/>
                  </a:lnTo>
                  <a:lnTo>
                    <a:pt x="4702" y="1929"/>
                  </a:lnTo>
                  <a:lnTo>
                    <a:pt x="4702" y="1929"/>
                  </a:lnTo>
                  <a:lnTo>
                    <a:pt x="4702" y="1929"/>
                  </a:lnTo>
                  <a:lnTo>
                    <a:pt x="4699" y="1927"/>
                  </a:lnTo>
                  <a:lnTo>
                    <a:pt x="4699" y="1927"/>
                  </a:lnTo>
                  <a:lnTo>
                    <a:pt x="4697" y="1923"/>
                  </a:lnTo>
                  <a:lnTo>
                    <a:pt x="4697" y="1918"/>
                  </a:lnTo>
                  <a:lnTo>
                    <a:pt x="4697" y="1916"/>
                  </a:lnTo>
                  <a:lnTo>
                    <a:pt x="4695" y="1914"/>
                  </a:lnTo>
                  <a:lnTo>
                    <a:pt x="4695" y="1912"/>
                  </a:lnTo>
                  <a:lnTo>
                    <a:pt x="4693" y="1912"/>
                  </a:lnTo>
                  <a:lnTo>
                    <a:pt x="4693" y="1910"/>
                  </a:lnTo>
                  <a:lnTo>
                    <a:pt x="4691" y="1908"/>
                  </a:lnTo>
                  <a:lnTo>
                    <a:pt x="4689" y="1906"/>
                  </a:lnTo>
                  <a:lnTo>
                    <a:pt x="4687" y="1904"/>
                  </a:lnTo>
                  <a:lnTo>
                    <a:pt x="4687" y="1902"/>
                  </a:lnTo>
                  <a:lnTo>
                    <a:pt x="4687" y="1900"/>
                  </a:lnTo>
                  <a:lnTo>
                    <a:pt x="4687" y="1900"/>
                  </a:lnTo>
                  <a:lnTo>
                    <a:pt x="4689" y="1900"/>
                  </a:lnTo>
                  <a:lnTo>
                    <a:pt x="4689" y="1898"/>
                  </a:lnTo>
                  <a:lnTo>
                    <a:pt x="4687" y="1898"/>
                  </a:lnTo>
                  <a:lnTo>
                    <a:pt x="4685" y="1896"/>
                  </a:lnTo>
                  <a:lnTo>
                    <a:pt x="4683" y="1894"/>
                  </a:lnTo>
                  <a:lnTo>
                    <a:pt x="4681" y="1894"/>
                  </a:lnTo>
                  <a:lnTo>
                    <a:pt x="4679" y="1892"/>
                  </a:lnTo>
                  <a:lnTo>
                    <a:pt x="4677" y="1892"/>
                  </a:lnTo>
                  <a:lnTo>
                    <a:pt x="4677" y="1892"/>
                  </a:lnTo>
                  <a:lnTo>
                    <a:pt x="4675" y="1892"/>
                  </a:lnTo>
                  <a:lnTo>
                    <a:pt x="4675" y="1889"/>
                  </a:lnTo>
                  <a:lnTo>
                    <a:pt x="4673" y="1889"/>
                  </a:lnTo>
                  <a:lnTo>
                    <a:pt x="4671" y="1887"/>
                  </a:lnTo>
                  <a:lnTo>
                    <a:pt x="4669" y="1885"/>
                  </a:lnTo>
                  <a:lnTo>
                    <a:pt x="4669" y="1885"/>
                  </a:lnTo>
                  <a:lnTo>
                    <a:pt x="4669" y="1883"/>
                  </a:lnTo>
                  <a:lnTo>
                    <a:pt x="4666" y="1883"/>
                  </a:lnTo>
                  <a:lnTo>
                    <a:pt x="4666" y="1885"/>
                  </a:lnTo>
                  <a:lnTo>
                    <a:pt x="4664" y="1883"/>
                  </a:lnTo>
                  <a:lnTo>
                    <a:pt x="4664" y="1883"/>
                  </a:lnTo>
                  <a:lnTo>
                    <a:pt x="4662" y="1881"/>
                  </a:lnTo>
                  <a:lnTo>
                    <a:pt x="4660" y="1881"/>
                  </a:lnTo>
                  <a:lnTo>
                    <a:pt x="4658" y="1881"/>
                  </a:lnTo>
                  <a:lnTo>
                    <a:pt x="4656" y="1881"/>
                  </a:lnTo>
                  <a:lnTo>
                    <a:pt x="4654" y="1879"/>
                  </a:lnTo>
                  <a:lnTo>
                    <a:pt x="4654" y="1877"/>
                  </a:lnTo>
                  <a:lnTo>
                    <a:pt x="4652" y="1875"/>
                  </a:lnTo>
                  <a:lnTo>
                    <a:pt x="4652" y="1873"/>
                  </a:lnTo>
                  <a:lnTo>
                    <a:pt x="4652" y="1871"/>
                  </a:lnTo>
                  <a:lnTo>
                    <a:pt x="4652" y="1871"/>
                  </a:lnTo>
                  <a:lnTo>
                    <a:pt x="4648" y="1867"/>
                  </a:lnTo>
                  <a:lnTo>
                    <a:pt x="4648" y="1867"/>
                  </a:lnTo>
                  <a:lnTo>
                    <a:pt x="4650" y="1863"/>
                  </a:lnTo>
                  <a:lnTo>
                    <a:pt x="4650" y="1859"/>
                  </a:lnTo>
                  <a:lnTo>
                    <a:pt x="4648" y="1854"/>
                  </a:lnTo>
                  <a:lnTo>
                    <a:pt x="4646" y="1850"/>
                  </a:lnTo>
                  <a:lnTo>
                    <a:pt x="4646" y="1848"/>
                  </a:lnTo>
                  <a:lnTo>
                    <a:pt x="4646" y="1848"/>
                  </a:lnTo>
                  <a:lnTo>
                    <a:pt x="4644" y="1848"/>
                  </a:lnTo>
                  <a:lnTo>
                    <a:pt x="4644" y="1846"/>
                  </a:lnTo>
                  <a:lnTo>
                    <a:pt x="4642" y="1844"/>
                  </a:lnTo>
                  <a:lnTo>
                    <a:pt x="4640" y="1842"/>
                  </a:lnTo>
                  <a:lnTo>
                    <a:pt x="4640" y="1840"/>
                  </a:lnTo>
                  <a:lnTo>
                    <a:pt x="4640" y="1840"/>
                  </a:lnTo>
                  <a:lnTo>
                    <a:pt x="4640" y="1838"/>
                  </a:lnTo>
                  <a:lnTo>
                    <a:pt x="4640" y="1836"/>
                  </a:lnTo>
                  <a:lnTo>
                    <a:pt x="4640" y="1834"/>
                  </a:lnTo>
                  <a:lnTo>
                    <a:pt x="4640" y="1830"/>
                  </a:lnTo>
                  <a:lnTo>
                    <a:pt x="4638" y="1828"/>
                  </a:lnTo>
                  <a:lnTo>
                    <a:pt x="4638" y="1825"/>
                  </a:lnTo>
                  <a:lnTo>
                    <a:pt x="4638" y="1823"/>
                  </a:lnTo>
                  <a:lnTo>
                    <a:pt x="4638" y="1821"/>
                  </a:lnTo>
                  <a:lnTo>
                    <a:pt x="4638" y="1821"/>
                  </a:lnTo>
                  <a:lnTo>
                    <a:pt x="4638" y="1819"/>
                  </a:lnTo>
                  <a:lnTo>
                    <a:pt x="4636" y="1817"/>
                  </a:lnTo>
                  <a:lnTo>
                    <a:pt x="4636" y="1817"/>
                  </a:lnTo>
                  <a:lnTo>
                    <a:pt x="4633" y="1815"/>
                  </a:lnTo>
                  <a:lnTo>
                    <a:pt x="4629" y="1813"/>
                  </a:lnTo>
                  <a:lnTo>
                    <a:pt x="4627" y="1811"/>
                  </a:lnTo>
                  <a:lnTo>
                    <a:pt x="4625" y="1809"/>
                  </a:lnTo>
                  <a:lnTo>
                    <a:pt x="4623" y="1809"/>
                  </a:lnTo>
                  <a:lnTo>
                    <a:pt x="4623" y="1811"/>
                  </a:lnTo>
                  <a:lnTo>
                    <a:pt x="4621" y="1811"/>
                  </a:lnTo>
                  <a:lnTo>
                    <a:pt x="4619" y="1813"/>
                  </a:lnTo>
                  <a:lnTo>
                    <a:pt x="4617" y="1811"/>
                  </a:lnTo>
                  <a:lnTo>
                    <a:pt x="4615" y="1811"/>
                  </a:lnTo>
                  <a:lnTo>
                    <a:pt x="4615" y="1809"/>
                  </a:lnTo>
                  <a:lnTo>
                    <a:pt x="4615" y="1805"/>
                  </a:lnTo>
                  <a:lnTo>
                    <a:pt x="4613" y="1803"/>
                  </a:lnTo>
                  <a:lnTo>
                    <a:pt x="4613" y="1803"/>
                  </a:lnTo>
                  <a:lnTo>
                    <a:pt x="4613" y="1799"/>
                  </a:lnTo>
                  <a:lnTo>
                    <a:pt x="4613" y="1797"/>
                  </a:lnTo>
                  <a:lnTo>
                    <a:pt x="4613" y="1792"/>
                  </a:lnTo>
                  <a:lnTo>
                    <a:pt x="4611" y="1788"/>
                  </a:lnTo>
                  <a:lnTo>
                    <a:pt x="4611" y="1788"/>
                  </a:lnTo>
                  <a:lnTo>
                    <a:pt x="4611" y="1786"/>
                  </a:lnTo>
                  <a:lnTo>
                    <a:pt x="4609" y="1784"/>
                  </a:lnTo>
                  <a:lnTo>
                    <a:pt x="4609" y="1782"/>
                  </a:lnTo>
                  <a:lnTo>
                    <a:pt x="4609" y="1782"/>
                  </a:lnTo>
                  <a:lnTo>
                    <a:pt x="4607" y="1782"/>
                  </a:lnTo>
                  <a:lnTo>
                    <a:pt x="4607" y="1780"/>
                  </a:lnTo>
                  <a:lnTo>
                    <a:pt x="4607" y="1780"/>
                  </a:lnTo>
                  <a:lnTo>
                    <a:pt x="4607" y="1778"/>
                  </a:lnTo>
                  <a:lnTo>
                    <a:pt x="4609" y="1776"/>
                  </a:lnTo>
                  <a:lnTo>
                    <a:pt x="4607" y="1776"/>
                  </a:lnTo>
                  <a:lnTo>
                    <a:pt x="4605" y="1776"/>
                  </a:lnTo>
                  <a:lnTo>
                    <a:pt x="4605" y="1776"/>
                  </a:lnTo>
                  <a:lnTo>
                    <a:pt x="4603" y="1774"/>
                  </a:lnTo>
                  <a:lnTo>
                    <a:pt x="4603" y="1772"/>
                  </a:lnTo>
                  <a:lnTo>
                    <a:pt x="4603" y="1770"/>
                  </a:lnTo>
                  <a:lnTo>
                    <a:pt x="4603" y="1768"/>
                  </a:lnTo>
                  <a:lnTo>
                    <a:pt x="4603" y="1766"/>
                  </a:lnTo>
                  <a:lnTo>
                    <a:pt x="4603" y="1764"/>
                  </a:lnTo>
                  <a:lnTo>
                    <a:pt x="4600" y="1764"/>
                  </a:lnTo>
                  <a:lnTo>
                    <a:pt x="4598" y="1761"/>
                  </a:lnTo>
                  <a:lnTo>
                    <a:pt x="4598" y="1759"/>
                  </a:lnTo>
                  <a:lnTo>
                    <a:pt x="4600" y="1759"/>
                  </a:lnTo>
                  <a:lnTo>
                    <a:pt x="4598" y="1759"/>
                  </a:lnTo>
                  <a:lnTo>
                    <a:pt x="4598" y="1759"/>
                  </a:lnTo>
                  <a:lnTo>
                    <a:pt x="4596" y="1759"/>
                  </a:lnTo>
                  <a:lnTo>
                    <a:pt x="4596" y="1761"/>
                  </a:lnTo>
                  <a:lnTo>
                    <a:pt x="4594" y="1761"/>
                  </a:lnTo>
                  <a:lnTo>
                    <a:pt x="4592" y="1766"/>
                  </a:lnTo>
                  <a:lnTo>
                    <a:pt x="4592" y="1772"/>
                  </a:lnTo>
                  <a:lnTo>
                    <a:pt x="4590" y="1776"/>
                  </a:lnTo>
                  <a:lnTo>
                    <a:pt x="4590" y="1776"/>
                  </a:lnTo>
                  <a:lnTo>
                    <a:pt x="4590" y="1778"/>
                  </a:lnTo>
                  <a:lnTo>
                    <a:pt x="4590" y="1778"/>
                  </a:lnTo>
                  <a:lnTo>
                    <a:pt x="4588" y="1776"/>
                  </a:lnTo>
                  <a:lnTo>
                    <a:pt x="4588" y="1778"/>
                  </a:lnTo>
                  <a:lnTo>
                    <a:pt x="4586" y="1782"/>
                  </a:lnTo>
                  <a:lnTo>
                    <a:pt x="4586" y="1784"/>
                  </a:lnTo>
                  <a:lnTo>
                    <a:pt x="4588" y="1784"/>
                  </a:lnTo>
                  <a:lnTo>
                    <a:pt x="4588" y="1784"/>
                  </a:lnTo>
                  <a:lnTo>
                    <a:pt x="4588" y="1786"/>
                  </a:lnTo>
                  <a:lnTo>
                    <a:pt x="4590" y="1786"/>
                  </a:lnTo>
                  <a:lnTo>
                    <a:pt x="4590" y="1786"/>
                  </a:lnTo>
                  <a:lnTo>
                    <a:pt x="4590" y="1788"/>
                  </a:lnTo>
                  <a:lnTo>
                    <a:pt x="4590" y="1788"/>
                  </a:lnTo>
                  <a:lnTo>
                    <a:pt x="4588" y="1788"/>
                  </a:lnTo>
                  <a:lnTo>
                    <a:pt x="4588" y="1788"/>
                  </a:lnTo>
                  <a:lnTo>
                    <a:pt x="4588" y="1788"/>
                  </a:lnTo>
                  <a:lnTo>
                    <a:pt x="4586" y="1790"/>
                  </a:lnTo>
                  <a:lnTo>
                    <a:pt x="4586" y="1794"/>
                  </a:lnTo>
                  <a:lnTo>
                    <a:pt x="4586" y="1797"/>
                  </a:lnTo>
                  <a:lnTo>
                    <a:pt x="4584" y="1799"/>
                  </a:lnTo>
                  <a:lnTo>
                    <a:pt x="4584" y="1803"/>
                  </a:lnTo>
                  <a:lnTo>
                    <a:pt x="4584" y="1805"/>
                  </a:lnTo>
                  <a:lnTo>
                    <a:pt x="4584" y="1807"/>
                  </a:lnTo>
                  <a:lnTo>
                    <a:pt x="4586" y="1807"/>
                  </a:lnTo>
                  <a:lnTo>
                    <a:pt x="4584" y="1811"/>
                  </a:lnTo>
                  <a:lnTo>
                    <a:pt x="4584" y="1813"/>
                  </a:lnTo>
                  <a:lnTo>
                    <a:pt x="4586" y="1817"/>
                  </a:lnTo>
                  <a:lnTo>
                    <a:pt x="4586" y="1821"/>
                  </a:lnTo>
                  <a:lnTo>
                    <a:pt x="4584" y="1823"/>
                  </a:lnTo>
                  <a:lnTo>
                    <a:pt x="4584" y="1830"/>
                  </a:lnTo>
                  <a:lnTo>
                    <a:pt x="4582" y="1834"/>
                  </a:lnTo>
                  <a:lnTo>
                    <a:pt x="4582" y="1836"/>
                  </a:lnTo>
                  <a:lnTo>
                    <a:pt x="4582" y="1838"/>
                  </a:lnTo>
                  <a:lnTo>
                    <a:pt x="4580" y="1842"/>
                  </a:lnTo>
                  <a:lnTo>
                    <a:pt x="4580" y="1844"/>
                  </a:lnTo>
                  <a:lnTo>
                    <a:pt x="4576" y="1850"/>
                  </a:lnTo>
                  <a:lnTo>
                    <a:pt x="4576" y="1852"/>
                  </a:lnTo>
                  <a:lnTo>
                    <a:pt x="4574" y="1854"/>
                  </a:lnTo>
                  <a:lnTo>
                    <a:pt x="4572" y="1856"/>
                  </a:lnTo>
                  <a:lnTo>
                    <a:pt x="4570" y="1859"/>
                  </a:lnTo>
                  <a:lnTo>
                    <a:pt x="4565" y="1859"/>
                  </a:lnTo>
                  <a:lnTo>
                    <a:pt x="4563" y="1859"/>
                  </a:lnTo>
                  <a:lnTo>
                    <a:pt x="4561" y="1859"/>
                  </a:lnTo>
                  <a:lnTo>
                    <a:pt x="4561" y="1859"/>
                  </a:lnTo>
                  <a:lnTo>
                    <a:pt x="4557" y="1856"/>
                  </a:lnTo>
                  <a:lnTo>
                    <a:pt x="4555" y="1854"/>
                  </a:lnTo>
                  <a:lnTo>
                    <a:pt x="4551" y="1854"/>
                  </a:lnTo>
                  <a:lnTo>
                    <a:pt x="4551" y="1852"/>
                  </a:lnTo>
                  <a:lnTo>
                    <a:pt x="4551" y="1850"/>
                  </a:lnTo>
                  <a:lnTo>
                    <a:pt x="4549" y="1850"/>
                  </a:lnTo>
                  <a:lnTo>
                    <a:pt x="4549" y="1848"/>
                  </a:lnTo>
                  <a:lnTo>
                    <a:pt x="4545" y="1846"/>
                  </a:lnTo>
                  <a:lnTo>
                    <a:pt x="4543" y="1846"/>
                  </a:lnTo>
                  <a:lnTo>
                    <a:pt x="4541" y="1846"/>
                  </a:lnTo>
                  <a:lnTo>
                    <a:pt x="4537" y="1844"/>
                  </a:lnTo>
                  <a:lnTo>
                    <a:pt x="4534" y="1844"/>
                  </a:lnTo>
                  <a:lnTo>
                    <a:pt x="4532" y="1842"/>
                  </a:lnTo>
                  <a:lnTo>
                    <a:pt x="4530" y="1838"/>
                  </a:lnTo>
                  <a:lnTo>
                    <a:pt x="4526" y="1838"/>
                  </a:lnTo>
                  <a:lnTo>
                    <a:pt x="4524" y="1836"/>
                  </a:lnTo>
                  <a:lnTo>
                    <a:pt x="4522" y="1834"/>
                  </a:lnTo>
                  <a:lnTo>
                    <a:pt x="4520" y="1834"/>
                  </a:lnTo>
                  <a:lnTo>
                    <a:pt x="4520" y="1834"/>
                  </a:lnTo>
                  <a:lnTo>
                    <a:pt x="4518" y="1834"/>
                  </a:lnTo>
                  <a:lnTo>
                    <a:pt x="4516" y="1834"/>
                  </a:lnTo>
                  <a:lnTo>
                    <a:pt x="4516" y="1832"/>
                  </a:lnTo>
                  <a:lnTo>
                    <a:pt x="4516" y="1832"/>
                  </a:lnTo>
                  <a:lnTo>
                    <a:pt x="4516" y="1832"/>
                  </a:lnTo>
                  <a:lnTo>
                    <a:pt x="4516" y="1830"/>
                  </a:lnTo>
                  <a:lnTo>
                    <a:pt x="4516" y="1830"/>
                  </a:lnTo>
                  <a:lnTo>
                    <a:pt x="4514" y="1830"/>
                  </a:lnTo>
                  <a:lnTo>
                    <a:pt x="4514" y="1830"/>
                  </a:lnTo>
                  <a:lnTo>
                    <a:pt x="4514" y="1830"/>
                  </a:lnTo>
                  <a:lnTo>
                    <a:pt x="4512" y="1830"/>
                  </a:lnTo>
                  <a:lnTo>
                    <a:pt x="4510" y="1828"/>
                  </a:lnTo>
                  <a:lnTo>
                    <a:pt x="4510" y="1828"/>
                  </a:lnTo>
                  <a:lnTo>
                    <a:pt x="4508" y="1825"/>
                  </a:lnTo>
                  <a:lnTo>
                    <a:pt x="4506" y="1823"/>
                  </a:lnTo>
                  <a:lnTo>
                    <a:pt x="4504" y="1823"/>
                  </a:lnTo>
                  <a:lnTo>
                    <a:pt x="4499" y="1819"/>
                  </a:lnTo>
                  <a:lnTo>
                    <a:pt x="4497" y="1819"/>
                  </a:lnTo>
                  <a:lnTo>
                    <a:pt x="4497" y="1817"/>
                  </a:lnTo>
                  <a:lnTo>
                    <a:pt x="4497" y="1817"/>
                  </a:lnTo>
                  <a:lnTo>
                    <a:pt x="4497" y="1815"/>
                  </a:lnTo>
                  <a:lnTo>
                    <a:pt x="4499" y="1815"/>
                  </a:lnTo>
                  <a:lnTo>
                    <a:pt x="4501" y="1809"/>
                  </a:lnTo>
                  <a:lnTo>
                    <a:pt x="4504" y="1809"/>
                  </a:lnTo>
                  <a:lnTo>
                    <a:pt x="4504" y="1809"/>
                  </a:lnTo>
                  <a:lnTo>
                    <a:pt x="4506" y="1805"/>
                  </a:lnTo>
                  <a:lnTo>
                    <a:pt x="4506" y="1803"/>
                  </a:lnTo>
                  <a:lnTo>
                    <a:pt x="4504" y="1801"/>
                  </a:lnTo>
                  <a:lnTo>
                    <a:pt x="4504" y="1797"/>
                  </a:lnTo>
                  <a:lnTo>
                    <a:pt x="4508" y="1794"/>
                  </a:lnTo>
                  <a:lnTo>
                    <a:pt x="4508" y="1794"/>
                  </a:lnTo>
                  <a:lnTo>
                    <a:pt x="4510" y="1792"/>
                  </a:lnTo>
                  <a:lnTo>
                    <a:pt x="4510" y="1794"/>
                  </a:lnTo>
                  <a:lnTo>
                    <a:pt x="4512" y="1794"/>
                  </a:lnTo>
                  <a:lnTo>
                    <a:pt x="4512" y="1794"/>
                  </a:lnTo>
                  <a:lnTo>
                    <a:pt x="4514" y="1790"/>
                  </a:lnTo>
                  <a:lnTo>
                    <a:pt x="4514" y="1790"/>
                  </a:lnTo>
                  <a:lnTo>
                    <a:pt x="4512" y="1788"/>
                  </a:lnTo>
                  <a:lnTo>
                    <a:pt x="4514" y="1788"/>
                  </a:lnTo>
                  <a:lnTo>
                    <a:pt x="4518" y="1782"/>
                  </a:lnTo>
                  <a:lnTo>
                    <a:pt x="4518" y="1780"/>
                  </a:lnTo>
                  <a:lnTo>
                    <a:pt x="4518" y="1780"/>
                  </a:lnTo>
                  <a:lnTo>
                    <a:pt x="4516" y="1780"/>
                  </a:lnTo>
                  <a:lnTo>
                    <a:pt x="4514" y="1778"/>
                  </a:lnTo>
                  <a:lnTo>
                    <a:pt x="4514" y="1776"/>
                  </a:lnTo>
                  <a:lnTo>
                    <a:pt x="4512" y="1776"/>
                  </a:lnTo>
                  <a:lnTo>
                    <a:pt x="4510" y="1778"/>
                  </a:lnTo>
                  <a:lnTo>
                    <a:pt x="4510" y="1780"/>
                  </a:lnTo>
                  <a:lnTo>
                    <a:pt x="4510" y="1780"/>
                  </a:lnTo>
                  <a:lnTo>
                    <a:pt x="4510" y="1782"/>
                  </a:lnTo>
                  <a:lnTo>
                    <a:pt x="4510" y="1784"/>
                  </a:lnTo>
                  <a:lnTo>
                    <a:pt x="4508" y="1784"/>
                  </a:lnTo>
                  <a:lnTo>
                    <a:pt x="4506" y="1782"/>
                  </a:lnTo>
                  <a:lnTo>
                    <a:pt x="4506" y="1782"/>
                  </a:lnTo>
                  <a:lnTo>
                    <a:pt x="4506" y="1780"/>
                  </a:lnTo>
                  <a:lnTo>
                    <a:pt x="4504" y="1780"/>
                  </a:lnTo>
                  <a:lnTo>
                    <a:pt x="4504" y="1780"/>
                  </a:lnTo>
                  <a:lnTo>
                    <a:pt x="4501" y="1780"/>
                  </a:lnTo>
                  <a:lnTo>
                    <a:pt x="4501" y="1780"/>
                  </a:lnTo>
                  <a:lnTo>
                    <a:pt x="4501" y="1780"/>
                  </a:lnTo>
                  <a:lnTo>
                    <a:pt x="4501" y="1780"/>
                  </a:lnTo>
                  <a:lnTo>
                    <a:pt x="4504" y="1778"/>
                  </a:lnTo>
                  <a:lnTo>
                    <a:pt x="4504" y="1776"/>
                  </a:lnTo>
                  <a:lnTo>
                    <a:pt x="4504" y="1776"/>
                  </a:lnTo>
                  <a:lnTo>
                    <a:pt x="4504" y="1776"/>
                  </a:lnTo>
                  <a:lnTo>
                    <a:pt x="4504" y="1776"/>
                  </a:lnTo>
                  <a:lnTo>
                    <a:pt x="4504" y="1774"/>
                  </a:lnTo>
                  <a:lnTo>
                    <a:pt x="4504" y="1774"/>
                  </a:lnTo>
                  <a:lnTo>
                    <a:pt x="4501" y="1776"/>
                  </a:lnTo>
                  <a:lnTo>
                    <a:pt x="4501" y="1776"/>
                  </a:lnTo>
                  <a:lnTo>
                    <a:pt x="4499" y="1778"/>
                  </a:lnTo>
                  <a:lnTo>
                    <a:pt x="4495" y="1778"/>
                  </a:lnTo>
                  <a:lnTo>
                    <a:pt x="4493" y="1780"/>
                  </a:lnTo>
                  <a:lnTo>
                    <a:pt x="4491" y="1780"/>
                  </a:lnTo>
                  <a:lnTo>
                    <a:pt x="4489" y="1778"/>
                  </a:lnTo>
                  <a:lnTo>
                    <a:pt x="4489" y="1778"/>
                  </a:lnTo>
                  <a:lnTo>
                    <a:pt x="4487" y="1776"/>
                  </a:lnTo>
                  <a:lnTo>
                    <a:pt x="4485" y="1778"/>
                  </a:lnTo>
                  <a:lnTo>
                    <a:pt x="4483" y="1778"/>
                  </a:lnTo>
                  <a:lnTo>
                    <a:pt x="4481" y="1778"/>
                  </a:lnTo>
                  <a:lnTo>
                    <a:pt x="4481" y="1778"/>
                  </a:lnTo>
                  <a:lnTo>
                    <a:pt x="4479" y="1776"/>
                  </a:lnTo>
                  <a:lnTo>
                    <a:pt x="4475" y="1774"/>
                  </a:lnTo>
                  <a:lnTo>
                    <a:pt x="4473" y="1774"/>
                  </a:lnTo>
                  <a:lnTo>
                    <a:pt x="4471" y="1774"/>
                  </a:lnTo>
                  <a:lnTo>
                    <a:pt x="4468" y="1774"/>
                  </a:lnTo>
                  <a:lnTo>
                    <a:pt x="4468" y="1774"/>
                  </a:lnTo>
                  <a:lnTo>
                    <a:pt x="4464" y="1772"/>
                  </a:lnTo>
                  <a:lnTo>
                    <a:pt x="4464" y="1772"/>
                  </a:lnTo>
                  <a:lnTo>
                    <a:pt x="4462" y="1770"/>
                  </a:lnTo>
                  <a:lnTo>
                    <a:pt x="4462" y="1768"/>
                  </a:lnTo>
                  <a:lnTo>
                    <a:pt x="4460" y="1768"/>
                  </a:lnTo>
                  <a:lnTo>
                    <a:pt x="4458" y="1770"/>
                  </a:lnTo>
                  <a:lnTo>
                    <a:pt x="4458" y="1770"/>
                  </a:lnTo>
                  <a:lnTo>
                    <a:pt x="4456" y="1768"/>
                  </a:lnTo>
                  <a:lnTo>
                    <a:pt x="4454" y="1766"/>
                  </a:lnTo>
                  <a:lnTo>
                    <a:pt x="4452" y="1766"/>
                  </a:lnTo>
                  <a:lnTo>
                    <a:pt x="4452" y="1766"/>
                  </a:lnTo>
                  <a:lnTo>
                    <a:pt x="4452" y="1768"/>
                  </a:lnTo>
                  <a:lnTo>
                    <a:pt x="4450" y="1768"/>
                  </a:lnTo>
                  <a:lnTo>
                    <a:pt x="4450" y="1768"/>
                  </a:lnTo>
                  <a:lnTo>
                    <a:pt x="4448" y="1766"/>
                  </a:lnTo>
                  <a:lnTo>
                    <a:pt x="4448" y="1766"/>
                  </a:lnTo>
                  <a:lnTo>
                    <a:pt x="4446" y="1766"/>
                  </a:lnTo>
                  <a:lnTo>
                    <a:pt x="4446" y="1768"/>
                  </a:lnTo>
                  <a:lnTo>
                    <a:pt x="4448" y="1768"/>
                  </a:lnTo>
                  <a:lnTo>
                    <a:pt x="4450" y="1770"/>
                  </a:lnTo>
                  <a:lnTo>
                    <a:pt x="4450" y="1770"/>
                  </a:lnTo>
                  <a:lnTo>
                    <a:pt x="4452" y="1770"/>
                  </a:lnTo>
                  <a:lnTo>
                    <a:pt x="4456" y="1770"/>
                  </a:lnTo>
                  <a:lnTo>
                    <a:pt x="4458" y="1772"/>
                  </a:lnTo>
                  <a:lnTo>
                    <a:pt x="4458" y="1774"/>
                  </a:lnTo>
                  <a:lnTo>
                    <a:pt x="4458" y="1774"/>
                  </a:lnTo>
                  <a:lnTo>
                    <a:pt x="4458" y="1776"/>
                  </a:lnTo>
                  <a:lnTo>
                    <a:pt x="4458" y="1778"/>
                  </a:lnTo>
                  <a:lnTo>
                    <a:pt x="4458" y="1778"/>
                  </a:lnTo>
                  <a:lnTo>
                    <a:pt x="4458" y="1778"/>
                  </a:lnTo>
                  <a:lnTo>
                    <a:pt x="4456" y="1778"/>
                  </a:lnTo>
                  <a:lnTo>
                    <a:pt x="4456" y="1778"/>
                  </a:lnTo>
                  <a:lnTo>
                    <a:pt x="4454" y="1780"/>
                  </a:lnTo>
                  <a:lnTo>
                    <a:pt x="4454" y="1782"/>
                  </a:lnTo>
                  <a:lnTo>
                    <a:pt x="4454" y="1780"/>
                  </a:lnTo>
                  <a:lnTo>
                    <a:pt x="4452" y="1780"/>
                  </a:lnTo>
                  <a:lnTo>
                    <a:pt x="4450" y="1780"/>
                  </a:lnTo>
                  <a:lnTo>
                    <a:pt x="4450" y="1780"/>
                  </a:lnTo>
                  <a:lnTo>
                    <a:pt x="4448" y="1780"/>
                  </a:lnTo>
                  <a:lnTo>
                    <a:pt x="4446" y="1780"/>
                  </a:lnTo>
                  <a:lnTo>
                    <a:pt x="4444" y="1780"/>
                  </a:lnTo>
                  <a:lnTo>
                    <a:pt x="4440" y="1780"/>
                  </a:lnTo>
                  <a:lnTo>
                    <a:pt x="4440" y="1780"/>
                  </a:lnTo>
                  <a:lnTo>
                    <a:pt x="4438" y="1778"/>
                  </a:lnTo>
                  <a:lnTo>
                    <a:pt x="4438" y="1778"/>
                  </a:lnTo>
                  <a:lnTo>
                    <a:pt x="4438" y="1778"/>
                  </a:lnTo>
                  <a:lnTo>
                    <a:pt x="4438" y="1780"/>
                  </a:lnTo>
                  <a:lnTo>
                    <a:pt x="4436" y="1780"/>
                  </a:lnTo>
                  <a:lnTo>
                    <a:pt x="4433" y="1780"/>
                  </a:lnTo>
                  <a:lnTo>
                    <a:pt x="4436" y="1780"/>
                  </a:lnTo>
                  <a:lnTo>
                    <a:pt x="4433" y="1782"/>
                  </a:lnTo>
                  <a:lnTo>
                    <a:pt x="4433" y="1782"/>
                  </a:lnTo>
                  <a:lnTo>
                    <a:pt x="4431" y="1782"/>
                  </a:lnTo>
                  <a:lnTo>
                    <a:pt x="4431" y="1784"/>
                  </a:lnTo>
                  <a:lnTo>
                    <a:pt x="4433" y="1784"/>
                  </a:lnTo>
                  <a:lnTo>
                    <a:pt x="4431" y="1784"/>
                  </a:lnTo>
                  <a:lnTo>
                    <a:pt x="4431" y="1784"/>
                  </a:lnTo>
                  <a:lnTo>
                    <a:pt x="4429" y="1782"/>
                  </a:lnTo>
                  <a:lnTo>
                    <a:pt x="4429" y="1782"/>
                  </a:lnTo>
                  <a:lnTo>
                    <a:pt x="4429" y="1784"/>
                  </a:lnTo>
                  <a:lnTo>
                    <a:pt x="4429" y="1784"/>
                  </a:lnTo>
                  <a:lnTo>
                    <a:pt x="4429" y="1786"/>
                  </a:lnTo>
                  <a:lnTo>
                    <a:pt x="4427" y="1786"/>
                  </a:lnTo>
                  <a:lnTo>
                    <a:pt x="4427" y="1786"/>
                  </a:lnTo>
                  <a:lnTo>
                    <a:pt x="4425" y="1786"/>
                  </a:lnTo>
                  <a:lnTo>
                    <a:pt x="4425" y="1790"/>
                  </a:lnTo>
                  <a:lnTo>
                    <a:pt x="4423" y="1790"/>
                  </a:lnTo>
                  <a:lnTo>
                    <a:pt x="4421" y="1792"/>
                  </a:lnTo>
                  <a:lnTo>
                    <a:pt x="4421" y="1792"/>
                  </a:lnTo>
                  <a:lnTo>
                    <a:pt x="4423" y="1797"/>
                  </a:lnTo>
                  <a:lnTo>
                    <a:pt x="4423" y="1797"/>
                  </a:lnTo>
                  <a:lnTo>
                    <a:pt x="4421" y="1799"/>
                  </a:lnTo>
                  <a:lnTo>
                    <a:pt x="4421" y="1799"/>
                  </a:lnTo>
                  <a:lnTo>
                    <a:pt x="4419" y="1799"/>
                  </a:lnTo>
                  <a:lnTo>
                    <a:pt x="4417" y="1799"/>
                  </a:lnTo>
                  <a:lnTo>
                    <a:pt x="4417" y="1801"/>
                  </a:lnTo>
                  <a:lnTo>
                    <a:pt x="4417" y="1801"/>
                  </a:lnTo>
                  <a:lnTo>
                    <a:pt x="4417" y="1803"/>
                  </a:lnTo>
                  <a:lnTo>
                    <a:pt x="4415" y="1805"/>
                  </a:lnTo>
                  <a:lnTo>
                    <a:pt x="4415" y="1805"/>
                  </a:lnTo>
                  <a:lnTo>
                    <a:pt x="4415" y="1807"/>
                  </a:lnTo>
                  <a:lnTo>
                    <a:pt x="4413" y="1809"/>
                  </a:lnTo>
                  <a:lnTo>
                    <a:pt x="4411" y="1811"/>
                  </a:lnTo>
                  <a:lnTo>
                    <a:pt x="4413" y="1813"/>
                  </a:lnTo>
                  <a:lnTo>
                    <a:pt x="4415" y="1813"/>
                  </a:lnTo>
                  <a:lnTo>
                    <a:pt x="4415" y="1813"/>
                  </a:lnTo>
                  <a:lnTo>
                    <a:pt x="4415" y="1813"/>
                  </a:lnTo>
                  <a:lnTo>
                    <a:pt x="4415" y="1815"/>
                  </a:lnTo>
                  <a:lnTo>
                    <a:pt x="4415" y="1815"/>
                  </a:lnTo>
                  <a:lnTo>
                    <a:pt x="4417" y="1817"/>
                  </a:lnTo>
                  <a:lnTo>
                    <a:pt x="4417" y="1817"/>
                  </a:lnTo>
                  <a:lnTo>
                    <a:pt x="4417" y="1817"/>
                  </a:lnTo>
                  <a:lnTo>
                    <a:pt x="4417" y="1817"/>
                  </a:lnTo>
                  <a:lnTo>
                    <a:pt x="4415" y="1817"/>
                  </a:lnTo>
                  <a:lnTo>
                    <a:pt x="4415" y="1819"/>
                  </a:lnTo>
                  <a:lnTo>
                    <a:pt x="4415" y="1821"/>
                  </a:lnTo>
                  <a:lnTo>
                    <a:pt x="4415" y="1821"/>
                  </a:lnTo>
                  <a:lnTo>
                    <a:pt x="4415" y="1821"/>
                  </a:lnTo>
                  <a:lnTo>
                    <a:pt x="4415" y="1821"/>
                  </a:lnTo>
                  <a:lnTo>
                    <a:pt x="4413" y="1821"/>
                  </a:lnTo>
                  <a:lnTo>
                    <a:pt x="4413" y="1819"/>
                  </a:lnTo>
                  <a:lnTo>
                    <a:pt x="4411" y="1819"/>
                  </a:lnTo>
                  <a:lnTo>
                    <a:pt x="4409" y="1819"/>
                  </a:lnTo>
                  <a:lnTo>
                    <a:pt x="4409" y="1819"/>
                  </a:lnTo>
                  <a:lnTo>
                    <a:pt x="4409" y="1821"/>
                  </a:lnTo>
                  <a:lnTo>
                    <a:pt x="4409" y="1823"/>
                  </a:lnTo>
                  <a:lnTo>
                    <a:pt x="4409" y="1821"/>
                  </a:lnTo>
                  <a:lnTo>
                    <a:pt x="4409" y="1819"/>
                  </a:lnTo>
                  <a:lnTo>
                    <a:pt x="4407" y="1819"/>
                  </a:lnTo>
                  <a:lnTo>
                    <a:pt x="4400" y="1817"/>
                  </a:lnTo>
                  <a:lnTo>
                    <a:pt x="4400" y="1817"/>
                  </a:lnTo>
                  <a:lnTo>
                    <a:pt x="4398" y="1817"/>
                  </a:lnTo>
                  <a:lnTo>
                    <a:pt x="4396" y="1817"/>
                  </a:lnTo>
                  <a:lnTo>
                    <a:pt x="4396" y="1819"/>
                  </a:lnTo>
                  <a:lnTo>
                    <a:pt x="4396" y="1819"/>
                  </a:lnTo>
                  <a:lnTo>
                    <a:pt x="4396" y="1819"/>
                  </a:lnTo>
                  <a:lnTo>
                    <a:pt x="4394" y="1819"/>
                  </a:lnTo>
                  <a:lnTo>
                    <a:pt x="4394" y="1821"/>
                  </a:lnTo>
                  <a:lnTo>
                    <a:pt x="4394" y="1821"/>
                  </a:lnTo>
                  <a:lnTo>
                    <a:pt x="4394" y="1823"/>
                  </a:lnTo>
                  <a:lnTo>
                    <a:pt x="4394" y="1823"/>
                  </a:lnTo>
                  <a:lnTo>
                    <a:pt x="4394" y="1825"/>
                  </a:lnTo>
                  <a:lnTo>
                    <a:pt x="4394" y="1823"/>
                  </a:lnTo>
                  <a:lnTo>
                    <a:pt x="4394" y="1823"/>
                  </a:lnTo>
                  <a:lnTo>
                    <a:pt x="4392" y="1825"/>
                  </a:lnTo>
                  <a:lnTo>
                    <a:pt x="4392" y="1825"/>
                  </a:lnTo>
                  <a:lnTo>
                    <a:pt x="4392" y="1821"/>
                  </a:lnTo>
                  <a:lnTo>
                    <a:pt x="4392" y="1819"/>
                  </a:lnTo>
                  <a:lnTo>
                    <a:pt x="4394" y="1817"/>
                  </a:lnTo>
                  <a:lnTo>
                    <a:pt x="4394" y="1817"/>
                  </a:lnTo>
                  <a:lnTo>
                    <a:pt x="4394" y="1815"/>
                  </a:lnTo>
                  <a:lnTo>
                    <a:pt x="4390" y="1813"/>
                  </a:lnTo>
                  <a:lnTo>
                    <a:pt x="4388" y="1811"/>
                  </a:lnTo>
                  <a:lnTo>
                    <a:pt x="4386" y="1809"/>
                  </a:lnTo>
                  <a:lnTo>
                    <a:pt x="4384" y="1807"/>
                  </a:lnTo>
                  <a:lnTo>
                    <a:pt x="4384" y="1807"/>
                  </a:lnTo>
                  <a:lnTo>
                    <a:pt x="4382" y="1805"/>
                  </a:lnTo>
                  <a:lnTo>
                    <a:pt x="4378" y="1805"/>
                  </a:lnTo>
                  <a:lnTo>
                    <a:pt x="4378" y="1803"/>
                  </a:lnTo>
                  <a:lnTo>
                    <a:pt x="4376" y="1803"/>
                  </a:lnTo>
                  <a:lnTo>
                    <a:pt x="4374" y="1803"/>
                  </a:lnTo>
                  <a:lnTo>
                    <a:pt x="4374" y="1805"/>
                  </a:lnTo>
                  <a:lnTo>
                    <a:pt x="4374" y="1805"/>
                  </a:lnTo>
                  <a:lnTo>
                    <a:pt x="4372" y="1807"/>
                  </a:lnTo>
                  <a:lnTo>
                    <a:pt x="4372" y="1809"/>
                  </a:lnTo>
                  <a:lnTo>
                    <a:pt x="4370" y="1807"/>
                  </a:lnTo>
                  <a:lnTo>
                    <a:pt x="4370" y="1807"/>
                  </a:lnTo>
                  <a:lnTo>
                    <a:pt x="4367" y="1807"/>
                  </a:lnTo>
                  <a:lnTo>
                    <a:pt x="4367" y="1807"/>
                  </a:lnTo>
                  <a:lnTo>
                    <a:pt x="4367" y="1809"/>
                  </a:lnTo>
                  <a:lnTo>
                    <a:pt x="4365" y="1807"/>
                  </a:lnTo>
                  <a:lnTo>
                    <a:pt x="4365" y="1805"/>
                  </a:lnTo>
                  <a:lnTo>
                    <a:pt x="4365" y="1805"/>
                  </a:lnTo>
                  <a:lnTo>
                    <a:pt x="4363" y="1805"/>
                  </a:lnTo>
                  <a:lnTo>
                    <a:pt x="4363" y="1807"/>
                  </a:lnTo>
                  <a:lnTo>
                    <a:pt x="4363" y="1807"/>
                  </a:lnTo>
                  <a:lnTo>
                    <a:pt x="4363" y="1809"/>
                  </a:lnTo>
                  <a:lnTo>
                    <a:pt x="4363" y="1809"/>
                  </a:lnTo>
                  <a:lnTo>
                    <a:pt x="4363" y="1809"/>
                  </a:lnTo>
                  <a:lnTo>
                    <a:pt x="4363" y="1811"/>
                  </a:lnTo>
                  <a:lnTo>
                    <a:pt x="4363" y="1813"/>
                  </a:lnTo>
                  <a:lnTo>
                    <a:pt x="4361" y="1813"/>
                  </a:lnTo>
                  <a:lnTo>
                    <a:pt x="4361" y="1815"/>
                  </a:lnTo>
                  <a:lnTo>
                    <a:pt x="4361" y="1815"/>
                  </a:lnTo>
                  <a:lnTo>
                    <a:pt x="4361" y="1813"/>
                  </a:lnTo>
                  <a:lnTo>
                    <a:pt x="4359" y="1813"/>
                  </a:lnTo>
                  <a:lnTo>
                    <a:pt x="4359" y="1813"/>
                  </a:lnTo>
                  <a:lnTo>
                    <a:pt x="4359" y="1813"/>
                  </a:lnTo>
                  <a:lnTo>
                    <a:pt x="4359" y="1813"/>
                  </a:lnTo>
                  <a:lnTo>
                    <a:pt x="4357" y="1813"/>
                  </a:lnTo>
                  <a:lnTo>
                    <a:pt x="4359" y="1813"/>
                  </a:lnTo>
                  <a:lnTo>
                    <a:pt x="4359" y="1811"/>
                  </a:lnTo>
                  <a:lnTo>
                    <a:pt x="4359" y="1809"/>
                  </a:lnTo>
                  <a:lnTo>
                    <a:pt x="4357" y="1809"/>
                  </a:lnTo>
                  <a:lnTo>
                    <a:pt x="4357" y="1809"/>
                  </a:lnTo>
                  <a:lnTo>
                    <a:pt x="4357" y="1811"/>
                  </a:lnTo>
                  <a:lnTo>
                    <a:pt x="4357" y="1813"/>
                  </a:lnTo>
                  <a:lnTo>
                    <a:pt x="4355" y="1813"/>
                  </a:lnTo>
                  <a:lnTo>
                    <a:pt x="4355" y="1813"/>
                  </a:lnTo>
                  <a:lnTo>
                    <a:pt x="4353" y="1813"/>
                  </a:lnTo>
                  <a:lnTo>
                    <a:pt x="4353" y="1815"/>
                  </a:lnTo>
                  <a:lnTo>
                    <a:pt x="4353" y="1815"/>
                  </a:lnTo>
                  <a:lnTo>
                    <a:pt x="4351" y="1815"/>
                  </a:lnTo>
                  <a:lnTo>
                    <a:pt x="4351" y="1817"/>
                  </a:lnTo>
                  <a:lnTo>
                    <a:pt x="4351" y="1819"/>
                  </a:lnTo>
                  <a:lnTo>
                    <a:pt x="4351" y="1819"/>
                  </a:lnTo>
                  <a:lnTo>
                    <a:pt x="4353" y="1821"/>
                  </a:lnTo>
                  <a:lnTo>
                    <a:pt x="4353" y="1821"/>
                  </a:lnTo>
                  <a:lnTo>
                    <a:pt x="4353" y="1821"/>
                  </a:lnTo>
                  <a:lnTo>
                    <a:pt x="4353" y="1821"/>
                  </a:lnTo>
                  <a:lnTo>
                    <a:pt x="4351" y="1821"/>
                  </a:lnTo>
                  <a:lnTo>
                    <a:pt x="4349" y="1821"/>
                  </a:lnTo>
                  <a:lnTo>
                    <a:pt x="4349" y="1819"/>
                  </a:lnTo>
                  <a:lnTo>
                    <a:pt x="4349" y="1821"/>
                  </a:lnTo>
                  <a:lnTo>
                    <a:pt x="4349" y="1821"/>
                  </a:lnTo>
                  <a:lnTo>
                    <a:pt x="4349" y="1821"/>
                  </a:lnTo>
                  <a:lnTo>
                    <a:pt x="4347" y="1821"/>
                  </a:lnTo>
                  <a:lnTo>
                    <a:pt x="4347" y="1823"/>
                  </a:lnTo>
                  <a:lnTo>
                    <a:pt x="4347" y="1823"/>
                  </a:lnTo>
                  <a:lnTo>
                    <a:pt x="4347" y="1823"/>
                  </a:lnTo>
                  <a:lnTo>
                    <a:pt x="4347" y="1825"/>
                  </a:lnTo>
                  <a:lnTo>
                    <a:pt x="4349" y="1825"/>
                  </a:lnTo>
                  <a:lnTo>
                    <a:pt x="4349" y="1825"/>
                  </a:lnTo>
                  <a:lnTo>
                    <a:pt x="4349" y="1825"/>
                  </a:lnTo>
                  <a:lnTo>
                    <a:pt x="4349" y="1828"/>
                  </a:lnTo>
                  <a:lnTo>
                    <a:pt x="4349" y="1828"/>
                  </a:lnTo>
                  <a:lnTo>
                    <a:pt x="4349" y="1825"/>
                  </a:lnTo>
                  <a:lnTo>
                    <a:pt x="4345" y="1823"/>
                  </a:lnTo>
                  <a:lnTo>
                    <a:pt x="4345" y="1823"/>
                  </a:lnTo>
                  <a:lnTo>
                    <a:pt x="4345" y="1825"/>
                  </a:lnTo>
                  <a:lnTo>
                    <a:pt x="4345" y="1825"/>
                  </a:lnTo>
                  <a:lnTo>
                    <a:pt x="4343" y="1825"/>
                  </a:lnTo>
                  <a:lnTo>
                    <a:pt x="4343" y="1828"/>
                  </a:lnTo>
                  <a:lnTo>
                    <a:pt x="4341" y="1828"/>
                  </a:lnTo>
                  <a:lnTo>
                    <a:pt x="4341" y="1828"/>
                  </a:lnTo>
                  <a:lnTo>
                    <a:pt x="4341" y="1830"/>
                  </a:lnTo>
                  <a:lnTo>
                    <a:pt x="4341" y="1832"/>
                  </a:lnTo>
                  <a:lnTo>
                    <a:pt x="4341" y="1832"/>
                  </a:lnTo>
                  <a:lnTo>
                    <a:pt x="4341" y="1834"/>
                  </a:lnTo>
                  <a:lnTo>
                    <a:pt x="4343" y="1832"/>
                  </a:lnTo>
                  <a:lnTo>
                    <a:pt x="4343" y="1832"/>
                  </a:lnTo>
                  <a:lnTo>
                    <a:pt x="4343" y="1834"/>
                  </a:lnTo>
                  <a:lnTo>
                    <a:pt x="4343" y="1834"/>
                  </a:lnTo>
                  <a:lnTo>
                    <a:pt x="4343" y="1836"/>
                  </a:lnTo>
                  <a:lnTo>
                    <a:pt x="4343" y="1836"/>
                  </a:lnTo>
                  <a:lnTo>
                    <a:pt x="4341" y="1836"/>
                  </a:lnTo>
                  <a:lnTo>
                    <a:pt x="4341" y="1836"/>
                  </a:lnTo>
                  <a:lnTo>
                    <a:pt x="4341" y="1836"/>
                  </a:lnTo>
                  <a:lnTo>
                    <a:pt x="4341" y="1838"/>
                  </a:lnTo>
                  <a:lnTo>
                    <a:pt x="4341" y="1840"/>
                  </a:lnTo>
                  <a:lnTo>
                    <a:pt x="4341" y="1840"/>
                  </a:lnTo>
                  <a:lnTo>
                    <a:pt x="4343" y="1840"/>
                  </a:lnTo>
                  <a:lnTo>
                    <a:pt x="4345" y="1840"/>
                  </a:lnTo>
                  <a:lnTo>
                    <a:pt x="4345" y="1840"/>
                  </a:lnTo>
                  <a:lnTo>
                    <a:pt x="4345" y="1840"/>
                  </a:lnTo>
                  <a:lnTo>
                    <a:pt x="4345" y="1840"/>
                  </a:lnTo>
                  <a:lnTo>
                    <a:pt x="4343" y="1840"/>
                  </a:lnTo>
                  <a:lnTo>
                    <a:pt x="4341" y="1840"/>
                  </a:lnTo>
                  <a:lnTo>
                    <a:pt x="4339" y="1840"/>
                  </a:lnTo>
                  <a:lnTo>
                    <a:pt x="4337" y="1840"/>
                  </a:lnTo>
                  <a:lnTo>
                    <a:pt x="4337" y="1838"/>
                  </a:lnTo>
                  <a:lnTo>
                    <a:pt x="4334" y="1838"/>
                  </a:lnTo>
                  <a:lnTo>
                    <a:pt x="4334" y="1838"/>
                  </a:lnTo>
                  <a:lnTo>
                    <a:pt x="4332" y="1840"/>
                  </a:lnTo>
                  <a:lnTo>
                    <a:pt x="4332" y="1840"/>
                  </a:lnTo>
                  <a:lnTo>
                    <a:pt x="4330" y="1838"/>
                  </a:lnTo>
                  <a:lnTo>
                    <a:pt x="4328" y="1838"/>
                  </a:lnTo>
                  <a:lnTo>
                    <a:pt x="4328" y="1838"/>
                  </a:lnTo>
                  <a:lnTo>
                    <a:pt x="4328" y="1840"/>
                  </a:lnTo>
                  <a:lnTo>
                    <a:pt x="4328" y="1840"/>
                  </a:lnTo>
                  <a:lnTo>
                    <a:pt x="4328" y="1842"/>
                  </a:lnTo>
                  <a:lnTo>
                    <a:pt x="4328" y="1842"/>
                  </a:lnTo>
                  <a:lnTo>
                    <a:pt x="4326" y="1842"/>
                  </a:lnTo>
                  <a:lnTo>
                    <a:pt x="4328" y="1842"/>
                  </a:lnTo>
                  <a:lnTo>
                    <a:pt x="4328" y="1844"/>
                  </a:lnTo>
                  <a:lnTo>
                    <a:pt x="4330" y="1846"/>
                  </a:lnTo>
                  <a:lnTo>
                    <a:pt x="4330" y="1846"/>
                  </a:lnTo>
                  <a:lnTo>
                    <a:pt x="4330" y="1848"/>
                  </a:lnTo>
                  <a:lnTo>
                    <a:pt x="4332" y="1848"/>
                  </a:lnTo>
                  <a:lnTo>
                    <a:pt x="4332" y="1848"/>
                  </a:lnTo>
                  <a:lnTo>
                    <a:pt x="4332" y="1848"/>
                  </a:lnTo>
                  <a:lnTo>
                    <a:pt x="4332" y="1850"/>
                  </a:lnTo>
                  <a:lnTo>
                    <a:pt x="4332" y="1850"/>
                  </a:lnTo>
                  <a:lnTo>
                    <a:pt x="4330" y="1850"/>
                  </a:lnTo>
                  <a:lnTo>
                    <a:pt x="4330" y="1850"/>
                  </a:lnTo>
                  <a:lnTo>
                    <a:pt x="4328" y="1850"/>
                  </a:lnTo>
                  <a:lnTo>
                    <a:pt x="4328" y="1850"/>
                  </a:lnTo>
                  <a:lnTo>
                    <a:pt x="4328" y="1850"/>
                  </a:lnTo>
                  <a:lnTo>
                    <a:pt x="4328" y="1852"/>
                  </a:lnTo>
                  <a:lnTo>
                    <a:pt x="4328" y="1854"/>
                  </a:lnTo>
                  <a:lnTo>
                    <a:pt x="4328" y="1856"/>
                  </a:lnTo>
                  <a:lnTo>
                    <a:pt x="4328" y="1856"/>
                  </a:lnTo>
                  <a:lnTo>
                    <a:pt x="4328" y="1856"/>
                  </a:lnTo>
                  <a:lnTo>
                    <a:pt x="4326" y="1854"/>
                  </a:lnTo>
                  <a:lnTo>
                    <a:pt x="4326" y="1854"/>
                  </a:lnTo>
                  <a:lnTo>
                    <a:pt x="4324" y="1850"/>
                  </a:lnTo>
                  <a:lnTo>
                    <a:pt x="4322" y="1848"/>
                  </a:lnTo>
                  <a:lnTo>
                    <a:pt x="4320" y="1844"/>
                  </a:lnTo>
                  <a:lnTo>
                    <a:pt x="4320" y="1842"/>
                  </a:lnTo>
                  <a:lnTo>
                    <a:pt x="4318" y="1840"/>
                  </a:lnTo>
                  <a:lnTo>
                    <a:pt x="4318" y="1842"/>
                  </a:lnTo>
                  <a:lnTo>
                    <a:pt x="4316" y="1844"/>
                  </a:lnTo>
                  <a:lnTo>
                    <a:pt x="4316" y="1846"/>
                  </a:lnTo>
                  <a:lnTo>
                    <a:pt x="4314" y="1848"/>
                  </a:lnTo>
                  <a:lnTo>
                    <a:pt x="4314" y="1848"/>
                  </a:lnTo>
                  <a:lnTo>
                    <a:pt x="4312" y="1848"/>
                  </a:lnTo>
                  <a:lnTo>
                    <a:pt x="4310" y="1850"/>
                  </a:lnTo>
                  <a:lnTo>
                    <a:pt x="4310" y="1850"/>
                  </a:lnTo>
                  <a:lnTo>
                    <a:pt x="4308" y="1854"/>
                  </a:lnTo>
                  <a:lnTo>
                    <a:pt x="4308" y="1854"/>
                  </a:lnTo>
                  <a:lnTo>
                    <a:pt x="4308" y="1856"/>
                  </a:lnTo>
                  <a:lnTo>
                    <a:pt x="4308" y="1861"/>
                  </a:lnTo>
                  <a:lnTo>
                    <a:pt x="4310" y="1863"/>
                  </a:lnTo>
                  <a:lnTo>
                    <a:pt x="4310" y="1863"/>
                  </a:lnTo>
                  <a:lnTo>
                    <a:pt x="4312" y="1865"/>
                  </a:lnTo>
                  <a:lnTo>
                    <a:pt x="4310" y="1865"/>
                  </a:lnTo>
                  <a:lnTo>
                    <a:pt x="4310" y="1867"/>
                  </a:lnTo>
                  <a:lnTo>
                    <a:pt x="4306" y="1869"/>
                  </a:lnTo>
                  <a:lnTo>
                    <a:pt x="4304" y="1871"/>
                  </a:lnTo>
                  <a:lnTo>
                    <a:pt x="4304" y="1871"/>
                  </a:lnTo>
                  <a:lnTo>
                    <a:pt x="4301" y="1873"/>
                  </a:lnTo>
                  <a:lnTo>
                    <a:pt x="4301" y="1875"/>
                  </a:lnTo>
                  <a:lnTo>
                    <a:pt x="4299" y="1877"/>
                  </a:lnTo>
                  <a:lnTo>
                    <a:pt x="4299" y="1879"/>
                  </a:lnTo>
                  <a:lnTo>
                    <a:pt x="4295" y="1883"/>
                  </a:lnTo>
                  <a:lnTo>
                    <a:pt x="4293" y="1885"/>
                  </a:lnTo>
                  <a:lnTo>
                    <a:pt x="4291" y="1887"/>
                  </a:lnTo>
                  <a:lnTo>
                    <a:pt x="4289" y="1887"/>
                  </a:lnTo>
                  <a:lnTo>
                    <a:pt x="4283" y="1892"/>
                  </a:lnTo>
                  <a:lnTo>
                    <a:pt x="4281" y="1892"/>
                  </a:lnTo>
                  <a:lnTo>
                    <a:pt x="4275" y="1892"/>
                  </a:lnTo>
                  <a:lnTo>
                    <a:pt x="4271" y="1894"/>
                  </a:lnTo>
                  <a:lnTo>
                    <a:pt x="4268" y="1894"/>
                  </a:lnTo>
                  <a:lnTo>
                    <a:pt x="4264" y="1894"/>
                  </a:lnTo>
                  <a:lnTo>
                    <a:pt x="4260" y="1898"/>
                  </a:lnTo>
                  <a:lnTo>
                    <a:pt x="4256" y="1898"/>
                  </a:lnTo>
                  <a:lnTo>
                    <a:pt x="4252" y="1898"/>
                  </a:lnTo>
                  <a:lnTo>
                    <a:pt x="4250" y="1900"/>
                  </a:lnTo>
                  <a:lnTo>
                    <a:pt x="4246" y="1902"/>
                  </a:lnTo>
                  <a:lnTo>
                    <a:pt x="4244" y="1902"/>
                  </a:lnTo>
                  <a:lnTo>
                    <a:pt x="4240" y="1904"/>
                  </a:lnTo>
                  <a:lnTo>
                    <a:pt x="4240" y="1904"/>
                  </a:lnTo>
                  <a:lnTo>
                    <a:pt x="4235" y="1902"/>
                  </a:lnTo>
                  <a:lnTo>
                    <a:pt x="4233" y="1902"/>
                  </a:lnTo>
                  <a:lnTo>
                    <a:pt x="4231" y="1902"/>
                  </a:lnTo>
                  <a:lnTo>
                    <a:pt x="4229" y="1902"/>
                  </a:lnTo>
                  <a:lnTo>
                    <a:pt x="4229" y="1904"/>
                  </a:lnTo>
                  <a:lnTo>
                    <a:pt x="4221" y="1908"/>
                  </a:lnTo>
                  <a:lnTo>
                    <a:pt x="4219" y="1910"/>
                  </a:lnTo>
                  <a:lnTo>
                    <a:pt x="4217" y="1912"/>
                  </a:lnTo>
                  <a:lnTo>
                    <a:pt x="4215" y="1912"/>
                  </a:lnTo>
                  <a:lnTo>
                    <a:pt x="4213" y="1914"/>
                  </a:lnTo>
                  <a:lnTo>
                    <a:pt x="4209" y="1916"/>
                  </a:lnTo>
                  <a:lnTo>
                    <a:pt x="4205" y="1918"/>
                  </a:lnTo>
                  <a:lnTo>
                    <a:pt x="4202" y="1920"/>
                  </a:lnTo>
                  <a:lnTo>
                    <a:pt x="4200" y="1923"/>
                  </a:lnTo>
                  <a:lnTo>
                    <a:pt x="4198" y="1927"/>
                  </a:lnTo>
                  <a:lnTo>
                    <a:pt x="4196" y="1927"/>
                  </a:lnTo>
                  <a:lnTo>
                    <a:pt x="4196" y="1929"/>
                  </a:lnTo>
                  <a:lnTo>
                    <a:pt x="4194" y="1929"/>
                  </a:lnTo>
                  <a:lnTo>
                    <a:pt x="4194" y="1929"/>
                  </a:lnTo>
                  <a:lnTo>
                    <a:pt x="4194" y="1927"/>
                  </a:lnTo>
                  <a:lnTo>
                    <a:pt x="4192" y="1925"/>
                  </a:lnTo>
                  <a:lnTo>
                    <a:pt x="4194" y="1920"/>
                  </a:lnTo>
                  <a:lnTo>
                    <a:pt x="4194" y="1920"/>
                  </a:lnTo>
                  <a:lnTo>
                    <a:pt x="4192" y="1920"/>
                  </a:lnTo>
                  <a:lnTo>
                    <a:pt x="4190" y="1923"/>
                  </a:lnTo>
                  <a:lnTo>
                    <a:pt x="4188" y="1927"/>
                  </a:lnTo>
                  <a:lnTo>
                    <a:pt x="4188" y="1933"/>
                  </a:lnTo>
                  <a:lnTo>
                    <a:pt x="4188" y="1935"/>
                  </a:lnTo>
                  <a:lnTo>
                    <a:pt x="4188" y="1937"/>
                  </a:lnTo>
                  <a:lnTo>
                    <a:pt x="4188" y="1937"/>
                  </a:lnTo>
                  <a:lnTo>
                    <a:pt x="4188" y="1941"/>
                  </a:lnTo>
                  <a:lnTo>
                    <a:pt x="4188" y="1941"/>
                  </a:lnTo>
                  <a:lnTo>
                    <a:pt x="4188" y="1943"/>
                  </a:lnTo>
                  <a:lnTo>
                    <a:pt x="4186" y="1949"/>
                  </a:lnTo>
                  <a:lnTo>
                    <a:pt x="4184" y="1951"/>
                  </a:lnTo>
                  <a:lnTo>
                    <a:pt x="4184" y="1953"/>
                  </a:lnTo>
                  <a:lnTo>
                    <a:pt x="4184" y="1956"/>
                  </a:lnTo>
                  <a:lnTo>
                    <a:pt x="4184" y="1960"/>
                  </a:lnTo>
                  <a:lnTo>
                    <a:pt x="4184" y="1962"/>
                  </a:lnTo>
                  <a:lnTo>
                    <a:pt x="4186" y="1962"/>
                  </a:lnTo>
                  <a:lnTo>
                    <a:pt x="4186" y="1968"/>
                  </a:lnTo>
                  <a:lnTo>
                    <a:pt x="4188" y="1970"/>
                  </a:lnTo>
                  <a:lnTo>
                    <a:pt x="4192" y="1976"/>
                  </a:lnTo>
                  <a:lnTo>
                    <a:pt x="4194" y="1980"/>
                  </a:lnTo>
                  <a:lnTo>
                    <a:pt x="4194" y="1982"/>
                  </a:lnTo>
                  <a:lnTo>
                    <a:pt x="4194" y="1984"/>
                  </a:lnTo>
                  <a:lnTo>
                    <a:pt x="4194" y="1987"/>
                  </a:lnTo>
                  <a:lnTo>
                    <a:pt x="4194" y="1987"/>
                  </a:lnTo>
                  <a:lnTo>
                    <a:pt x="4192" y="1989"/>
                  </a:lnTo>
                  <a:lnTo>
                    <a:pt x="4192" y="1987"/>
                  </a:lnTo>
                  <a:lnTo>
                    <a:pt x="4190" y="1987"/>
                  </a:lnTo>
                  <a:lnTo>
                    <a:pt x="4190" y="1982"/>
                  </a:lnTo>
                  <a:lnTo>
                    <a:pt x="4190" y="1982"/>
                  </a:lnTo>
                  <a:lnTo>
                    <a:pt x="4188" y="1984"/>
                  </a:lnTo>
                  <a:lnTo>
                    <a:pt x="4188" y="1984"/>
                  </a:lnTo>
                  <a:lnTo>
                    <a:pt x="4188" y="1984"/>
                  </a:lnTo>
                  <a:lnTo>
                    <a:pt x="4188" y="1984"/>
                  </a:lnTo>
                  <a:lnTo>
                    <a:pt x="4188" y="1982"/>
                  </a:lnTo>
                  <a:lnTo>
                    <a:pt x="4188" y="1982"/>
                  </a:lnTo>
                  <a:lnTo>
                    <a:pt x="4188" y="1980"/>
                  </a:lnTo>
                  <a:lnTo>
                    <a:pt x="4186" y="1978"/>
                  </a:lnTo>
                  <a:lnTo>
                    <a:pt x="4186" y="1976"/>
                  </a:lnTo>
                  <a:lnTo>
                    <a:pt x="4184" y="1976"/>
                  </a:lnTo>
                  <a:lnTo>
                    <a:pt x="4184" y="1976"/>
                  </a:lnTo>
                  <a:lnTo>
                    <a:pt x="4184" y="1978"/>
                  </a:lnTo>
                  <a:lnTo>
                    <a:pt x="4184" y="1980"/>
                  </a:lnTo>
                  <a:lnTo>
                    <a:pt x="4186" y="1984"/>
                  </a:lnTo>
                  <a:lnTo>
                    <a:pt x="4188" y="1987"/>
                  </a:lnTo>
                  <a:lnTo>
                    <a:pt x="4188" y="1987"/>
                  </a:lnTo>
                  <a:lnTo>
                    <a:pt x="4190" y="1987"/>
                  </a:lnTo>
                  <a:lnTo>
                    <a:pt x="4190" y="1991"/>
                  </a:lnTo>
                  <a:lnTo>
                    <a:pt x="4188" y="1991"/>
                  </a:lnTo>
                  <a:lnTo>
                    <a:pt x="4188" y="1991"/>
                  </a:lnTo>
                  <a:lnTo>
                    <a:pt x="4186" y="1991"/>
                  </a:lnTo>
                  <a:lnTo>
                    <a:pt x="4186" y="1989"/>
                  </a:lnTo>
                  <a:lnTo>
                    <a:pt x="4184" y="1984"/>
                  </a:lnTo>
                  <a:lnTo>
                    <a:pt x="4184" y="1984"/>
                  </a:lnTo>
                  <a:lnTo>
                    <a:pt x="4182" y="1984"/>
                  </a:lnTo>
                  <a:lnTo>
                    <a:pt x="4182" y="1984"/>
                  </a:lnTo>
                  <a:lnTo>
                    <a:pt x="4182" y="1987"/>
                  </a:lnTo>
                  <a:lnTo>
                    <a:pt x="4182" y="1987"/>
                  </a:lnTo>
                  <a:lnTo>
                    <a:pt x="4182" y="1987"/>
                  </a:lnTo>
                  <a:lnTo>
                    <a:pt x="4182" y="1984"/>
                  </a:lnTo>
                  <a:lnTo>
                    <a:pt x="4180" y="1984"/>
                  </a:lnTo>
                  <a:lnTo>
                    <a:pt x="4180" y="1984"/>
                  </a:lnTo>
                  <a:lnTo>
                    <a:pt x="4180" y="1987"/>
                  </a:lnTo>
                  <a:lnTo>
                    <a:pt x="4182" y="1989"/>
                  </a:lnTo>
                  <a:lnTo>
                    <a:pt x="4188" y="1995"/>
                  </a:lnTo>
                  <a:lnTo>
                    <a:pt x="4192" y="2003"/>
                  </a:lnTo>
                  <a:lnTo>
                    <a:pt x="4192" y="2005"/>
                  </a:lnTo>
                  <a:lnTo>
                    <a:pt x="4194" y="2013"/>
                  </a:lnTo>
                  <a:lnTo>
                    <a:pt x="4194" y="2013"/>
                  </a:lnTo>
                  <a:lnTo>
                    <a:pt x="4196" y="2017"/>
                  </a:lnTo>
                  <a:lnTo>
                    <a:pt x="4198" y="2022"/>
                  </a:lnTo>
                  <a:lnTo>
                    <a:pt x="4200" y="2024"/>
                  </a:lnTo>
                  <a:lnTo>
                    <a:pt x="4200" y="2024"/>
                  </a:lnTo>
                  <a:lnTo>
                    <a:pt x="4200" y="2026"/>
                  </a:lnTo>
                  <a:lnTo>
                    <a:pt x="4205" y="2030"/>
                  </a:lnTo>
                  <a:lnTo>
                    <a:pt x="4205" y="2034"/>
                  </a:lnTo>
                  <a:lnTo>
                    <a:pt x="4205" y="2036"/>
                  </a:lnTo>
                  <a:lnTo>
                    <a:pt x="4205" y="2040"/>
                  </a:lnTo>
                  <a:lnTo>
                    <a:pt x="4205" y="2044"/>
                  </a:lnTo>
                  <a:lnTo>
                    <a:pt x="4207" y="2046"/>
                  </a:lnTo>
                  <a:lnTo>
                    <a:pt x="4207" y="2053"/>
                  </a:lnTo>
                  <a:lnTo>
                    <a:pt x="4209" y="2057"/>
                  </a:lnTo>
                  <a:lnTo>
                    <a:pt x="4211" y="2059"/>
                  </a:lnTo>
                  <a:lnTo>
                    <a:pt x="4213" y="2063"/>
                  </a:lnTo>
                  <a:lnTo>
                    <a:pt x="4215" y="2069"/>
                  </a:lnTo>
                  <a:lnTo>
                    <a:pt x="4217" y="2073"/>
                  </a:lnTo>
                  <a:lnTo>
                    <a:pt x="4217" y="2082"/>
                  </a:lnTo>
                  <a:lnTo>
                    <a:pt x="4217" y="2084"/>
                  </a:lnTo>
                  <a:lnTo>
                    <a:pt x="4215" y="2084"/>
                  </a:lnTo>
                  <a:lnTo>
                    <a:pt x="4215" y="2086"/>
                  </a:lnTo>
                  <a:lnTo>
                    <a:pt x="4215" y="2090"/>
                  </a:lnTo>
                  <a:lnTo>
                    <a:pt x="4215" y="2094"/>
                  </a:lnTo>
                  <a:lnTo>
                    <a:pt x="4215" y="2096"/>
                  </a:lnTo>
                  <a:lnTo>
                    <a:pt x="4213" y="2098"/>
                  </a:lnTo>
                  <a:lnTo>
                    <a:pt x="4211" y="2100"/>
                  </a:lnTo>
                  <a:lnTo>
                    <a:pt x="4209" y="2100"/>
                  </a:lnTo>
                  <a:lnTo>
                    <a:pt x="4207" y="2100"/>
                  </a:lnTo>
                  <a:lnTo>
                    <a:pt x="4207" y="2098"/>
                  </a:lnTo>
                  <a:lnTo>
                    <a:pt x="4207" y="2104"/>
                  </a:lnTo>
                  <a:lnTo>
                    <a:pt x="4205" y="2106"/>
                  </a:lnTo>
                  <a:lnTo>
                    <a:pt x="4207" y="2108"/>
                  </a:lnTo>
                  <a:lnTo>
                    <a:pt x="4207" y="2110"/>
                  </a:lnTo>
                  <a:lnTo>
                    <a:pt x="4209" y="2112"/>
                  </a:lnTo>
                  <a:lnTo>
                    <a:pt x="4209" y="2110"/>
                  </a:lnTo>
                  <a:lnTo>
                    <a:pt x="4211" y="2110"/>
                  </a:lnTo>
                  <a:lnTo>
                    <a:pt x="4215" y="2112"/>
                  </a:lnTo>
                  <a:lnTo>
                    <a:pt x="4217" y="2115"/>
                  </a:lnTo>
                  <a:lnTo>
                    <a:pt x="4219" y="2119"/>
                  </a:lnTo>
                  <a:lnTo>
                    <a:pt x="4223" y="2121"/>
                  </a:lnTo>
                  <a:lnTo>
                    <a:pt x="4227" y="2123"/>
                  </a:lnTo>
                  <a:lnTo>
                    <a:pt x="4233" y="2123"/>
                  </a:lnTo>
                  <a:lnTo>
                    <a:pt x="4235" y="2123"/>
                  </a:lnTo>
                  <a:lnTo>
                    <a:pt x="4244" y="2125"/>
                  </a:lnTo>
                  <a:lnTo>
                    <a:pt x="4244" y="2123"/>
                  </a:lnTo>
                  <a:lnTo>
                    <a:pt x="4246" y="2123"/>
                  </a:lnTo>
                  <a:lnTo>
                    <a:pt x="4248" y="2123"/>
                  </a:lnTo>
                  <a:lnTo>
                    <a:pt x="4250" y="2123"/>
                  </a:lnTo>
                  <a:lnTo>
                    <a:pt x="4256" y="2119"/>
                  </a:lnTo>
                  <a:lnTo>
                    <a:pt x="4262" y="2115"/>
                  </a:lnTo>
                  <a:lnTo>
                    <a:pt x="4264" y="2115"/>
                  </a:lnTo>
                  <a:lnTo>
                    <a:pt x="4266" y="2115"/>
                  </a:lnTo>
                  <a:lnTo>
                    <a:pt x="4268" y="2112"/>
                  </a:lnTo>
                  <a:lnTo>
                    <a:pt x="4273" y="2108"/>
                  </a:lnTo>
                  <a:lnTo>
                    <a:pt x="4273" y="2106"/>
                  </a:lnTo>
                  <a:lnTo>
                    <a:pt x="4275" y="2106"/>
                  </a:lnTo>
                  <a:lnTo>
                    <a:pt x="4281" y="2106"/>
                  </a:lnTo>
                  <a:lnTo>
                    <a:pt x="4283" y="2106"/>
                  </a:lnTo>
                  <a:lnTo>
                    <a:pt x="4285" y="2104"/>
                  </a:lnTo>
                  <a:lnTo>
                    <a:pt x="4289" y="2104"/>
                  </a:lnTo>
                  <a:lnTo>
                    <a:pt x="4297" y="2104"/>
                  </a:lnTo>
                  <a:lnTo>
                    <a:pt x="4301" y="2104"/>
                  </a:lnTo>
                  <a:lnTo>
                    <a:pt x="4306" y="2104"/>
                  </a:lnTo>
                  <a:lnTo>
                    <a:pt x="4306" y="2104"/>
                  </a:lnTo>
                  <a:lnTo>
                    <a:pt x="4308" y="2106"/>
                  </a:lnTo>
                  <a:lnTo>
                    <a:pt x="4316" y="2104"/>
                  </a:lnTo>
                  <a:lnTo>
                    <a:pt x="4320" y="2104"/>
                  </a:lnTo>
                  <a:lnTo>
                    <a:pt x="4320" y="2104"/>
                  </a:lnTo>
                  <a:lnTo>
                    <a:pt x="4322" y="2106"/>
                  </a:lnTo>
                  <a:lnTo>
                    <a:pt x="4326" y="2104"/>
                  </a:lnTo>
                  <a:lnTo>
                    <a:pt x="4326" y="2104"/>
                  </a:lnTo>
                  <a:lnTo>
                    <a:pt x="4328" y="2104"/>
                  </a:lnTo>
                  <a:lnTo>
                    <a:pt x="4332" y="2100"/>
                  </a:lnTo>
                  <a:lnTo>
                    <a:pt x="4334" y="2098"/>
                  </a:lnTo>
                  <a:lnTo>
                    <a:pt x="4337" y="2092"/>
                  </a:lnTo>
                  <a:lnTo>
                    <a:pt x="4339" y="2090"/>
                  </a:lnTo>
                  <a:lnTo>
                    <a:pt x="4339" y="2090"/>
                  </a:lnTo>
                  <a:lnTo>
                    <a:pt x="4343" y="2090"/>
                  </a:lnTo>
                  <a:lnTo>
                    <a:pt x="4345" y="2088"/>
                  </a:lnTo>
                  <a:lnTo>
                    <a:pt x="4353" y="2084"/>
                  </a:lnTo>
                  <a:lnTo>
                    <a:pt x="4355" y="2084"/>
                  </a:lnTo>
                  <a:lnTo>
                    <a:pt x="4357" y="2084"/>
                  </a:lnTo>
                  <a:lnTo>
                    <a:pt x="4361" y="2079"/>
                  </a:lnTo>
                  <a:lnTo>
                    <a:pt x="4365" y="2079"/>
                  </a:lnTo>
                  <a:lnTo>
                    <a:pt x="4374" y="2079"/>
                  </a:lnTo>
                  <a:lnTo>
                    <a:pt x="4378" y="2079"/>
                  </a:lnTo>
                  <a:lnTo>
                    <a:pt x="4382" y="2079"/>
                  </a:lnTo>
                  <a:lnTo>
                    <a:pt x="4386" y="2077"/>
                  </a:lnTo>
                  <a:lnTo>
                    <a:pt x="4392" y="2075"/>
                  </a:lnTo>
                  <a:lnTo>
                    <a:pt x="4398" y="2073"/>
                  </a:lnTo>
                  <a:lnTo>
                    <a:pt x="4405" y="2069"/>
                  </a:lnTo>
                  <a:lnTo>
                    <a:pt x="4409" y="2069"/>
                  </a:lnTo>
                  <a:lnTo>
                    <a:pt x="4413" y="2069"/>
                  </a:lnTo>
                  <a:lnTo>
                    <a:pt x="4421" y="2069"/>
                  </a:lnTo>
                  <a:lnTo>
                    <a:pt x="4431" y="2069"/>
                  </a:lnTo>
                  <a:lnTo>
                    <a:pt x="4433" y="2067"/>
                  </a:lnTo>
                  <a:lnTo>
                    <a:pt x="4436" y="2067"/>
                  </a:lnTo>
                  <a:lnTo>
                    <a:pt x="4436" y="2067"/>
                  </a:lnTo>
                  <a:lnTo>
                    <a:pt x="4438" y="2067"/>
                  </a:lnTo>
                  <a:lnTo>
                    <a:pt x="4440" y="2067"/>
                  </a:lnTo>
                  <a:lnTo>
                    <a:pt x="4444" y="2069"/>
                  </a:lnTo>
                  <a:lnTo>
                    <a:pt x="4452" y="2075"/>
                  </a:lnTo>
                  <a:lnTo>
                    <a:pt x="4452" y="2075"/>
                  </a:lnTo>
                  <a:lnTo>
                    <a:pt x="4458" y="2073"/>
                  </a:lnTo>
                  <a:lnTo>
                    <a:pt x="4458" y="2073"/>
                  </a:lnTo>
                  <a:lnTo>
                    <a:pt x="4466" y="2077"/>
                  </a:lnTo>
                  <a:lnTo>
                    <a:pt x="4468" y="2077"/>
                  </a:lnTo>
                  <a:lnTo>
                    <a:pt x="4471" y="2077"/>
                  </a:lnTo>
                  <a:lnTo>
                    <a:pt x="4473" y="2077"/>
                  </a:lnTo>
                  <a:lnTo>
                    <a:pt x="4475" y="2079"/>
                  </a:lnTo>
                  <a:lnTo>
                    <a:pt x="4477" y="2082"/>
                  </a:lnTo>
                  <a:lnTo>
                    <a:pt x="4481" y="2084"/>
                  </a:lnTo>
                  <a:lnTo>
                    <a:pt x="4481" y="2086"/>
                  </a:lnTo>
                  <a:lnTo>
                    <a:pt x="4481" y="2086"/>
                  </a:lnTo>
                  <a:lnTo>
                    <a:pt x="4479" y="2086"/>
                  </a:lnTo>
                  <a:lnTo>
                    <a:pt x="4479" y="2086"/>
                  </a:lnTo>
                  <a:lnTo>
                    <a:pt x="4479" y="2090"/>
                  </a:lnTo>
                  <a:lnTo>
                    <a:pt x="4481" y="2094"/>
                  </a:lnTo>
                  <a:lnTo>
                    <a:pt x="4485" y="2094"/>
                  </a:lnTo>
                  <a:lnTo>
                    <a:pt x="4487" y="2094"/>
                  </a:lnTo>
                  <a:lnTo>
                    <a:pt x="4489" y="2096"/>
                  </a:lnTo>
                  <a:lnTo>
                    <a:pt x="4489" y="2098"/>
                  </a:lnTo>
                  <a:lnTo>
                    <a:pt x="4489" y="2100"/>
                  </a:lnTo>
                  <a:lnTo>
                    <a:pt x="4491" y="2102"/>
                  </a:lnTo>
                  <a:lnTo>
                    <a:pt x="4493" y="2104"/>
                  </a:lnTo>
                  <a:lnTo>
                    <a:pt x="4493" y="2106"/>
                  </a:lnTo>
                  <a:lnTo>
                    <a:pt x="4495" y="2108"/>
                  </a:lnTo>
                  <a:lnTo>
                    <a:pt x="4495" y="2110"/>
                  </a:lnTo>
                  <a:lnTo>
                    <a:pt x="4497" y="2112"/>
                  </a:lnTo>
                  <a:lnTo>
                    <a:pt x="4497" y="2117"/>
                  </a:lnTo>
                  <a:lnTo>
                    <a:pt x="4497" y="2117"/>
                  </a:lnTo>
                  <a:lnTo>
                    <a:pt x="4497" y="2117"/>
                  </a:lnTo>
                  <a:lnTo>
                    <a:pt x="4495" y="2115"/>
                  </a:lnTo>
                  <a:lnTo>
                    <a:pt x="4493" y="2115"/>
                  </a:lnTo>
                  <a:lnTo>
                    <a:pt x="4493" y="2115"/>
                  </a:lnTo>
                  <a:lnTo>
                    <a:pt x="4493" y="2115"/>
                  </a:lnTo>
                  <a:lnTo>
                    <a:pt x="4493" y="2117"/>
                  </a:lnTo>
                  <a:lnTo>
                    <a:pt x="4493" y="2115"/>
                  </a:lnTo>
                  <a:lnTo>
                    <a:pt x="4495" y="2115"/>
                  </a:lnTo>
                  <a:lnTo>
                    <a:pt x="4495" y="2117"/>
                  </a:lnTo>
                  <a:lnTo>
                    <a:pt x="4497" y="2119"/>
                  </a:lnTo>
                  <a:lnTo>
                    <a:pt x="4497" y="2119"/>
                  </a:lnTo>
                  <a:lnTo>
                    <a:pt x="4499" y="2121"/>
                  </a:lnTo>
                  <a:lnTo>
                    <a:pt x="4501" y="2121"/>
                  </a:lnTo>
                  <a:lnTo>
                    <a:pt x="4501" y="2121"/>
                  </a:lnTo>
                  <a:lnTo>
                    <a:pt x="4504" y="2121"/>
                  </a:lnTo>
                  <a:lnTo>
                    <a:pt x="4506" y="2123"/>
                  </a:lnTo>
                  <a:lnTo>
                    <a:pt x="4506" y="2121"/>
                  </a:lnTo>
                  <a:lnTo>
                    <a:pt x="4506" y="2119"/>
                  </a:lnTo>
                  <a:lnTo>
                    <a:pt x="4504" y="2119"/>
                  </a:lnTo>
                  <a:lnTo>
                    <a:pt x="4504" y="2117"/>
                  </a:lnTo>
                  <a:lnTo>
                    <a:pt x="4506" y="2117"/>
                  </a:lnTo>
                  <a:lnTo>
                    <a:pt x="4506" y="2115"/>
                  </a:lnTo>
                  <a:lnTo>
                    <a:pt x="4508" y="2112"/>
                  </a:lnTo>
                  <a:lnTo>
                    <a:pt x="4512" y="2106"/>
                  </a:lnTo>
                  <a:lnTo>
                    <a:pt x="4514" y="2106"/>
                  </a:lnTo>
                  <a:lnTo>
                    <a:pt x="4514" y="2104"/>
                  </a:lnTo>
                  <a:lnTo>
                    <a:pt x="4516" y="2104"/>
                  </a:lnTo>
                  <a:lnTo>
                    <a:pt x="4518" y="2102"/>
                  </a:lnTo>
                  <a:lnTo>
                    <a:pt x="4520" y="2102"/>
                  </a:lnTo>
                  <a:lnTo>
                    <a:pt x="4522" y="2102"/>
                  </a:lnTo>
                  <a:lnTo>
                    <a:pt x="4522" y="2100"/>
                  </a:lnTo>
                  <a:lnTo>
                    <a:pt x="4524" y="2098"/>
                  </a:lnTo>
                  <a:lnTo>
                    <a:pt x="4526" y="2094"/>
                  </a:lnTo>
                  <a:lnTo>
                    <a:pt x="4526" y="2092"/>
                  </a:lnTo>
                  <a:lnTo>
                    <a:pt x="4528" y="2090"/>
                  </a:lnTo>
                  <a:lnTo>
                    <a:pt x="4530" y="2088"/>
                  </a:lnTo>
                  <a:lnTo>
                    <a:pt x="4530" y="2086"/>
                  </a:lnTo>
                  <a:lnTo>
                    <a:pt x="4530" y="2084"/>
                  </a:lnTo>
                  <a:lnTo>
                    <a:pt x="4532" y="2086"/>
                  </a:lnTo>
                  <a:lnTo>
                    <a:pt x="4532" y="2088"/>
                  </a:lnTo>
                  <a:lnTo>
                    <a:pt x="4534" y="2092"/>
                  </a:lnTo>
                  <a:lnTo>
                    <a:pt x="4532" y="2094"/>
                  </a:lnTo>
                  <a:lnTo>
                    <a:pt x="4532" y="2094"/>
                  </a:lnTo>
                  <a:lnTo>
                    <a:pt x="4532" y="2096"/>
                  </a:lnTo>
                  <a:lnTo>
                    <a:pt x="4532" y="2098"/>
                  </a:lnTo>
                  <a:lnTo>
                    <a:pt x="4532" y="2100"/>
                  </a:lnTo>
                  <a:lnTo>
                    <a:pt x="4530" y="2102"/>
                  </a:lnTo>
                  <a:lnTo>
                    <a:pt x="4528" y="2104"/>
                  </a:lnTo>
                  <a:lnTo>
                    <a:pt x="4526" y="2108"/>
                  </a:lnTo>
                  <a:lnTo>
                    <a:pt x="4526" y="2110"/>
                  </a:lnTo>
                  <a:lnTo>
                    <a:pt x="4526" y="2112"/>
                  </a:lnTo>
                  <a:lnTo>
                    <a:pt x="4526" y="2115"/>
                  </a:lnTo>
                  <a:lnTo>
                    <a:pt x="4526" y="2117"/>
                  </a:lnTo>
                  <a:lnTo>
                    <a:pt x="4526" y="2119"/>
                  </a:lnTo>
                  <a:lnTo>
                    <a:pt x="4524" y="2121"/>
                  </a:lnTo>
                  <a:lnTo>
                    <a:pt x="4524" y="2121"/>
                  </a:lnTo>
                  <a:lnTo>
                    <a:pt x="4524" y="2121"/>
                  </a:lnTo>
                  <a:lnTo>
                    <a:pt x="4522" y="2121"/>
                  </a:lnTo>
                  <a:lnTo>
                    <a:pt x="4520" y="2121"/>
                  </a:lnTo>
                  <a:lnTo>
                    <a:pt x="4518" y="2127"/>
                  </a:lnTo>
                  <a:lnTo>
                    <a:pt x="4520" y="2127"/>
                  </a:lnTo>
                  <a:lnTo>
                    <a:pt x="4520" y="2127"/>
                  </a:lnTo>
                  <a:lnTo>
                    <a:pt x="4522" y="2127"/>
                  </a:lnTo>
                  <a:lnTo>
                    <a:pt x="4524" y="2125"/>
                  </a:lnTo>
                  <a:lnTo>
                    <a:pt x="4526" y="2125"/>
                  </a:lnTo>
                  <a:lnTo>
                    <a:pt x="4528" y="2125"/>
                  </a:lnTo>
                  <a:lnTo>
                    <a:pt x="4530" y="2125"/>
                  </a:lnTo>
                  <a:lnTo>
                    <a:pt x="4532" y="2119"/>
                  </a:lnTo>
                  <a:lnTo>
                    <a:pt x="4532" y="2115"/>
                  </a:lnTo>
                  <a:lnTo>
                    <a:pt x="4534" y="2112"/>
                  </a:lnTo>
                  <a:lnTo>
                    <a:pt x="4534" y="2110"/>
                  </a:lnTo>
                  <a:lnTo>
                    <a:pt x="4534" y="2108"/>
                  </a:lnTo>
                  <a:lnTo>
                    <a:pt x="4537" y="2110"/>
                  </a:lnTo>
                  <a:lnTo>
                    <a:pt x="4539" y="2112"/>
                  </a:lnTo>
                  <a:lnTo>
                    <a:pt x="4541" y="2117"/>
                  </a:lnTo>
                  <a:lnTo>
                    <a:pt x="4541" y="2119"/>
                  </a:lnTo>
                  <a:lnTo>
                    <a:pt x="4541" y="2123"/>
                  </a:lnTo>
                  <a:lnTo>
                    <a:pt x="4539" y="2127"/>
                  </a:lnTo>
                  <a:lnTo>
                    <a:pt x="4539" y="2129"/>
                  </a:lnTo>
                  <a:lnTo>
                    <a:pt x="4537" y="2131"/>
                  </a:lnTo>
                  <a:lnTo>
                    <a:pt x="4537" y="2133"/>
                  </a:lnTo>
                  <a:lnTo>
                    <a:pt x="4539" y="2133"/>
                  </a:lnTo>
                  <a:lnTo>
                    <a:pt x="4541" y="2133"/>
                  </a:lnTo>
                  <a:lnTo>
                    <a:pt x="4545" y="2131"/>
                  </a:lnTo>
                  <a:lnTo>
                    <a:pt x="4545" y="2131"/>
                  </a:lnTo>
                  <a:lnTo>
                    <a:pt x="4547" y="2131"/>
                  </a:lnTo>
                  <a:lnTo>
                    <a:pt x="4547" y="2131"/>
                  </a:lnTo>
                  <a:lnTo>
                    <a:pt x="4549" y="2129"/>
                  </a:lnTo>
                  <a:lnTo>
                    <a:pt x="4549" y="2129"/>
                  </a:lnTo>
                  <a:lnTo>
                    <a:pt x="4551" y="2127"/>
                  </a:lnTo>
                  <a:lnTo>
                    <a:pt x="4553" y="2129"/>
                  </a:lnTo>
                  <a:lnTo>
                    <a:pt x="4553" y="2129"/>
                  </a:lnTo>
                  <a:lnTo>
                    <a:pt x="4553" y="2129"/>
                  </a:lnTo>
                  <a:lnTo>
                    <a:pt x="4553" y="2131"/>
                  </a:lnTo>
                  <a:lnTo>
                    <a:pt x="4553" y="2133"/>
                  </a:lnTo>
                  <a:lnTo>
                    <a:pt x="4551" y="2131"/>
                  </a:lnTo>
                  <a:lnTo>
                    <a:pt x="4551" y="2131"/>
                  </a:lnTo>
                  <a:lnTo>
                    <a:pt x="4549" y="2131"/>
                  </a:lnTo>
                  <a:lnTo>
                    <a:pt x="4549" y="2131"/>
                  </a:lnTo>
                  <a:lnTo>
                    <a:pt x="4547" y="2131"/>
                  </a:lnTo>
                  <a:lnTo>
                    <a:pt x="4549" y="2133"/>
                  </a:lnTo>
                  <a:lnTo>
                    <a:pt x="4549" y="2133"/>
                  </a:lnTo>
                  <a:lnTo>
                    <a:pt x="4551" y="2135"/>
                  </a:lnTo>
                  <a:lnTo>
                    <a:pt x="4555" y="2139"/>
                  </a:lnTo>
                  <a:lnTo>
                    <a:pt x="4555" y="2139"/>
                  </a:lnTo>
                  <a:lnTo>
                    <a:pt x="4559" y="2143"/>
                  </a:lnTo>
                  <a:lnTo>
                    <a:pt x="4561" y="2150"/>
                  </a:lnTo>
                  <a:lnTo>
                    <a:pt x="4559" y="2150"/>
                  </a:lnTo>
                  <a:lnTo>
                    <a:pt x="4559" y="2154"/>
                  </a:lnTo>
                  <a:lnTo>
                    <a:pt x="4559" y="2156"/>
                  </a:lnTo>
                  <a:lnTo>
                    <a:pt x="4559" y="2156"/>
                  </a:lnTo>
                  <a:lnTo>
                    <a:pt x="4559" y="2158"/>
                  </a:lnTo>
                  <a:lnTo>
                    <a:pt x="4561" y="2160"/>
                  </a:lnTo>
                  <a:lnTo>
                    <a:pt x="4565" y="2164"/>
                  </a:lnTo>
                  <a:lnTo>
                    <a:pt x="4567" y="2168"/>
                  </a:lnTo>
                  <a:lnTo>
                    <a:pt x="4572" y="2172"/>
                  </a:lnTo>
                  <a:lnTo>
                    <a:pt x="4578" y="2172"/>
                  </a:lnTo>
                  <a:lnTo>
                    <a:pt x="4580" y="2174"/>
                  </a:lnTo>
                  <a:lnTo>
                    <a:pt x="4582" y="2176"/>
                  </a:lnTo>
                  <a:lnTo>
                    <a:pt x="4584" y="2176"/>
                  </a:lnTo>
                  <a:lnTo>
                    <a:pt x="4586" y="2176"/>
                  </a:lnTo>
                  <a:lnTo>
                    <a:pt x="4586" y="2174"/>
                  </a:lnTo>
                  <a:lnTo>
                    <a:pt x="4590" y="2176"/>
                  </a:lnTo>
                  <a:lnTo>
                    <a:pt x="4594" y="2176"/>
                  </a:lnTo>
                  <a:lnTo>
                    <a:pt x="4596" y="2176"/>
                  </a:lnTo>
                  <a:lnTo>
                    <a:pt x="4598" y="2176"/>
                  </a:lnTo>
                  <a:lnTo>
                    <a:pt x="4600" y="2179"/>
                  </a:lnTo>
                  <a:lnTo>
                    <a:pt x="4603" y="2181"/>
                  </a:lnTo>
                  <a:lnTo>
                    <a:pt x="4607" y="2181"/>
                  </a:lnTo>
                  <a:lnTo>
                    <a:pt x="4609" y="2183"/>
                  </a:lnTo>
                  <a:lnTo>
                    <a:pt x="4611" y="2183"/>
                  </a:lnTo>
                  <a:lnTo>
                    <a:pt x="4613" y="2185"/>
                  </a:lnTo>
                  <a:lnTo>
                    <a:pt x="4615" y="2183"/>
                  </a:lnTo>
                  <a:lnTo>
                    <a:pt x="4617" y="2183"/>
                  </a:lnTo>
                  <a:lnTo>
                    <a:pt x="4621" y="2179"/>
                  </a:lnTo>
                  <a:lnTo>
                    <a:pt x="4623" y="2176"/>
                  </a:lnTo>
                  <a:lnTo>
                    <a:pt x="4625" y="2176"/>
                  </a:lnTo>
                  <a:lnTo>
                    <a:pt x="4627" y="2176"/>
                  </a:lnTo>
                  <a:lnTo>
                    <a:pt x="4629" y="2174"/>
                  </a:lnTo>
                  <a:lnTo>
                    <a:pt x="4627" y="2174"/>
                  </a:lnTo>
                  <a:lnTo>
                    <a:pt x="4627" y="2174"/>
                  </a:lnTo>
                  <a:lnTo>
                    <a:pt x="4625" y="2172"/>
                  </a:lnTo>
                  <a:lnTo>
                    <a:pt x="4625" y="2172"/>
                  </a:lnTo>
                  <a:lnTo>
                    <a:pt x="4627" y="2172"/>
                  </a:lnTo>
                  <a:lnTo>
                    <a:pt x="4631" y="2168"/>
                  </a:lnTo>
                  <a:lnTo>
                    <a:pt x="4633" y="2170"/>
                  </a:lnTo>
                  <a:lnTo>
                    <a:pt x="4633" y="2170"/>
                  </a:lnTo>
                  <a:lnTo>
                    <a:pt x="4636" y="2172"/>
                  </a:lnTo>
                  <a:lnTo>
                    <a:pt x="4636" y="2174"/>
                  </a:lnTo>
                  <a:lnTo>
                    <a:pt x="4633" y="2174"/>
                  </a:lnTo>
                  <a:lnTo>
                    <a:pt x="4631" y="2176"/>
                  </a:lnTo>
                  <a:lnTo>
                    <a:pt x="4631" y="2176"/>
                  </a:lnTo>
                  <a:lnTo>
                    <a:pt x="4629" y="2176"/>
                  </a:lnTo>
                  <a:lnTo>
                    <a:pt x="4631" y="2179"/>
                  </a:lnTo>
                  <a:lnTo>
                    <a:pt x="4633" y="2179"/>
                  </a:lnTo>
                  <a:lnTo>
                    <a:pt x="4636" y="2176"/>
                  </a:lnTo>
                  <a:lnTo>
                    <a:pt x="4638" y="2176"/>
                  </a:lnTo>
                  <a:lnTo>
                    <a:pt x="4638" y="2174"/>
                  </a:lnTo>
                  <a:lnTo>
                    <a:pt x="4640" y="2174"/>
                  </a:lnTo>
                  <a:lnTo>
                    <a:pt x="4640" y="2174"/>
                  </a:lnTo>
                  <a:lnTo>
                    <a:pt x="4642" y="2176"/>
                  </a:lnTo>
                  <a:lnTo>
                    <a:pt x="4642" y="2176"/>
                  </a:lnTo>
                  <a:lnTo>
                    <a:pt x="4640" y="2179"/>
                  </a:lnTo>
                  <a:lnTo>
                    <a:pt x="4640" y="2179"/>
                  </a:lnTo>
                  <a:lnTo>
                    <a:pt x="4640" y="2181"/>
                  </a:lnTo>
                  <a:lnTo>
                    <a:pt x="4642" y="2181"/>
                  </a:lnTo>
                  <a:lnTo>
                    <a:pt x="4642" y="2183"/>
                  </a:lnTo>
                  <a:lnTo>
                    <a:pt x="4644" y="2183"/>
                  </a:lnTo>
                  <a:lnTo>
                    <a:pt x="4646" y="2183"/>
                  </a:lnTo>
                  <a:lnTo>
                    <a:pt x="4646" y="2183"/>
                  </a:lnTo>
                  <a:lnTo>
                    <a:pt x="4648" y="2185"/>
                  </a:lnTo>
                  <a:lnTo>
                    <a:pt x="4648" y="2185"/>
                  </a:lnTo>
                  <a:lnTo>
                    <a:pt x="4648" y="2185"/>
                  </a:lnTo>
                  <a:lnTo>
                    <a:pt x="4650" y="2185"/>
                  </a:lnTo>
                  <a:lnTo>
                    <a:pt x="4652" y="2187"/>
                  </a:lnTo>
                  <a:lnTo>
                    <a:pt x="4652" y="2189"/>
                  </a:lnTo>
                  <a:lnTo>
                    <a:pt x="4652" y="2189"/>
                  </a:lnTo>
                  <a:lnTo>
                    <a:pt x="4654" y="2189"/>
                  </a:lnTo>
                  <a:lnTo>
                    <a:pt x="4654" y="2189"/>
                  </a:lnTo>
                  <a:lnTo>
                    <a:pt x="4654" y="2189"/>
                  </a:lnTo>
                  <a:lnTo>
                    <a:pt x="4654" y="2187"/>
                  </a:lnTo>
                  <a:lnTo>
                    <a:pt x="4654" y="2185"/>
                  </a:lnTo>
                  <a:lnTo>
                    <a:pt x="4654" y="2185"/>
                  </a:lnTo>
                  <a:lnTo>
                    <a:pt x="4652" y="2185"/>
                  </a:lnTo>
                  <a:lnTo>
                    <a:pt x="4652" y="2185"/>
                  </a:lnTo>
                  <a:lnTo>
                    <a:pt x="4652" y="2185"/>
                  </a:lnTo>
                  <a:lnTo>
                    <a:pt x="4652" y="2183"/>
                  </a:lnTo>
                  <a:lnTo>
                    <a:pt x="4652" y="2183"/>
                  </a:lnTo>
                  <a:lnTo>
                    <a:pt x="4652" y="2183"/>
                  </a:lnTo>
                  <a:lnTo>
                    <a:pt x="4654" y="2183"/>
                  </a:lnTo>
                  <a:lnTo>
                    <a:pt x="4660" y="2183"/>
                  </a:lnTo>
                  <a:lnTo>
                    <a:pt x="4669" y="2174"/>
                  </a:lnTo>
                  <a:lnTo>
                    <a:pt x="4671" y="2172"/>
                  </a:lnTo>
                  <a:lnTo>
                    <a:pt x="4675" y="2170"/>
                  </a:lnTo>
                  <a:lnTo>
                    <a:pt x="4679" y="2168"/>
                  </a:lnTo>
                  <a:lnTo>
                    <a:pt x="4681" y="2168"/>
                  </a:lnTo>
                  <a:lnTo>
                    <a:pt x="4689" y="2168"/>
                  </a:lnTo>
                  <a:lnTo>
                    <a:pt x="4695" y="2168"/>
                  </a:lnTo>
                  <a:lnTo>
                    <a:pt x="4697" y="2166"/>
                  </a:lnTo>
                  <a:lnTo>
                    <a:pt x="4699" y="2166"/>
                  </a:lnTo>
                  <a:lnTo>
                    <a:pt x="4702" y="2164"/>
                  </a:lnTo>
                  <a:lnTo>
                    <a:pt x="4702" y="2164"/>
                  </a:lnTo>
                  <a:lnTo>
                    <a:pt x="4704" y="2164"/>
                  </a:lnTo>
                  <a:lnTo>
                    <a:pt x="4704" y="2162"/>
                  </a:lnTo>
                  <a:lnTo>
                    <a:pt x="4704" y="2160"/>
                  </a:lnTo>
                  <a:lnTo>
                    <a:pt x="4706" y="2158"/>
                  </a:lnTo>
                  <a:lnTo>
                    <a:pt x="4704" y="2156"/>
                  </a:lnTo>
                  <a:lnTo>
                    <a:pt x="4704" y="2152"/>
                  </a:lnTo>
                  <a:lnTo>
                    <a:pt x="4706" y="2150"/>
                  </a:lnTo>
                  <a:lnTo>
                    <a:pt x="4706" y="2148"/>
                  </a:lnTo>
                  <a:lnTo>
                    <a:pt x="4706" y="2143"/>
                  </a:lnTo>
                  <a:lnTo>
                    <a:pt x="4708" y="2139"/>
                  </a:lnTo>
                  <a:lnTo>
                    <a:pt x="4708" y="2137"/>
                  </a:lnTo>
                  <a:lnTo>
                    <a:pt x="4708" y="2135"/>
                  </a:lnTo>
                  <a:lnTo>
                    <a:pt x="4710" y="2133"/>
                  </a:lnTo>
                  <a:lnTo>
                    <a:pt x="4710" y="2131"/>
                  </a:lnTo>
                  <a:lnTo>
                    <a:pt x="4714" y="2125"/>
                  </a:lnTo>
                  <a:lnTo>
                    <a:pt x="4714" y="2125"/>
                  </a:lnTo>
                  <a:lnTo>
                    <a:pt x="4714" y="2125"/>
                  </a:lnTo>
                  <a:lnTo>
                    <a:pt x="4716" y="2125"/>
                  </a:lnTo>
                  <a:lnTo>
                    <a:pt x="4716" y="2125"/>
                  </a:lnTo>
                  <a:lnTo>
                    <a:pt x="4716" y="2125"/>
                  </a:lnTo>
                  <a:lnTo>
                    <a:pt x="4714" y="2123"/>
                  </a:lnTo>
                  <a:lnTo>
                    <a:pt x="4714" y="2123"/>
                  </a:lnTo>
                  <a:lnTo>
                    <a:pt x="4716" y="2123"/>
                  </a:lnTo>
                  <a:lnTo>
                    <a:pt x="4716" y="2123"/>
                  </a:lnTo>
                  <a:lnTo>
                    <a:pt x="4716" y="2123"/>
                  </a:lnTo>
                  <a:lnTo>
                    <a:pt x="4716" y="2123"/>
                  </a:lnTo>
                  <a:lnTo>
                    <a:pt x="4716" y="2121"/>
                  </a:lnTo>
                  <a:lnTo>
                    <a:pt x="4716" y="2119"/>
                  </a:lnTo>
                  <a:lnTo>
                    <a:pt x="4718" y="2115"/>
                  </a:lnTo>
                  <a:lnTo>
                    <a:pt x="4718" y="2112"/>
                  </a:lnTo>
                  <a:lnTo>
                    <a:pt x="4718" y="2110"/>
                  </a:lnTo>
                  <a:lnTo>
                    <a:pt x="4720" y="2108"/>
                  </a:lnTo>
                  <a:lnTo>
                    <a:pt x="4722" y="2106"/>
                  </a:lnTo>
                  <a:lnTo>
                    <a:pt x="4722" y="2106"/>
                  </a:lnTo>
                  <a:lnTo>
                    <a:pt x="4720" y="2106"/>
                  </a:lnTo>
                  <a:lnTo>
                    <a:pt x="4722" y="2106"/>
                  </a:lnTo>
                  <a:lnTo>
                    <a:pt x="4722" y="2106"/>
                  </a:lnTo>
                  <a:lnTo>
                    <a:pt x="4722" y="2106"/>
                  </a:lnTo>
                  <a:lnTo>
                    <a:pt x="4724" y="2104"/>
                  </a:lnTo>
                  <a:lnTo>
                    <a:pt x="4724" y="2104"/>
                  </a:lnTo>
                  <a:lnTo>
                    <a:pt x="4724" y="2102"/>
                  </a:lnTo>
                  <a:lnTo>
                    <a:pt x="4724" y="2100"/>
                  </a:lnTo>
                  <a:lnTo>
                    <a:pt x="4724" y="2100"/>
                  </a:lnTo>
                  <a:lnTo>
                    <a:pt x="4726" y="2098"/>
                  </a:lnTo>
                  <a:lnTo>
                    <a:pt x="4726" y="2096"/>
                  </a:lnTo>
                  <a:lnTo>
                    <a:pt x="4726" y="2096"/>
                  </a:lnTo>
                  <a:lnTo>
                    <a:pt x="4726" y="2096"/>
                  </a:lnTo>
                  <a:lnTo>
                    <a:pt x="4728" y="2094"/>
                  </a:lnTo>
                  <a:lnTo>
                    <a:pt x="4728" y="2092"/>
                  </a:lnTo>
                  <a:lnTo>
                    <a:pt x="4730" y="2090"/>
                  </a:lnTo>
                  <a:lnTo>
                    <a:pt x="4732" y="2088"/>
                  </a:lnTo>
                  <a:lnTo>
                    <a:pt x="4737" y="2088"/>
                  </a:lnTo>
                  <a:lnTo>
                    <a:pt x="4737" y="2086"/>
                  </a:lnTo>
                  <a:lnTo>
                    <a:pt x="4735" y="2086"/>
                  </a:lnTo>
                  <a:lnTo>
                    <a:pt x="4735" y="2086"/>
                  </a:lnTo>
                  <a:lnTo>
                    <a:pt x="4737" y="2086"/>
                  </a:lnTo>
                  <a:lnTo>
                    <a:pt x="4737" y="2084"/>
                  </a:lnTo>
                  <a:lnTo>
                    <a:pt x="4739" y="2084"/>
                  </a:lnTo>
                  <a:lnTo>
                    <a:pt x="4741" y="2082"/>
                  </a:lnTo>
                  <a:lnTo>
                    <a:pt x="4741" y="2079"/>
                  </a:lnTo>
                  <a:lnTo>
                    <a:pt x="4741" y="2079"/>
                  </a:lnTo>
                  <a:lnTo>
                    <a:pt x="4741" y="2075"/>
                  </a:lnTo>
                  <a:lnTo>
                    <a:pt x="4745" y="2071"/>
                  </a:lnTo>
                  <a:lnTo>
                    <a:pt x="4747" y="2065"/>
                  </a:lnTo>
                  <a:lnTo>
                    <a:pt x="4747" y="2063"/>
                  </a:lnTo>
                  <a:lnTo>
                    <a:pt x="4749" y="2061"/>
                  </a:lnTo>
                  <a:lnTo>
                    <a:pt x="4749" y="2057"/>
                  </a:lnTo>
                  <a:lnTo>
                    <a:pt x="4749" y="2055"/>
                  </a:lnTo>
                  <a:lnTo>
                    <a:pt x="4749" y="2053"/>
                  </a:lnTo>
                  <a:lnTo>
                    <a:pt x="4751" y="2046"/>
                  </a:lnTo>
                  <a:lnTo>
                    <a:pt x="4751" y="2044"/>
                  </a:lnTo>
                  <a:lnTo>
                    <a:pt x="4751" y="2042"/>
                  </a:lnTo>
                  <a:lnTo>
                    <a:pt x="4753" y="2036"/>
                  </a:lnTo>
                  <a:lnTo>
                    <a:pt x="4753" y="2032"/>
                  </a:lnTo>
                  <a:lnTo>
                    <a:pt x="4755" y="2030"/>
                  </a:lnTo>
                  <a:lnTo>
                    <a:pt x="4757" y="2026"/>
                  </a:lnTo>
                  <a:lnTo>
                    <a:pt x="4757" y="2024"/>
                  </a:lnTo>
                  <a:lnTo>
                    <a:pt x="4755" y="2022"/>
                  </a:lnTo>
                  <a:lnTo>
                    <a:pt x="4755" y="2017"/>
                  </a:lnTo>
                  <a:close/>
                  <a:moveTo>
                    <a:pt x="4763" y="1768"/>
                  </a:moveTo>
                  <a:lnTo>
                    <a:pt x="4763" y="1768"/>
                  </a:lnTo>
                  <a:lnTo>
                    <a:pt x="4761" y="1768"/>
                  </a:lnTo>
                  <a:lnTo>
                    <a:pt x="4763" y="1768"/>
                  </a:lnTo>
                  <a:lnTo>
                    <a:pt x="4763" y="1768"/>
                  </a:lnTo>
                  <a:lnTo>
                    <a:pt x="4763" y="1770"/>
                  </a:lnTo>
                  <a:lnTo>
                    <a:pt x="4765" y="1768"/>
                  </a:lnTo>
                  <a:lnTo>
                    <a:pt x="4765" y="1768"/>
                  </a:lnTo>
                  <a:lnTo>
                    <a:pt x="4765" y="1768"/>
                  </a:lnTo>
                  <a:lnTo>
                    <a:pt x="4765" y="1768"/>
                  </a:lnTo>
                  <a:lnTo>
                    <a:pt x="4763" y="1768"/>
                  </a:lnTo>
                  <a:close/>
                  <a:moveTo>
                    <a:pt x="4757" y="1664"/>
                  </a:moveTo>
                  <a:lnTo>
                    <a:pt x="4757" y="1664"/>
                  </a:lnTo>
                  <a:lnTo>
                    <a:pt x="4755" y="1664"/>
                  </a:lnTo>
                  <a:lnTo>
                    <a:pt x="4757" y="1664"/>
                  </a:lnTo>
                  <a:lnTo>
                    <a:pt x="4757" y="1664"/>
                  </a:lnTo>
                  <a:lnTo>
                    <a:pt x="4757" y="1664"/>
                  </a:lnTo>
                  <a:close/>
                  <a:moveTo>
                    <a:pt x="5110" y="1720"/>
                  </a:moveTo>
                  <a:lnTo>
                    <a:pt x="5110" y="1720"/>
                  </a:lnTo>
                  <a:lnTo>
                    <a:pt x="5110" y="1720"/>
                  </a:lnTo>
                  <a:lnTo>
                    <a:pt x="5110" y="1720"/>
                  </a:lnTo>
                  <a:lnTo>
                    <a:pt x="5110" y="1720"/>
                  </a:lnTo>
                  <a:lnTo>
                    <a:pt x="5110" y="1720"/>
                  </a:lnTo>
                  <a:close/>
                  <a:moveTo>
                    <a:pt x="4763" y="857"/>
                  </a:moveTo>
                  <a:lnTo>
                    <a:pt x="4765" y="855"/>
                  </a:lnTo>
                  <a:lnTo>
                    <a:pt x="4765" y="855"/>
                  </a:lnTo>
                  <a:lnTo>
                    <a:pt x="4765" y="855"/>
                  </a:lnTo>
                  <a:lnTo>
                    <a:pt x="4763" y="855"/>
                  </a:lnTo>
                  <a:lnTo>
                    <a:pt x="4763" y="855"/>
                  </a:lnTo>
                  <a:lnTo>
                    <a:pt x="4761" y="857"/>
                  </a:lnTo>
                  <a:lnTo>
                    <a:pt x="4761" y="857"/>
                  </a:lnTo>
                  <a:lnTo>
                    <a:pt x="4763" y="857"/>
                  </a:lnTo>
                  <a:lnTo>
                    <a:pt x="4763" y="857"/>
                  </a:lnTo>
                  <a:close/>
                  <a:moveTo>
                    <a:pt x="4755" y="1770"/>
                  </a:moveTo>
                  <a:lnTo>
                    <a:pt x="4753" y="1768"/>
                  </a:lnTo>
                  <a:lnTo>
                    <a:pt x="4751" y="1768"/>
                  </a:lnTo>
                  <a:lnTo>
                    <a:pt x="4751" y="1768"/>
                  </a:lnTo>
                  <a:lnTo>
                    <a:pt x="4751" y="1768"/>
                  </a:lnTo>
                  <a:lnTo>
                    <a:pt x="4753" y="1770"/>
                  </a:lnTo>
                  <a:lnTo>
                    <a:pt x="4751" y="1770"/>
                  </a:lnTo>
                  <a:lnTo>
                    <a:pt x="4753" y="1770"/>
                  </a:lnTo>
                  <a:lnTo>
                    <a:pt x="4753" y="1770"/>
                  </a:lnTo>
                  <a:lnTo>
                    <a:pt x="4755" y="1772"/>
                  </a:lnTo>
                  <a:lnTo>
                    <a:pt x="4755" y="1772"/>
                  </a:lnTo>
                  <a:lnTo>
                    <a:pt x="4757" y="1772"/>
                  </a:lnTo>
                  <a:lnTo>
                    <a:pt x="4759" y="1772"/>
                  </a:lnTo>
                  <a:lnTo>
                    <a:pt x="4757" y="1770"/>
                  </a:lnTo>
                  <a:lnTo>
                    <a:pt x="4755" y="1770"/>
                  </a:lnTo>
                  <a:close/>
                  <a:moveTo>
                    <a:pt x="4301" y="1613"/>
                  </a:moveTo>
                  <a:lnTo>
                    <a:pt x="4301" y="1613"/>
                  </a:lnTo>
                  <a:lnTo>
                    <a:pt x="4301" y="1615"/>
                  </a:lnTo>
                  <a:lnTo>
                    <a:pt x="4301" y="1615"/>
                  </a:lnTo>
                  <a:lnTo>
                    <a:pt x="4301" y="1613"/>
                  </a:lnTo>
                  <a:lnTo>
                    <a:pt x="4301" y="1613"/>
                  </a:lnTo>
                  <a:lnTo>
                    <a:pt x="4304" y="1613"/>
                  </a:lnTo>
                  <a:lnTo>
                    <a:pt x="4304" y="1613"/>
                  </a:lnTo>
                  <a:lnTo>
                    <a:pt x="4304" y="1613"/>
                  </a:lnTo>
                  <a:lnTo>
                    <a:pt x="4304" y="1613"/>
                  </a:lnTo>
                  <a:lnTo>
                    <a:pt x="4304" y="1613"/>
                  </a:lnTo>
                  <a:lnTo>
                    <a:pt x="4301" y="1613"/>
                  </a:lnTo>
                  <a:close/>
                  <a:moveTo>
                    <a:pt x="4508" y="1803"/>
                  </a:moveTo>
                  <a:lnTo>
                    <a:pt x="4508" y="1803"/>
                  </a:lnTo>
                  <a:lnTo>
                    <a:pt x="4508" y="1803"/>
                  </a:lnTo>
                  <a:lnTo>
                    <a:pt x="4508" y="1803"/>
                  </a:lnTo>
                  <a:lnTo>
                    <a:pt x="4508" y="1803"/>
                  </a:lnTo>
                  <a:lnTo>
                    <a:pt x="4510" y="1803"/>
                  </a:lnTo>
                  <a:lnTo>
                    <a:pt x="4510" y="1803"/>
                  </a:lnTo>
                  <a:lnTo>
                    <a:pt x="4510" y="1801"/>
                  </a:lnTo>
                  <a:lnTo>
                    <a:pt x="4508" y="1801"/>
                  </a:lnTo>
                  <a:lnTo>
                    <a:pt x="4508" y="1803"/>
                  </a:lnTo>
                  <a:close/>
                  <a:moveTo>
                    <a:pt x="4753" y="2005"/>
                  </a:moveTo>
                  <a:lnTo>
                    <a:pt x="4753" y="2007"/>
                  </a:lnTo>
                  <a:lnTo>
                    <a:pt x="4753" y="2009"/>
                  </a:lnTo>
                  <a:lnTo>
                    <a:pt x="4755" y="2009"/>
                  </a:lnTo>
                  <a:lnTo>
                    <a:pt x="4755" y="2005"/>
                  </a:lnTo>
                  <a:lnTo>
                    <a:pt x="4755" y="2003"/>
                  </a:lnTo>
                  <a:lnTo>
                    <a:pt x="4753" y="2003"/>
                  </a:lnTo>
                  <a:lnTo>
                    <a:pt x="4753" y="2005"/>
                  </a:lnTo>
                  <a:close/>
                  <a:moveTo>
                    <a:pt x="4753" y="1999"/>
                  </a:moveTo>
                  <a:lnTo>
                    <a:pt x="4753" y="1999"/>
                  </a:lnTo>
                  <a:lnTo>
                    <a:pt x="4753" y="1999"/>
                  </a:lnTo>
                  <a:lnTo>
                    <a:pt x="4753" y="2001"/>
                  </a:lnTo>
                  <a:lnTo>
                    <a:pt x="4753" y="2003"/>
                  </a:lnTo>
                  <a:lnTo>
                    <a:pt x="4753" y="2003"/>
                  </a:lnTo>
                  <a:lnTo>
                    <a:pt x="4753" y="2001"/>
                  </a:lnTo>
                  <a:lnTo>
                    <a:pt x="4755" y="1999"/>
                  </a:lnTo>
                  <a:lnTo>
                    <a:pt x="4753" y="1999"/>
                  </a:lnTo>
                  <a:close/>
                  <a:moveTo>
                    <a:pt x="4242" y="1559"/>
                  </a:moveTo>
                  <a:lnTo>
                    <a:pt x="4242" y="1559"/>
                  </a:lnTo>
                  <a:lnTo>
                    <a:pt x="4244" y="1561"/>
                  </a:lnTo>
                  <a:lnTo>
                    <a:pt x="4244" y="1559"/>
                  </a:lnTo>
                  <a:lnTo>
                    <a:pt x="4244" y="1559"/>
                  </a:lnTo>
                  <a:lnTo>
                    <a:pt x="4244" y="1557"/>
                  </a:lnTo>
                  <a:lnTo>
                    <a:pt x="4242" y="1557"/>
                  </a:lnTo>
                  <a:lnTo>
                    <a:pt x="4242" y="1559"/>
                  </a:lnTo>
                  <a:close/>
                  <a:moveTo>
                    <a:pt x="4231" y="1726"/>
                  </a:moveTo>
                  <a:lnTo>
                    <a:pt x="4231" y="1724"/>
                  </a:lnTo>
                  <a:lnTo>
                    <a:pt x="4229" y="1724"/>
                  </a:lnTo>
                  <a:lnTo>
                    <a:pt x="4229" y="1724"/>
                  </a:lnTo>
                  <a:lnTo>
                    <a:pt x="4225" y="1722"/>
                  </a:lnTo>
                  <a:lnTo>
                    <a:pt x="4225" y="1722"/>
                  </a:lnTo>
                  <a:lnTo>
                    <a:pt x="4223" y="1724"/>
                  </a:lnTo>
                  <a:lnTo>
                    <a:pt x="4221" y="1726"/>
                  </a:lnTo>
                  <a:lnTo>
                    <a:pt x="4221" y="1728"/>
                  </a:lnTo>
                  <a:lnTo>
                    <a:pt x="4221" y="1730"/>
                  </a:lnTo>
                  <a:lnTo>
                    <a:pt x="4221" y="1730"/>
                  </a:lnTo>
                  <a:lnTo>
                    <a:pt x="4219" y="1730"/>
                  </a:lnTo>
                  <a:lnTo>
                    <a:pt x="4219" y="1730"/>
                  </a:lnTo>
                  <a:lnTo>
                    <a:pt x="4219" y="1730"/>
                  </a:lnTo>
                  <a:lnTo>
                    <a:pt x="4219" y="1733"/>
                  </a:lnTo>
                  <a:lnTo>
                    <a:pt x="4221" y="1733"/>
                  </a:lnTo>
                  <a:lnTo>
                    <a:pt x="4223" y="1733"/>
                  </a:lnTo>
                  <a:lnTo>
                    <a:pt x="4225" y="1733"/>
                  </a:lnTo>
                  <a:lnTo>
                    <a:pt x="4225" y="1733"/>
                  </a:lnTo>
                  <a:lnTo>
                    <a:pt x="4229" y="1733"/>
                  </a:lnTo>
                  <a:lnTo>
                    <a:pt x="4227" y="1733"/>
                  </a:lnTo>
                  <a:lnTo>
                    <a:pt x="4227" y="1733"/>
                  </a:lnTo>
                  <a:lnTo>
                    <a:pt x="4229" y="1728"/>
                  </a:lnTo>
                  <a:lnTo>
                    <a:pt x="4231" y="1726"/>
                  </a:lnTo>
                  <a:close/>
                  <a:moveTo>
                    <a:pt x="4213" y="1730"/>
                  </a:moveTo>
                  <a:lnTo>
                    <a:pt x="4213" y="1730"/>
                  </a:lnTo>
                  <a:lnTo>
                    <a:pt x="4215" y="1730"/>
                  </a:lnTo>
                  <a:lnTo>
                    <a:pt x="4215" y="1730"/>
                  </a:lnTo>
                  <a:lnTo>
                    <a:pt x="4215" y="1730"/>
                  </a:lnTo>
                  <a:lnTo>
                    <a:pt x="4215" y="1728"/>
                  </a:lnTo>
                  <a:lnTo>
                    <a:pt x="4213" y="1730"/>
                  </a:lnTo>
                  <a:lnTo>
                    <a:pt x="4213" y="1730"/>
                  </a:lnTo>
                  <a:close/>
                  <a:moveTo>
                    <a:pt x="4227" y="1654"/>
                  </a:moveTo>
                  <a:lnTo>
                    <a:pt x="4225" y="1654"/>
                  </a:lnTo>
                  <a:lnTo>
                    <a:pt x="4225" y="1656"/>
                  </a:lnTo>
                  <a:lnTo>
                    <a:pt x="4225" y="1658"/>
                  </a:lnTo>
                  <a:lnTo>
                    <a:pt x="4227" y="1656"/>
                  </a:lnTo>
                  <a:lnTo>
                    <a:pt x="4227" y="1654"/>
                  </a:lnTo>
                  <a:close/>
                  <a:moveTo>
                    <a:pt x="4217" y="1726"/>
                  </a:moveTo>
                  <a:lnTo>
                    <a:pt x="4215" y="1724"/>
                  </a:lnTo>
                  <a:lnTo>
                    <a:pt x="4213" y="1722"/>
                  </a:lnTo>
                  <a:lnTo>
                    <a:pt x="4213" y="1722"/>
                  </a:lnTo>
                  <a:lnTo>
                    <a:pt x="4211" y="1722"/>
                  </a:lnTo>
                  <a:lnTo>
                    <a:pt x="4209" y="1720"/>
                  </a:lnTo>
                  <a:lnTo>
                    <a:pt x="4209" y="1720"/>
                  </a:lnTo>
                  <a:lnTo>
                    <a:pt x="4207" y="1722"/>
                  </a:lnTo>
                  <a:lnTo>
                    <a:pt x="4205" y="1722"/>
                  </a:lnTo>
                  <a:lnTo>
                    <a:pt x="4205" y="1722"/>
                  </a:lnTo>
                  <a:lnTo>
                    <a:pt x="4200" y="1722"/>
                  </a:lnTo>
                  <a:lnTo>
                    <a:pt x="4198" y="1722"/>
                  </a:lnTo>
                  <a:lnTo>
                    <a:pt x="4198" y="1722"/>
                  </a:lnTo>
                  <a:lnTo>
                    <a:pt x="4198" y="1722"/>
                  </a:lnTo>
                  <a:lnTo>
                    <a:pt x="4198" y="1722"/>
                  </a:lnTo>
                  <a:lnTo>
                    <a:pt x="4198" y="1724"/>
                  </a:lnTo>
                  <a:lnTo>
                    <a:pt x="4200" y="1724"/>
                  </a:lnTo>
                  <a:lnTo>
                    <a:pt x="4200" y="1724"/>
                  </a:lnTo>
                  <a:lnTo>
                    <a:pt x="4202" y="1726"/>
                  </a:lnTo>
                  <a:lnTo>
                    <a:pt x="4205" y="1726"/>
                  </a:lnTo>
                  <a:lnTo>
                    <a:pt x="4205" y="1726"/>
                  </a:lnTo>
                  <a:lnTo>
                    <a:pt x="4207" y="1728"/>
                  </a:lnTo>
                  <a:lnTo>
                    <a:pt x="4207" y="1728"/>
                  </a:lnTo>
                  <a:lnTo>
                    <a:pt x="4209" y="1730"/>
                  </a:lnTo>
                  <a:lnTo>
                    <a:pt x="4209" y="1730"/>
                  </a:lnTo>
                  <a:lnTo>
                    <a:pt x="4207" y="1733"/>
                  </a:lnTo>
                  <a:lnTo>
                    <a:pt x="4209" y="1733"/>
                  </a:lnTo>
                  <a:lnTo>
                    <a:pt x="4209" y="1733"/>
                  </a:lnTo>
                  <a:lnTo>
                    <a:pt x="4209" y="1733"/>
                  </a:lnTo>
                  <a:lnTo>
                    <a:pt x="4209" y="1730"/>
                  </a:lnTo>
                  <a:lnTo>
                    <a:pt x="4209" y="1730"/>
                  </a:lnTo>
                  <a:lnTo>
                    <a:pt x="4211" y="1728"/>
                  </a:lnTo>
                  <a:lnTo>
                    <a:pt x="4211" y="1728"/>
                  </a:lnTo>
                  <a:lnTo>
                    <a:pt x="4215" y="1726"/>
                  </a:lnTo>
                  <a:lnTo>
                    <a:pt x="4215" y="1726"/>
                  </a:lnTo>
                  <a:lnTo>
                    <a:pt x="4217" y="1726"/>
                  </a:lnTo>
                  <a:close/>
                  <a:moveTo>
                    <a:pt x="4223" y="1652"/>
                  </a:moveTo>
                  <a:lnTo>
                    <a:pt x="4221" y="1654"/>
                  </a:lnTo>
                  <a:lnTo>
                    <a:pt x="4221" y="1656"/>
                  </a:lnTo>
                  <a:lnTo>
                    <a:pt x="4221" y="1658"/>
                  </a:lnTo>
                  <a:lnTo>
                    <a:pt x="4221" y="1658"/>
                  </a:lnTo>
                  <a:lnTo>
                    <a:pt x="4221" y="1660"/>
                  </a:lnTo>
                  <a:lnTo>
                    <a:pt x="4221" y="1662"/>
                  </a:lnTo>
                  <a:lnTo>
                    <a:pt x="4221" y="1664"/>
                  </a:lnTo>
                  <a:lnTo>
                    <a:pt x="4225" y="1660"/>
                  </a:lnTo>
                  <a:lnTo>
                    <a:pt x="4225" y="1660"/>
                  </a:lnTo>
                  <a:lnTo>
                    <a:pt x="4225" y="1660"/>
                  </a:lnTo>
                  <a:lnTo>
                    <a:pt x="4225" y="1658"/>
                  </a:lnTo>
                  <a:lnTo>
                    <a:pt x="4225" y="1656"/>
                  </a:lnTo>
                  <a:lnTo>
                    <a:pt x="4225" y="1656"/>
                  </a:lnTo>
                  <a:lnTo>
                    <a:pt x="4225" y="1656"/>
                  </a:lnTo>
                  <a:lnTo>
                    <a:pt x="4223" y="1654"/>
                  </a:lnTo>
                  <a:lnTo>
                    <a:pt x="4223" y="1652"/>
                  </a:lnTo>
                  <a:lnTo>
                    <a:pt x="4223" y="1652"/>
                  </a:lnTo>
                  <a:close/>
                  <a:moveTo>
                    <a:pt x="4235" y="1503"/>
                  </a:moveTo>
                  <a:lnTo>
                    <a:pt x="4235" y="1505"/>
                  </a:lnTo>
                  <a:lnTo>
                    <a:pt x="4235" y="1505"/>
                  </a:lnTo>
                  <a:lnTo>
                    <a:pt x="4235" y="1505"/>
                  </a:lnTo>
                  <a:lnTo>
                    <a:pt x="4238" y="1505"/>
                  </a:lnTo>
                  <a:lnTo>
                    <a:pt x="4238" y="1503"/>
                  </a:lnTo>
                  <a:lnTo>
                    <a:pt x="4238" y="1503"/>
                  </a:lnTo>
                  <a:lnTo>
                    <a:pt x="4238" y="1503"/>
                  </a:lnTo>
                  <a:lnTo>
                    <a:pt x="4238" y="1503"/>
                  </a:lnTo>
                  <a:lnTo>
                    <a:pt x="4235" y="1503"/>
                  </a:lnTo>
                  <a:close/>
                  <a:moveTo>
                    <a:pt x="4246" y="1551"/>
                  </a:moveTo>
                  <a:lnTo>
                    <a:pt x="4248" y="1549"/>
                  </a:lnTo>
                  <a:lnTo>
                    <a:pt x="4248" y="1549"/>
                  </a:lnTo>
                  <a:lnTo>
                    <a:pt x="4248" y="1547"/>
                  </a:lnTo>
                  <a:lnTo>
                    <a:pt x="4246" y="1547"/>
                  </a:lnTo>
                  <a:lnTo>
                    <a:pt x="4244" y="1547"/>
                  </a:lnTo>
                  <a:lnTo>
                    <a:pt x="4244" y="1547"/>
                  </a:lnTo>
                  <a:lnTo>
                    <a:pt x="4244" y="1547"/>
                  </a:lnTo>
                  <a:lnTo>
                    <a:pt x="4244" y="1549"/>
                  </a:lnTo>
                  <a:lnTo>
                    <a:pt x="4246" y="1551"/>
                  </a:lnTo>
                  <a:close/>
                  <a:moveTo>
                    <a:pt x="4238" y="1489"/>
                  </a:moveTo>
                  <a:lnTo>
                    <a:pt x="4238" y="1489"/>
                  </a:lnTo>
                  <a:lnTo>
                    <a:pt x="4238" y="1491"/>
                  </a:lnTo>
                  <a:lnTo>
                    <a:pt x="4240" y="1491"/>
                  </a:lnTo>
                  <a:lnTo>
                    <a:pt x="4240" y="1489"/>
                  </a:lnTo>
                  <a:lnTo>
                    <a:pt x="4240" y="1489"/>
                  </a:lnTo>
                  <a:lnTo>
                    <a:pt x="4238" y="1489"/>
                  </a:lnTo>
                  <a:close/>
                  <a:moveTo>
                    <a:pt x="4233" y="1493"/>
                  </a:moveTo>
                  <a:lnTo>
                    <a:pt x="4233" y="1493"/>
                  </a:lnTo>
                  <a:lnTo>
                    <a:pt x="4233" y="1495"/>
                  </a:lnTo>
                  <a:lnTo>
                    <a:pt x="4235" y="1495"/>
                  </a:lnTo>
                  <a:lnTo>
                    <a:pt x="4235" y="1495"/>
                  </a:lnTo>
                  <a:lnTo>
                    <a:pt x="4235" y="1493"/>
                  </a:lnTo>
                  <a:lnTo>
                    <a:pt x="4233" y="1493"/>
                  </a:lnTo>
                  <a:close/>
                  <a:moveTo>
                    <a:pt x="4118" y="1563"/>
                  </a:moveTo>
                  <a:lnTo>
                    <a:pt x="4118" y="1565"/>
                  </a:lnTo>
                  <a:lnTo>
                    <a:pt x="4118" y="1565"/>
                  </a:lnTo>
                  <a:lnTo>
                    <a:pt x="4118" y="1565"/>
                  </a:lnTo>
                  <a:lnTo>
                    <a:pt x="4118" y="1563"/>
                  </a:lnTo>
                  <a:lnTo>
                    <a:pt x="4118" y="1563"/>
                  </a:lnTo>
                  <a:close/>
                  <a:moveTo>
                    <a:pt x="4532" y="2133"/>
                  </a:moveTo>
                  <a:lnTo>
                    <a:pt x="4532" y="2135"/>
                  </a:lnTo>
                  <a:lnTo>
                    <a:pt x="4528" y="2133"/>
                  </a:lnTo>
                  <a:lnTo>
                    <a:pt x="4528" y="2133"/>
                  </a:lnTo>
                  <a:lnTo>
                    <a:pt x="4528" y="2133"/>
                  </a:lnTo>
                  <a:lnTo>
                    <a:pt x="4528" y="2133"/>
                  </a:lnTo>
                  <a:lnTo>
                    <a:pt x="4526" y="2131"/>
                  </a:lnTo>
                  <a:lnTo>
                    <a:pt x="4524" y="2131"/>
                  </a:lnTo>
                  <a:lnTo>
                    <a:pt x="4520" y="2133"/>
                  </a:lnTo>
                  <a:lnTo>
                    <a:pt x="4514" y="2135"/>
                  </a:lnTo>
                  <a:lnTo>
                    <a:pt x="4514" y="2135"/>
                  </a:lnTo>
                  <a:lnTo>
                    <a:pt x="4514" y="2137"/>
                  </a:lnTo>
                  <a:lnTo>
                    <a:pt x="4514" y="2137"/>
                  </a:lnTo>
                  <a:lnTo>
                    <a:pt x="4516" y="2139"/>
                  </a:lnTo>
                  <a:lnTo>
                    <a:pt x="4518" y="2139"/>
                  </a:lnTo>
                  <a:lnTo>
                    <a:pt x="4520" y="2139"/>
                  </a:lnTo>
                  <a:lnTo>
                    <a:pt x="4522" y="2139"/>
                  </a:lnTo>
                  <a:lnTo>
                    <a:pt x="4522" y="2137"/>
                  </a:lnTo>
                  <a:lnTo>
                    <a:pt x="4524" y="2139"/>
                  </a:lnTo>
                  <a:lnTo>
                    <a:pt x="4526" y="2139"/>
                  </a:lnTo>
                  <a:lnTo>
                    <a:pt x="4528" y="2139"/>
                  </a:lnTo>
                  <a:lnTo>
                    <a:pt x="4528" y="2137"/>
                  </a:lnTo>
                  <a:lnTo>
                    <a:pt x="4528" y="2137"/>
                  </a:lnTo>
                  <a:lnTo>
                    <a:pt x="4532" y="2137"/>
                  </a:lnTo>
                  <a:lnTo>
                    <a:pt x="4534" y="2137"/>
                  </a:lnTo>
                  <a:lnTo>
                    <a:pt x="4534" y="2137"/>
                  </a:lnTo>
                  <a:lnTo>
                    <a:pt x="4537" y="2135"/>
                  </a:lnTo>
                  <a:lnTo>
                    <a:pt x="4534" y="2135"/>
                  </a:lnTo>
                  <a:lnTo>
                    <a:pt x="4532" y="2133"/>
                  </a:lnTo>
                  <a:close/>
                  <a:moveTo>
                    <a:pt x="4118" y="1629"/>
                  </a:moveTo>
                  <a:lnTo>
                    <a:pt x="4118" y="1629"/>
                  </a:lnTo>
                  <a:lnTo>
                    <a:pt x="4120" y="1629"/>
                  </a:lnTo>
                  <a:lnTo>
                    <a:pt x="4120" y="1629"/>
                  </a:lnTo>
                  <a:lnTo>
                    <a:pt x="4118" y="1629"/>
                  </a:lnTo>
                  <a:lnTo>
                    <a:pt x="4118" y="1629"/>
                  </a:lnTo>
                  <a:close/>
                  <a:moveTo>
                    <a:pt x="4211" y="1906"/>
                  </a:moveTo>
                  <a:lnTo>
                    <a:pt x="4211" y="1906"/>
                  </a:lnTo>
                  <a:lnTo>
                    <a:pt x="4211" y="1906"/>
                  </a:lnTo>
                  <a:lnTo>
                    <a:pt x="4213" y="1904"/>
                  </a:lnTo>
                  <a:lnTo>
                    <a:pt x="4213" y="1904"/>
                  </a:lnTo>
                  <a:lnTo>
                    <a:pt x="4213" y="1902"/>
                  </a:lnTo>
                  <a:lnTo>
                    <a:pt x="4211" y="1904"/>
                  </a:lnTo>
                  <a:lnTo>
                    <a:pt x="4211" y="1906"/>
                  </a:lnTo>
                  <a:close/>
                  <a:moveTo>
                    <a:pt x="4128" y="1621"/>
                  </a:moveTo>
                  <a:lnTo>
                    <a:pt x="4126" y="1621"/>
                  </a:lnTo>
                  <a:lnTo>
                    <a:pt x="4126" y="1621"/>
                  </a:lnTo>
                  <a:lnTo>
                    <a:pt x="4126" y="1623"/>
                  </a:lnTo>
                  <a:lnTo>
                    <a:pt x="4126" y="1625"/>
                  </a:lnTo>
                  <a:lnTo>
                    <a:pt x="4128" y="1625"/>
                  </a:lnTo>
                  <a:lnTo>
                    <a:pt x="4130" y="1623"/>
                  </a:lnTo>
                  <a:lnTo>
                    <a:pt x="4130" y="1623"/>
                  </a:lnTo>
                  <a:lnTo>
                    <a:pt x="4130" y="1623"/>
                  </a:lnTo>
                  <a:lnTo>
                    <a:pt x="4130" y="1621"/>
                  </a:lnTo>
                  <a:lnTo>
                    <a:pt x="4130" y="1621"/>
                  </a:lnTo>
                  <a:lnTo>
                    <a:pt x="4128" y="1621"/>
                  </a:lnTo>
                  <a:close/>
                  <a:moveTo>
                    <a:pt x="4180" y="1982"/>
                  </a:moveTo>
                  <a:lnTo>
                    <a:pt x="4180" y="1980"/>
                  </a:lnTo>
                  <a:lnTo>
                    <a:pt x="4180" y="1980"/>
                  </a:lnTo>
                  <a:lnTo>
                    <a:pt x="4178" y="1976"/>
                  </a:lnTo>
                  <a:lnTo>
                    <a:pt x="4176" y="1976"/>
                  </a:lnTo>
                  <a:lnTo>
                    <a:pt x="4176" y="1976"/>
                  </a:lnTo>
                  <a:lnTo>
                    <a:pt x="4178" y="1978"/>
                  </a:lnTo>
                  <a:lnTo>
                    <a:pt x="4180" y="1984"/>
                  </a:lnTo>
                  <a:lnTo>
                    <a:pt x="4180" y="1982"/>
                  </a:lnTo>
                  <a:lnTo>
                    <a:pt x="4180" y="1982"/>
                  </a:lnTo>
                  <a:lnTo>
                    <a:pt x="4180" y="1982"/>
                  </a:lnTo>
                  <a:close/>
                  <a:moveTo>
                    <a:pt x="4172" y="1687"/>
                  </a:moveTo>
                  <a:lnTo>
                    <a:pt x="4172" y="1689"/>
                  </a:lnTo>
                  <a:lnTo>
                    <a:pt x="4172" y="1689"/>
                  </a:lnTo>
                  <a:lnTo>
                    <a:pt x="4174" y="1689"/>
                  </a:lnTo>
                  <a:lnTo>
                    <a:pt x="4174" y="1689"/>
                  </a:lnTo>
                  <a:lnTo>
                    <a:pt x="4174" y="1687"/>
                  </a:lnTo>
                  <a:lnTo>
                    <a:pt x="4174" y="1687"/>
                  </a:lnTo>
                  <a:lnTo>
                    <a:pt x="4172" y="1687"/>
                  </a:lnTo>
                  <a:close/>
                  <a:moveTo>
                    <a:pt x="4196" y="1706"/>
                  </a:moveTo>
                  <a:lnTo>
                    <a:pt x="4196" y="1708"/>
                  </a:lnTo>
                  <a:lnTo>
                    <a:pt x="4196" y="1708"/>
                  </a:lnTo>
                  <a:lnTo>
                    <a:pt x="4196" y="1708"/>
                  </a:lnTo>
                  <a:lnTo>
                    <a:pt x="4198" y="1708"/>
                  </a:lnTo>
                  <a:lnTo>
                    <a:pt x="4198" y="1708"/>
                  </a:lnTo>
                  <a:lnTo>
                    <a:pt x="4196" y="1708"/>
                  </a:lnTo>
                  <a:lnTo>
                    <a:pt x="4196" y="1706"/>
                  </a:lnTo>
                  <a:close/>
                  <a:moveTo>
                    <a:pt x="4213" y="1706"/>
                  </a:moveTo>
                  <a:lnTo>
                    <a:pt x="4213" y="1706"/>
                  </a:lnTo>
                  <a:lnTo>
                    <a:pt x="4213" y="1704"/>
                  </a:lnTo>
                  <a:lnTo>
                    <a:pt x="4213" y="1704"/>
                  </a:lnTo>
                  <a:lnTo>
                    <a:pt x="4213" y="1704"/>
                  </a:lnTo>
                  <a:lnTo>
                    <a:pt x="4211" y="1704"/>
                  </a:lnTo>
                  <a:lnTo>
                    <a:pt x="4209" y="1704"/>
                  </a:lnTo>
                  <a:lnTo>
                    <a:pt x="4209" y="1704"/>
                  </a:lnTo>
                  <a:lnTo>
                    <a:pt x="4209" y="1706"/>
                  </a:lnTo>
                  <a:lnTo>
                    <a:pt x="4211" y="1706"/>
                  </a:lnTo>
                  <a:lnTo>
                    <a:pt x="4211" y="1706"/>
                  </a:lnTo>
                  <a:lnTo>
                    <a:pt x="4213" y="1706"/>
                  </a:lnTo>
                  <a:close/>
                  <a:moveTo>
                    <a:pt x="4178" y="1708"/>
                  </a:moveTo>
                  <a:lnTo>
                    <a:pt x="4180" y="1710"/>
                  </a:lnTo>
                  <a:lnTo>
                    <a:pt x="4180" y="1708"/>
                  </a:lnTo>
                  <a:lnTo>
                    <a:pt x="4180" y="1708"/>
                  </a:lnTo>
                  <a:lnTo>
                    <a:pt x="4180" y="1708"/>
                  </a:lnTo>
                  <a:lnTo>
                    <a:pt x="4184" y="1708"/>
                  </a:lnTo>
                  <a:lnTo>
                    <a:pt x="4186" y="1708"/>
                  </a:lnTo>
                  <a:lnTo>
                    <a:pt x="4186" y="1708"/>
                  </a:lnTo>
                  <a:lnTo>
                    <a:pt x="4190" y="1708"/>
                  </a:lnTo>
                  <a:lnTo>
                    <a:pt x="4190" y="1708"/>
                  </a:lnTo>
                  <a:lnTo>
                    <a:pt x="4190" y="1706"/>
                  </a:lnTo>
                  <a:lnTo>
                    <a:pt x="4192" y="1706"/>
                  </a:lnTo>
                  <a:lnTo>
                    <a:pt x="4192" y="1706"/>
                  </a:lnTo>
                  <a:lnTo>
                    <a:pt x="4192" y="1704"/>
                  </a:lnTo>
                  <a:lnTo>
                    <a:pt x="4178" y="1704"/>
                  </a:lnTo>
                  <a:lnTo>
                    <a:pt x="4176" y="1704"/>
                  </a:lnTo>
                  <a:lnTo>
                    <a:pt x="4174" y="1706"/>
                  </a:lnTo>
                  <a:lnTo>
                    <a:pt x="4174" y="1706"/>
                  </a:lnTo>
                  <a:lnTo>
                    <a:pt x="4174" y="1708"/>
                  </a:lnTo>
                  <a:lnTo>
                    <a:pt x="4178" y="1708"/>
                  </a:lnTo>
                  <a:close/>
                  <a:moveTo>
                    <a:pt x="2722" y="692"/>
                  </a:moveTo>
                  <a:lnTo>
                    <a:pt x="2722" y="694"/>
                  </a:lnTo>
                  <a:lnTo>
                    <a:pt x="2724" y="694"/>
                  </a:lnTo>
                  <a:lnTo>
                    <a:pt x="2724" y="694"/>
                  </a:lnTo>
                  <a:lnTo>
                    <a:pt x="2724" y="694"/>
                  </a:lnTo>
                  <a:lnTo>
                    <a:pt x="2726" y="692"/>
                  </a:lnTo>
                  <a:lnTo>
                    <a:pt x="2724" y="692"/>
                  </a:lnTo>
                  <a:lnTo>
                    <a:pt x="2722" y="692"/>
                  </a:lnTo>
                  <a:close/>
                  <a:moveTo>
                    <a:pt x="3058" y="1082"/>
                  </a:moveTo>
                  <a:lnTo>
                    <a:pt x="3058" y="1080"/>
                  </a:lnTo>
                  <a:lnTo>
                    <a:pt x="3056" y="1080"/>
                  </a:lnTo>
                  <a:lnTo>
                    <a:pt x="3056" y="1082"/>
                  </a:lnTo>
                  <a:lnTo>
                    <a:pt x="3054" y="1082"/>
                  </a:lnTo>
                  <a:lnTo>
                    <a:pt x="3052" y="1082"/>
                  </a:lnTo>
                  <a:lnTo>
                    <a:pt x="3046" y="1084"/>
                  </a:lnTo>
                  <a:lnTo>
                    <a:pt x="3044" y="1086"/>
                  </a:lnTo>
                  <a:lnTo>
                    <a:pt x="3042" y="1086"/>
                  </a:lnTo>
                  <a:lnTo>
                    <a:pt x="3039" y="1084"/>
                  </a:lnTo>
                  <a:lnTo>
                    <a:pt x="3035" y="1084"/>
                  </a:lnTo>
                  <a:lnTo>
                    <a:pt x="3035" y="1086"/>
                  </a:lnTo>
                  <a:lnTo>
                    <a:pt x="3035" y="1088"/>
                  </a:lnTo>
                  <a:lnTo>
                    <a:pt x="3033" y="1088"/>
                  </a:lnTo>
                  <a:lnTo>
                    <a:pt x="3033" y="1088"/>
                  </a:lnTo>
                  <a:lnTo>
                    <a:pt x="3031" y="1088"/>
                  </a:lnTo>
                  <a:lnTo>
                    <a:pt x="3031" y="1088"/>
                  </a:lnTo>
                  <a:lnTo>
                    <a:pt x="3029" y="1088"/>
                  </a:lnTo>
                  <a:lnTo>
                    <a:pt x="3029" y="1090"/>
                  </a:lnTo>
                  <a:lnTo>
                    <a:pt x="3027" y="1090"/>
                  </a:lnTo>
                  <a:lnTo>
                    <a:pt x="3027" y="1092"/>
                  </a:lnTo>
                  <a:lnTo>
                    <a:pt x="3029" y="1095"/>
                  </a:lnTo>
                  <a:lnTo>
                    <a:pt x="3029" y="1095"/>
                  </a:lnTo>
                  <a:lnTo>
                    <a:pt x="3029" y="1095"/>
                  </a:lnTo>
                  <a:lnTo>
                    <a:pt x="3033" y="1097"/>
                  </a:lnTo>
                  <a:lnTo>
                    <a:pt x="3033" y="1097"/>
                  </a:lnTo>
                  <a:lnTo>
                    <a:pt x="3035" y="1097"/>
                  </a:lnTo>
                  <a:lnTo>
                    <a:pt x="3035" y="1097"/>
                  </a:lnTo>
                  <a:lnTo>
                    <a:pt x="3035" y="1097"/>
                  </a:lnTo>
                  <a:lnTo>
                    <a:pt x="3037" y="1099"/>
                  </a:lnTo>
                  <a:lnTo>
                    <a:pt x="3037" y="1097"/>
                  </a:lnTo>
                  <a:lnTo>
                    <a:pt x="3037" y="1097"/>
                  </a:lnTo>
                  <a:lnTo>
                    <a:pt x="3037" y="1097"/>
                  </a:lnTo>
                  <a:lnTo>
                    <a:pt x="3039" y="1097"/>
                  </a:lnTo>
                  <a:lnTo>
                    <a:pt x="3039" y="1097"/>
                  </a:lnTo>
                  <a:lnTo>
                    <a:pt x="3042" y="1095"/>
                  </a:lnTo>
                  <a:lnTo>
                    <a:pt x="3044" y="1095"/>
                  </a:lnTo>
                  <a:lnTo>
                    <a:pt x="3044" y="1095"/>
                  </a:lnTo>
                  <a:lnTo>
                    <a:pt x="3048" y="1090"/>
                  </a:lnTo>
                  <a:lnTo>
                    <a:pt x="3048" y="1090"/>
                  </a:lnTo>
                  <a:lnTo>
                    <a:pt x="3048" y="1090"/>
                  </a:lnTo>
                  <a:lnTo>
                    <a:pt x="3050" y="1090"/>
                  </a:lnTo>
                  <a:lnTo>
                    <a:pt x="3052" y="1090"/>
                  </a:lnTo>
                  <a:lnTo>
                    <a:pt x="3052" y="1090"/>
                  </a:lnTo>
                  <a:lnTo>
                    <a:pt x="3052" y="1090"/>
                  </a:lnTo>
                  <a:lnTo>
                    <a:pt x="3050" y="1088"/>
                  </a:lnTo>
                  <a:lnTo>
                    <a:pt x="3050" y="1088"/>
                  </a:lnTo>
                  <a:lnTo>
                    <a:pt x="3050" y="1086"/>
                  </a:lnTo>
                  <a:lnTo>
                    <a:pt x="3058" y="1082"/>
                  </a:lnTo>
                  <a:close/>
                  <a:moveTo>
                    <a:pt x="3019" y="902"/>
                  </a:moveTo>
                  <a:lnTo>
                    <a:pt x="3023" y="902"/>
                  </a:lnTo>
                  <a:lnTo>
                    <a:pt x="3025" y="902"/>
                  </a:lnTo>
                  <a:lnTo>
                    <a:pt x="3023" y="902"/>
                  </a:lnTo>
                  <a:lnTo>
                    <a:pt x="3017" y="900"/>
                  </a:lnTo>
                  <a:lnTo>
                    <a:pt x="3017" y="900"/>
                  </a:lnTo>
                  <a:lnTo>
                    <a:pt x="3015" y="900"/>
                  </a:lnTo>
                  <a:lnTo>
                    <a:pt x="3017" y="900"/>
                  </a:lnTo>
                  <a:lnTo>
                    <a:pt x="3017" y="902"/>
                  </a:lnTo>
                  <a:lnTo>
                    <a:pt x="3019" y="902"/>
                  </a:lnTo>
                  <a:close/>
                  <a:moveTo>
                    <a:pt x="2953" y="1084"/>
                  </a:moveTo>
                  <a:lnTo>
                    <a:pt x="2953" y="1084"/>
                  </a:lnTo>
                  <a:lnTo>
                    <a:pt x="2955" y="1082"/>
                  </a:lnTo>
                  <a:lnTo>
                    <a:pt x="2955" y="1082"/>
                  </a:lnTo>
                  <a:lnTo>
                    <a:pt x="2953" y="1080"/>
                  </a:lnTo>
                  <a:lnTo>
                    <a:pt x="2955" y="1080"/>
                  </a:lnTo>
                  <a:lnTo>
                    <a:pt x="2955" y="1078"/>
                  </a:lnTo>
                  <a:lnTo>
                    <a:pt x="2953" y="1078"/>
                  </a:lnTo>
                  <a:lnTo>
                    <a:pt x="2953" y="1080"/>
                  </a:lnTo>
                  <a:lnTo>
                    <a:pt x="2953" y="1082"/>
                  </a:lnTo>
                  <a:lnTo>
                    <a:pt x="2953" y="1082"/>
                  </a:lnTo>
                  <a:lnTo>
                    <a:pt x="2953" y="1084"/>
                  </a:lnTo>
                  <a:lnTo>
                    <a:pt x="2953" y="1084"/>
                  </a:lnTo>
                  <a:close/>
                  <a:moveTo>
                    <a:pt x="2963" y="1066"/>
                  </a:moveTo>
                  <a:lnTo>
                    <a:pt x="2963" y="1066"/>
                  </a:lnTo>
                  <a:lnTo>
                    <a:pt x="2963" y="1066"/>
                  </a:lnTo>
                  <a:lnTo>
                    <a:pt x="2963" y="1064"/>
                  </a:lnTo>
                  <a:lnTo>
                    <a:pt x="2963" y="1064"/>
                  </a:lnTo>
                  <a:lnTo>
                    <a:pt x="2963" y="1066"/>
                  </a:lnTo>
                  <a:lnTo>
                    <a:pt x="2963" y="1066"/>
                  </a:lnTo>
                  <a:lnTo>
                    <a:pt x="2963" y="1066"/>
                  </a:lnTo>
                  <a:lnTo>
                    <a:pt x="2963" y="1066"/>
                  </a:lnTo>
                  <a:close/>
                  <a:moveTo>
                    <a:pt x="2815" y="962"/>
                  </a:moveTo>
                  <a:lnTo>
                    <a:pt x="2813" y="962"/>
                  </a:lnTo>
                  <a:lnTo>
                    <a:pt x="2819" y="964"/>
                  </a:lnTo>
                  <a:lnTo>
                    <a:pt x="2817" y="962"/>
                  </a:lnTo>
                  <a:lnTo>
                    <a:pt x="2815" y="962"/>
                  </a:lnTo>
                  <a:lnTo>
                    <a:pt x="2815" y="962"/>
                  </a:lnTo>
                  <a:close/>
                  <a:moveTo>
                    <a:pt x="2951" y="1045"/>
                  </a:moveTo>
                  <a:lnTo>
                    <a:pt x="2951" y="1045"/>
                  </a:lnTo>
                  <a:lnTo>
                    <a:pt x="2949" y="1045"/>
                  </a:lnTo>
                  <a:lnTo>
                    <a:pt x="2947" y="1045"/>
                  </a:lnTo>
                  <a:lnTo>
                    <a:pt x="2947" y="1045"/>
                  </a:lnTo>
                  <a:lnTo>
                    <a:pt x="2945" y="1047"/>
                  </a:lnTo>
                  <a:lnTo>
                    <a:pt x="2947" y="1047"/>
                  </a:lnTo>
                  <a:lnTo>
                    <a:pt x="2947" y="1047"/>
                  </a:lnTo>
                  <a:lnTo>
                    <a:pt x="2949" y="1047"/>
                  </a:lnTo>
                  <a:lnTo>
                    <a:pt x="2949" y="1047"/>
                  </a:lnTo>
                  <a:lnTo>
                    <a:pt x="2951" y="1047"/>
                  </a:lnTo>
                  <a:lnTo>
                    <a:pt x="2953" y="1047"/>
                  </a:lnTo>
                  <a:lnTo>
                    <a:pt x="2953" y="1045"/>
                  </a:lnTo>
                  <a:lnTo>
                    <a:pt x="2951" y="1045"/>
                  </a:lnTo>
                  <a:close/>
                  <a:moveTo>
                    <a:pt x="2951" y="1059"/>
                  </a:moveTo>
                  <a:lnTo>
                    <a:pt x="2951" y="1059"/>
                  </a:lnTo>
                  <a:lnTo>
                    <a:pt x="2953" y="1059"/>
                  </a:lnTo>
                  <a:lnTo>
                    <a:pt x="2951" y="1057"/>
                  </a:lnTo>
                  <a:lnTo>
                    <a:pt x="2951" y="1057"/>
                  </a:lnTo>
                  <a:lnTo>
                    <a:pt x="2949" y="1057"/>
                  </a:lnTo>
                  <a:lnTo>
                    <a:pt x="2951" y="1057"/>
                  </a:lnTo>
                  <a:lnTo>
                    <a:pt x="2951" y="1059"/>
                  </a:lnTo>
                  <a:lnTo>
                    <a:pt x="2951" y="1059"/>
                  </a:lnTo>
                  <a:close/>
                  <a:moveTo>
                    <a:pt x="2955" y="1059"/>
                  </a:moveTo>
                  <a:lnTo>
                    <a:pt x="2955" y="1059"/>
                  </a:lnTo>
                  <a:lnTo>
                    <a:pt x="2953" y="1061"/>
                  </a:lnTo>
                  <a:lnTo>
                    <a:pt x="2951" y="1061"/>
                  </a:lnTo>
                  <a:lnTo>
                    <a:pt x="2951" y="1064"/>
                  </a:lnTo>
                  <a:lnTo>
                    <a:pt x="2951" y="1064"/>
                  </a:lnTo>
                  <a:lnTo>
                    <a:pt x="2951" y="1061"/>
                  </a:lnTo>
                  <a:lnTo>
                    <a:pt x="2953" y="1061"/>
                  </a:lnTo>
                  <a:lnTo>
                    <a:pt x="2955" y="1061"/>
                  </a:lnTo>
                  <a:lnTo>
                    <a:pt x="2957" y="1061"/>
                  </a:lnTo>
                  <a:lnTo>
                    <a:pt x="2955" y="1059"/>
                  </a:lnTo>
                  <a:close/>
                  <a:moveTo>
                    <a:pt x="2806" y="954"/>
                  </a:moveTo>
                  <a:lnTo>
                    <a:pt x="2806" y="954"/>
                  </a:lnTo>
                  <a:lnTo>
                    <a:pt x="2806" y="952"/>
                  </a:lnTo>
                  <a:lnTo>
                    <a:pt x="2806" y="952"/>
                  </a:lnTo>
                  <a:lnTo>
                    <a:pt x="2802" y="952"/>
                  </a:lnTo>
                  <a:lnTo>
                    <a:pt x="2800" y="952"/>
                  </a:lnTo>
                  <a:lnTo>
                    <a:pt x="2800" y="952"/>
                  </a:lnTo>
                  <a:lnTo>
                    <a:pt x="2800" y="952"/>
                  </a:lnTo>
                  <a:lnTo>
                    <a:pt x="2802" y="954"/>
                  </a:lnTo>
                  <a:lnTo>
                    <a:pt x="2804" y="954"/>
                  </a:lnTo>
                  <a:lnTo>
                    <a:pt x="2806" y="954"/>
                  </a:lnTo>
                  <a:close/>
                  <a:moveTo>
                    <a:pt x="2961" y="1076"/>
                  </a:moveTo>
                  <a:lnTo>
                    <a:pt x="2963" y="1076"/>
                  </a:lnTo>
                  <a:lnTo>
                    <a:pt x="2963" y="1076"/>
                  </a:lnTo>
                  <a:lnTo>
                    <a:pt x="2965" y="1074"/>
                  </a:lnTo>
                  <a:lnTo>
                    <a:pt x="2967" y="1074"/>
                  </a:lnTo>
                  <a:lnTo>
                    <a:pt x="2967" y="1072"/>
                  </a:lnTo>
                  <a:lnTo>
                    <a:pt x="2967" y="1072"/>
                  </a:lnTo>
                  <a:lnTo>
                    <a:pt x="2969" y="1068"/>
                  </a:lnTo>
                  <a:lnTo>
                    <a:pt x="2969" y="1068"/>
                  </a:lnTo>
                  <a:lnTo>
                    <a:pt x="2967" y="1068"/>
                  </a:lnTo>
                  <a:lnTo>
                    <a:pt x="2965" y="1070"/>
                  </a:lnTo>
                  <a:lnTo>
                    <a:pt x="2963" y="1070"/>
                  </a:lnTo>
                  <a:lnTo>
                    <a:pt x="2963" y="1072"/>
                  </a:lnTo>
                  <a:lnTo>
                    <a:pt x="2961" y="1072"/>
                  </a:lnTo>
                  <a:lnTo>
                    <a:pt x="2961" y="1072"/>
                  </a:lnTo>
                  <a:lnTo>
                    <a:pt x="2961" y="1074"/>
                  </a:lnTo>
                  <a:lnTo>
                    <a:pt x="2961" y="1076"/>
                  </a:lnTo>
                  <a:lnTo>
                    <a:pt x="2961" y="1076"/>
                  </a:lnTo>
                  <a:close/>
                  <a:moveTo>
                    <a:pt x="2800" y="954"/>
                  </a:moveTo>
                  <a:lnTo>
                    <a:pt x="2802" y="956"/>
                  </a:lnTo>
                  <a:lnTo>
                    <a:pt x="2804" y="956"/>
                  </a:lnTo>
                  <a:lnTo>
                    <a:pt x="2811" y="956"/>
                  </a:lnTo>
                  <a:lnTo>
                    <a:pt x="2811" y="956"/>
                  </a:lnTo>
                  <a:lnTo>
                    <a:pt x="2811" y="956"/>
                  </a:lnTo>
                  <a:lnTo>
                    <a:pt x="2804" y="956"/>
                  </a:lnTo>
                  <a:lnTo>
                    <a:pt x="2804" y="954"/>
                  </a:lnTo>
                  <a:lnTo>
                    <a:pt x="2802" y="954"/>
                  </a:lnTo>
                  <a:lnTo>
                    <a:pt x="2800" y="954"/>
                  </a:lnTo>
                  <a:lnTo>
                    <a:pt x="2800" y="954"/>
                  </a:lnTo>
                  <a:close/>
                  <a:moveTo>
                    <a:pt x="2804" y="960"/>
                  </a:moveTo>
                  <a:lnTo>
                    <a:pt x="2804" y="960"/>
                  </a:lnTo>
                  <a:lnTo>
                    <a:pt x="2806" y="960"/>
                  </a:lnTo>
                  <a:lnTo>
                    <a:pt x="2809" y="960"/>
                  </a:lnTo>
                  <a:lnTo>
                    <a:pt x="2811" y="960"/>
                  </a:lnTo>
                  <a:lnTo>
                    <a:pt x="2811" y="960"/>
                  </a:lnTo>
                  <a:lnTo>
                    <a:pt x="2811" y="960"/>
                  </a:lnTo>
                  <a:lnTo>
                    <a:pt x="2811" y="958"/>
                  </a:lnTo>
                  <a:lnTo>
                    <a:pt x="2809" y="958"/>
                  </a:lnTo>
                  <a:lnTo>
                    <a:pt x="2806" y="958"/>
                  </a:lnTo>
                  <a:lnTo>
                    <a:pt x="2804" y="958"/>
                  </a:lnTo>
                  <a:lnTo>
                    <a:pt x="2804" y="958"/>
                  </a:lnTo>
                  <a:lnTo>
                    <a:pt x="2804" y="960"/>
                  </a:lnTo>
                  <a:close/>
                  <a:moveTo>
                    <a:pt x="2784" y="940"/>
                  </a:moveTo>
                  <a:lnTo>
                    <a:pt x="2782" y="938"/>
                  </a:lnTo>
                  <a:lnTo>
                    <a:pt x="2782" y="940"/>
                  </a:lnTo>
                  <a:lnTo>
                    <a:pt x="2782" y="940"/>
                  </a:lnTo>
                  <a:lnTo>
                    <a:pt x="2784" y="942"/>
                  </a:lnTo>
                  <a:lnTo>
                    <a:pt x="2784" y="940"/>
                  </a:lnTo>
                  <a:close/>
                  <a:moveTo>
                    <a:pt x="2782" y="944"/>
                  </a:moveTo>
                  <a:lnTo>
                    <a:pt x="2782" y="942"/>
                  </a:lnTo>
                  <a:lnTo>
                    <a:pt x="2784" y="944"/>
                  </a:lnTo>
                  <a:lnTo>
                    <a:pt x="2784" y="944"/>
                  </a:lnTo>
                  <a:lnTo>
                    <a:pt x="2784" y="942"/>
                  </a:lnTo>
                  <a:lnTo>
                    <a:pt x="2780" y="940"/>
                  </a:lnTo>
                  <a:lnTo>
                    <a:pt x="2778" y="938"/>
                  </a:lnTo>
                  <a:lnTo>
                    <a:pt x="2780" y="940"/>
                  </a:lnTo>
                  <a:lnTo>
                    <a:pt x="2782" y="944"/>
                  </a:lnTo>
                  <a:close/>
                  <a:moveTo>
                    <a:pt x="2549" y="909"/>
                  </a:moveTo>
                  <a:lnTo>
                    <a:pt x="2549" y="909"/>
                  </a:lnTo>
                  <a:lnTo>
                    <a:pt x="2549" y="907"/>
                  </a:lnTo>
                  <a:lnTo>
                    <a:pt x="2547" y="905"/>
                  </a:lnTo>
                  <a:lnTo>
                    <a:pt x="2547" y="907"/>
                  </a:lnTo>
                  <a:lnTo>
                    <a:pt x="2547" y="907"/>
                  </a:lnTo>
                  <a:lnTo>
                    <a:pt x="2549" y="909"/>
                  </a:lnTo>
                  <a:lnTo>
                    <a:pt x="2549" y="909"/>
                  </a:lnTo>
                  <a:close/>
                  <a:moveTo>
                    <a:pt x="2778" y="931"/>
                  </a:moveTo>
                  <a:lnTo>
                    <a:pt x="2780" y="933"/>
                  </a:lnTo>
                  <a:lnTo>
                    <a:pt x="2780" y="933"/>
                  </a:lnTo>
                  <a:lnTo>
                    <a:pt x="2782" y="933"/>
                  </a:lnTo>
                  <a:lnTo>
                    <a:pt x="2782" y="936"/>
                  </a:lnTo>
                  <a:lnTo>
                    <a:pt x="2782" y="936"/>
                  </a:lnTo>
                  <a:lnTo>
                    <a:pt x="2784" y="936"/>
                  </a:lnTo>
                  <a:lnTo>
                    <a:pt x="2784" y="936"/>
                  </a:lnTo>
                  <a:lnTo>
                    <a:pt x="2784" y="936"/>
                  </a:lnTo>
                  <a:lnTo>
                    <a:pt x="2782" y="933"/>
                  </a:lnTo>
                  <a:lnTo>
                    <a:pt x="2780" y="931"/>
                  </a:lnTo>
                  <a:lnTo>
                    <a:pt x="2780" y="931"/>
                  </a:lnTo>
                  <a:lnTo>
                    <a:pt x="2778" y="931"/>
                  </a:lnTo>
                  <a:lnTo>
                    <a:pt x="2778" y="929"/>
                  </a:lnTo>
                  <a:lnTo>
                    <a:pt x="2776" y="929"/>
                  </a:lnTo>
                  <a:lnTo>
                    <a:pt x="2778" y="929"/>
                  </a:lnTo>
                  <a:lnTo>
                    <a:pt x="2778" y="931"/>
                  </a:lnTo>
                  <a:close/>
                  <a:moveTo>
                    <a:pt x="2778" y="927"/>
                  </a:moveTo>
                  <a:lnTo>
                    <a:pt x="2778" y="929"/>
                  </a:lnTo>
                  <a:lnTo>
                    <a:pt x="2778" y="927"/>
                  </a:lnTo>
                  <a:lnTo>
                    <a:pt x="2778" y="927"/>
                  </a:lnTo>
                  <a:lnTo>
                    <a:pt x="2778" y="927"/>
                  </a:lnTo>
                  <a:lnTo>
                    <a:pt x="2776" y="927"/>
                  </a:lnTo>
                  <a:lnTo>
                    <a:pt x="2776" y="927"/>
                  </a:lnTo>
                  <a:lnTo>
                    <a:pt x="2776" y="927"/>
                  </a:lnTo>
                  <a:lnTo>
                    <a:pt x="2776" y="927"/>
                  </a:lnTo>
                  <a:lnTo>
                    <a:pt x="2778" y="927"/>
                  </a:lnTo>
                  <a:close/>
                  <a:moveTo>
                    <a:pt x="2771" y="925"/>
                  </a:moveTo>
                  <a:lnTo>
                    <a:pt x="2771" y="927"/>
                  </a:lnTo>
                  <a:lnTo>
                    <a:pt x="2771" y="929"/>
                  </a:lnTo>
                  <a:lnTo>
                    <a:pt x="2773" y="931"/>
                  </a:lnTo>
                  <a:lnTo>
                    <a:pt x="2773" y="929"/>
                  </a:lnTo>
                  <a:lnTo>
                    <a:pt x="2773" y="929"/>
                  </a:lnTo>
                  <a:lnTo>
                    <a:pt x="2773" y="929"/>
                  </a:lnTo>
                  <a:lnTo>
                    <a:pt x="2771" y="925"/>
                  </a:lnTo>
                  <a:lnTo>
                    <a:pt x="2773" y="925"/>
                  </a:lnTo>
                  <a:lnTo>
                    <a:pt x="2771" y="923"/>
                  </a:lnTo>
                  <a:lnTo>
                    <a:pt x="2771" y="923"/>
                  </a:lnTo>
                  <a:lnTo>
                    <a:pt x="2771" y="921"/>
                  </a:lnTo>
                  <a:lnTo>
                    <a:pt x="2771" y="921"/>
                  </a:lnTo>
                  <a:lnTo>
                    <a:pt x="2769" y="921"/>
                  </a:lnTo>
                  <a:lnTo>
                    <a:pt x="2771" y="923"/>
                  </a:lnTo>
                  <a:lnTo>
                    <a:pt x="2771" y="923"/>
                  </a:lnTo>
                  <a:lnTo>
                    <a:pt x="2769" y="925"/>
                  </a:lnTo>
                  <a:lnTo>
                    <a:pt x="2771" y="925"/>
                  </a:lnTo>
                  <a:close/>
                  <a:moveTo>
                    <a:pt x="2784" y="942"/>
                  </a:moveTo>
                  <a:lnTo>
                    <a:pt x="2786" y="942"/>
                  </a:lnTo>
                  <a:lnTo>
                    <a:pt x="2786" y="944"/>
                  </a:lnTo>
                  <a:lnTo>
                    <a:pt x="2786" y="942"/>
                  </a:lnTo>
                  <a:lnTo>
                    <a:pt x="2784" y="942"/>
                  </a:lnTo>
                  <a:lnTo>
                    <a:pt x="2784" y="942"/>
                  </a:lnTo>
                  <a:close/>
                  <a:moveTo>
                    <a:pt x="2646" y="768"/>
                  </a:moveTo>
                  <a:lnTo>
                    <a:pt x="2646" y="768"/>
                  </a:lnTo>
                  <a:lnTo>
                    <a:pt x="2644" y="770"/>
                  </a:lnTo>
                  <a:lnTo>
                    <a:pt x="2639" y="770"/>
                  </a:lnTo>
                  <a:lnTo>
                    <a:pt x="2641" y="770"/>
                  </a:lnTo>
                  <a:lnTo>
                    <a:pt x="2641" y="770"/>
                  </a:lnTo>
                  <a:lnTo>
                    <a:pt x="2646" y="768"/>
                  </a:lnTo>
                  <a:close/>
                  <a:moveTo>
                    <a:pt x="2776" y="923"/>
                  </a:moveTo>
                  <a:lnTo>
                    <a:pt x="2776" y="923"/>
                  </a:lnTo>
                  <a:lnTo>
                    <a:pt x="2776" y="925"/>
                  </a:lnTo>
                  <a:lnTo>
                    <a:pt x="2778" y="925"/>
                  </a:lnTo>
                  <a:lnTo>
                    <a:pt x="2776" y="923"/>
                  </a:lnTo>
                  <a:lnTo>
                    <a:pt x="2776" y="923"/>
                  </a:lnTo>
                  <a:lnTo>
                    <a:pt x="2776" y="921"/>
                  </a:lnTo>
                  <a:lnTo>
                    <a:pt x="2773" y="919"/>
                  </a:lnTo>
                  <a:lnTo>
                    <a:pt x="2773" y="921"/>
                  </a:lnTo>
                  <a:lnTo>
                    <a:pt x="2771" y="921"/>
                  </a:lnTo>
                  <a:lnTo>
                    <a:pt x="2771" y="923"/>
                  </a:lnTo>
                  <a:lnTo>
                    <a:pt x="2773" y="923"/>
                  </a:lnTo>
                  <a:lnTo>
                    <a:pt x="2776" y="923"/>
                  </a:lnTo>
                  <a:close/>
                  <a:moveTo>
                    <a:pt x="2916" y="1064"/>
                  </a:moveTo>
                  <a:lnTo>
                    <a:pt x="2916" y="1061"/>
                  </a:lnTo>
                  <a:lnTo>
                    <a:pt x="2916" y="1064"/>
                  </a:lnTo>
                  <a:lnTo>
                    <a:pt x="2916" y="1064"/>
                  </a:lnTo>
                  <a:lnTo>
                    <a:pt x="2914" y="1064"/>
                  </a:lnTo>
                  <a:lnTo>
                    <a:pt x="2914" y="1064"/>
                  </a:lnTo>
                  <a:lnTo>
                    <a:pt x="2914" y="1064"/>
                  </a:lnTo>
                  <a:lnTo>
                    <a:pt x="2914" y="1064"/>
                  </a:lnTo>
                  <a:lnTo>
                    <a:pt x="2916" y="1064"/>
                  </a:lnTo>
                  <a:lnTo>
                    <a:pt x="2916" y="1064"/>
                  </a:lnTo>
                  <a:close/>
                  <a:moveTo>
                    <a:pt x="2934" y="1061"/>
                  </a:moveTo>
                  <a:lnTo>
                    <a:pt x="2934" y="1061"/>
                  </a:lnTo>
                  <a:lnTo>
                    <a:pt x="2934" y="1061"/>
                  </a:lnTo>
                  <a:lnTo>
                    <a:pt x="2934" y="1061"/>
                  </a:lnTo>
                  <a:lnTo>
                    <a:pt x="2936" y="1059"/>
                  </a:lnTo>
                  <a:lnTo>
                    <a:pt x="2938" y="1059"/>
                  </a:lnTo>
                  <a:lnTo>
                    <a:pt x="2936" y="1059"/>
                  </a:lnTo>
                  <a:lnTo>
                    <a:pt x="2936" y="1059"/>
                  </a:lnTo>
                  <a:lnTo>
                    <a:pt x="2934" y="1061"/>
                  </a:lnTo>
                  <a:lnTo>
                    <a:pt x="2934" y="1061"/>
                  </a:lnTo>
                  <a:lnTo>
                    <a:pt x="2934" y="1061"/>
                  </a:lnTo>
                  <a:close/>
                  <a:moveTo>
                    <a:pt x="2943" y="1020"/>
                  </a:moveTo>
                  <a:lnTo>
                    <a:pt x="2938" y="1020"/>
                  </a:lnTo>
                  <a:lnTo>
                    <a:pt x="2938" y="1020"/>
                  </a:lnTo>
                  <a:lnTo>
                    <a:pt x="2938" y="1020"/>
                  </a:lnTo>
                  <a:lnTo>
                    <a:pt x="2936" y="1020"/>
                  </a:lnTo>
                  <a:lnTo>
                    <a:pt x="2936" y="1020"/>
                  </a:lnTo>
                  <a:lnTo>
                    <a:pt x="2934" y="1022"/>
                  </a:lnTo>
                  <a:lnTo>
                    <a:pt x="2934" y="1022"/>
                  </a:lnTo>
                  <a:lnTo>
                    <a:pt x="2936" y="1024"/>
                  </a:lnTo>
                  <a:lnTo>
                    <a:pt x="2938" y="1024"/>
                  </a:lnTo>
                  <a:lnTo>
                    <a:pt x="2940" y="1022"/>
                  </a:lnTo>
                  <a:lnTo>
                    <a:pt x="2940" y="1022"/>
                  </a:lnTo>
                  <a:lnTo>
                    <a:pt x="2940" y="1022"/>
                  </a:lnTo>
                  <a:lnTo>
                    <a:pt x="2938" y="1024"/>
                  </a:lnTo>
                  <a:lnTo>
                    <a:pt x="2938" y="1024"/>
                  </a:lnTo>
                  <a:lnTo>
                    <a:pt x="2943" y="1026"/>
                  </a:lnTo>
                  <a:lnTo>
                    <a:pt x="2945" y="1026"/>
                  </a:lnTo>
                  <a:lnTo>
                    <a:pt x="2945" y="1026"/>
                  </a:lnTo>
                  <a:lnTo>
                    <a:pt x="2945" y="1024"/>
                  </a:lnTo>
                  <a:lnTo>
                    <a:pt x="2945" y="1024"/>
                  </a:lnTo>
                  <a:lnTo>
                    <a:pt x="2945" y="1024"/>
                  </a:lnTo>
                  <a:lnTo>
                    <a:pt x="2945" y="1024"/>
                  </a:lnTo>
                  <a:lnTo>
                    <a:pt x="2945" y="1024"/>
                  </a:lnTo>
                  <a:lnTo>
                    <a:pt x="2945" y="1024"/>
                  </a:lnTo>
                  <a:lnTo>
                    <a:pt x="2945" y="1022"/>
                  </a:lnTo>
                  <a:lnTo>
                    <a:pt x="2943" y="1022"/>
                  </a:lnTo>
                  <a:lnTo>
                    <a:pt x="2943" y="1020"/>
                  </a:lnTo>
                  <a:lnTo>
                    <a:pt x="2943" y="1020"/>
                  </a:lnTo>
                  <a:close/>
                  <a:moveTo>
                    <a:pt x="2940" y="1049"/>
                  </a:moveTo>
                  <a:lnTo>
                    <a:pt x="2938" y="1049"/>
                  </a:lnTo>
                  <a:lnTo>
                    <a:pt x="2936" y="1049"/>
                  </a:lnTo>
                  <a:lnTo>
                    <a:pt x="2936" y="1049"/>
                  </a:lnTo>
                  <a:lnTo>
                    <a:pt x="2938" y="1049"/>
                  </a:lnTo>
                  <a:lnTo>
                    <a:pt x="2940" y="1049"/>
                  </a:lnTo>
                  <a:lnTo>
                    <a:pt x="2940" y="1049"/>
                  </a:lnTo>
                  <a:lnTo>
                    <a:pt x="2943" y="1047"/>
                  </a:lnTo>
                  <a:lnTo>
                    <a:pt x="2943" y="1047"/>
                  </a:lnTo>
                  <a:lnTo>
                    <a:pt x="2940" y="1049"/>
                  </a:lnTo>
                  <a:close/>
                  <a:moveTo>
                    <a:pt x="2938" y="1033"/>
                  </a:moveTo>
                  <a:lnTo>
                    <a:pt x="2936" y="1033"/>
                  </a:lnTo>
                  <a:lnTo>
                    <a:pt x="2934" y="1033"/>
                  </a:lnTo>
                  <a:lnTo>
                    <a:pt x="2934" y="1035"/>
                  </a:lnTo>
                  <a:lnTo>
                    <a:pt x="2936" y="1035"/>
                  </a:lnTo>
                  <a:lnTo>
                    <a:pt x="2936" y="1037"/>
                  </a:lnTo>
                  <a:lnTo>
                    <a:pt x="2936" y="1037"/>
                  </a:lnTo>
                  <a:lnTo>
                    <a:pt x="2934" y="1039"/>
                  </a:lnTo>
                  <a:lnTo>
                    <a:pt x="2936" y="1039"/>
                  </a:lnTo>
                  <a:lnTo>
                    <a:pt x="2936" y="1039"/>
                  </a:lnTo>
                  <a:lnTo>
                    <a:pt x="2938" y="1039"/>
                  </a:lnTo>
                  <a:lnTo>
                    <a:pt x="2938" y="1039"/>
                  </a:lnTo>
                  <a:lnTo>
                    <a:pt x="2938" y="1037"/>
                  </a:lnTo>
                  <a:lnTo>
                    <a:pt x="2938" y="1037"/>
                  </a:lnTo>
                  <a:lnTo>
                    <a:pt x="2938" y="1035"/>
                  </a:lnTo>
                  <a:lnTo>
                    <a:pt x="2938" y="1035"/>
                  </a:lnTo>
                  <a:lnTo>
                    <a:pt x="2938" y="1033"/>
                  </a:lnTo>
                  <a:lnTo>
                    <a:pt x="2938" y="1033"/>
                  </a:lnTo>
                  <a:close/>
                  <a:moveTo>
                    <a:pt x="2940" y="1066"/>
                  </a:moveTo>
                  <a:lnTo>
                    <a:pt x="2940" y="1066"/>
                  </a:lnTo>
                  <a:lnTo>
                    <a:pt x="2943" y="1066"/>
                  </a:lnTo>
                  <a:lnTo>
                    <a:pt x="2943" y="1066"/>
                  </a:lnTo>
                  <a:lnTo>
                    <a:pt x="2943" y="1066"/>
                  </a:lnTo>
                  <a:lnTo>
                    <a:pt x="2943" y="1066"/>
                  </a:lnTo>
                  <a:lnTo>
                    <a:pt x="2943" y="1064"/>
                  </a:lnTo>
                  <a:lnTo>
                    <a:pt x="2943" y="1066"/>
                  </a:lnTo>
                  <a:lnTo>
                    <a:pt x="2943" y="1066"/>
                  </a:lnTo>
                  <a:lnTo>
                    <a:pt x="2940" y="1066"/>
                  </a:lnTo>
                  <a:close/>
                  <a:moveTo>
                    <a:pt x="2914" y="1051"/>
                  </a:moveTo>
                  <a:lnTo>
                    <a:pt x="2914" y="1051"/>
                  </a:lnTo>
                  <a:lnTo>
                    <a:pt x="2914" y="1051"/>
                  </a:lnTo>
                  <a:lnTo>
                    <a:pt x="2914" y="1053"/>
                  </a:lnTo>
                  <a:lnTo>
                    <a:pt x="2914" y="1053"/>
                  </a:lnTo>
                  <a:lnTo>
                    <a:pt x="2914" y="1053"/>
                  </a:lnTo>
                  <a:lnTo>
                    <a:pt x="2916" y="1051"/>
                  </a:lnTo>
                  <a:lnTo>
                    <a:pt x="2916" y="1051"/>
                  </a:lnTo>
                  <a:lnTo>
                    <a:pt x="2914" y="1051"/>
                  </a:lnTo>
                  <a:close/>
                  <a:moveTo>
                    <a:pt x="2916" y="1026"/>
                  </a:moveTo>
                  <a:lnTo>
                    <a:pt x="2916" y="1028"/>
                  </a:lnTo>
                  <a:lnTo>
                    <a:pt x="2916" y="1028"/>
                  </a:lnTo>
                  <a:lnTo>
                    <a:pt x="2916" y="1028"/>
                  </a:lnTo>
                  <a:lnTo>
                    <a:pt x="2916" y="1028"/>
                  </a:lnTo>
                  <a:lnTo>
                    <a:pt x="2916" y="1028"/>
                  </a:lnTo>
                  <a:lnTo>
                    <a:pt x="2918" y="1028"/>
                  </a:lnTo>
                  <a:lnTo>
                    <a:pt x="2918" y="1028"/>
                  </a:lnTo>
                  <a:lnTo>
                    <a:pt x="2916" y="1026"/>
                  </a:lnTo>
                  <a:lnTo>
                    <a:pt x="2916" y="1026"/>
                  </a:lnTo>
                  <a:lnTo>
                    <a:pt x="2916" y="1026"/>
                  </a:lnTo>
                  <a:close/>
                  <a:moveTo>
                    <a:pt x="2916" y="1057"/>
                  </a:moveTo>
                  <a:lnTo>
                    <a:pt x="2916" y="1057"/>
                  </a:lnTo>
                  <a:lnTo>
                    <a:pt x="2916" y="1055"/>
                  </a:lnTo>
                  <a:lnTo>
                    <a:pt x="2916" y="1055"/>
                  </a:lnTo>
                  <a:lnTo>
                    <a:pt x="2916" y="1055"/>
                  </a:lnTo>
                  <a:lnTo>
                    <a:pt x="2916" y="1055"/>
                  </a:lnTo>
                  <a:lnTo>
                    <a:pt x="2914" y="1057"/>
                  </a:lnTo>
                  <a:lnTo>
                    <a:pt x="2916" y="1057"/>
                  </a:lnTo>
                  <a:close/>
                  <a:moveTo>
                    <a:pt x="2914" y="1047"/>
                  </a:moveTo>
                  <a:lnTo>
                    <a:pt x="2912" y="1049"/>
                  </a:lnTo>
                  <a:lnTo>
                    <a:pt x="2912" y="1049"/>
                  </a:lnTo>
                  <a:lnTo>
                    <a:pt x="2914" y="1049"/>
                  </a:lnTo>
                  <a:lnTo>
                    <a:pt x="2914" y="1047"/>
                  </a:lnTo>
                  <a:lnTo>
                    <a:pt x="2914" y="1047"/>
                  </a:lnTo>
                  <a:lnTo>
                    <a:pt x="2914" y="1047"/>
                  </a:lnTo>
                  <a:close/>
                  <a:moveTo>
                    <a:pt x="2901" y="1043"/>
                  </a:moveTo>
                  <a:lnTo>
                    <a:pt x="2901" y="1043"/>
                  </a:lnTo>
                  <a:lnTo>
                    <a:pt x="2901" y="1043"/>
                  </a:lnTo>
                  <a:lnTo>
                    <a:pt x="2901" y="1043"/>
                  </a:lnTo>
                  <a:lnTo>
                    <a:pt x="2899" y="1043"/>
                  </a:lnTo>
                  <a:lnTo>
                    <a:pt x="2901" y="1043"/>
                  </a:lnTo>
                  <a:lnTo>
                    <a:pt x="2901" y="1043"/>
                  </a:lnTo>
                  <a:lnTo>
                    <a:pt x="2901" y="1043"/>
                  </a:lnTo>
                  <a:lnTo>
                    <a:pt x="2901" y="1043"/>
                  </a:lnTo>
                  <a:lnTo>
                    <a:pt x="2901" y="1043"/>
                  </a:lnTo>
                  <a:lnTo>
                    <a:pt x="2901" y="1043"/>
                  </a:lnTo>
                  <a:close/>
                  <a:moveTo>
                    <a:pt x="2928" y="1010"/>
                  </a:moveTo>
                  <a:lnTo>
                    <a:pt x="2926" y="1010"/>
                  </a:lnTo>
                  <a:lnTo>
                    <a:pt x="2926" y="1010"/>
                  </a:lnTo>
                  <a:lnTo>
                    <a:pt x="2924" y="1010"/>
                  </a:lnTo>
                  <a:lnTo>
                    <a:pt x="2924" y="1010"/>
                  </a:lnTo>
                  <a:lnTo>
                    <a:pt x="2924" y="1010"/>
                  </a:lnTo>
                  <a:lnTo>
                    <a:pt x="2924" y="1012"/>
                  </a:lnTo>
                  <a:lnTo>
                    <a:pt x="2924" y="1012"/>
                  </a:lnTo>
                  <a:lnTo>
                    <a:pt x="2926" y="1012"/>
                  </a:lnTo>
                  <a:lnTo>
                    <a:pt x="2926" y="1012"/>
                  </a:lnTo>
                  <a:lnTo>
                    <a:pt x="2926" y="1010"/>
                  </a:lnTo>
                  <a:lnTo>
                    <a:pt x="2926" y="1010"/>
                  </a:lnTo>
                  <a:lnTo>
                    <a:pt x="2926" y="1012"/>
                  </a:lnTo>
                  <a:lnTo>
                    <a:pt x="2926" y="1012"/>
                  </a:lnTo>
                  <a:lnTo>
                    <a:pt x="2926" y="1012"/>
                  </a:lnTo>
                  <a:lnTo>
                    <a:pt x="2928" y="1012"/>
                  </a:lnTo>
                  <a:lnTo>
                    <a:pt x="2928" y="1012"/>
                  </a:lnTo>
                  <a:lnTo>
                    <a:pt x="2928" y="1010"/>
                  </a:lnTo>
                  <a:lnTo>
                    <a:pt x="2928" y="1010"/>
                  </a:lnTo>
                  <a:lnTo>
                    <a:pt x="2930" y="1008"/>
                  </a:lnTo>
                  <a:lnTo>
                    <a:pt x="2928" y="1010"/>
                  </a:lnTo>
                  <a:lnTo>
                    <a:pt x="2928" y="1010"/>
                  </a:lnTo>
                  <a:close/>
                  <a:moveTo>
                    <a:pt x="2934" y="1006"/>
                  </a:moveTo>
                  <a:lnTo>
                    <a:pt x="2934" y="1006"/>
                  </a:lnTo>
                  <a:lnTo>
                    <a:pt x="2932" y="1008"/>
                  </a:lnTo>
                  <a:lnTo>
                    <a:pt x="2934" y="1008"/>
                  </a:lnTo>
                  <a:lnTo>
                    <a:pt x="2936" y="1008"/>
                  </a:lnTo>
                  <a:lnTo>
                    <a:pt x="2936" y="1006"/>
                  </a:lnTo>
                  <a:lnTo>
                    <a:pt x="2936" y="1006"/>
                  </a:lnTo>
                  <a:lnTo>
                    <a:pt x="2934" y="1006"/>
                  </a:lnTo>
                  <a:close/>
                  <a:moveTo>
                    <a:pt x="2922" y="1047"/>
                  </a:moveTo>
                  <a:lnTo>
                    <a:pt x="2924" y="1047"/>
                  </a:lnTo>
                  <a:lnTo>
                    <a:pt x="2924" y="1049"/>
                  </a:lnTo>
                  <a:lnTo>
                    <a:pt x="2924" y="1049"/>
                  </a:lnTo>
                  <a:lnTo>
                    <a:pt x="2926" y="1049"/>
                  </a:lnTo>
                  <a:lnTo>
                    <a:pt x="2926" y="1049"/>
                  </a:lnTo>
                  <a:lnTo>
                    <a:pt x="2926" y="1049"/>
                  </a:lnTo>
                  <a:lnTo>
                    <a:pt x="2924" y="1047"/>
                  </a:lnTo>
                  <a:lnTo>
                    <a:pt x="2924" y="1047"/>
                  </a:lnTo>
                  <a:lnTo>
                    <a:pt x="2922" y="1047"/>
                  </a:lnTo>
                  <a:close/>
                  <a:moveTo>
                    <a:pt x="2930" y="1057"/>
                  </a:moveTo>
                  <a:lnTo>
                    <a:pt x="2930" y="1055"/>
                  </a:lnTo>
                  <a:lnTo>
                    <a:pt x="2930" y="1055"/>
                  </a:lnTo>
                  <a:lnTo>
                    <a:pt x="2930" y="1055"/>
                  </a:lnTo>
                  <a:lnTo>
                    <a:pt x="2928" y="1057"/>
                  </a:lnTo>
                  <a:lnTo>
                    <a:pt x="2928" y="1059"/>
                  </a:lnTo>
                  <a:lnTo>
                    <a:pt x="2930" y="1059"/>
                  </a:lnTo>
                  <a:lnTo>
                    <a:pt x="2930" y="1059"/>
                  </a:lnTo>
                  <a:lnTo>
                    <a:pt x="2930" y="1057"/>
                  </a:lnTo>
                  <a:close/>
                  <a:moveTo>
                    <a:pt x="2930" y="1051"/>
                  </a:moveTo>
                  <a:lnTo>
                    <a:pt x="2930" y="1051"/>
                  </a:lnTo>
                  <a:lnTo>
                    <a:pt x="2928" y="1051"/>
                  </a:lnTo>
                  <a:lnTo>
                    <a:pt x="2928" y="1051"/>
                  </a:lnTo>
                  <a:lnTo>
                    <a:pt x="2928" y="1051"/>
                  </a:lnTo>
                  <a:lnTo>
                    <a:pt x="2928" y="1051"/>
                  </a:lnTo>
                  <a:lnTo>
                    <a:pt x="2930" y="1051"/>
                  </a:lnTo>
                  <a:close/>
                  <a:moveTo>
                    <a:pt x="2926" y="1055"/>
                  </a:moveTo>
                  <a:lnTo>
                    <a:pt x="2924" y="1057"/>
                  </a:lnTo>
                  <a:lnTo>
                    <a:pt x="2924" y="1057"/>
                  </a:lnTo>
                  <a:lnTo>
                    <a:pt x="2924" y="1059"/>
                  </a:lnTo>
                  <a:lnTo>
                    <a:pt x="2926" y="1059"/>
                  </a:lnTo>
                  <a:lnTo>
                    <a:pt x="2926" y="1057"/>
                  </a:lnTo>
                  <a:lnTo>
                    <a:pt x="2926" y="1057"/>
                  </a:lnTo>
                  <a:lnTo>
                    <a:pt x="2926" y="1055"/>
                  </a:lnTo>
                  <a:lnTo>
                    <a:pt x="2926" y="1055"/>
                  </a:lnTo>
                  <a:close/>
                  <a:moveTo>
                    <a:pt x="2930" y="1068"/>
                  </a:moveTo>
                  <a:lnTo>
                    <a:pt x="2930" y="1068"/>
                  </a:lnTo>
                  <a:lnTo>
                    <a:pt x="2928" y="1068"/>
                  </a:lnTo>
                  <a:lnTo>
                    <a:pt x="2928" y="1068"/>
                  </a:lnTo>
                  <a:lnTo>
                    <a:pt x="2928" y="1068"/>
                  </a:lnTo>
                  <a:lnTo>
                    <a:pt x="2928" y="1068"/>
                  </a:lnTo>
                  <a:lnTo>
                    <a:pt x="2928" y="1068"/>
                  </a:lnTo>
                  <a:lnTo>
                    <a:pt x="2928" y="1070"/>
                  </a:lnTo>
                  <a:lnTo>
                    <a:pt x="2928" y="1070"/>
                  </a:lnTo>
                  <a:lnTo>
                    <a:pt x="2930" y="1068"/>
                  </a:lnTo>
                  <a:close/>
                  <a:moveTo>
                    <a:pt x="2932" y="1002"/>
                  </a:moveTo>
                  <a:lnTo>
                    <a:pt x="2930" y="1000"/>
                  </a:lnTo>
                  <a:lnTo>
                    <a:pt x="2930" y="1002"/>
                  </a:lnTo>
                  <a:lnTo>
                    <a:pt x="2930" y="1002"/>
                  </a:lnTo>
                  <a:lnTo>
                    <a:pt x="2932" y="1002"/>
                  </a:lnTo>
                  <a:lnTo>
                    <a:pt x="2932" y="1002"/>
                  </a:lnTo>
                  <a:lnTo>
                    <a:pt x="2932" y="1002"/>
                  </a:lnTo>
                  <a:close/>
                  <a:moveTo>
                    <a:pt x="2928" y="1064"/>
                  </a:moveTo>
                  <a:lnTo>
                    <a:pt x="2928" y="1064"/>
                  </a:lnTo>
                  <a:lnTo>
                    <a:pt x="2928" y="1064"/>
                  </a:lnTo>
                  <a:lnTo>
                    <a:pt x="2926" y="1061"/>
                  </a:lnTo>
                  <a:lnTo>
                    <a:pt x="2926" y="1061"/>
                  </a:lnTo>
                  <a:lnTo>
                    <a:pt x="2926" y="1064"/>
                  </a:lnTo>
                  <a:lnTo>
                    <a:pt x="2928" y="1064"/>
                  </a:lnTo>
                  <a:close/>
                  <a:moveTo>
                    <a:pt x="2652" y="768"/>
                  </a:moveTo>
                  <a:lnTo>
                    <a:pt x="2652" y="768"/>
                  </a:lnTo>
                  <a:lnTo>
                    <a:pt x="2650" y="768"/>
                  </a:lnTo>
                  <a:lnTo>
                    <a:pt x="2648" y="768"/>
                  </a:lnTo>
                  <a:lnTo>
                    <a:pt x="2648" y="768"/>
                  </a:lnTo>
                  <a:lnTo>
                    <a:pt x="2648" y="768"/>
                  </a:lnTo>
                  <a:lnTo>
                    <a:pt x="2648" y="768"/>
                  </a:lnTo>
                  <a:lnTo>
                    <a:pt x="2652" y="768"/>
                  </a:lnTo>
                  <a:close/>
                  <a:moveTo>
                    <a:pt x="2920" y="997"/>
                  </a:moveTo>
                  <a:lnTo>
                    <a:pt x="2918" y="995"/>
                  </a:lnTo>
                  <a:lnTo>
                    <a:pt x="2918" y="995"/>
                  </a:lnTo>
                  <a:lnTo>
                    <a:pt x="2918" y="995"/>
                  </a:lnTo>
                  <a:lnTo>
                    <a:pt x="2916" y="997"/>
                  </a:lnTo>
                  <a:lnTo>
                    <a:pt x="2916" y="997"/>
                  </a:lnTo>
                  <a:lnTo>
                    <a:pt x="2918" y="1000"/>
                  </a:lnTo>
                  <a:lnTo>
                    <a:pt x="2920" y="1000"/>
                  </a:lnTo>
                  <a:lnTo>
                    <a:pt x="2920" y="997"/>
                  </a:lnTo>
                  <a:lnTo>
                    <a:pt x="2920" y="997"/>
                  </a:lnTo>
                  <a:lnTo>
                    <a:pt x="2920" y="997"/>
                  </a:lnTo>
                  <a:close/>
                  <a:moveTo>
                    <a:pt x="2875" y="634"/>
                  </a:moveTo>
                  <a:lnTo>
                    <a:pt x="2875" y="634"/>
                  </a:lnTo>
                  <a:lnTo>
                    <a:pt x="2875" y="634"/>
                  </a:lnTo>
                  <a:lnTo>
                    <a:pt x="2872" y="634"/>
                  </a:lnTo>
                  <a:lnTo>
                    <a:pt x="2872" y="634"/>
                  </a:lnTo>
                  <a:lnTo>
                    <a:pt x="2872" y="634"/>
                  </a:lnTo>
                  <a:lnTo>
                    <a:pt x="2875" y="634"/>
                  </a:lnTo>
                  <a:lnTo>
                    <a:pt x="2875" y="634"/>
                  </a:lnTo>
                  <a:close/>
                  <a:moveTo>
                    <a:pt x="2868" y="566"/>
                  </a:moveTo>
                  <a:lnTo>
                    <a:pt x="2866" y="566"/>
                  </a:lnTo>
                  <a:lnTo>
                    <a:pt x="2868" y="568"/>
                  </a:lnTo>
                  <a:lnTo>
                    <a:pt x="2868" y="568"/>
                  </a:lnTo>
                  <a:lnTo>
                    <a:pt x="2870" y="568"/>
                  </a:lnTo>
                  <a:lnTo>
                    <a:pt x="2870" y="568"/>
                  </a:lnTo>
                  <a:lnTo>
                    <a:pt x="2870" y="568"/>
                  </a:lnTo>
                  <a:lnTo>
                    <a:pt x="2870" y="568"/>
                  </a:lnTo>
                  <a:lnTo>
                    <a:pt x="2872" y="568"/>
                  </a:lnTo>
                  <a:lnTo>
                    <a:pt x="2872" y="566"/>
                  </a:lnTo>
                  <a:lnTo>
                    <a:pt x="2870" y="566"/>
                  </a:lnTo>
                  <a:lnTo>
                    <a:pt x="2870" y="568"/>
                  </a:lnTo>
                  <a:lnTo>
                    <a:pt x="2868" y="568"/>
                  </a:lnTo>
                  <a:lnTo>
                    <a:pt x="2868" y="566"/>
                  </a:lnTo>
                  <a:lnTo>
                    <a:pt x="2868" y="566"/>
                  </a:lnTo>
                  <a:lnTo>
                    <a:pt x="2868" y="566"/>
                  </a:lnTo>
                  <a:close/>
                  <a:moveTo>
                    <a:pt x="2887" y="630"/>
                  </a:moveTo>
                  <a:lnTo>
                    <a:pt x="2885" y="630"/>
                  </a:lnTo>
                  <a:lnTo>
                    <a:pt x="2885" y="630"/>
                  </a:lnTo>
                  <a:lnTo>
                    <a:pt x="2883" y="630"/>
                  </a:lnTo>
                  <a:lnTo>
                    <a:pt x="2883" y="630"/>
                  </a:lnTo>
                  <a:lnTo>
                    <a:pt x="2881" y="630"/>
                  </a:lnTo>
                  <a:lnTo>
                    <a:pt x="2881" y="632"/>
                  </a:lnTo>
                  <a:lnTo>
                    <a:pt x="2883" y="632"/>
                  </a:lnTo>
                  <a:lnTo>
                    <a:pt x="2883" y="632"/>
                  </a:lnTo>
                  <a:lnTo>
                    <a:pt x="2883" y="632"/>
                  </a:lnTo>
                  <a:lnTo>
                    <a:pt x="2883" y="634"/>
                  </a:lnTo>
                  <a:lnTo>
                    <a:pt x="2885" y="634"/>
                  </a:lnTo>
                  <a:lnTo>
                    <a:pt x="2885" y="632"/>
                  </a:lnTo>
                  <a:lnTo>
                    <a:pt x="2885" y="632"/>
                  </a:lnTo>
                  <a:lnTo>
                    <a:pt x="2885" y="632"/>
                  </a:lnTo>
                  <a:lnTo>
                    <a:pt x="2887" y="630"/>
                  </a:lnTo>
                  <a:close/>
                  <a:moveTo>
                    <a:pt x="2883" y="661"/>
                  </a:moveTo>
                  <a:lnTo>
                    <a:pt x="2885" y="661"/>
                  </a:lnTo>
                  <a:lnTo>
                    <a:pt x="2887" y="661"/>
                  </a:lnTo>
                  <a:lnTo>
                    <a:pt x="2887" y="663"/>
                  </a:lnTo>
                  <a:lnTo>
                    <a:pt x="2887" y="665"/>
                  </a:lnTo>
                  <a:lnTo>
                    <a:pt x="2887" y="665"/>
                  </a:lnTo>
                  <a:lnTo>
                    <a:pt x="2889" y="665"/>
                  </a:lnTo>
                  <a:lnTo>
                    <a:pt x="2891" y="661"/>
                  </a:lnTo>
                  <a:lnTo>
                    <a:pt x="2891" y="663"/>
                  </a:lnTo>
                  <a:lnTo>
                    <a:pt x="2891" y="663"/>
                  </a:lnTo>
                  <a:lnTo>
                    <a:pt x="2893" y="661"/>
                  </a:lnTo>
                  <a:lnTo>
                    <a:pt x="2895" y="661"/>
                  </a:lnTo>
                  <a:lnTo>
                    <a:pt x="2893" y="659"/>
                  </a:lnTo>
                  <a:lnTo>
                    <a:pt x="2893" y="659"/>
                  </a:lnTo>
                  <a:lnTo>
                    <a:pt x="2891" y="657"/>
                  </a:lnTo>
                  <a:lnTo>
                    <a:pt x="2891" y="657"/>
                  </a:lnTo>
                  <a:lnTo>
                    <a:pt x="2891" y="657"/>
                  </a:lnTo>
                  <a:lnTo>
                    <a:pt x="2889" y="657"/>
                  </a:lnTo>
                  <a:lnTo>
                    <a:pt x="2889" y="657"/>
                  </a:lnTo>
                  <a:lnTo>
                    <a:pt x="2887" y="657"/>
                  </a:lnTo>
                  <a:lnTo>
                    <a:pt x="2887" y="659"/>
                  </a:lnTo>
                  <a:lnTo>
                    <a:pt x="2881" y="659"/>
                  </a:lnTo>
                  <a:lnTo>
                    <a:pt x="2883" y="661"/>
                  </a:lnTo>
                  <a:close/>
                  <a:moveTo>
                    <a:pt x="2877" y="630"/>
                  </a:moveTo>
                  <a:lnTo>
                    <a:pt x="2879" y="630"/>
                  </a:lnTo>
                  <a:lnTo>
                    <a:pt x="2881" y="630"/>
                  </a:lnTo>
                  <a:lnTo>
                    <a:pt x="2881" y="630"/>
                  </a:lnTo>
                  <a:lnTo>
                    <a:pt x="2879" y="628"/>
                  </a:lnTo>
                  <a:lnTo>
                    <a:pt x="2879" y="628"/>
                  </a:lnTo>
                  <a:lnTo>
                    <a:pt x="2879" y="628"/>
                  </a:lnTo>
                  <a:lnTo>
                    <a:pt x="2877" y="628"/>
                  </a:lnTo>
                  <a:lnTo>
                    <a:pt x="2877" y="628"/>
                  </a:lnTo>
                  <a:lnTo>
                    <a:pt x="2879" y="628"/>
                  </a:lnTo>
                  <a:lnTo>
                    <a:pt x="2877" y="628"/>
                  </a:lnTo>
                  <a:lnTo>
                    <a:pt x="2877" y="630"/>
                  </a:lnTo>
                  <a:close/>
                  <a:moveTo>
                    <a:pt x="2858" y="636"/>
                  </a:moveTo>
                  <a:lnTo>
                    <a:pt x="2860" y="636"/>
                  </a:lnTo>
                  <a:lnTo>
                    <a:pt x="2860" y="636"/>
                  </a:lnTo>
                  <a:lnTo>
                    <a:pt x="2860" y="636"/>
                  </a:lnTo>
                  <a:lnTo>
                    <a:pt x="2858" y="636"/>
                  </a:lnTo>
                  <a:lnTo>
                    <a:pt x="2858" y="636"/>
                  </a:lnTo>
                  <a:lnTo>
                    <a:pt x="2858" y="636"/>
                  </a:lnTo>
                  <a:lnTo>
                    <a:pt x="2858" y="636"/>
                  </a:lnTo>
                  <a:lnTo>
                    <a:pt x="2858" y="636"/>
                  </a:lnTo>
                  <a:lnTo>
                    <a:pt x="2858" y="636"/>
                  </a:lnTo>
                  <a:close/>
                  <a:moveTo>
                    <a:pt x="2846" y="634"/>
                  </a:moveTo>
                  <a:lnTo>
                    <a:pt x="2846" y="634"/>
                  </a:lnTo>
                  <a:lnTo>
                    <a:pt x="2848" y="634"/>
                  </a:lnTo>
                  <a:lnTo>
                    <a:pt x="2846" y="634"/>
                  </a:lnTo>
                  <a:lnTo>
                    <a:pt x="2846" y="632"/>
                  </a:lnTo>
                  <a:lnTo>
                    <a:pt x="2846" y="632"/>
                  </a:lnTo>
                  <a:lnTo>
                    <a:pt x="2846" y="634"/>
                  </a:lnTo>
                  <a:lnTo>
                    <a:pt x="2846" y="634"/>
                  </a:lnTo>
                  <a:lnTo>
                    <a:pt x="2846" y="634"/>
                  </a:lnTo>
                  <a:lnTo>
                    <a:pt x="2846" y="634"/>
                  </a:lnTo>
                  <a:close/>
                  <a:moveTo>
                    <a:pt x="2839" y="682"/>
                  </a:moveTo>
                  <a:lnTo>
                    <a:pt x="2839" y="679"/>
                  </a:lnTo>
                  <a:lnTo>
                    <a:pt x="2842" y="679"/>
                  </a:lnTo>
                  <a:lnTo>
                    <a:pt x="2842" y="679"/>
                  </a:lnTo>
                  <a:lnTo>
                    <a:pt x="2839" y="679"/>
                  </a:lnTo>
                  <a:lnTo>
                    <a:pt x="2837" y="679"/>
                  </a:lnTo>
                  <a:lnTo>
                    <a:pt x="2839" y="682"/>
                  </a:lnTo>
                  <a:lnTo>
                    <a:pt x="2839" y="682"/>
                  </a:lnTo>
                  <a:close/>
                  <a:moveTo>
                    <a:pt x="2831" y="646"/>
                  </a:moveTo>
                  <a:lnTo>
                    <a:pt x="2831" y="646"/>
                  </a:lnTo>
                  <a:lnTo>
                    <a:pt x="2831" y="649"/>
                  </a:lnTo>
                  <a:lnTo>
                    <a:pt x="2831" y="649"/>
                  </a:lnTo>
                  <a:lnTo>
                    <a:pt x="2831" y="649"/>
                  </a:lnTo>
                  <a:lnTo>
                    <a:pt x="2831" y="649"/>
                  </a:lnTo>
                  <a:lnTo>
                    <a:pt x="2831" y="649"/>
                  </a:lnTo>
                  <a:lnTo>
                    <a:pt x="2833" y="646"/>
                  </a:lnTo>
                  <a:lnTo>
                    <a:pt x="2833" y="646"/>
                  </a:lnTo>
                  <a:lnTo>
                    <a:pt x="2831" y="646"/>
                  </a:lnTo>
                  <a:close/>
                  <a:moveTo>
                    <a:pt x="2850" y="632"/>
                  </a:moveTo>
                  <a:lnTo>
                    <a:pt x="2848" y="632"/>
                  </a:lnTo>
                  <a:lnTo>
                    <a:pt x="2848" y="632"/>
                  </a:lnTo>
                  <a:lnTo>
                    <a:pt x="2848" y="632"/>
                  </a:lnTo>
                  <a:lnTo>
                    <a:pt x="2848" y="632"/>
                  </a:lnTo>
                  <a:lnTo>
                    <a:pt x="2848" y="632"/>
                  </a:lnTo>
                  <a:lnTo>
                    <a:pt x="2848" y="634"/>
                  </a:lnTo>
                  <a:lnTo>
                    <a:pt x="2848" y="636"/>
                  </a:lnTo>
                  <a:lnTo>
                    <a:pt x="2852" y="634"/>
                  </a:lnTo>
                  <a:lnTo>
                    <a:pt x="2852" y="634"/>
                  </a:lnTo>
                  <a:lnTo>
                    <a:pt x="2852" y="634"/>
                  </a:lnTo>
                  <a:lnTo>
                    <a:pt x="2852" y="632"/>
                  </a:lnTo>
                  <a:lnTo>
                    <a:pt x="2854" y="632"/>
                  </a:lnTo>
                  <a:lnTo>
                    <a:pt x="2854" y="632"/>
                  </a:lnTo>
                  <a:lnTo>
                    <a:pt x="2854" y="632"/>
                  </a:lnTo>
                  <a:lnTo>
                    <a:pt x="2856" y="632"/>
                  </a:lnTo>
                  <a:lnTo>
                    <a:pt x="2854" y="632"/>
                  </a:lnTo>
                  <a:lnTo>
                    <a:pt x="2854" y="630"/>
                  </a:lnTo>
                  <a:lnTo>
                    <a:pt x="2854" y="630"/>
                  </a:lnTo>
                  <a:lnTo>
                    <a:pt x="2852" y="630"/>
                  </a:lnTo>
                  <a:lnTo>
                    <a:pt x="2852" y="630"/>
                  </a:lnTo>
                  <a:lnTo>
                    <a:pt x="2852" y="630"/>
                  </a:lnTo>
                  <a:lnTo>
                    <a:pt x="2852" y="630"/>
                  </a:lnTo>
                  <a:lnTo>
                    <a:pt x="2850" y="630"/>
                  </a:lnTo>
                  <a:lnTo>
                    <a:pt x="2850" y="628"/>
                  </a:lnTo>
                  <a:lnTo>
                    <a:pt x="2850" y="628"/>
                  </a:lnTo>
                  <a:lnTo>
                    <a:pt x="2848" y="630"/>
                  </a:lnTo>
                  <a:lnTo>
                    <a:pt x="2850" y="630"/>
                  </a:lnTo>
                  <a:lnTo>
                    <a:pt x="2850" y="630"/>
                  </a:lnTo>
                  <a:lnTo>
                    <a:pt x="2850" y="630"/>
                  </a:lnTo>
                  <a:lnTo>
                    <a:pt x="2850" y="632"/>
                  </a:lnTo>
                  <a:lnTo>
                    <a:pt x="2850" y="632"/>
                  </a:lnTo>
                  <a:close/>
                  <a:moveTo>
                    <a:pt x="3565" y="487"/>
                  </a:moveTo>
                  <a:lnTo>
                    <a:pt x="3563" y="487"/>
                  </a:lnTo>
                  <a:lnTo>
                    <a:pt x="3561" y="487"/>
                  </a:lnTo>
                  <a:lnTo>
                    <a:pt x="3559" y="487"/>
                  </a:lnTo>
                  <a:lnTo>
                    <a:pt x="3557" y="485"/>
                  </a:lnTo>
                  <a:lnTo>
                    <a:pt x="3557" y="487"/>
                  </a:lnTo>
                  <a:lnTo>
                    <a:pt x="3559" y="490"/>
                  </a:lnTo>
                  <a:lnTo>
                    <a:pt x="3561" y="492"/>
                  </a:lnTo>
                  <a:lnTo>
                    <a:pt x="3565" y="492"/>
                  </a:lnTo>
                  <a:lnTo>
                    <a:pt x="3565" y="492"/>
                  </a:lnTo>
                  <a:lnTo>
                    <a:pt x="3565" y="490"/>
                  </a:lnTo>
                  <a:lnTo>
                    <a:pt x="3565" y="490"/>
                  </a:lnTo>
                  <a:lnTo>
                    <a:pt x="3565" y="490"/>
                  </a:lnTo>
                  <a:lnTo>
                    <a:pt x="3565" y="487"/>
                  </a:lnTo>
                  <a:close/>
                  <a:moveTo>
                    <a:pt x="3526" y="421"/>
                  </a:moveTo>
                  <a:lnTo>
                    <a:pt x="3526" y="419"/>
                  </a:lnTo>
                  <a:lnTo>
                    <a:pt x="3526" y="417"/>
                  </a:lnTo>
                  <a:lnTo>
                    <a:pt x="3524" y="417"/>
                  </a:lnTo>
                  <a:lnTo>
                    <a:pt x="3522" y="419"/>
                  </a:lnTo>
                  <a:lnTo>
                    <a:pt x="3522" y="419"/>
                  </a:lnTo>
                  <a:lnTo>
                    <a:pt x="3522" y="421"/>
                  </a:lnTo>
                  <a:lnTo>
                    <a:pt x="3526" y="421"/>
                  </a:lnTo>
                  <a:close/>
                  <a:moveTo>
                    <a:pt x="3077" y="525"/>
                  </a:moveTo>
                  <a:lnTo>
                    <a:pt x="3077" y="523"/>
                  </a:lnTo>
                  <a:lnTo>
                    <a:pt x="3077" y="523"/>
                  </a:lnTo>
                  <a:lnTo>
                    <a:pt x="3075" y="523"/>
                  </a:lnTo>
                  <a:lnTo>
                    <a:pt x="3075" y="523"/>
                  </a:lnTo>
                  <a:lnTo>
                    <a:pt x="3072" y="523"/>
                  </a:lnTo>
                  <a:lnTo>
                    <a:pt x="3072" y="525"/>
                  </a:lnTo>
                  <a:lnTo>
                    <a:pt x="3075" y="527"/>
                  </a:lnTo>
                  <a:lnTo>
                    <a:pt x="3075" y="527"/>
                  </a:lnTo>
                  <a:lnTo>
                    <a:pt x="3077" y="527"/>
                  </a:lnTo>
                  <a:lnTo>
                    <a:pt x="3077" y="527"/>
                  </a:lnTo>
                  <a:lnTo>
                    <a:pt x="3077" y="527"/>
                  </a:lnTo>
                  <a:lnTo>
                    <a:pt x="3077" y="525"/>
                  </a:lnTo>
                  <a:lnTo>
                    <a:pt x="3077" y="525"/>
                  </a:lnTo>
                  <a:close/>
                  <a:moveTo>
                    <a:pt x="4165" y="285"/>
                  </a:moveTo>
                  <a:lnTo>
                    <a:pt x="4163" y="287"/>
                  </a:lnTo>
                  <a:lnTo>
                    <a:pt x="4163" y="287"/>
                  </a:lnTo>
                  <a:lnTo>
                    <a:pt x="4163" y="289"/>
                  </a:lnTo>
                  <a:lnTo>
                    <a:pt x="4163" y="289"/>
                  </a:lnTo>
                  <a:lnTo>
                    <a:pt x="4161" y="291"/>
                  </a:lnTo>
                  <a:lnTo>
                    <a:pt x="4157" y="291"/>
                  </a:lnTo>
                  <a:lnTo>
                    <a:pt x="4157" y="291"/>
                  </a:lnTo>
                  <a:lnTo>
                    <a:pt x="4155" y="291"/>
                  </a:lnTo>
                  <a:lnTo>
                    <a:pt x="4157" y="293"/>
                  </a:lnTo>
                  <a:lnTo>
                    <a:pt x="4161" y="295"/>
                  </a:lnTo>
                  <a:lnTo>
                    <a:pt x="4165" y="297"/>
                  </a:lnTo>
                  <a:lnTo>
                    <a:pt x="4165" y="297"/>
                  </a:lnTo>
                  <a:lnTo>
                    <a:pt x="4174" y="297"/>
                  </a:lnTo>
                  <a:lnTo>
                    <a:pt x="4176" y="297"/>
                  </a:lnTo>
                  <a:lnTo>
                    <a:pt x="4178" y="295"/>
                  </a:lnTo>
                  <a:lnTo>
                    <a:pt x="4180" y="293"/>
                  </a:lnTo>
                  <a:lnTo>
                    <a:pt x="4182" y="293"/>
                  </a:lnTo>
                  <a:lnTo>
                    <a:pt x="4182" y="291"/>
                  </a:lnTo>
                  <a:lnTo>
                    <a:pt x="4182" y="291"/>
                  </a:lnTo>
                  <a:lnTo>
                    <a:pt x="4184" y="289"/>
                  </a:lnTo>
                  <a:lnTo>
                    <a:pt x="4182" y="289"/>
                  </a:lnTo>
                  <a:lnTo>
                    <a:pt x="4178" y="287"/>
                  </a:lnTo>
                  <a:lnTo>
                    <a:pt x="4165" y="285"/>
                  </a:lnTo>
                  <a:close/>
                  <a:moveTo>
                    <a:pt x="2879" y="667"/>
                  </a:moveTo>
                  <a:lnTo>
                    <a:pt x="2879" y="669"/>
                  </a:lnTo>
                  <a:lnTo>
                    <a:pt x="2881" y="671"/>
                  </a:lnTo>
                  <a:lnTo>
                    <a:pt x="2879" y="671"/>
                  </a:lnTo>
                  <a:lnTo>
                    <a:pt x="2879" y="671"/>
                  </a:lnTo>
                  <a:lnTo>
                    <a:pt x="2879" y="673"/>
                  </a:lnTo>
                  <a:lnTo>
                    <a:pt x="2879" y="673"/>
                  </a:lnTo>
                  <a:lnTo>
                    <a:pt x="2879" y="673"/>
                  </a:lnTo>
                  <a:lnTo>
                    <a:pt x="2881" y="673"/>
                  </a:lnTo>
                  <a:lnTo>
                    <a:pt x="2881" y="675"/>
                  </a:lnTo>
                  <a:lnTo>
                    <a:pt x="2883" y="675"/>
                  </a:lnTo>
                  <a:lnTo>
                    <a:pt x="2883" y="675"/>
                  </a:lnTo>
                  <a:lnTo>
                    <a:pt x="2881" y="679"/>
                  </a:lnTo>
                  <a:lnTo>
                    <a:pt x="2881" y="679"/>
                  </a:lnTo>
                  <a:lnTo>
                    <a:pt x="2881" y="679"/>
                  </a:lnTo>
                  <a:lnTo>
                    <a:pt x="2881" y="679"/>
                  </a:lnTo>
                  <a:lnTo>
                    <a:pt x="2883" y="679"/>
                  </a:lnTo>
                  <a:lnTo>
                    <a:pt x="2883" y="677"/>
                  </a:lnTo>
                  <a:lnTo>
                    <a:pt x="2885" y="675"/>
                  </a:lnTo>
                  <a:lnTo>
                    <a:pt x="2885" y="673"/>
                  </a:lnTo>
                  <a:lnTo>
                    <a:pt x="2887" y="673"/>
                  </a:lnTo>
                  <a:lnTo>
                    <a:pt x="2891" y="673"/>
                  </a:lnTo>
                  <a:lnTo>
                    <a:pt x="2891" y="673"/>
                  </a:lnTo>
                  <a:lnTo>
                    <a:pt x="2893" y="673"/>
                  </a:lnTo>
                  <a:lnTo>
                    <a:pt x="2893" y="671"/>
                  </a:lnTo>
                  <a:lnTo>
                    <a:pt x="2895" y="671"/>
                  </a:lnTo>
                  <a:lnTo>
                    <a:pt x="2895" y="671"/>
                  </a:lnTo>
                  <a:lnTo>
                    <a:pt x="2895" y="669"/>
                  </a:lnTo>
                  <a:lnTo>
                    <a:pt x="2899" y="669"/>
                  </a:lnTo>
                  <a:lnTo>
                    <a:pt x="2899" y="669"/>
                  </a:lnTo>
                  <a:lnTo>
                    <a:pt x="2893" y="667"/>
                  </a:lnTo>
                  <a:lnTo>
                    <a:pt x="2891" y="665"/>
                  </a:lnTo>
                  <a:lnTo>
                    <a:pt x="2891" y="667"/>
                  </a:lnTo>
                  <a:lnTo>
                    <a:pt x="2889" y="667"/>
                  </a:lnTo>
                  <a:lnTo>
                    <a:pt x="2889" y="665"/>
                  </a:lnTo>
                  <a:lnTo>
                    <a:pt x="2887" y="665"/>
                  </a:lnTo>
                  <a:lnTo>
                    <a:pt x="2887" y="667"/>
                  </a:lnTo>
                  <a:lnTo>
                    <a:pt x="2885" y="667"/>
                  </a:lnTo>
                  <a:lnTo>
                    <a:pt x="2885" y="669"/>
                  </a:lnTo>
                  <a:lnTo>
                    <a:pt x="2883" y="667"/>
                  </a:lnTo>
                  <a:lnTo>
                    <a:pt x="2883" y="667"/>
                  </a:lnTo>
                  <a:lnTo>
                    <a:pt x="2881" y="669"/>
                  </a:lnTo>
                  <a:lnTo>
                    <a:pt x="2881" y="669"/>
                  </a:lnTo>
                  <a:lnTo>
                    <a:pt x="2879" y="667"/>
                  </a:lnTo>
                  <a:close/>
                  <a:moveTo>
                    <a:pt x="2899" y="667"/>
                  </a:moveTo>
                  <a:lnTo>
                    <a:pt x="2899" y="665"/>
                  </a:lnTo>
                  <a:lnTo>
                    <a:pt x="2897" y="665"/>
                  </a:lnTo>
                  <a:lnTo>
                    <a:pt x="2895" y="665"/>
                  </a:lnTo>
                  <a:lnTo>
                    <a:pt x="2895" y="667"/>
                  </a:lnTo>
                  <a:lnTo>
                    <a:pt x="2897" y="667"/>
                  </a:lnTo>
                  <a:lnTo>
                    <a:pt x="2899" y="667"/>
                  </a:lnTo>
                  <a:lnTo>
                    <a:pt x="2899" y="667"/>
                  </a:lnTo>
                  <a:close/>
                  <a:moveTo>
                    <a:pt x="2992" y="409"/>
                  </a:moveTo>
                  <a:lnTo>
                    <a:pt x="2990" y="411"/>
                  </a:lnTo>
                  <a:lnTo>
                    <a:pt x="2990" y="411"/>
                  </a:lnTo>
                  <a:lnTo>
                    <a:pt x="2990" y="413"/>
                  </a:lnTo>
                  <a:lnTo>
                    <a:pt x="2994" y="411"/>
                  </a:lnTo>
                  <a:lnTo>
                    <a:pt x="2994" y="411"/>
                  </a:lnTo>
                  <a:lnTo>
                    <a:pt x="2994" y="409"/>
                  </a:lnTo>
                  <a:lnTo>
                    <a:pt x="2992" y="409"/>
                  </a:lnTo>
                  <a:lnTo>
                    <a:pt x="2992" y="409"/>
                  </a:lnTo>
                  <a:close/>
                  <a:moveTo>
                    <a:pt x="2877" y="634"/>
                  </a:moveTo>
                  <a:lnTo>
                    <a:pt x="2877" y="634"/>
                  </a:lnTo>
                  <a:lnTo>
                    <a:pt x="2877" y="634"/>
                  </a:lnTo>
                  <a:lnTo>
                    <a:pt x="2879" y="634"/>
                  </a:lnTo>
                  <a:lnTo>
                    <a:pt x="2879" y="632"/>
                  </a:lnTo>
                  <a:lnTo>
                    <a:pt x="2877" y="632"/>
                  </a:lnTo>
                  <a:lnTo>
                    <a:pt x="2877" y="634"/>
                  </a:lnTo>
                  <a:close/>
                  <a:moveTo>
                    <a:pt x="2920" y="527"/>
                  </a:moveTo>
                  <a:lnTo>
                    <a:pt x="2922" y="527"/>
                  </a:lnTo>
                  <a:lnTo>
                    <a:pt x="2922" y="527"/>
                  </a:lnTo>
                  <a:lnTo>
                    <a:pt x="2922" y="527"/>
                  </a:lnTo>
                  <a:lnTo>
                    <a:pt x="2920" y="525"/>
                  </a:lnTo>
                  <a:lnTo>
                    <a:pt x="2918" y="525"/>
                  </a:lnTo>
                  <a:lnTo>
                    <a:pt x="2916" y="527"/>
                  </a:lnTo>
                  <a:lnTo>
                    <a:pt x="2916" y="527"/>
                  </a:lnTo>
                  <a:lnTo>
                    <a:pt x="2918" y="529"/>
                  </a:lnTo>
                  <a:lnTo>
                    <a:pt x="2920" y="527"/>
                  </a:lnTo>
                  <a:close/>
                  <a:moveTo>
                    <a:pt x="2870" y="626"/>
                  </a:moveTo>
                  <a:lnTo>
                    <a:pt x="2872" y="626"/>
                  </a:lnTo>
                  <a:lnTo>
                    <a:pt x="2872" y="626"/>
                  </a:lnTo>
                  <a:lnTo>
                    <a:pt x="2870" y="624"/>
                  </a:lnTo>
                  <a:lnTo>
                    <a:pt x="2870" y="624"/>
                  </a:lnTo>
                  <a:lnTo>
                    <a:pt x="2868" y="624"/>
                  </a:lnTo>
                  <a:lnTo>
                    <a:pt x="2868" y="624"/>
                  </a:lnTo>
                  <a:lnTo>
                    <a:pt x="2868" y="626"/>
                  </a:lnTo>
                  <a:lnTo>
                    <a:pt x="2870" y="628"/>
                  </a:lnTo>
                  <a:lnTo>
                    <a:pt x="2870" y="626"/>
                  </a:lnTo>
                  <a:close/>
                  <a:moveTo>
                    <a:pt x="4378" y="1652"/>
                  </a:moveTo>
                  <a:lnTo>
                    <a:pt x="4378" y="1652"/>
                  </a:lnTo>
                  <a:lnTo>
                    <a:pt x="4376" y="1650"/>
                  </a:lnTo>
                  <a:lnTo>
                    <a:pt x="4374" y="1650"/>
                  </a:lnTo>
                  <a:lnTo>
                    <a:pt x="4372" y="1650"/>
                  </a:lnTo>
                  <a:lnTo>
                    <a:pt x="4367" y="1650"/>
                  </a:lnTo>
                  <a:lnTo>
                    <a:pt x="4365" y="1652"/>
                  </a:lnTo>
                  <a:lnTo>
                    <a:pt x="4363" y="1650"/>
                  </a:lnTo>
                  <a:lnTo>
                    <a:pt x="4363" y="1650"/>
                  </a:lnTo>
                  <a:lnTo>
                    <a:pt x="4363" y="1652"/>
                  </a:lnTo>
                  <a:lnTo>
                    <a:pt x="4363" y="1654"/>
                  </a:lnTo>
                  <a:lnTo>
                    <a:pt x="4363" y="1654"/>
                  </a:lnTo>
                  <a:lnTo>
                    <a:pt x="4365" y="1656"/>
                  </a:lnTo>
                  <a:lnTo>
                    <a:pt x="4365" y="1656"/>
                  </a:lnTo>
                  <a:lnTo>
                    <a:pt x="4365" y="1658"/>
                  </a:lnTo>
                  <a:lnTo>
                    <a:pt x="4370" y="1658"/>
                  </a:lnTo>
                  <a:lnTo>
                    <a:pt x="4372" y="1660"/>
                  </a:lnTo>
                  <a:lnTo>
                    <a:pt x="4372" y="1660"/>
                  </a:lnTo>
                  <a:lnTo>
                    <a:pt x="4374" y="1660"/>
                  </a:lnTo>
                  <a:lnTo>
                    <a:pt x="4374" y="1660"/>
                  </a:lnTo>
                  <a:lnTo>
                    <a:pt x="4376" y="1660"/>
                  </a:lnTo>
                  <a:lnTo>
                    <a:pt x="4376" y="1660"/>
                  </a:lnTo>
                  <a:lnTo>
                    <a:pt x="4378" y="1658"/>
                  </a:lnTo>
                  <a:lnTo>
                    <a:pt x="4380" y="1658"/>
                  </a:lnTo>
                  <a:lnTo>
                    <a:pt x="4380" y="1658"/>
                  </a:lnTo>
                  <a:lnTo>
                    <a:pt x="4380" y="1656"/>
                  </a:lnTo>
                  <a:lnTo>
                    <a:pt x="4380" y="1654"/>
                  </a:lnTo>
                  <a:lnTo>
                    <a:pt x="4380" y="1654"/>
                  </a:lnTo>
                  <a:lnTo>
                    <a:pt x="4380" y="1654"/>
                  </a:lnTo>
                  <a:lnTo>
                    <a:pt x="4378" y="1652"/>
                  </a:lnTo>
                  <a:lnTo>
                    <a:pt x="4378" y="1652"/>
                  </a:lnTo>
                  <a:close/>
                  <a:moveTo>
                    <a:pt x="2745" y="727"/>
                  </a:moveTo>
                  <a:lnTo>
                    <a:pt x="2747" y="727"/>
                  </a:lnTo>
                  <a:lnTo>
                    <a:pt x="2747" y="727"/>
                  </a:lnTo>
                  <a:lnTo>
                    <a:pt x="2747" y="725"/>
                  </a:lnTo>
                  <a:lnTo>
                    <a:pt x="2747" y="725"/>
                  </a:lnTo>
                  <a:lnTo>
                    <a:pt x="2745" y="727"/>
                  </a:lnTo>
                  <a:lnTo>
                    <a:pt x="2745" y="727"/>
                  </a:lnTo>
                  <a:lnTo>
                    <a:pt x="2745" y="727"/>
                  </a:lnTo>
                  <a:lnTo>
                    <a:pt x="2745" y="727"/>
                  </a:lnTo>
                  <a:close/>
                  <a:moveTo>
                    <a:pt x="2728" y="725"/>
                  </a:moveTo>
                  <a:lnTo>
                    <a:pt x="2726" y="725"/>
                  </a:lnTo>
                  <a:lnTo>
                    <a:pt x="2724" y="725"/>
                  </a:lnTo>
                  <a:lnTo>
                    <a:pt x="2722" y="725"/>
                  </a:lnTo>
                  <a:lnTo>
                    <a:pt x="2724" y="727"/>
                  </a:lnTo>
                  <a:lnTo>
                    <a:pt x="2724" y="727"/>
                  </a:lnTo>
                  <a:lnTo>
                    <a:pt x="2724" y="727"/>
                  </a:lnTo>
                  <a:lnTo>
                    <a:pt x="2724" y="727"/>
                  </a:lnTo>
                  <a:lnTo>
                    <a:pt x="2724" y="729"/>
                  </a:lnTo>
                  <a:lnTo>
                    <a:pt x="2726" y="729"/>
                  </a:lnTo>
                  <a:lnTo>
                    <a:pt x="2726" y="733"/>
                  </a:lnTo>
                  <a:lnTo>
                    <a:pt x="2728" y="735"/>
                  </a:lnTo>
                  <a:lnTo>
                    <a:pt x="2728" y="735"/>
                  </a:lnTo>
                  <a:lnTo>
                    <a:pt x="2728" y="735"/>
                  </a:lnTo>
                  <a:lnTo>
                    <a:pt x="2730" y="735"/>
                  </a:lnTo>
                  <a:lnTo>
                    <a:pt x="2732" y="735"/>
                  </a:lnTo>
                  <a:lnTo>
                    <a:pt x="2732" y="737"/>
                  </a:lnTo>
                  <a:lnTo>
                    <a:pt x="2732" y="737"/>
                  </a:lnTo>
                  <a:lnTo>
                    <a:pt x="2734" y="739"/>
                  </a:lnTo>
                  <a:lnTo>
                    <a:pt x="2734" y="741"/>
                  </a:lnTo>
                  <a:lnTo>
                    <a:pt x="2736" y="743"/>
                  </a:lnTo>
                  <a:lnTo>
                    <a:pt x="2738" y="743"/>
                  </a:lnTo>
                  <a:lnTo>
                    <a:pt x="2738" y="741"/>
                  </a:lnTo>
                  <a:lnTo>
                    <a:pt x="2738" y="739"/>
                  </a:lnTo>
                  <a:lnTo>
                    <a:pt x="2738" y="737"/>
                  </a:lnTo>
                  <a:lnTo>
                    <a:pt x="2738" y="735"/>
                  </a:lnTo>
                  <a:lnTo>
                    <a:pt x="2743" y="735"/>
                  </a:lnTo>
                  <a:lnTo>
                    <a:pt x="2743" y="733"/>
                  </a:lnTo>
                  <a:lnTo>
                    <a:pt x="2743" y="731"/>
                  </a:lnTo>
                  <a:lnTo>
                    <a:pt x="2740" y="731"/>
                  </a:lnTo>
                  <a:lnTo>
                    <a:pt x="2740" y="729"/>
                  </a:lnTo>
                  <a:lnTo>
                    <a:pt x="2740" y="729"/>
                  </a:lnTo>
                  <a:lnTo>
                    <a:pt x="2743" y="727"/>
                  </a:lnTo>
                  <a:lnTo>
                    <a:pt x="2743" y="727"/>
                  </a:lnTo>
                  <a:lnTo>
                    <a:pt x="2745" y="727"/>
                  </a:lnTo>
                  <a:lnTo>
                    <a:pt x="2745" y="725"/>
                  </a:lnTo>
                  <a:lnTo>
                    <a:pt x="2745" y="725"/>
                  </a:lnTo>
                  <a:lnTo>
                    <a:pt x="2745" y="723"/>
                  </a:lnTo>
                  <a:lnTo>
                    <a:pt x="2745" y="721"/>
                  </a:lnTo>
                  <a:lnTo>
                    <a:pt x="2745" y="721"/>
                  </a:lnTo>
                  <a:lnTo>
                    <a:pt x="2747" y="719"/>
                  </a:lnTo>
                  <a:lnTo>
                    <a:pt x="2747" y="719"/>
                  </a:lnTo>
                  <a:lnTo>
                    <a:pt x="2745" y="717"/>
                  </a:lnTo>
                  <a:lnTo>
                    <a:pt x="2743" y="717"/>
                  </a:lnTo>
                  <a:lnTo>
                    <a:pt x="2743" y="717"/>
                  </a:lnTo>
                  <a:lnTo>
                    <a:pt x="2740" y="717"/>
                  </a:lnTo>
                  <a:lnTo>
                    <a:pt x="2738" y="719"/>
                  </a:lnTo>
                  <a:lnTo>
                    <a:pt x="2736" y="719"/>
                  </a:lnTo>
                  <a:lnTo>
                    <a:pt x="2736" y="721"/>
                  </a:lnTo>
                  <a:lnTo>
                    <a:pt x="2736" y="721"/>
                  </a:lnTo>
                  <a:lnTo>
                    <a:pt x="2736" y="723"/>
                  </a:lnTo>
                  <a:lnTo>
                    <a:pt x="2736" y="723"/>
                  </a:lnTo>
                  <a:lnTo>
                    <a:pt x="2736" y="723"/>
                  </a:lnTo>
                  <a:lnTo>
                    <a:pt x="2734" y="725"/>
                  </a:lnTo>
                  <a:lnTo>
                    <a:pt x="2734" y="725"/>
                  </a:lnTo>
                  <a:lnTo>
                    <a:pt x="2732" y="725"/>
                  </a:lnTo>
                  <a:lnTo>
                    <a:pt x="2732" y="723"/>
                  </a:lnTo>
                  <a:lnTo>
                    <a:pt x="2732" y="721"/>
                  </a:lnTo>
                  <a:lnTo>
                    <a:pt x="2732" y="721"/>
                  </a:lnTo>
                  <a:lnTo>
                    <a:pt x="2730" y="721"/>
                  </a:lnTo>
                  <a:lnTo>
                    <a:pt x="2730" y="721"/>
                  </a:lnTo>
                  <a:lnTo>
                    <a:pt x="2730" y="721"/>
                  </a:lnTo>
                  <a:lnTo>
                    <a:pt x="2728" y="725"/>
                  </a:lnTo>
                  <a:lnTo>
                    <a:pt x="2728" y="725"/>
                  </a:lnTo>
                  <a:close/>
                  <a:moveTo>
                    <a:pt x="2732" y="746"/>
                  </a:moveTo>
                  <a:lnTo>
                    <a:pt x="2732" y="746"/>
                  </a:lnTo>
                  <a:lnTo>
                    <a:pt x="2734" y="746"/>
                  </a:lnTo>
                  <a:lnTo>
                    <a:pt x="2734" y="743"/>
                  </a:lnTo>
                  <a:lnTo>
                    <a:pt x="2734" y="743"/>
                  </a:lnTo>
                  <a:lnTo>
                    <a:pt x="2732" y="741"/>
                  </a:lnTo>
                  <a:lnTo>
                    <a:pt x="2730" y="741"/>
                  </a:lnTo>
                  <a:lnTo>
                    <a:pt x="2728" y="741"/>
                  </a:lnTo>
                  <a:lnTo>
                    <a:pt x="2726" y="739"/>
                  </a:lnTo>
                  <a:lnTo>
                    <a:pt x="2724" y="739"/>
                  </a:lnTo>
                  <a:lnTo>
                    <a:pt x="2724" y="741"/>
                  </a:lnTo>
                  <a:lnTo>
                    <a:pt x="2724" y="743"/>
                  </a:lnTo>
                  <a:lnTo>
                    <a:pt x="2730" y="746"/>
                  </a:lnTo>
                  <a:lnTo>
                    <a:pt x="2732" y="746"/>
                  </a:lnTo>
                  <a:close/>
                  <a:moveTo>
                    <a:pt x="2829" y="657"/>
                  </a:moveTo>
                  <a:lnTo>
                    <a:pt x="2829" y="657"/>
                  </a:lnTo>
                  <a:lnTo>
                    <a:pt x="2829" y="657"/>
                  </a:lnTo>
                  <a:lnTo>
                    <a:pt x="2829" y="657"/>
                  </a:lnTo>
                  <a:lnTo>
                    <a:pt x="2827" y="657"/>
                  </a:lnTo>
                  <a:lnTo>
                    <a:pt x="2829" y="657"/>
                  </a:lnTo>
                  <a:lnTo>
                    <a:pt x="2829" y="657"/>
                  </a:lnTo>
                  <a:lnTo>
                    <a:pt x="2829" y="657"/>
                  </a:lnTo>
                  <a:close/>
                  <a:moveTo>
                    <a:pt x="2745" y="739"/>
                  </a:moveTo>
                  <a:lnTo>
                    <a:pt x="2743" y="737"/>
                  </a:lnTo>
                  <a:lnTo>
                    <a:pt x="2743" y="737"/>
                  </a:lnTo>
                  <a:lnTo>
                    <a:pt x="2740" y="737"/>
                  </a:lnTo>
                  <a:lnTo>
                    <a:pt x="2740" y="739"/>
                  </a:lnTo>
                  <a:lnTo>
                    <a:pt x="2740" y="739"/>
                  </a:lnTo>
                  <a:lnTo>
                    <a:pt x="2740" y="739"/>
                  </a:lnTo>
                  <a:lnTo>
                    <a:pt x="2740" y="739"/>
                  </a:lnTo>
                  <a:lnTo>
                    <a:pt x="2738" y="741"/>
                  </a:lnTo>
                  <a:lnTo>
                    <a:pt x="2740" y="741"/>
                  </a:lnTo>
                  <a:lnTo>
                    <a:pt x="2743" y="739"/>
                  </a:lnTo>
                  <a:lnTo>
                    <a:pt x="2745" y="739"/>
                  </a:lnTo>
                  <a:lnTo>
                    <a:pt x="2745" y="739"/>
                  </a:lnTo>
                  <a:lnTo>
                    <a:pt x="2745" y="739"/>
                  </a:lnTo>
                  <a:lnTo>
                    <a:pt x="2745" y="739"/>
                  </a:lnTo>
                  <a:close/>
                  <a:moveTo>
                    <a:pt x="2656" y="768"/>
                  </a:moveTo>
                  <a:lnTo>
                    <a:pt x="2654" y="768"/>
                  </a:lnTo>
                  <a:lnTo>
                    <a:pt x="2654" y="768"/>
                  </a:lnTo>
                  <a:lnTo>
                    <a:pt x="2654" y="768"/>
                  </a:lnTo>
                  <a:lnTo>
                    <a:pt x="2656" y="768"/>
                  </a:lnTo>
                  <a:lnTo>
                    <a:pt x="2656" y="768"/>
                  </a:lnTo>
                  <a:close/>
                  <a:moveTo>
                    <a:pt x="2662" y="766"/>
                  </a:moveTo>
                  <a:lnTo>
                    <a:pt x="2662" y="766"/>
                  </a:lnTo>
                  <a:lnTo>
                    <a:pt x="2660" y="766"/>
                  </a:lnTo>
                  <a:lnTo>
                    <a:pt x="2662" y="766"/>
                  </a:lnTo>
                  <a:lnTo>
                    <a:pt x="2664" y="766"/>
                  </a:lnTo>
                  <a:lnTo>
                    <a:pt x="2662" y="766"/>
                  </a:lnTo>
                  <a:close/>
                  <a:moveTo>
                    <a:pt x="2687" y="743"/>
                  </a:moveTo>
                  <a:lnTo>
                    <a:pt x="2687" y="743"/>
                  </a:lnTo>
                  <a:lnTo>
                    <a:pt x="2687" y="743"/>
                  </a:lnTo>
                  <a:lnTo>
                    <a:pt x="2687" y="746"/>
                  </a:lnTo>
                  <a:lnTo>
                    <a:pt x="2689" y="746"/>
                  </a:lnTo>
                  <a:lnTo>
                    <a:pt x="2689" y="743"/>
                  </a:lnTo>
                  <a:lnTo>
                    <a:pt x="2689" y="743"/>
                  </a:lnTo>
                  <a:lnTo>
                    <a:pt x="2687" y="743"/>
                  </a:lnTo>
                  <a:lnTo>
                    <a:pt x="2687" y="743"/>
                  </a:lnTo>
                  <a:close/>
                  <a:moveTo>
                    <a:pt x="2687" y="739"/>
                  </a:moveTo>
                  <a:lnTo>
                    <a:pt x="2687" y="737"/>
                  </a:lnTo>
                  <a:lnTo>
                    <a:pt x="2687" y="737"/>
                  </a:lnTo>
                  <a:lnTo>
                    <a:pt x="2685" y="741"/>
                  </a:lnTo>
                  <a:lnTo>
                    <a:pt x="2685" y="743"/>
                  </a:lnTo>
                  <a:lnTo>
                    <a:pt x="2685" y="743"/>
                  </a:lnTo>
                  <a:lnTo>
                    <a:pt x="2685" y="741"/>
                  </a:lnTo>
                  <a:lnTo>
                    <a:pt x="2689" y="741"/>
                  </a:lnTo>
                  <a:lnTo>
                    <a:pt x="2689" y="741"/>
                  </a:lnTo>
                  <a:lnTo>
                    <a:pt x="2685" y="741"/>
                  </a:lnTo>
                  <a:lnTo>
                    <a:pt x="2685" y="739"/>
                  </a:lnTo>
                  <a:lnTo>
                    <a:pt x="2687" y="739"/>
                  </a:lnTo>
                  <a:lnTo>
                    <a:pt x="2687" y="739"/>
                  </a:lnTo>
                  <a:close/>
                  <a:moveTo>
                    <a:pt x="2724" y="748"/>
                  </a:moveTo>
                  <a:lnTo>
                    <a:pt x="2724" y="748"/>
                  </a:lnTo>
                  <a:lnTo>
                    <a:pt x="2724" y="750"/>
                  </a:lnTo>
                  <a:lnTo>
                    <a:pt x="2724" y="750"/>
                  </a:lnTo>
                  <a:lnTo>
                    <a:pt x="2724" y="750"/>
                  </a:lnTo>
                  <a:lnTo>
                    <a:pt x="2728" y="750"/>
                  </a:lnTo>
                  <a:lnTo>
                    <a:pt x="2728" y="750"/>
                  </a:lnTo>
                  <a:lnTo>
                    <a:pt x="2726" y="750"/>
                  </a:lnTo>
                  <a:lnTo>
                    <a:pt x="2724" y="748"/>
                  </a:lnTo>
                  <a:close/>
                  <a:moveTo>
                    <a:pt x="5112" y="799"/>
                  </a:moveTo>
                  <a:lnTo>
                    <a:pt x="5112" y="797"/>
                  </a:lnTo>
                  <a:lnTo>
                    <a:pt x="5112" y="797"/>
                  </a:lnTo>
                  <a:lnTo>
                    <a:pt x="5112" y="797"/>
                  </a:lnTo>
                  <a:lnTo>
                    <a:pt x="5112" y="797"/>
                  </a:lnTo>
                  <a:lnTo>
                    <a:pt x="5112" y="797"/>
                  </a:lnTo>
                  <a:lnTo>
                    <a:pt x="5112" y="799"/>
                  </a:lnTo>
                  <a:lnTo>
                    <a:pt x="5112" y="799"/>
                  </a:lnTo>
                  <a:close/>
                  <a:moveTo>
                    <a:pt x="2811" y="692"/>
                  </a:moveTo>
                  <a:lnTo>
                    <a:pt x="2809" y="692"/>
                  </a:lnTo>
                  <a:lnTo>
                    <a:pt x="2809" y="692"/>
                  </a:lnTo>
                  <a:lnTo>
                    <a:pt x="2809" y="694"/>
                  </a:lnTo>
                  <a:lnTo>
                    <a:pt x="2806" y="696"/>
                  </a:lnTo>
                  <a:lnTo>
                    <a:pt x="2806" y="698"/>
                  </a:lnTo>
                  <a:lnTo>
                    <a:pt x="2804" y="700"/>
                  </a:lnTo>
                  <a:lnTo>
                    <a:pt x="2804" y="702"/>
                  </a:lnTo>
                  <a:lnTo>
                    <a:pt x="2800" y="708"/>
                  </a:lnTo>
                  <a:lnTo>
                    <a:pt x="2800" y="710"/>
                  </a:lnTo>
                  <a:lnTo>
                    <a:pt x="2800" y="713"/>
                  </a:lnTo>
                  <a:lnTo>
                    <a:pt x="2800" y="715"/>
                  </a:lnTo>
                  <a:lnTo>
                    <a:pt x="2800" y="715"/>
                  </a:lnTo>
                  <a:lnTo>
                    <a:pt x="2802" y="713"/>
                  </a:lnTo>
                  <a:lnTo>
                    <a:pt x="2806" y="702"/>
                  </a:lnTo>
                  <a:lnTo>
                    <a:pt x="2806" y="702"/>
                  </a:lnTo>
                  <a:lnTo>
                    <a:pt x="2806" y="700"/>
                  </a:lnTo>
                  <a:lnTo>
                    <a:pt x="2809" y="694"/>
                  </a:lnTo>
                  <a:lnTo>
                    <a:pt x="2809" y="694"/>
                  </a:lnTo>
                  <a:lnTo>
                    <a:pt x="2809" y="694"/>
                  </a:lnTo>
                  <a:lnTo>
                    <a:pt x="2811" y="692"/>
                  </a:lnTo>
                  <a:lnTo>
                    <a:pt x="2811" y="692"/>
                  </a:lnTo>
                  <a:close/>
                  <a:moveTo>
                    <a:pt x="2720" y="735"/>
                  </a:moveTo>
                  <a:lnTo>
                    <a:pt x="2720" y="735"/>
                  </a:lnTo>
                  <a:lnTo>
                    <a:pt x="2720" y="733"/>
                  </a:lnTo>
                  <a:lnTo>
                    <a:pt x="2720" y="733"/>
                  </a:lnTo>
                  <a:lnTo>
                    <a:pt x="2720" y="731"/>
                  </a:lnTo>
                  <a:lnTo>
                    <a:pt x="2718" y="727"/>
                  </a:lnTo>
                  <a:lnTo>
                    <a:pt x="2718" y="727"/>
                  </a:lnTo>
                  <a:lnTo>
                    <a:pt x="2718" y="727"/>
                  </a:lnTo>
                  <a:lnTo>
                    <a:pt x="2716" y="727"/>
                  </a:lnTo>
                  <a:lnTo>
                    <a:pt x="2716" y="727"/>
                  </a:lnTo>
                  <a:lnTo>
                    <a:pt x="2714" y="727"/>
                  </a:lnTo>
                  <a:lnTo>
                    <a:pt x="2714" y="727"/>
                  </a:lnTo>
                  <a:lnTo>
                    <a:pt x="2710" y="729"/>
                  </a:lnTo>
                  <a:lnTo>
                    <a:pt x="2707" y="729"/>
                  </a:lnTo>
                  <a:lnTo>
                    <a:pt x="2707" y="731"/>
                  </a:lnTo>
                  <a:lnTo>
                    <a:pt x="2707" y="735"/>
                  </a:lnTo>
                  <a:lnTo>
                    <a:pt x="2707" y="735"/>
                  </a:lnTo>
                  <a:lnTo>
                    <a:pt x="2710" y="735"/>
                  </a:lnTo>
                  <a:lnTo>
                    <a:pt x="2712" y="737"/>
                  </a:lnTo>
                  <a:lnTo>
                    <a:pt x="2716" y="737"/>
                  </a:lnTo>
                  <a:lnTo>
                    <a:pt x="2718" y="737"/>
                  </a:lnTo>
                  <a:lnTo>
                    <a:pt x="2720" y="735"/>
                  </a:lnTo>
                  <a:close/>
                  <a:moveTo>
                    <a:pt x="2755" y="752"/>
                  </a:moveTo>
                  <a:lnTo>
                    <a:pt x="2755" y="752"/>
                  </a:lnTo>
                  <a:lnTo>
                    <a:pt x="2757" y="754"/>
                  </a:lnTo>
                  <a:lnTo>
                    <a:pt x="2757" y="754"/>
                  </a:lnTo>
                  <a:lnTo>
                    <a:pt x="2759" y="752"/>
                  </a:lnTo>
                  <a:lnTo>
                    <a:pt x="2761" y="752"/>
                  </a:lnTo>
                  <a:lnTo>
                    <a:pt x="2761" y="754"/>
                  </a:lnTo>
                  <a:lnTo>
                    <a:pt x="2763" y="752"/>
                  </a:lnTo>
                  <a:lnTo>
                    <a:pt x="2761" y="752"/>
                  </a:lnTo>
                  <a:lnTo>
                    <a:pt x="2761" y="750"/>
                  </a:lnTo>
                  <a:lnTo>
                    <a:pt x="2759" y="750"/>
                  </a:lnTo>
                  <a:lnTo>
                    <a:pt x="2761" y="750"/>
                  </a:lnTo>
                  <a:lnTo>
                    <a:pt x="2761" y="748"/>
                  </a:lnTo>
                  <a:lnTo>
                    <a:pt x="2761" y="748"/>
                  </a:lnTo>
                  <a:lnTo>
                    <a:pt x="2761" y="748"/>
                  </a:lnTo>
                  <a:lnTo>
                    <a:pt x="2759" y="746"/>
                  </a:lnTo>
                  <a:lnTo>
                    <a:pt x="2759" y="746"/>
                  </a:lnTo>
                  <a:lnTo>
                    <a:pt x="2757" y="746"/>
                  </a:lnTo>
                  <a:lnTo>
                    <a:pt x="2757" y="746"/>
                  </a:lnTo>
                  <a:lnTo>
                    <a:pt x="2755" y="746"/>
                  </a:lnTo>
                  <a:lnTo>
                    <a:pt x="2755" y="748"/>
                  </a:lnTo>
                  <a:lnTo>
                    <a:pt x="2755" y="748"/>
                  </a:lnTo>
                  <a:lnTo>
                    <a:pt x="2755" y="748"/>
                  </a:lnTo>
                  <a:lnTo>
                    <a:pt x="2755" y="750"/>
                  </a:lnTo>
                  <a:lnTo>
                    <a:pt x="2755" y="752"/>
                  </a:lnTo>
                  <a:close/>
                  <a:moveTo>
                    <a:pt x="2825" y="694"/>
                  </a:moveTo>
                  <a:lnTo>
                    <a:pt x="2825" y="696"/>
                  </a:lnTo>
                  <a:lnTo>
                    <a:pt x="2827" y="698"/>
                  </a:lnTo>
                  <a:lnTo>
                    <a:pt x="2825" y="698"/>
                  </a:lnTo>
                  <a:lnTo>
                    <a:pt x="2825" y="700"/>
                  </a:lnTo>
                  <a:lnTo>
                    <a:pt x="2827" y="700"/>
                  </a:lnTo>
                  <a:lnTo>
                    <a:pt x="2827" y="700"/>
                  </a:lnTo>
                  <a:lnTo>
                    <a:pt x="2829" y="698"/>
                  </a:lnTo>
                  <a:lnTo>
                    <a:pt x="2829" y="696"/>
                  </a:lnTo>
                  <a:lnTo>
                    <a:pt x="2831" y="696"/>
                  </a:lnTo>
                  <a:lnTo>
                    <a:pt x="2833" y="694"/>
                  </a:lnTo>
                  <a:lnTo>
                    <a:pt x="2833" y="692"/>
                  </a:lnTo>
                  <a:lnTo>
                    <a:pt x="2833" y="692"/>
                  </a:lnTo>
                  <a:lnTo>
                    <a:pt x="2835" y="692"/>
                  </a:lnTo>
                  <a:lnTo>
                    <a:pt x="2835" y="692"/>
                  </a:lnTo>
                  <a:lnTo>
                    <a:pt x="2833" y="690"/>
                  </a:lnTo>
                  <a:lnTo>
                    <a:pt x="2835" y="686"/>
                  </a:lnTo>
                  <a:lnTo>
                    <a:pt x="2835" y="684"/>
                  </a:lnTo>
                  <a:lnTo>
                    <a:pt x="2837" y="684"/>
                  </a:lnTo>
                  <a:lnTo>
                    <a:pt x="2837" y="682"/>
                  </a:lnTo>
                  <a:lnTo>
                    <a:pt x="2837" y="682"/>
                  </a:lnTo>
                  <a:lnTo>
                    <a:pt x="2837" y="682"/>
                  </a:lnTo>
                  <a:lnTo>
                    <a:pt x="2835" y="679"/>
                  </a:lnTo>
                  <a:lnTo>
                    <a:pt x="2835" y="682"/>
                  </a:lnTo>
                  <a:lnTo>
                    <a:pt x="2835" y="682"/>
                  </a:lnTo>
                  <a:lnTo>
                    <a:pt x="2833" y="682"/>
                  </a:lnTo>
                  <a:lnTo>
                    <a:pt x="2831" y="682"/>
                  </a:lnTo>
                  <a:lnTo>
                    <a:pt x="2829" y="684"/>
                  </a:lnTo>
                  <a:lnTo>
                    <a:pt x="2827" y="686"/>
                  </a:lnTo>
                  <a:lnTo>
                    <a:pt x="2825" y="686"/>
                  </a:lnTo>
                  <a:lnTo>
                    <a:pt x="2825" y="688"/>
                  </a:lnTo>
                  <a:lnTo>
                    <a:pt x="2825" y="690"/>
                  </a:lnTo>
                  <a:lnTo>
                    <a:pt x="2825" y="692"/>
                  </a:lnTo>
                  <a:lnTo>
                    <a:pt x="2825" y="694"/>
                  </a:lnTo>
                  <a:lnTo>
                    <a:pt x="2825" y="694"/>
                  </a:lnTo>
                  <a:close/>
                  <a:moveTo>
                    <a:pt x="2714" y="741"/>
                  </a:moveTo>
                  <a:lnTo>
                    <a:pt x="2714" y="739"/>
                  </a:lnTo>
                  <a:lnTo>
                    <a:pt x="2712" y="739"/>
                  </a:lnTo>
                  <a:lnTo>
                    <a:pt x="2712" y="739"/>
                  </a:lnTo>
                  <a:lnTo>
                    <a:pt x="2714" y="741"/>
                  </a:lnTo>
                  <a:lnTo>
                    <a:pt x="2716" y="741"/>
                  </a:lnTo>
                  <a:lnTo>
                    <a:pt x="2716" y="741"/>
                  </a:lnTo>
                  <a:lnTo>
                    <a:pt x="2716" y="741"/>
                  </a:lnTo>
                  <a:lnTo>
                    <a:pt x="2716" y="741"/>
                  </a:lnTo>
                  <a:lnTo>
                    <a:pt x="2714" y="741"/>
                  </a:lnTo>
                  <a:close/>
                  <a:moveTo>
                    <a:pt x="2707" y="737"/>
                  </a:moveTo>
                  <a:lnTo>
                    <a:pt x="2705" y="737"/>
                  </a:lnTo>
                  <a:lnTo>
                    <a:pt x="2705" y="737"/>
                  </a:lnTo>
                  <a:lnTo>
                    <a:pt x="2705" y="741"/>
                  </a:lnTo>
                  <a:lnTo>
                    <a:pt x="2707" y="741"/>
                  </a:lnTo>
                  <a:lnTo>
                    <a:pt x="2707" y="741"/>
                  </a:lnTo>
                  <a:lnTo>
                    <a:pt x="2710" y="741"/>
                  </a:lnTo>
                  <a:lnTo>
                    <a:pt x="2710" y="741"/>
                  </a:lnTo>
                  <a:lnTo>
                    <a:pt x="2710" y="739"/>
                  </a:lnTo>
                  <a:lnTo>
                    <a:pt x="2707" y="737"/>
                  </a:lnTo>
                  <a:close/>
                  <a:moveTo>
                    <a:pt x="2716" y="723"/>
                  </a:moveTo>
                  <a:lnTo>
                    <a:pt x="2718" y="723"/>
                  </a:lnTo>
                  <a:lnTo>
                    <a:pt x="2718" y="723"/>
                  </a:lnTo>
                  <a:lnTo>
                    <a:pt x="2718" y="723"/>
                  </a:lnTo>
                  <a:lnTo>
                    <a:pt x="2718" y="721"/>
                  </a:lnTo>
                  <a:lnTo>
                    <a:pt x="2718" y="721"/>
                  </a:lnTo>
                  <a:lnTo>
                    <a:pt x="2716" y="719"/>
                  </a:lnTo>
                  <a:lnTo>
                    <a:pt x="2716" y="721"/>
                  </a:lnTo>
                  <a:lnTo>
                    <a:pt x="2716" y="721"/>
                  </a:lnTo>
                  <a:lnTo>
                    <a:pt x="2716" y="723"/>
                  </a:lnTo>
                  <a:lnTo>
                    <a:pt x="2716" y="723"/>
                  </a:lnTo>
                  <a:close/>
                  <a:moveTo>
                    <a:pt x="2718" y="743"/>
                  </a:moveTo>
                  <a:lnTo>
                    <a:pt x="2720" y="743"/>
                  </a:lnTo>
                  <a:lnTo>
                    <a:pt x="2720" y="743"/>
                  </a:lnTo>
                  <a:lnTo>
                    <a:pt x="2722" y="737"/>
                  </a:lnTo>
                  <a:lnTo>
                    <a:pt x="2722" y="735"/>
                  </a:lnTo>
                  <a:lnTo>
                    <a:pt x="2722" y="735"/>
                  </a:lnTo>
                  <a:lnTo>
                    <a:pt x="2722" y="737"/>
                  </a:lnTo>
                  <a:lnTo>
                    <a:pt x="2720" y="739"/>
                  </a:lnTo>
                  <a:lnTo>
                    <a:pt x="2718" y="741"/>
                  </a:lnTo>
                  <a:lnTo>
                    <a:pt x="2718" y="741"/>
                  </a:lnTo>
                  <a:lnTo>
                    <a:pt x="2718" y="741"/>
                  </a:lnTo>
                  <a:lnTo>
                    <a:pt x="2718" y="743"/>
                  </a:lnTo>
                  <a:close/>
                  <a:moveTo>
                    <a:pt x="2782" y="739"/>
                  </a:moveTo>
                  <a:lnTo>
                    <a:pt x="2782" y="739"/>
                  </a:lnTo>
                  <a:lnTo>
                    <a:pt x="2782" y="737"/>
                  </a:lnTo>
                  <a:lnTo>
                    <a:pt x="2782" y="735"/>
                  </a:lnTo>
                  <a:lnTo>
                    <a:pt x="2778" y="733"/>
                  </a:lnTo>
                  <a:lnTo>
                    <a:pt x="2776" y="733"/>
                  </a:lnTo>
                  <a:lnTo>
                    <a:pt x="2776" y="737"/>
                  </a:lnTo>
                  <a:lnTo>
                    <a:pt x="2778" y="737"/>
                  </a:lnTo>
                  <a:lnTo>
                    <a:pt x="2782" y="739"/>
                  </a:lnTo>
                  <a:close/>
                  <a:moveTo>
                    <a:pt x="4050" y="1460"/>
                  </a:moveTo>
                  <a:lnTo>
                    <a:pt x="4050" y="1460"/>
                  </a:lnTo>
                  <a:lnTo>
                    <a:pt x="4050" y="1458"/>
                  </a:lnTo>
                  <a:lnTo>
                    <a:pt x="4050" y="1458"/>
                  </a:lnTo>
                  <a:lnTo>
                    <a:pt x="4048" y="1460"/>
                  </a:lnTo>
                  <a:lnTo>
                    <a:pt x="4048" y="1460"/>
                  </a:lnTo>
                  <a:lnTo>
                    <a:pt x="4048" y="1460"/>
                  </a:lnTo>
                  <a:lnTo>
                    <a:pt x="4048" y="1462"/>
                  </a:lnTo>
                  <a:lnTo>
                    <a:pt x="4050" y="1464"/>
                  </a:lnTo>
                  <a:lnTo>
                    <a:pt x="4050" y="1464"/>
                  </a:lnTo>
                  <a:lnTo>
                    <a:pt x="4050" y="1464"/>
                  </a:lnTo>
                  <a:lnTo>
                    <a:pt x="4050" y="1462"/>
                  </a:lnTo>
                  <a:lnTo>
                    <a:pt x="4050" y="1460"/>
                  </a:lnTo>
                  <a:close/>
                  <a:moveTo>
                    <a:pt x="4029" y="1441"/>
                  </a:moveTo>
                  <a:lnTo>
                    <a:pt x="4027" y="1441"/>
                  </a:lnTo>
                  <a:lnTo>
                    <a:pt x="4029" y="1441"/>
                  </a:lnTo>
                  <a:lnTo>
                    <a:pt x="4029" y="1441"/>
                  </a:lnTo>
                  <a:lnTo>
                    <a:pt x="4029" y="1441"/>
                  </a:lnTo>
                  <a:lnTo>
                    <a:pt x="4029" y="1441"/>
                  </a:lnTo>
                  <a:close/>
                  <a:moveTo>
                    <a:pt x="4052" y="1567"/>
                  </a:moveTo>
                  <a:lnTo>
                    <a:pt x="4052" y="1567"/>
                  </a:lnTo>
                  <a:lnTo>
                    <a:pt x="4052" y="1567"/>
                  </a:lnTo>
                  <a:lnTo>
                    <a:pt x="4052" y="1567"/>
                  </a:lnTo>
                  <a:lnTo>
                    <a:pt x="4052" y="1567"/>
                  </a:lnTo>
                  <a:lnTo>
                    <a:pt x="4052" y="1565"/>
                  </a:lnTo>
                  <a:lnTo>
                    <a:pt x="4052" y="1565"/>
                  </a:lnTo>
                  <a:lnTo>
                    <a:pt x="4052" y="1567"/>
                  </a:lnTo>
                  <a:close/>
                  <a:moveTo>
                    <a:pt x="4035" y="1446"/>
                  </a:moveTo>
                  <a:lnTo>
                    <a:pt x="4035" y="1446"/>
                  </a:lnTo>
                  <a:lnTo>
                    <a:pt x="4035" y="1446"/>
                  </a:lnTo>
                  <a:lnTo>
                    <a:pt x="4035" y="1446"/>
                  </a:lnTo>
                  <a:lnTo>
                    <a:pt x="4035" y="1446"/>
                  </a:lnTo>
                  <a:lnTo>
                    <a:pt x="4035" y="1446"/>
                  </a:lnTo>
                  <a:lnTo>
                    <a:pt x="4035" y="1446"/>
                  </a:lnTo>
                  <a:lnTo>
                    <a:pt x="4035" y="1446"/>
                  </a:lnTo>
                  <a:close/>
                  <a:moveTo>
                    <a:pt x="4038" y="1454"/>
                  </a:moveTo>
                  <a:lnTo>
                    <a:pt x="4040" y="1456"/>
                  </a:lnTo>
                  <a:lnTo>
                    <a:pt x="4040" y="1454"/>
                  </a:lnTo>
                  <a:lnTo>
                    <a:pt x="4038" y="1454"/>
                  </a:lnTo>
                  <a:lnTo>
                    <a:pt x="4038" y="1454"/>
                  </a:lnTo>
                  <a:close/>
                  <a:moveTo>
                    <a:pt x="4089" y="1307"/>
                  </a:moveTo>
                  <a:lnTo>
                    <a:pt x="4089" y="1307"/>
                  </a:lnTo>
                  <a:lnTo>
                    <a:pt x="4089" y="1309"/>
                  </a:lnTo>
                  <a:lnTo>
                    <a:pt x="4089" y="1307"/>
                  </a:lnTo>
                  <a:lnTo>
                    <a:pt x="4089" y="1307"/>
                  </a:lnTo>
                  <a:lnTo>
                    <a:pt x="4089" y="1307"/>
                  </a:lnTo>
                  <a:lnTo>
                    <a:pt x="4089" y="1307"/>
                  </a:lnTo>
                  <a:close/>
                  <a:moveTo>
                    <a:pt x="4091" y="1307"/>
                  </a:moveTo>
                  <a:lnTo>
                    <a:pt x="4091" y="1309"/>
                  </a:lnTo>
                  <a:lnTo>
                    <a:pt x="4093" y="1309"/>
                  </a:lnTo>
                  <a:lnTo>
                    <a:pt x="4093" y="1309"/>
                  </a:lnTo>
                  <a:lnTo>
                    <a:pt x="4093" y="1309"/>
                  </a:lnTo>
                  <a:lnTo>
                    <a:pt x="4093" y="1307"/>
                  </a:lnTo>
                  <a:lnTo>
                    <a:pt x="4093" y="1307"/>
                  </a:lnTo>
                  <a:lnTo>
                    <a:pt x="4091" y="1307"/>
                  </a:lnTo>
                  <a:lnTo>
                    <a:pt x="4091" y="1307"/>
                  </a:lnTo>
                  <a:close/>
                  <a:moveTo>
                    <a:pt x="4099" y="1301"/>
                  </a:moveTo>
                  <a:lnTo>
                    <a:pt x="4099" y="1301"/>
                  </a:lnTo>
                  <a:lnTo>
                    <a:pt x="4097" y="1301"/>
                  </a:lnTo>
                  <a:lnTo>
                    <a:pt x="4097" y="1303"/>
                  </a:lnTo>
                  <a:lnTo>
                    <a:pt x="4099" y="1303"/>
                  </a:lnTo>
                  <a:lnTo>
                    <a:pt x="4101" y="1303"/>
                  </a:lnTo>
                  <a:lnTo>
                    <a:pt x="4099" y="1301"/>
                  </a:lnTo>
                  <a:close/>
                  <a:moveTo>
                    <a:pt x="4184" y="1276"/>
                  </a:moveTo>
                  <a:lnTo>
                    <a:pt x="4184" y="1276"/>
                  </a:lnTo>
                  <a:lnTo>
                    <a:pt x="4184" y="1278"/>
                  </a:lnTo>
                  <a:lnTo>
                    <a:pt x="4184" y="1278"/>
                  </a:lnTo>
                  <a:lnTo>
                    <a:pt x="4184" y="1278"/>
                  </a:lnTo>
                  <a:lnTo>
                    <a:pt x="4186" y="1278"/>
                  </a:lnTo>
                  <a:lnTo>
                    <a:pt x="4186" y="1278"/>
                  </a:lnTo>
                  <a:lnTo>
                    <a:pt x="4184" y="1278"/>
                  </a:lnTo>
                  <a:lnTo>
                    <a:pt x="4184" y="1276"/>
                  </a:lnTo>
                  <a:close/>
                  <a:moveTo>
                    <a:pt x="4097" y="1307"/>
                  </a:moveTo>
                  <a:lnTo>
                    <a:pt x="4099" y="1307"/>
                  </a:lnTo>
                  <a:lnTo>
                    <a:pt x="4099" y="1307"/>
                  </a:lnTo>
                  <a:lnTo>
                    <a:pt x="4099" y="1305"/>
                  </a:lnTo>
                  <a:lnTo>
                    <a:pt x="4099" y="1305"/>
                  </a:lnTo>
                  <a:lnTo>
                    <a:pt x="4099" y="1305"/>
                  </a:lnTo>
                  <a:lnTo>
                    <a:pt x="4099" y="1305"/>
                  </a:lnTo>
                  <a:lnTo>
                    <a:pt x="4097" y="1307"/>
                  </a:lnTo>
                  <a:close/>
                  <a:moveTo>
                    <a:pt x="3334" y="1258"/>
                  </a:moveTo>
                  <a:lnTo>
                    <a:pt x="3332" y="1258"/>
                  </a:lnTo>
                  <a:lnTo>
                    <a:pt x="3330" y="1258"/>
                  </a:lnTo>
                  <a:lnTo>
                    <a:pt x="3332" y="1258"/>
                  </a:lnTo>
                  <a:lnTo>
                    <a:pt x="3334" y="1258"/>
                  </a:lnTo>
                  <a:lnTo>
                    <a:pt x="3334" y="1258"/>
                  </a:lnTo>
                  <a:lnTo>
                    <a:pt x="3334" y="1258"/>
                  </a:lnTo>
                  <a:lnTo>
                    <a:pt x="3334" y="1258"/>
                  </a:lnTo>
                  <a:lnTo>
                    <a:pt x="3334" y="1258"/>
                  </a:lnTo>
                  <a:lnTo>
                    <a:pt x="3334" y="1258"/>
                  </a:lnTo>
                  <a:close/>
                  <a:moveTo>
                    <a:pt x="3326" y="1256"/>
                  </a:moveTo>
                  <a:lnTo>
                    <a:pt x="3324" y="1256"/>
                  </a:lnTo>
                  <a:lnTo>
                    <a:pt x="3326" y="1258"/>
                  </a:lnTo>
                  <a:lnTo>
                    <a:pt x="3326" y="1258"/>
                  </a:lnTo>
                  <a:lnTo>
                    <a:pt x="3328" y="1256"/>
                  </a:lnTo>
                  <a:lnTo>
                    <a:pt x="3328" y="1256"/>
                  </a:lnTo>
                  <a:lnTo>
                    <a:pt x="3328" y="1256"/>
                  </a:lnTo>
                  <a:lnTo>
                    <a:pt x="3328" y="1254"/>
                  </a:lnTo>
                  <a:lnTo>
                    <a:pt x="3328" y="1256"/>
                  </a:lnTo>
                  <a:lnTo>
                    <a:pt x="3326" y="1256"/>
                  </a:lnTo>
                  <a:close/>
                  <a:moveTo>
                    <a:pt x="4299" y="1144"/>
                  </a:moveTo>
                  <a:lnTo>
                    <a:pt x="4299" y="1144"/>
                  </a:lnTo>
                  <a:lnTo>
                    <a:pt x="4299" y="1144"/>
                  </a:lnTo>
                  <a:lnTo>
                    <a:pt x="4297" y="1142"/>
                  </a:lnTo>
                  <a:lnTo>
                    <a:pt x="4297" y="1142"/>
                  </a:lnTo>
                  <a:lnTo>
                    <a:pt x="4295" y="1142"/>
                  </a:lnTo>
                  <a:lnTo>
                    <a:pt x="4295" y="1142"/>
                  </a:lnTo>
                  <a:lnTo>
                    <a:pt x="4295" y="1144"/>
                  </a:lnTo>
                  <a:lnTo>
                    <a:pt x="4299" y="1146"/>
                  </a:lnTo>
                  <a:lnTo>
                    <a:pt x="4304" y="1146"/>
                  </a:lnTo>
                  <a:lnTo>
                    <a:pt x="4304" y="1146"/>
                  </a:lnTo>
                  <a:lnTo>
                    <a:pt x="4304" y="1146"/>
                  </a:lnTo>
                  <a:lnTo>
                    <a:pt x="4304" y="1146"/>
                  </a:lnTo>
                  <a:lnTo>
                    <a:pt x="4299" y="1144"/>
                  </a:lnTo>
                  <a:close/>
                  <a:moveTo>
                    <a:pt x="3316" y="1256"/>
                  </a:moveTo>
                  <a:lnTo>
                    <a:pt x="3316" y="1256"/>
                  </a:lnTo>
                  <a:lnTo>
                    <a:pt x="3316" y="1256"/>
                  </a:lnTo>
                  <a:lnTo>
                    <a:pt x="3316" y="1256"/>
                  </a:lnTo>
                  <a:lnTo>
                    <a:pt x="3318" y="1256"/>
                  </a:lnTo>
                  <a:lnTo>
                    <a:pt x="3316" y="1256"/>
                  </a:lnTo>
                  <a:lnTo>
                    <a:pt x="3316" y="1256"/>
                  </a:lnTo>
                  <a:close/>
                  <a:moveTo>
                    <a:pt x="2918" y="1059"/>
                  </a:moveTo>
                  <a:lnTo>
                    <a:pt x="2918" y="1059"/>
                  </a:lnTo>
                  <a:lnTo>
                    <a:pt x="2918" y="1059"/>
                  </a:lnTo>
                  <a:lnTo>
                    <a:pt x="2918" y="1059"/>
                  </a:lnTo>
                  <a:lnTo>
                    <a:pt x="2920" y="1059"/>
                  </a:lnTo>
                  <a:lnTo>
                    <a:pt x="2918" y="1057"/>
                  </a:lnTo>
                  <a:lnTo>
                    <a:pt x="2918" y="1057"/>
                  </a:lnTo>
                  <a:lnTo>
                    <a:pt x="2918" y="1059"/>
                  </a:lnTo>
                  <a:close/>
                  <a:moveTo>
                    <a:pt x="4025" y="1435"/>
                  </a:moveTo>
                  <a:lnTo>
                    <a:pt x="4025" y="1433"/>
                  </a:lnTo>
                  <a:lnTo>
                    <a:pt x="4025" y="1433"/>
                  </a:lnTo>
                  <a:lnTo>
                    <a:pt x="4025" y="1435"/>
                  </a:lnTo>
                  <a:lnTo>
                    <a:pt x="4025" y="1437"/>
                  </a:lnTo>
                  <a:lnTo>
                    <a:pt x="4025" y="1437"/>
                  </a:lnTo>
                  <a:lnTo>
                    <a:pt x="4025" y="1437"/>
                  </a:lnTo>
                  <a:lnTo>
                    <a:pt x="4027" y="1437"/>
                  </a:lnTo>
                  <a:lnTo>
                    <a:pt x="4027" y="1435"/>
                  </a:lnTo>
                  <a:lnTo>
                    <a:pt x="4027" y="1435"/>
                  </a:lnTo>
                  <a:lnTo>
                    <a:pt x="4025" y="1435"/>
                  </a:lnTo>
                  <a:close/>
                  <a:moveTo>
                    <a:pt x="3992" y="1470"/>
                  </a:moveTo>
                  <a:lnTo>
                    <a:pt x="3990" y="1472"/>
                  </a:lnTo>
                  <a:lnTo>
                    <a:pt x="3992" y="1472"/>
                  </a:lnTo>
                  <a:lnTo>
                    <a:pt x="3992" y="1472"/>
                  </a:lnTo>
                  <a:lnTo>
                    <a:pt x="3992" y="1472"/>
                  </a:lnTo>
                  <a:lnTo>
                    <a:pt x="3992" y="1470"/>
                  </a:lnTo>
                  <a:lnTo>
                    <a:pt x="3992" y="1470"/>
                  </a:lnTo>
                  <a:lnTo>
                    <a:pt x="3992" y="1470"/>
                  </a:lnTo>
                  <a:lnTo>
                    <a:pt x="3992" y="1470"/>
                  </a:lnTo>
                  <a:close/>
                  <a:moveTo>
                    <a:pt x="3992" y="1468"/>
                  </a:moveTo>
                  <a:lnTo>
                    <a:pt x="3992" y="1468"/>
                  </a:lnTo>
                  <a:lnTo>
                    <a:pt x="3992" y="1468"/>
                  </a:lnTo>
                  <a:lnTo>
                    <a:pt x="3992" y="1468"/>
                  </a:lnTo>
                  <a:lnTo>
                    <a:pt x="3992" y="1468"/>
                  </a:lnTo>
                  <a:lnTo>
                    <a:pt x="3992" y="1468"/>
                  </a:lnTo>
                  <a:lnTo>
                    <a:pt x="3992" y="1468"/>
                  </a:lnTo>
                  <a:lnTo>
                    <a:pt x="3992" y="1468"/>
                  </a:lnTo>
                  <a:close/>
                  <a:moveTo>
                    <a:pt x="3903" y="1330"/>
                  </a:moveTo>
                  <a:lnTo>
                    <a:pt x="3903" y="1330"/>
                  </a:lnTo>
                  <a:lnTo>
                    <a:pt x="3906" y="1330"/>
                  </a:lnTo>
                  <a:lnTo>
                    <a:pt x="3906" y="1330"/>
                  </a:lnTo>
                  <a:lnTo>
                    <a:pt x="3906" y="1328"/>
                  </a:lnTo>
                  <a:lnTo>
                    <a:pt x="3906" y="1328"/>
                  </a:lnTo>
                  <a:lnTo>
                    <a:pt x="3906" y="1328"/>
                  </a:lnTo>
                  <a:lnTo>
                    <a:pt x="3903" y="1328"/>
                  </a:lnTo>
                  <a:lnTo>
                    <a:pt x="3903" y="1326"/>
                  </a:lnTo>
                  <a:lnTo>
                    <a:pt x="3901" y="1326"/>
                  </a:lnTo>
                  <a:lnTo>
                    <a:pt x="3901" y="1328"/>
                  </a:lnTo>
                  <a:lnTo>
                    <a:pt x="3901" y="1328"/>
                  </a:lnTo>
                  <a:lnTo>
                    <a:pt x="3903" y="1328"/>
                  </a:lnTo>
                  <a:lnTo>
                    <a:pt x="3903" y="1330"/>
                  </a:lnTo>
                  <a:close/>
                  <a:moveTo>
                    <a:pt x="3357" y="1220"/>
                  </a:moveTo>
                  <a:lnTo>
                    <a:pt x="3355" y="1220"/>
                  </a:lnTo>
                  <a:lnTo>
                    <a:pt x="3355" y="1220"/>
                  </a:lnTo>
                  <a:lnTo>
                    <a:pt x="3355" y="1220"/>
                  </a:lnTo>
                  <a:lnTo>
                    <a:pt x="3355" y="1223"/>
                  </a:lnTo>
                  <a:lnTo>
                    <a:pt x="3355" y="1223"/>
                  </a:lnTo>
                  <a:lnTo>
                    <a:pt x="3357" y="1223"/>
                  </a:lnTo>
                  <a:lnTo>
                    <a:pt x="3359" y="1220"/>
                  </a:lnTo>
                  <a:lnTo>
                    <a:pt x="3359" y="1220"/>
                  </a:lnTo>
                  <a:lnTo>
                    <a:pt x="3361" y="1220"/>
                  </a:lnTo>
                  <a:lnTo>
                    <a:pt x="3363" y="1220"/>
                  </a:lnTo>
                  <a:lnTo>
                    <a:pt x="3363" y="1220"/>
                  </a:lnTo>
                  <a:lnTo>
                    <a:pt x="3363" y="1220"/>
                  </a:lnTo>
                  <a:lnTo>
                    <a:pt x="3365" y="1218"/>
                  </a:lnTo>
                  <a:lnTo>
                    <a:pt x="3367" y="1216"/>
                  </a:lnTo>
                  <a:lnTo>
                    <a:pt x="3369" y="1216"/>
                  </a:lnTo>
                  <a:lnTo>
                    <a:pt x="3367" y="1216"/>
                  </a:lnTo>
                  <a:lnTo>
                    <a:pt x="3365" y="1216"/>
                  </a:lnTo>
                  <a:lnTo>
                    <a:pt x="3363" y="1216"/>
                  </a:lnTo>
                  <a:lnTo>
                    <a:pt x="3361" y="1216"/>
                  </a:lnTo>
                  <a:lnTo>
                    <a:pt x="3361" y="1216"/>
                  </a:lnTo>
                  <a:lnTo>
                    <a:pt x="3361" y="1218"/>
                  </a:lnTo>
                  <a:lnTo>
                    <a:pt x="3361" y="1218"/>
                  </a:lnTo>
                  <a:lnTo>
                    <a:pt x="3357" y="1220"/>
                  </a:lnTo>
                  <a:close/>
                  <a:moveTo>
                    <a:pt x="3343" y="1254"/>
                  </a:moveTo>
                  <a:lnTo>
                    <a:pt x="3341" y="1254"/>
                  </a:lnTo>
                  <a:lnTo>
                    <a:pt x="3341" y="1254"/>
                  </a:lnTo>
                  <a:lnTo>
                    <a:pt x="3343" y="1254"/>
                  </a:lnTo>
                  <a:lnTo>
                    <a:pt x="3343" y="1254"/>
                  </a:lnTo>
                  <a:lnTo>
                    <a:pt x="3343" y="1254"/>
                  </a:lnTo>
                  <a:lnTo>
                    <a:pt x="3343" y="1254"/>
                  </a:lnTo>
                  <a:lnTo>
                    <a:pt x="3343" y="1254"/>
                  </a:lnTo>
                  <a:lnTo>
                    <a:pt x="3343" y="1254"/>
                  </a:lnTo>
                  <a:close/>
                  <a:moveTo>
                    <a:pt x="5128" y="799"/>
                  </a:moveTo>
                  <a:lnTo>
                    <a:pt x="5130" y="797"/>
                  </a:lnTo>
                  <a:lnTo>
                    <a:pt x="5128" y="795"/>
                  </a:lnTo>
                  <a:lnTo>
                    <a:pt x="5126" y="797"/>
                  </a:lnTo>
                  <a:lnTo>
                    <a:pt x="5126" y="797"/>
                  </a:lnTo>
                  <a:lnTo>
                    <a:pt x="5126" y="799"/>
                  </a:lnTo>
                  <a:lnTo>
                    <a:pt x="5128" y="799"/>
                  </a:lnTo>
                  <a:lnTo>
                    <a:pt x="5128" y="799"/>
                  </a:lnTo>
                  <a:close/>
                  <a:moveTo>
                    <a:pt x="5130" y="1838"/>
                  </a:moveTo>
                  <a:lnTo>
                    <a:pt x="5128" y="1838"/>
                  </a:lnTo>
                  <a:lnTo>
                    <a:pt x="5128" y="1838"/>
                  </a:lnTo>
                  <a:lnTo>
                    <a:pt x="5126" y="1838"/>
                  </a:lnTo>
                  <a:lnTo>
                    <a:pt x="5124" y="1838"/>
                  </a:lnTo>
                  <a:lnTo>
                    <a:pt x="5124" y="1840"/>
                  </a:lnTo>
                  <a:lnTo>
                    <a:pt x="5122" y="1840"/>
                  </a:lnTo>
                  <a:lnTo>
                    <a:pt x="5122" y="1840"/>
                  </a:lnTo>
                  <a:lnTo>
                    <a:pt x="5120" y="1842"/>
                  </a:lnTo>
                  <a:lnTo>
                    <a:pt x="5118" y="1842"/>
                  </a:lnTo>
                  <a:lnTo>
                    <a:pt x="5116" y="1842"/>
                  </a:lnTo>
                  <a:lnTo>
                    <a:pt x="5116" y="1844"/>
                  </a:lnTo>
                  <a:lnTo>
                    <a:pt x="5114" y="1844"/>
                  </a:lnTo>
                  <a:lnTo>
                    <a:pt x="5114" y="1844"/>
                  </a:lnTo>
                  <a:lnTo>
                    <a:pt x="5114" y="1844"/>
                  </a:lnTo>
                  <a:lnTo>
                    <a:pt x="5112" y="1844"/>
                  </a:lnTo>
                  <a:lnTo>
                    <a:pt x="5112" y="1844"/>
                  </a:lnTo>
                  <a:lnTo>
                    <a:pt x="5112" y="1844"/>
                  </a:lnTo>
                  <a:lnTo>
                    <a:pt x="5112" y="1846"/>
                  </a:lnTo>
                  <a:lnTo>
                    <a:pt x="5112" y="1846"/>
                  </a:lnTo>
                  <a:lnTo>
                    <a:pt x="5112" y="1846"/>
                  </a:lnTo>
                  <a:lnTo>
                    <a:pt x="5114" y="1846"/>
                  </a:lnTo>
                  <a:lnTo>
                    <a:pt x="5114" y="1848"/>
                  </a:lnTo>
                  <a:lnTo>
                    <a:pt x="5114" y="1848"/>
                  </a:lnTo>
                  <a:lnTo>
                    <a:pt x="5116" y="1848"/>
                  </a:lnTo>
                  <a:lnTo>
                    <a:pt x="5116" y="1848"/>
                  </a:lnTo>
                  <a:lnTo>
                    <a:pt x="5118" y="1848"/>
                  </a:lnTo>
                  <a:lnTo>
                    <a:pt x="5118" y="1848"/>
                  </a:lnTo>
                  <a:lnTo>
                    <a:pt x="5120" y="1846"/>
                  </a:lnTo>
                  <a:lnTo>
                    <a:pt x="5122" y="1844"/>
                  </a:lnTo>
                  <a:lnTo>
                    <a:pt x="5122" y="1844"/>
                  </a:lnTo>
                  <a:lnTo>
                    <a:pt x="5122" y="1844"/>
                  </a:lnTo>
                  <a:lnTo>
                    <a:pt x="5124" y="1846"/>
                  </a:lnTo>
                  <a:lnTo>
                    <a:pt x="5124" y="1846"/>
                  </a:lnTo>
                  <a:lnTo>
                    <a:pt x="5124" y="1846"/>
                  </a:lnTo>
                  <a:lnTo>
                    <a:pt x="5124" y="1846"/>
                  </a:lnTo>
                  <a:lnTo>
                    <a:pt x="5126" y="1846"/>
                  </a:lnTo>
                  <a:lnTo>
                    <a:pt x="5128" y="1846"/>
                  </a:lnTo>
                  <a:lnTo>
                    <a:pt x="5130" y="1846"/>
                  </a:lnTo>
                  <a:lnTo>
                    <a:pt x="5132" y="1846"/>
                  </a:lnTo>
                  <a:lnTo>
                    <a:pt x="5130" y="1844"/>
                  </a:lnTo>
                  <a:lnTo>
                    <a:pt x="5130" y="1844"/>
                  </a:lnTo>
                  <a:lnTo>
                    <a:pt x="5132" y="1842"/>
                  </a:lnTo>
                  <a:lnTo>
                    <a:pt x="5132" y="1842"/>
                  </a:lnTo>
                  <a:lnTo>
                    <a:pt x="5130" y="1842"/>
                  </a:lnTo>
                  <a:lnTo>
                    <a:pt x="5130" y="1842"/>
                  </a:lnTo>
                  <a:lnTo>
                    <a:pt x="5128" y="1844"/>
                  </a:lnTo>
                  <a:lnTo>
                    <a:pt x="5126" y="1846"/>
                  </a:lnTo>
                  <a:lnTo>
                    <a:pt x="5126" y="1844"/>
                  </a:lnTo>
                  <a:lnTo>
                    <a:pt x="5126" y="1842"/>
                  </a:lnTo>
                  <a:lnTo>
                    <a:pt x="5128" y="1842"/>
                  </a:lnTo>
                  <a:lnTo>
                    <a:pt x="5130" y="1840"/>
                  </a:lnTo>
                  <a:lnTo>
                    <a:pt x="5130" y="1840"/>
                  </a:lnTo>
                  <a:lnTo>
                    <a:pt x="5132" y="1838"/>
                  </a:lnTo>
                  <a:lnTo>
                    <a:pt x="5132" y="1838"/>
                  </a:lnTo>
                  <a:lnTo>
                    <a:pt x="5130" y="1838"/>
                  </a:lnTo>
                  <a:lnTo>
                    <a:pt x="5130" y="1838"/>
                  </a:lnTo>
                  <a:close/>
                  <a:moveTo>
                    <a:pt x="5114" y="1712"/>
                  </a:moveTo>
                  <a:lnTo>
                    <a:pt x="5114" y="1712"/>
                  </a:lnTo>
                  <a:lnTo>
                    <a:pt x="5114" y="1712"/>
                  </a:lnTo>
                  <a:lnTo>
                    <a:pt x="5114" y="1712"/>
                  </a:lnTo>
                  <a:lnTo>
                    <a:pt x="5114" y="1712"/>
                  </a:lnTo>
                  <a:lnTo>
                    <a:pt x="5114" y="1712"/>
                  </a:lnTo>
                  <a:lnTo>
                    <a:pt x="5114" y="1712"/>
                  </a:lnTo>
                  <a:lnTo>
                    <a:pt x="5114" y="1712"/>
                  </a:lnTo>
                  <a:close/>
                  <a:moveTo>
                    <a:pt x="5124" y="808"/>
                  </a:moveTo>
                  <a:lnTo>
                    <a:pt x="5124" y="808"/>
                  </a:lnTo>
                  <a:lnTo>
                    <a:pt x="5122" y="808"/>
                  </a:lnTo>
                  <a:lnTo>
                    <a:pt x="5120" y="808"/>
                  </a:lnTo>
                  <a:lnTo>
                    <a:pt x="5120" y="805"/>
                  </a:lnTo>
                  <a:lnTo>
                    <a:pt x="5118" y="803"/>
                  </a:lnTo>
                  <a:lnTo>
                    <a:pt x="5114" y="803"/>
                  </a:lnTo>
                  <a:lnTo>
                    <a:pt x="5114" y="803"/>
                  </a:lnTo>
                  <a:lnTo>
                    <a:pt x="5114" y="805"/>
                  </a:lnTo>
                  <a:lnTo>
                    <a:pt x="5118" y="805"/>
                  </a:lnTo>
                  <a:lnTo>
                    <a:pt x="5122" y="808"/>
                  </a:lnTo>
                  <a:lnTo>
                    <a:pt x="5124" y="808"/>
                  </a:lnTo>
                  <a:close/>
                  <a:moveTo>
                    <a:pt x="5132" y="1842"/>
                  </a:moveTo>
                  <a:lnTo>
                    <a:pt x="5132" y="1842"/>
                  </a:lnTo>
                  <a:lnTo>
                    <a:pt x="5132" y="1842"/>
                  </a:lnTo>
                  <a:lnTo>
                    <a:pt x="5132" y="1842"/>
                  </a:lnTo>
                  <a:lnTo>
                    <a:pt x="5132" y="1842"/>
                  </a:lnTo>
                  <a:close/>
                  <a:moveTo>
                    <a:pt x="5122" y="1728"/>
                  </a:moveTo>
                  <a:lnTo>
                    <a:pt x="5122" y="1726"/>
                  </a:lnTo>
                  <a:lnTo>
                    <a:pt x="5122" y="1726"/>
                  </a:lnTo>
                  <a:lnTo>
                    <a:pt x="5122" y="1726"/>
                  </a:lnTo>
                  <a:lnTo>
                    <a:pt x="5122" y="1726"/>
                  </a:lnTo>
                  <a:lnTo>
                    <a:pt x="5122" y="1726"/>
                  </a:lnTo>
                  <a:lnTo>
                    <a:pt x="5122" y="1726"/>
                  </a:lnTo>
                  <a:lnTo>
                    <a:pt x="5122" y="1726"/>
                  </a:lnTo>
                  <a:lnTo>
                    <a:pt x="5122" y="1728"/>
                  </a:lnTo>
                  <a:lnTo>
                    <a:pt x="5122" y="1728"/>
                  </a:lnTo>
                  <a:close/>
                  <a:moveTo>
                    <a:pt x="5132" y="1848"/>
                  </a:moveTo>
                  <a:lnTo>
                    <a:pt x="5130" y="1848"/>
                  </a:lnTo>
                  <a:lnTo>
                    <a:pt x="5132" y="1848"/>
                  </a:lnTo>
                  <a:lnTo>
                    <a:pt x="5132" y="1848"/>
                  </a:lnTo>
                  <a:lnTo>
                    <a:pt x="5132" y="1846"/>
                  </a:lnTo>
                  <a:lnTo>
                    <a:pt x="5132" y="1846"/>
                  </a:lnTo>
                  <a:lnTo>
                    <a:pt x="5132" y="1848"/>
                  </a:lnTo>
                  <a:close/>
                  <a:moveTo>
                    <a:pt x="5122" y="1863"/>
                  </a:moveTo>
                  <a:lnTo>
                    <a:pt x="5122" y="1863"/>
                  </a:lnTo>
                  <a:lnTo>
                    <a:pt x="5122" y="1865"/>
                  </a:lnTo>
                  <a:lnTo>
                    <a:pt x="5122" y="1865"/>
                  </a:lnTo>
                  <a:lnTo>
                    <a:pt x="5124" y="1865"/>
                  </a:lnTo>
                  <a:lnTo>
                    <a:pt x="5124" y="1865"/>
                  </a:lnTo>
                  <a:lnTo>
                    <a:pt x="5124" y="1865"/>
                  </a:lnTo>
                  <a:lnTo>
                    <a:pt x="5124" y="1863"/>
                  </a:lnTo>
                  <a:lnTo>
                    <a:pt x="5122" y="1863"/>
                  </a:lnTo>
                  <a:close/>
                  <a:moveTo>
                    <a:pt x="4347" y="1016"/>
                  </a:moveTo>
                  <a:lnTo>
                    <a:pt x="4347" y="1016"/>
                  </a:lnTo>
                  <a:lnTo>
                    <a:pt x="4347" y="1016"/>
                  </a:lnTo>
                  <a:lnTo>
                    <a:pt x="4347" y="1018"/>
                  </a:lnTo>
                  <a:lnTo>
                    <a:pt x="4347" y="1016"/>
                  </a:lnTo>
                  <a:lnTo>
                    <a:pt x="4347" y="1016"/>
                  </a:lnTo>
                  <a:close/>
                  <a:moveTo>
                    <a:pt x="5124" y="1852"/>
                  </a:moveTo>
                  <a:lnTo>
                    <a:pt x="5124" y="1852"/>
                  </a:lnTo>
                  <a:lnTo>
                    <a:pt x="5124" y="1854"/>
                  </a:lnTo>
                  <a:lnTo>
                    <a:pt x="5124" y="1854"/>
                  </a:lnTo>
                  <a:lnTo>
                    <a:pt x="5124" y="1854"/>
                  </a:lnTo>
                  <a:lnTo>
                    <a:pt x="5124" y="1852"/>
                  </a:lnTo>
                  <a:lnTo>
                    <a:pt x="5124" y="1852"/>
                  </a:lnTo>
                  <a:close/>
                  <a:moveTo>
                    <a:pt x="5116" y="1859"/>
                  </a:moveTo>
                  <a:lnTo>
                    <a:pt x="5114" y="1859"/>
                  </a:lnTo>
                  <a:lnTo>
                    <a:pt x="5116" y="1861"/>
                  </a:lnTo>
                  <a:lnTo>
                    <a:pt x="5116" y="1861"/>
                  </a:lnTo>
                  <a:lnTo>
                    <a:pt x="5116" y="1859"/>
                  </a:lnTo>
                  <a:lnTo>
                    <a:pt x="5116" y="1859"/>
                  </a:lnTo>
                  <a:lnTo>
                    <a:pt x="5116" y="1859"/>
                  </a:lnTo>
                  <a:close/>
                  <a:moveTo>
                    <a:pt x="4534" y="737"/>
                  </a:moveTo>
                  <a:lnTo>
                    <a:pt x="4532" y="737"/>
                  </a:lnTo>
                  <a:lnTo>
                    <a:pt x="4532" y="737"/>
                  </a:lnTo>
                  <a:lnTo>
                    <a:pt x="4528" y="735"/>
                  </a:lnTo>
                  <a:lnTo>
                    <a:pt x="4528" y="735"/>
                  </a:lnTo>
                  <a:lnTo>
                    <a:pt x="4526" y="739"/>
                  </a:lnTo>
                  <a:lnTo>
                    <a:pt x="4524" y="739"/>
                  </a:lnTo>
                  <a:lnTo>
                    <a:pt x="4524" y="741"/>
                  </a:lnTo>
                  <a:lnTo>
                    <a:pt x="4522" y="743"/>
                  </a:lnTo>
                  <a:lnTo>
                    <a:pt x="4524" y="743"/>
                  </a:lnTo>
                  <a:lnTo>
                    <a:pt x="4526" y="741"/>
                  </a:lnTo>
                  <a:lnTo>
                    <a:pt x="4526" y="741"/>
                  </a:lnTo>
                  <a:lnTo>
                    <a:pt x="4528" y="746"/>
                  </a:lnTo>
                  <a:lnTo>
                    <a:pt x="4530" y="746"/>
                  </a:lnTo>
                  <a:lnTo>
                    <a:pt x="4530" y="746"/>
                  </a:lnTo>
                  <a:lnTo>
                    <a:pt x="4532" y="743"/>
                  </a:lnTo>
                  <a:lnTo>
                    <a:pt x="4532" y="743"/>
                  </a:lnTo>
                  <a:lnTo>
                    <a:pt x="4534" y="741"/>
                  </a:lnTo>
                  <a:lnTo>
                    <a:pt x="4534" y="741"/>
                  </a:lnTo>
                  <a:lnTo>
                    <a:pt x="4534" y="739"/>
                  </a:lnTo>
                  <a:lnTo>
                    <a:pt x="4537" y="737"/>
                  </a:lnTo>
                  <a:lnTo>
                    <a:pt x="4537" y="737"/>
                  </a:lnTo>
                  <a:lnTo>
                    <a:pt x="4534" y="737"/>
                  </a:lnTo>
                  <a:close/>
                  <a:moveTo>
                    <a:pt x="4520" y="737"/>
                  </a:moveTo>
                  <a:lnTo>
                    <a:pt x="4516" y="739"/>
                  </a:lnTo>
                  <a:lnTo>
                    <a:pt x="4516" y="739"/>
                  </a:lnTo>
                  <a:lnTo>
                    <a:pt x="4516" y="739"/>
                  </a:lnTo>
                  <a:lnTo>
                    <a:pt x="4518" y="739"/>
                  </a:lnTo>
                  <a:lnTo>
                    <a:pt x="4520" y="739"/>
                  </a:lnTo>
                  <a:lnTo>
                    <a:pt x="4520" y="739"/>
                  </a:lnTo>
                  <a:lnTo>
                    <a:pt x="4522" y="737"/>
                  </a:lnTo>
                  <a:lnTo>
                    <a:pt x="4522" y="737"/>
                  </a:lnTo>
                  <a:lnTo>
                    <a:pt x="4520" y="737"/>
                  </a:lnTo>
                  <a:lnTo>
                    <a:pt x="4520" y="737"/>
                  </a:lnTo>
                  <a:close/>
                  <a:moveTo>
                    <a:pt x="3318" y="917"/>
                  </a:moveTo>
                  <a:lnTo>
                    <a:pt x="3318" y="917"/>
                  </a:lnTo>
                  <a:lnTo>
                    <a:pt x="3318" y="915"/>
                  </a:lnTo>
                  <a:lnTo>
                    <a:pt x="3318" y="915"/>
                  </a:lnTo>
                  <a:lnTo>
                    <a:pt x="3316" y="915"/>
                  </a:lnTo>
                  <a:lnTo>
                    <a:pt x="3316" y="915"/>
                  </a:lnTo>
                  <a:lnTo>
                    <a:pt x="3316" y="917"/>
                  </a:lnTo>
                  <a:lnTo>
                    <a:pt x="3318" y="917"/>
                  </a:lnTo>
                  <a:close/>
                  <a:moveTo>
                    <a:pt x="4370" y="1049"/>
                  </a:moveTo>
                  <a:lnTo>
                    <a:pt x="4370" y="1049"/>
                  </a:lnTo>
                  <a:lnTo>
                    <a:pt x="4370" y="1047"/>
                  </a:lnTo>
                  <a:lnTo>
                    <a:pt x="4370" y="1045"/>
                  </a:lnTo>
                  <a:lnTo>
                    <a:pt x="4370" y="1045"/>
                  </a:lnTo>
                  <a:lnTo>
                    <a:pt x="4367" y="1045"/>
                  </a:lnTo>
                  <a:lnTo>
                    <a:pt x="4370" y="1047"/>
                  </a:lnTo>
                  <a:lnTo>
                    <a:pt x="4370" y="1049"/>
                  </a:lnTo>
                  <a:lnTo>
                    <a:pt x="4370" y="1049"/>
                  </a:lnTo>
                  <a:close/>
                  <a:moveTo>
                    <a:pt x="4370" y="1068"/>
                  </a:moveTo>
                  <a:lnTo>
                    <a:pt x="4367" y="1066"/>
                  </a:lnTo>
                  <a:lnTo>
                    <a:pt x="4367" y="1066"/>
                  </a:lnTo>
                  <a:lnTo>
                    <a:pt x="4367" y="1068"/>
                  </a:lnTo>
                  <a:lnTo>
                    <a:pt x="4370" y="1068"/>
                  </a:lnTo>
                  <a:lnTo>
                    <a:pt x="4370" y="1068"/>
                  </a:lnTo>
                  <a:close/>
                  <a:moveTo>
                    <a:pt x="3250" y="913"/>
                  </a:moveTo>
                  <a:lnTo>
                    <a:pt x="3250" y="915"/>
                  </a:lnTo>
                  <a:lnTo>
                    <a:pt x="3250" y="915"/>
                  </a:lnTo>
                  <a:lnTo>
                    <a:pt x="3250" y="915"/>
                  </a:lnTo>
                  <a:lnTo>
                    <a:pt x="3250" y="915"/>
                  </a:lnTo>
                  <a:lnTo>
                    <a:pt x="3250" y="913"/>
                  </a:lnTo>
                  <a:lnTo>
                    <a:pt x="3250" y="913"/>
                  </a:lnTo>
                  <a:close/>
                  <a:moveTo>
                    <a:pt x="3283" y="925"/>
                  </a:moveTo>
                  <a:lnTo>
                    <a:pt x="3285" y="923"/>
                  </a:lnTo>
                  <a:lnTo>
                    <a:pt x="3285" y="923"/>
                  </a:lnTo>
                  <a:lnTo>
                    <a:pt x="3283" y="923"/>
                  </a:lnTo>
                  <a:lnTo>
                    <a:pt x="3283" y="923"/>
                  </a:lnTo>
                  <a:lnTo>
                    <a:pt x="3283" y="925"/>
                  </a:lnTo>
                  <a:lnTo>
                    <a:pt x="3283" y="925"/>
                  </a:lnTo>
                  <a:close/>
                  <a:moveTo>
                    <a:pt x="3281" y="925"/>
                  </a:moveTo>
                  <a:lnTo>
                    <a:pt x="3281" y="923"/>
                  </a:lnTo>
                  <a:lnTo>
                    <a:pt x="3281" y="923"/>
                  </a:lnTo>
                  <a:lnTo>
                    <a:pt x="3281" y="923"/>
                  </a:lnTo>
                  <a:lnTo>
                    <a:pt x="3281" y="923"/>
                  </a:lnTo>
                  <a:lnTo>
                    <a:pt x="3279" y="923"/>
                  </a:lnTo>
                  <a:lnTo>
                    <a:pt x="3279" y="925"/>
                  </a:lnTo>
                  <a:lnTo>
                    <a:pt x="3281" y="927"/>
                  </a:lnTo>
                  <a:lnTo>
                    <a:pt x="3281" y="927"/>
                  </a:lnTo>
                  <a:lnTo>
                    <a:pt x="3283" y="927"/>
                  </a:lnTo>
                  <a:lnTo>
                    <a:pt x="3281" y="925"/>
                  </a:lnTo>
                  <a:lnTo>
                    <a:pt x="3281" y="925"/>
                  </a:lnTo>
                  <a:close/>
                  <a:moveTo>
                    <a:pt x="3324" y="1031"/>
                  </a:moveTo>
                  <a:lnTo>
                    <a:pt x="3324" y="1028"/>
                  </a:lnTo>
                  <a:lnTo>
                    <a:pt x="3322" y="1024"/>
                  </a:lnTo>
                  <a:lnTo>
                    <a:pt x="3324" y="1024"/>
                  </a:lnTo>
                  <a:lnTo>
                    <a:pt x="3322" y="1024"/>
                  </a:lnTo>
                  <a:lnTo>
                    <a:pt x="3322" y="1024"/>
                  </a:lnTo>
                  <a:lnTo>
                    <a:pt x="3322" y="1026"/>
                  </a:lnTo>
                  <a:lnTo>
                    <a:pt x="3324" y="1031"/>
                  </a:lnTo>
                  <a:close/>
                  <a:moveTo>
                    <a:pt x="3287" y="1233"/>
                  </a:moveTo>
                  <a:lnTo>
                    <a:pt x="3287" y="1233"/>
                  </a:lnTo>
                  <a:lnTo>
                    <a:pt x="3287" y="1233"/>
                  </a:lnTo>
                  <a:lnTo>
                    <a:pt x="3289" y="1231"/>
                  </a:lnTo>
                  <a:lnTo>
                    <a:pt x="3287" y="1229"/>
                  </a:lnTo>
                  <a:lnTo>
                    <a:pt x="3287" y="1227"/>
                  </a:lnTo>
                  <a:lnTo>
                    <a:pt x="3287" y="1227"/>
                  </a:lnTo>
                  <a:lnTo>
                    <a:pt x="3287" y="1227"/>
                  </a:lnTo>
                  <a:lnTo>
                    <a:pt x="3285" y="1227"/>
                  </a:lnTo>
                  <a:lnTo>
                    <a:pt x="3285" y="1229"/>
                  </a:lnTo>
                  <a:lnTo>
                    <a:pt x="3287" y="1229"/>
                  </a:lnTo>
                  <a:lnTo>
                    <a:pt x="3285" y="1231"/>
                  </a:lnTo>
                  <a:lnTo>
                    <a:pt x="3287" y="1233"/>
                  </a:lnTo>
                  <a:close/>
                  <a:moveTo>
                    <a:pt x="2765" y="997"/>
                  </a:moveTo>
                  <a:lnTo>
                    <a:pt x="2765" y="997"/>
                  </a:lnTo>
                  <a:lnTo>
                    <a:pt x="2765" y="997"/>
                  </a:lnTo>
                  <a:lnTo>
                    <a:pt x="2763" y="995"/>
                  </a:lnTo>
                  <a:lnTo>
                    <a:pt x="2763" y="997"/>
                  </a:lnTo>
                  <a:lnTo>
                    <a:pt x="2763" y="997"/>
                  </a:lnTo>
                  <a:lnTo>
                    <a:pt x="2765" y="997"/>
                  </a:lnTo>
                  <a:lnTo>
                    <a:pt x="2765" y="997"/>
                  </a:lnTo>
                  <a:close/>
                  <a:moveTo>
                    <a:pt x="2769" y="1074"/>
                  </a:moveTo>
                  <a:lnTo>
                    <a:pt x="2769" y="1074"/>
                  </a:lnTo>
                  <a:lnTo>
                    <a:pt x="2769" y="1074"/>
                  </a:lnTo>
                  <a:lnTo>
                    <a:pt x="2771" y="1074"/>
                  </a:lnTo>
                  <a:lnTo>
                    <a:pt x="2771" y="1074"/>
                  </a:lnTo>
                  <a:lnTo>
                    <a:pt x="2769" y="1074"/>
                  </a:lnTo>
                  <a:lnTo>
                    <a:pt x="2769" y="1074"/>
                  </a:lnTo>
                  <a:lnTo>
                    <a:pt x="2769" y="1074"/>
                  </a:lnTo>
                  <a:close/>
                  <a:moveTo>
                    <a:pt x="2716" y="962"/>
                  </a:moveTo>
                  <a:lnTo>
                    <a:pt x="2714" y="960"/>
                  </a:lnTo>
                  <a:lnTo>
                    <a:pt x="2714" y="962"/>
                  </a:lnTo>
                  <a:lnTo>
                    <a:pt x="2714" y="962"/>
                  </a:lnTo>
                  <a:lnTo>
                    <a:pt x="2712" y="962"/>
                  </a:lnTo>
                  <a:lnTo>
                    <a:pt x="2712" y="962"/>
                  </a:lnTo>
                  <a:lnTo>
                    <a:pt x="2710" y="962"/>
                  </a:lnTo>
                  <a:lnTo>
                    <a:pt x="2712" y="962"/>
                  </a:lnTo>
                  <a:lnTo>
                    <a:pt x="2712" y="962"/>
                  </a:lnTo>
                  <a:lnTo>
                    <a:pt x="2714" y="962"/>
                  </a:lnTo>
                  <a:lnTo>
                    <a:pt x="2716" y="962"/>
                  </a:lnTo>
                  <a:lnTo>
                    <a:pt x="2716" y="962"/>
                  </a:lnTo>
                  <a:lnTo>
                    <a:pt x="2716" y="962"/>
                  </a:lnTo>
                  <a:lnTo>
                    <a:pt x="2716" y="962"/>
                  </a:lnTo>
                  <a:close/>
                  <a:moveTo>
                    <a:pt x="2860" y="1028"/>
                  </a:moveTo>
                  <a:lnTo>
                    <a:pt x="2860" y="1031"/>
                  </a:lnTo>
                  <a:lnTo>
                    <a:pt x="2860" y="1031"/>
                  </a:lnTo>
                  <a:lnTo>
                    <a:pt x="2860" y="1033"/>
                  </a:lnTo>
                  <a:lnTo>
                    <a:pt x="2860" y="1033"/>
                  </a:lnTo>
                  <a:lnTo>
                    <a:pt x="2860" y="1033"/>
                  </a:lnTo>
                  <a:lnTo>
                    <a:pt x="2860" y="1033"/>
                  </a:lnTo>
                  <a:lnTo>
                    <a:pt x="2862" y="1033"/>
                  </a:lnTo>
                  <a:lnTo>
                    <a:pt x="2862" y="1033"/>
                  </a:lnTo>
                  <a:lnTo>
                    <a:pt x="2862" y="1028"/>
                  </a:lnTo>
                  <a:lnTo>
                    <a:pt x="2862" y="1028"/>
                  </a:lnTo>
                  <a:lnTo>
                    <a:pt x="2860" y="1028"/>
                  </a:lnTo>
                  <a:close/>
                  <a:moveTo>
                    <a:pt x="2850" y="1014"/>
                  </a:moveTo>
                  <a:lnTo>
                    <a:pt x="2850" y="1012"/>
                  </a:lnTo>
                  <a:lnTo>
                    <a:pt x="2850" y="1012"/>
                  </a:lnTo>
                  <a:lnTo>
                    <a:pt x="2850" y="1012"/>
                  </a:lnTo>
                  <a:lnTo>
                    <a:pt x="2848" y="1012"/>
                  </a:lnTo>
                  <a:lnTo>
                    <a:pt x="2846" y="1014"/>
                  </a:lnTo>
                  <a:lnTo>
                    <a:pt x="2846" y="1014"/>
                  </a:lnTo>
                  <a:lnTo>
                    <a:pt x="2850" y="1016"/>
                  </a:lnTo>
                  <a:lnTo>
                    <a:pt x="2850" y="1018"/>
                  </a:lnTo>
                  <a:lnTo>
                    <a:pt x="2852" y="1018"/>
                  </a:lnTo>
                  <a:lnTo>
                    <a:pt x="2854" y="1020"/>
                  </a:lnTo>
                  <a:lnTo>
                    <a:pt x="2852" y="1018"/>
                  </a:lnTo>
                  <a:lnTo>
                    <a:pt x="2852" y="1018"/>
                  </a:lnTo>
                  <a:lnTo>
                    <a:pt x="2852" y="1018"/>
                  </a:lnTo>
                  <a:lnTo>
                    <a:pt x="2850" y="1018"/>
                  </a:lnTo>
                  <a:lnTo>
                    <a:pt x="2850" y="1016"/>
                  </a:lnTo>
                  <a:lnTo>
                    <a:pt x="2850" y="1016"/>
                  </a:lnTo>
                  <a:lnTo>
                    <a:pt x="2850" y="1014"/>
                  </a:lnTo>
                  <a:lnTo>
                    <a:pt x="2850" y="1014"/>
                  </a:lnTo>
                  <a:lnTo>
                    <a:pt x="2850" y="1014"/>
                  </a:lnTo>
                  <a:close/>
                  <a:moveTo>
                    <a:pt x="2860" y="1035"/>
                  </a:moveTo>
                  <a:lnTo>
                    <a:pt x="2860" y="1035"/>
                  </a:lnTo>
                  <a:lnTo>
                    <a:pt x="2860" y="1035"/>
                  </a:lnTo>
                  <a:lnTo>
                    <a:pt x="2860" y="1035"/>
                  </a:lnTo>
                  <a:lnTo>
                    <a:pt x="2862" y="1037"/>
                  </a:lnTo>
                  <a:lnTo>
                    <a:pt x="2862" y="1037"/>
                  </a:lnTo>
                  <a:lnTo>
                    <a:pt x="2862" y="1037"/>
                  </a:lnTo>
                  <a:lnTo>
                    <a:pt x="2862" y="1035"/>
                  </a:lnTo>
                  <a:lnTo>
                    <a:pt x="2862" y="1035"/>
                  </a:lnTo>
                  <a:lnTo>
                    <a:pt x="2862" y="1035"/>
                  </a:lnTo>
                  <a:lnTo>
                    <a:pt x="2860" y="1035"/>
                  </a:lnTo>
                  <a:close/>
                  <a:moveTo>
                    <a:pt x="2722" y="1109"/>
                  </a:moveTo>
                  <a:lnTo>
                    <a:pt x="2720" y="1109"/>
                  </a:lnTo>
                  <a:lnTo>
                    <a:pt x="2720" y="1109"/>
                  </a:lnTo>
                  <a:lnTo>
                    <a:pt x="2720" y="1111"/>
                  </a:lnTo>
                  <a:lnTo>
                    <a:pt x="2720" y="1111"/>
                  </a:lnTo>
                  <a:lnTo>
                    <a:pt x="2720" y="1111"/>
                  </a:lnTo>
                  <a:lnTo>
                    <a:pt x="2722" y="1111"/>
                  </a:lnTo>
                  <a:lnTo>
                    <a:pt x="2722" y="1111"/>
                  </a:lnTo>
                  <a:lnTo>
                    <a:pt x="2722" y="1111"/>
                  </a:lnTo>
                  <a:lnTo>
                    <a:pt x="2722" y="1111"/>
                  </a:lnTo>
                  <a:lnTo>
                    <a:pt x="2724" y="1111"/>
                  </a:lnTo>
                  <a:lnTo>
                    <a:pt x="2724" y="1111"/>
                  </a:lnTo>
                  <a:lnTo>
                    <a:pt x="2724" y="1109"/>
                  </a:lnTo>
                  <a:lnTo>
                    <a:pt x="2724" y="1109"/>
                  </a:lnTo>
                  <a:lnTo>
                    <a:pt x="2722" y="1109"/>
                  </a:lnTo>
                  <a:close/>
                  <a:moveTo>
                    <a:pt x="2763" y="1043"/>
                  </a:moveTo>
                  <a:lnTo>
                    <a:pt x="2761" y="1043"/>
                  </a:lnTo>
                  <a:lnTo>
                    <a:pt x="2759" y="1041"/>
                  </a:lnTo>
                  <a:lnTo>
                    <a:pt x="2757" y="1041"/>
                  </a:lnTo>
                  <a:lnTo>
                    <a:pt x="2757" y="1041"/>
                  </a:lnTo>
                  <a:lnTo>
                    <a:pt x="2757" y="1039"/>
                  </a:lnTo>
                  <a:lnTo>
                    <a:pt x="2755" y="1039"/>
                  </a:lnTo>
                  <a:lnTo>
                    <a:pt x="2755" y="1039"/>
                  </a:lnTo>
                  <a:lnTo>
                    <a:pt x="2753" y="1041"/>
                  </a:lnTo>
                  <a:lnTo>
                    <a:pt x="2753" y="1041"/>
                  </a:lnTo>
                  <a:lnTo>
                    <a:pt x="2751" y="1041"/>
                  </a:lnTo>
                  <a:lnTo>
                    <a:pt x="2751" y="1041"/>
                  </a:lnTo>
                  <a:lnTo>
                    <a:pt x="2749" y="1041"/>
                  </a:lnTo>
                  <a:lnTo>
                    <a:pt x="2749" y="1039"/>
                  </a:lnTo>
                  <a:lnTo>
                    <a:pt x="2747" y="1041"/>
                  </a:lnTo>
                  <a:lnTo>
                    <a:pt x="2747" y="1041"/>
                  </a:lnTo>
                  <a:lnTo>
                    <a:pt x="2747" y="1041"/>
                  </a:lnTo>
                  <a:lnTo>
                    <a:pt x="2745" y="1041"/>
                  </a:lnTo>
                  <a:lnTo>
                    <a:pt x="2745" y="1043"/>
                  </a:lnTo>
                  <a:lnTo>
                    <a:pt x="2745" y="1045"/>
                  </a:lnTo>
                  <a:lnTo>
                    <a:pt x="2745" y="1045"/>
                  </a:lnTo>
                  <a:lnTo>
                    <a:pt x="2745" y="1047"/>
                  </a:lnTo>
                  <a:lnTo>
                    <a:pt x="2747" y="1049"/>
                  </a:lnTo>
                  <a:lnTo>
                    <a:pt x="2747" y="1049"/>
                  </a:lnTo>
                  <a:lnTo>
                    <a:pt x="2749" y="1049"/>
                  </a:lnTo>
                  <a:lnTo>
                    <a:pt x="2751" y="1049"/>
                  </a:lnTo>
                  <a:lnTo>
                    <a:pt x="2751" y="1049"/>
                  </a:lnTo>
                  <a:lnTo>
                    <a:pt x="2753" y="1051"/>
                  </a:lnTo>
                  <a:lnTo>
                    <a:pt x="2755" y="1051"/>
                  </a:lnTo>
                  <a:lnTo>
                    <a:pt x="2755" y="1051"/>
                  </a:lnTo>
                  <a:lnTo>
                    <a:pt x="2755" y="1051"/>
                  </a:lnTo>
                  <a:lnTo>
                    <a:pt x="2757" y="1053"/>
                  </a:lnTo>
                  <a:lnTo>
                    <a:pt x="2759" y="1055"/>
                  </a:lnTo>
                  <a:lnTo>
                    <a:pt x="2763" y="1055"/>
                  </a:lnTo>
                  <a:lnTo>
                    <a:pt x="2765" y="1057"/>
                  </a:lnTo>
                  <a:lnTo>
                    <a:pt x="2767" y="1057"/>
                  </a:lnTo>
                  <a:lnTo>
                    <a:pt x="2767" y="1057"/>
                  </a:lnTo>
                  <a:lnTo>
                    <a:pt x="2769" y="1057"/>
                  </a:lnTo>
                  <a:lnTo>
                    <a:pt x="2771" y="1059"/>
                  </a:lnTo>
                  <a:lnTo>
                    <a:pt x="2773" y="1061"/>
                  </a:lnTo>
                  <a:lnTo>
                    <a:pt x="2773" y="1061"/>
                  </a:lnTo>
                  <a:lnTo>
                    <a:pt x="2776" y="1061"/>
                  </a:lnTo>
                  <a:lnTo>
                    <a:pt x="2778" y="1064"/>
                  </a:lnTo>
                  <a:lnTo>
                    <a:pt x="2778" y="1064"/>
                  </a:lnTo>
                  <a:lnTo>
                    <a:pt x="2780" y="1064"/>
                  </a:lnTo>
                  <a:lnTo>
                    <a:pt x="2782" y="1064"/>
                  </a:lnTo>
                  <a:lnTo>
                    <a:pt x="2782" y="1064"/>
                  </a:lnTo>
                  <a:lnTo>
                    <a:pt x="2782" y="1061"/>
                  </a:lnTo>
                  <a:lnTo>
                    <a:pt x="2782" y="1061"/>
                  </a:lnTo>
                  <a:lnTo>
                    <a:pt x="2782" y="1059"/>
                  </a:lnTo>
                  <a:lnTo>
                    <a:pt x="2784" y="1059"/>
                  </a:lnTo>
                  <a:lnTo>
                    <a:pt x="2784" y="1057"/>
                  </a:lnTo>
                  <a:lnTo>
                    <a:pt x="2784" y="1057"/>
                  </a:lnTo>
                  <a:lnTo>
                    <a:pt x="2784" y="1057"/>
                  </a:lnTo>
                  <a:lnTo>
                    <a:pt x="2784" y="1055"/>
                  </a:lnTo>
                  <a:lnTo>
                    <a:pt x="2782" y="1055"/>
                  </a:lnTo>
                  <a:lnTo>
                    <a:pt x="2784" y="1055"/>
                  </a:lnTo>
                  <a:lnTo>
                    <a:pt x="2784" y="1053"/>
                  </a:lnTo>
                  <a:lnTo>
                    <a:pt x="2782" y="1053"/>
                  </a:lnTo>
                  <a:lnTo>
                    <a:pt x="2782" y="1053"/>
                  </a:lnTo>
                  <a:lnTo>
                    <a:pt x="2782" y="1053"/>
                  </a:lnTo>
                  <a:lnTo>
                    <a:pt x="2782" y="1051"/>
                  </a:lnTo>
                  <a:lnTo>
                    <a:pt x="2782" y="1049"/>
                  </a:lnTo>
                  <a:lnTo>
                    <a:pt x="2782" y="1049"/>
                  </a:lnTo>
                  <a:lnTo>
                    <a:pt x="2784" y="1047"/>
                  </a:lnTo>
                  <a:lnTo>
                    <a:pt x="2784" y="1047"/>
                  </a:lnTo>
                  <a:lnTo>
                    <a:pt x="2784" y="1045"/>
                  </a:lnTo>
                  <a:lnTo>
                    <a:pt x="2788" y="1041"/>
                  </a:lnTo>
                  <a:lnTo>
                    <a:pt x="2788" y="1041"/>
                  </a:lnTo>
                  <a:lnTo>
                    <a:pt x="2788" y="1039"/>
                  </a:lnTo>
                  <a:lnTo>
                    <a:pt x="2790" y="1039"/>
                  </a:lnTo>
                  <a:lnTo>
                    <a:pt x="2788" y="1037"/>
                  </a:lnTo>
                  <a:lnTo>
                    <a:pt x="2788" y="1037"/>
                  </a:lnTo>
                  <a:lnTo>
                    <a:pt x="2786" y="1039"/>
                  </a:lnTo>
                  <a:lnTo>
                    <a:pt x="2784" y="1039"/>
                  </a:lnTo>
                  <a:lnTo>
                    <a:pt x="2784" y="1039"/>
                  </a:lnTo>
                  <a:lnTo>
                    <a:pt x="2782" y="1039"/>
                  </a:lnTo>
                  <a:lnTo>
                    <a:pt x="2782" y="1039"/>
                  </a:lnTo>
                  <a:lnTo>
                    <a:pt x="2780" y="1039"/>
                  </a:lnTo>
                  <a:lnTo>
                    <a:pt x="2778" y="1039"/>
                  </a:lnTo>
                  <a:lnTo>
                    <a:pt x="2778" y="1039"/>
                  </a:lnTo>
                  <a:lnTo>
                    <a:pt x="2776" y="1039"/>
                  </a:lnTo>
                  <a:lnTo>
                    <a:pt x="2776" y="1041"/>
                  </a:lnTo>
                  <a:lnTo>
                    <a:pt x="2773" y="1041"/>
                  </a:lnTo>
                  <a:lnTo>
                    <a:pt x="2771" y="1041"/>
                  </a:lnTo>
                  <a:lnTo>
                    <a:pt x="2769" y="1043"/>
                  </a:lnTo>
                  <a:lnTo>
                    <a:pt x="2767" y="1041"/>
                  </a:lnTo>
                  <a:lnTo>
                    <a:pt x="2765" y="1041"/>
                  </a:lnTo>
                  <a:lnTo>
                    <a:pt x="2763" y="1043"/>
                  </a:lnTo>
                  <a:lnTo>
                    <a:pt x="2763" y="1043"/>
                  </a:lnTo>
                  <a:close/>
                  <a:moveTo>
                    <a:pt x="2728" y="1095"/>
                  </a:moveTo>
                  <a:lnTo>
                    <a:pt x="2726" y="1095"/>
                  </a:lnTo>
                  <a:lnTo>
                    <a:pt x="2726" y="1095"/>
                  </a:lnTo>
                  <a:lnTo>
                    <a:pt x="2724" y="1097"/>
                  </a:lnTo>
                  <a:lnTo>
                    <a:pt x="2728" y="1095"/>
                  </a:lnTo>
                  <a:lnTo>
                    <a:pt x="2728" y="1095"/>
                  </a:lnTo>
                  <a:close/>
                  <a:moveTo>
                    <a:pt x="2738" y="1061"/>
                  </a:moveTo>
                  <a:lnTo>
                    <a:pt x="2738" y="1061"/>
                  </a:lnTo>
                  <a:lnTo>
                    <a:pt x="2738" y="1061"/>
                  </a:lnTo>
                  <a:lnTo>
                    <a:pt x="2736" y="1061"/>
                  </a:lnTo>
                  <a:lnTo>
                    <a:pt x="2736" y="1061"/>
                  </a:lnTo>
                  <a:lnTo>
                    <a:pt x="2736" y="1061"/>
                  </a:lnTo>
                  <a:lnTo>
                    <a:pt x="2738" y="1064"/>
                  </a:lnTo>
                  <a:lnTo>
                    <a:pt x="2738" y="1061"/>
                  </a:lnTo>
                  <a:close/>
                  <a:moveTo>
                    <a:pt x="2771" y="1076"/>
                  </a:moveTo>
                  <a:lnTo>
                    <a:pt x="2771" y="1076"/>
                  </a:lnTo>
                  <a:lnTo>
                    <a:pt x="2771" y="1076"/>
                  </a:lnTo>
                  <a:lnTo>
                    <a:pt x="2771" y="1078"/>
                  </a:lnTo>
                  <a:lnTo>
                    <a:pt x="2773" y="1078"/>
                  </a:lnTo>
                  <a:lnTo>
                    <a:pt x="2773" y="1078"/>
                  </a:lnTo>
                  <a:lnTo>
                    <a:pt x="2773" y="1076"/>
                  </a:lnTo>
                  <a:lnTo>
                    <a:pt x="2771" y="1076"/>
                  </a:lnTo>
                  <a:close/>
                  <a:moveTo>
                    <a:pt x="2908" y="1022"/>
                  </a:moveTo>
                  <a:lnTo>
                    <a:pt x="2908" y="1022"/>
                  </a:lnTo>
                  <a:lnTo>
                    <a:pt x="2908" y="1022"/>
                  </a:lnTo>
                  <a:lnTo>
                    <a:pt x="2905" y="1024"/>
                  </a:lnTo>
                  <a:lnTo>
                    <a:pt x="2908" y="1022"/>
                  </a:lnTo>
                  <a:lnTo>
                    <a:pt x="2908" y="1022"/>
                  </a:lnTo>
                  <a:close/>
                  <a:moveTo>
                    <a:pt x="2920" y="1043"/>
                  </a:moveTo>
                  <a:lnTo>
                    <a:pt x="2920" y="1043"/>
                  </a:lnTo>
                  <a:lnTo>
                    <a:pt x="2920" y="1043"/>
                  </a:lnTo>
                  <a:lnTo>
                    <a:pt x="2918" y="1043"/>
                  </a:lnTo>
                  <a:lnTo>
                    <a:pt x="2918" y="1043"/>
                  </a:lnTo>
                  <a:lnTo>
                    <a:pt x="2920" y="1045"/>
                  </a:lnTo>
                  <a:lnTo>
                    <a:pt x="2920" y="1045"/>
                  </a:lnTo>
                  <a:lnTo>
                    <a:pt x="2922" y="1045"/>
                  </a:lnTo>
                  <a:lnTo>
                    <a:pt x="2922" y="1047"/>
                  </a:lnTo>
                  <a:lnTo>
                    <a:pt x="2922" y="1047"/>
                  </a:lnTo>
                  <a:lnTo>
                    <a:pt x="2922" y="1045"/>
                  </a:lnTo>
                  <a:lnTo>
                    <a:pt x="2922" y="1045"/>
                  </a:lnTo>
                  <a:lnTo>
                    <a:pt x="2922" y="1043"/>
                  </a:lnTo>
                  <a:lnTo>
                    <a:pt x="2920" y="1043"/>
                  </a:lnTo>
                  <a:close/>
                  <a:moveTo>
                    <a:pt x="2922" y="1051"/>
                  </a:moveTo>
                  <a:lnTo>
                    <a:pt x="2922" y="1051"/>
                  </a:lnTo>
                  <a:lnTo>
                    <a:pt x="2922" y="1051"/>
                  </a:lnTo>
                  <a:lnTo>
                    <a:pt x="2922" y="1051"/>
                  </a:lnTo>
                  <a:lnTo>
                    <a:pt x="2922" y="1051"/>
                  </a:lnTo>
                  <a:lnTo>
                    <a:pt x="2922" y="1051"/>
                  </a:lnTo>
                  <a:lnTo>
                    <a:pt x="2922" y="1051"/>
                  </a:lnTo>
                  <a:close/>
                  <a:moveTo>
                    <a:pt x="2905" y="1024"/>
                  </a:moveTo>
                  <a:lnTo>
                    <a:pt x="2905" y="1024"/>
                  </a:lnTo>
                  <a:lnTo>
                    <a:pt x="2903" y="1022"/>
                  </a:lnTo>
                  <a:lnTo>
                    <a:pt x="2903" y="1024"/>
                  </a:lnTo>
                  <a:lnTo>
                    <a:pt x="2905" y="1024"/>
                  </a:lnTo>
                  <a:close/>
                  <a:moveTo>
                    <a:pt x="2862" y="1043"/>
                  </a:moveTo>
                  <a:lnTo>
                    <a:pt x="2860" y="1045"/>
                  </a:lnTo>
                  <a:lnTo>
                    <a:pt x="2860" y="1045"/>
                  </a:lnTo>
                  <a:lnTo>
                    <a:pt x="2862" y="1047"/>
                  </a:lnTo>
                  <a:lnTo>
                    <a:pt x="2862" y="1047"/>
                  </a:lnTo>
                  <a:lnTo>
                    <a:pt x="2864" y="1047"/>
                  </a:lnTo>
                  <a:lnTo>
                    <a:pt x="2866" y="1047"/>
                  </a:lnTo>
                  <a:lnTo>
                    <a:pt x="2864" y="1045"/>
                  </a:lnTo>
                  <a:lnTo>
                    <a:pt x="2864" y="1045"/>
                  </a:lnTo>
                  <a:lnTo>
                    <a:pt x="2862" y="1045"/>
                  </a:lnTo>
                  <a:lnTo>
                    <a:pt x="2862" y="1043"/>
                  </a:lnTo>
                  <a:close/>
                  <a:moveTo>
                    <a:pt x="2860" y="1037"/>
                  </a:moveTo>
                  <a:lnTo>
                    <a:pt x="2858" y="1037"/>
                  </a:lnTo>
                  <a:lnTo>
                    <a:pt x="2858" y="1037"/>
                  </a:lnTo>
                  <a:lnTo>
                    <a:pt x="2858" y="1037"/>
                  </a:lnTo>
                  <a:lnTo>
                    <a:pt x="2858" y="1037"/>
                  </a:lnTo>
                  <a:lnTo>
                    <a:pt x="2856" y="1039"/>
                  </a:lnTo>
                  <a:lnTo>
                    <a:pt x="2856" y="1039"/>
                  </a:lnTo>
                  <a:lnTo>
                    <a:pt x="2858" y="1039"/>
                  </a:lnTo>
                  <a:lnTo>
                    <a:pt x="2858" y="1039"/>
                  </a:lnTo>
                  <a:lnTo>
                    <a:pt x="2858" y="1039"/>
                  </a:lnTo>
                  <a:lnTo>
                    <a:pt x="2858" y="1039"/>
                  </a:lnTo>
                  <a:lnTo>
                    <a:pt x="2858" y="1039"/>
                  </a:lnTo>
                  <a:lnTo>
                    <a:pt x="2858" y="1041"/>
                  </a:lnTo>
                  <a:lnTo>
                    <a:pt x="2860" y="1041"/>
                  </a:lnTo>
                  <a:lnTo>
                    <a:pt x="2860" y="1041"/>
                  </a:lnTo>
                  <a:lnTo>
                    <a:pt x="2862" y="1041"/>
                  </a:lnTo>
                  <a:lnTo>
                    <a:pt x="2862" y="1041"/>
                  </a:lnTo>
                  <a:lnTo>
                    <a:pt x="2862" y="1041"/>
                  </a:lnTo>
                  <a:lnTo>
                    <a:pt x="2862" y="1039"/>
                  </a:lnTo>
                  <a:lnTo>
                    <a:pt x="2860" y="1039"/>
                  </a:lnTo>
                  <a:lnTo>
                    <a:pt x="2860" y="1037"/>
                  </a:lnTo>
                  <a:lnTo>
                    <a:pt x="2860" y="1035"/>
                  </a:lnTo>
                  <a:lnTo>
                    <a:pt x="2860" y="1035"/>
                  </a:lnTo>
                  <a:lnTo>
                    <a:pt x="2860" y="1037"/>
                  </a:lnTo>
                  <a:close/>
                  <a:moveTo>
                    <a:pt x="2895" y="1072"/>
                  </a:moveTo>
                  <a:lnTo>
                    <a:pt x="2895" y="1072"/>
                  </a:lnTo>
                  <a:lnTo>
                    <a:pt x="2895" y="1070"/>
                  </a:lnTo>
                  <a:lnTo>
                    <a:pt x="2895" y="1070"/>
                  </a:lnTo>
                  <a:lnTo>
                    <a:pt x="2893" y="1068"/>
                  </a:lnTo>
                  <a:lnTo>
                    <a:pt x="2893" y="1070"/>
                  </a:lnTo>
                  <a:lnTo>
                    <a:pt x="2893" y="1070"/>
                  </a:lnTo>
                  <a:lnTo>
                    <a:pt x="2893" y="1072"/>
                  </a:lnTo>
                  <a:lnTo>
                    <a:pt x="2893" y="1072"/>
                  </a:lnTo>
                  <a:lnTo>
                    <a:pt x="2895" y="1072"/>
                  </a:lnTo>
                  <a:close/>
                  <a:moveTo>
                    <a:pt x="2901" y="1028"/>
                  </a:moveTo>
                  <a:lnTo>
                    <a:pt x="2899" y="1026"/>
                  </a:lnTo>
                  <a:lnTo>
                    <a:pt x="2899" y="1024"/>
                  </a:lnTo>
                  <a:lnTo>
                    <a:pt x="2897" y="1024"/>
                  </a:lnTo>
                  <a:lnTo>
                    <a:pt x="2897" y="1026"/>
                  </a:lnTo>
                  <a:lnTo>
                    <a:pt x="2893" y="1026"/>
                  </a:lnTo>
                  <a:lnTo>
                    <a:pt x="2893" y="1028"/>
                  </a:lnTo>
                  <a:lnTo>
                    <a:pt x="2893" y="1028"/>
                  </a:lnTo>
                  <a:lnTo>
                    <a:pt x="2893" y="1028"/>
                  </a:lnTo>
                  <a:lnTo>
                    <a:pt x="2895" y="1028"/>
                  </a:lnTo>
                  <a:lnTo>
                    <a:pt x="2897" y="1028"/>
                  </a:lnTo>
                  <a:lnTo>
                    <a:pt x="2897" y="1028"/>
                  </a:lnTo>
                  <a:lnTo>
                    <a:pt x="2899" y="1031"/>
                  </a:lnTo>
                  <a:lnTo>
                    <a:pt x="2901" y="1031"/>
                  </a:lnTo>
                  <a:lnTo>
                    <a:pt x="2901" y="1033"/>
                  </a:lnTo>
                  <a:lnTo>
                    <a:pt x="2901" y="1033"/>
                  </a:lnTo>
                  <a:lnTo>
                    <a:pt x="2903" y="1033"/>
                  </a:lnTo>
                  <a:lnTo>
                    <a:pt x="2903" y="1035"/>
                  </a:lnTo>
                  <a:lnTo>
                    <a:pt x="2905" y="1035"/>
                  </a:lnTo>
                  <a:lnTo>
                    <a:pt x="2908" y="1035"/>
                  </a:lnTo>
                  <a:lnTo>
                    <a:pt x="2910" y="1037"/>
                  </a:lnTo>
                  <a:lnTo>
                    <a:pt x="2910" y="1037"/>
                  </a:lnTo>
                  <a:lnTo>
                    <a:pt x="2910" y="1037"/>
                  </a:lnTo>
                  <a:lnTo>
                    <a:pt x="2910" y="1037"/>
                  </a:lnTo>
                  <a:lnTo>
                    <a:pt x="2910" y="1039"/>
                  </a:lnTo>
                  <a:lnTo>
                    <a:pt x="2912" y="1039"/>
                  </a:lnTo>
                  <a:lnTo>
                    <a:pt x="2912" y="1039"/>
                  </a:lnTo>
                  <a:lnTo>
                    <a:pt x="2912" y="1041"/>
                  </a:lnTo>
                  <a:lnTo>
                    <a:pt x="2914" y="1041"/>
                  </a:lnTo>
                  <a:lnTo>
                    <a:pt x="2914" y="1041"/>
                  </a:lnTo>
                  <a:lnTo>
                    <a:pt x="2914" y="1043"/>
                  </a:lnTo>
                  <a:lnTo>
                    <a:pt x="2916" y="1043"/>
                  </a:lnTo>
                  <a:lnTo>
                    <a:pt x="2916" y="1043"/>
                  </a:lnTo>
                  <a:lnTo>
                    <a:pt x="2916" y="1043"/>
                  </a:lnTo>
                  <a:lnTo>
                    <a:pt x="2916" y="1043"/>
                  </a:lnTo>
                  <a:lnTo>
                    <a:pt x="2916" y="1041"/>
                  </a:lnTo>
                  <a:lnTo>
                    <a:pt x="2918" y="1041"/>
                  </a:lnTo>
                  <a:lnTo>
                    <a:pt x="2916" y="1039"/>
                  </a:lnTo>
                  <a:lnTo>
                    <a:pt x="2916" y="1039"/>
                  </a:lnTo>
                  <a:lnTo>
                    <a:pt x="2914" y="1039"/>
                  </a:lnTo>
                  <a:lnTo>
                    <a:pt x="2912" y="1039"/>
                  </a:lnTo>
                  <a:lnTo>
                    <a:pt x="2912" y="1037"/>
                  </a:lnTo>
                  <a:lnTo>
                    <a:pt x="2912" y="1035"/>
                  </a:lnTo>
                  <a:lnTo>
                    <a:pt x="2912" y="1035"/>
                  </a:lnTo>
                  <a:lnTo>
                    <a:pt x="2912" y="1033"/>
                  </a:lnTo>
                  <a:lnTo>
                    <a:pt x="2912" y="1033"/>
                  </a:lnTo>
                  <a:lnTo>
                    <a:pt x="2910" y="1031"/>
                  </a:lnTo>
                  <a:lnTo>
                    <a:pt x="2910" y="1031"/>
                  </a:lnTo>
                  <a:lnTo>
                    <a:pt x="2908" y="1031"/>
                  </a:lnTo>
                  <a:lnTo>
                    <a:pt x="2903" y="1031"/>
                  </a:lnTo>
                  <a:lnTo>
                    <a:pt x="2903" y="1031"/>
                  </a:lnTo>
                  <a:lnTo>
                    <a:pt x="2901" y="1028"/>
                  </a:lnTo>
                  <a:lnTo>
                    <a:pt x="2901" y="1028"/>
                  </a:lnTo>
                  <a:close/>
                  <a:moveTo>
                    <a:pt x="2903" y="1082"/>
                  </a:moveTo>
                  <a:lnTo>
                    <a:pt x="2903" y="1082"/>
                  </a:lnTo>
                  <a:lnTo>
                    <a:pt x="2903" y="1082"/>
                  </a:lnTo>
                  <a:lnTo>
                    <a:pt x="2901" y="1084"/>
                  </a:lnTo>
                  <a:lnTo>
                    <a:pt x="2901" y="1086"/>
                  </a:lnTo>
                  <a:lnTo>
                    <a:pt x="2903" y="1086"/>
                  </a:lnTo>
                  <a:lnTo>
                    <a:pt x="2903" y="1086"/>
                  </a:lnTo>
                  <a:lnTo>
                    <a:pt x="2903" y="1086"/>
                  </a:lnTo>
                  <a:lnTo>
                    <a:pt x="2908" y="1086"/>
                  </a:lnTo>
                  <a:lnTo>
                    <a:pt x="2908" y="1086"/>
                  </a:lnTo>
                  <a:lnTo>
                    <a:pt x="2916" y="1088"/>
                  </a:lnTo>
                  <a:lnTo>
                    <a:pt x="2918" y="1088"/>
                  </a:lnTo>
                  <a:lnTo>
                    <a:pt x="2918" y="1088"/>
                  </a:lnTo>
                  <a:lnTo>
                    <a:pt x="2920" y="1090"/>
                  </a:lnTo>
                  <a:lnTo>
                    <a:pt x="2920" y="1090"/>
                  </a:lnTo>
                  <a:lnTo>
                    <a:pt x="2920" y="1092"/>
                  </a:lnTo>
                  <a:lnTo>
                    <a:pt x="2920" y="1092"/>
                  </a:lnTo>
                  <a:lnTo>
                    <a:pt x="2926" y="1090"/>
                  </a:lnTo>
                  <a:lnTo>
                    <a:pt x="2932" y="1090"/>
                  </a:lnTo>
                  <a:lnTo>
                    <a:pt x="2934" y="1090"/>
                  </a:lnTo>
                  <a:lnTo>
                    <a:pt x="2938" y="1090"/>
                  </a:lnTo>
                  <a:lnTo>
                    <a:pt x="2938" y="1090"/>
                  </a:lnTo>
                  <a:lnTo>
                    <a:pt x="2940" y="1090"/>
                  </a:lnTo>
                  <a:lnTo>
                    <a:pt x="2940" y="1088"/>
                  </a:lnTo>
                  <a:lnTo>
                    <a:pt x="2940" y="1088"/>
                  </a:lnTo>
                  <a:lnTo>
                    <a:pt x="2940" y="1086"/>
                  </a:lnTo>
                  <a:lnTo>
                    <a:pt x="2943" y="1086"/>
                  </a:lnTo>
                  <a:lnTo>
                    <a:pt x="2940" y="1086"/>
                  </a:lnTo>
                  <a:lnTo>
                    <a:pt x="2938" y="1088"/>
                  </a:lnTo>
                  <a:lnTo>
                    <a:pt x="2938" y="1088"/>
                  </a:lnTo>
                  <a:lnTo>
                    <a:pt x="2936" y="1088"/>
                  </a:lnTo>
                  <a:lnTo>
                    <a:pt x="2934" y="1088"/>
                  </a:lnTo>
                  <a:lnTo>
                    <a:pt x="2934" y="1088"/>
                  </a:lnTo>
                  <a:lnTo>
                    <a:pt x="2934" y="1088"/>
                  </a:lnTo>
                  <a:lnTo>
                    <a:pt x="2932" y="1088"/>
                  </a:lnTo>
                  <a:lnTo>
                    <a:pt x="2934" y="1086"/>
                  </a:lnTo>
                  <a:lnTo>
                    <a:pt x="2932" y="1084"/>
                  </a:lnTo>
                  <a:lnTo>
                    <a:pt x="2930" y="1086"/>
                  </a:lnTo>
                  <a:lnTo>
                    <a:pt x="2930" y="1086"/>
                  </a:lnTo>
                  <a:lnTo>
                    <a:pt x="2926" y="1086"/>
                  </a:lnTo>
                  <a:lnTo>
                    <a:pt x="2924" y="1084"/>
                  </a:lnTo>
                  <a:lnTo>
                    <a:pt x="2922" y="1084"/>
                  </a:lnTo>
                  <a:lnTo>
                    <a:pt x="2918" y="1084"/>
                  </a:lnTo>
                  <a:lnTo>
                    <a:pt x="2918" y="1084"/>
                  </a:lnTo>
                  <a:lnTo>
                    <a:pt x="2916" y="1084"/>
                  </a:lnTo>
                  <a:lnTo>
                    <a:pt x="2916" y="1084"/>
                  </a:lnTo>
                  <a:lnTo>
                    <a:pt x="2914" y="1084"/>
                  </a:lnTo>
                  <a:lnTo>
                    <a:pt x="2914" y="1084"/>
                  </a:lnTo>
                  <a:lnTo>
                    <a:pt x="2912" y="1084"/>
                  </a:lnTo>
                  <a:lnTo>
                    <a:pt x="2912" y="1084"/>
                  </a:lnTo>
                  <a:lnTo>
                    <a:pt x="2912" y="1084"/>
                  </a:lnTo>
                  <a:lnTo>
                    <a:pt x="2912" y="1084"/>
                  </a:lnTo>
                  <a:lnTo>
                    <a:pt x="2910" y="1082"/>
                  </a:lnTo>
                  <a:lnTo>
                    <a:pt x="2910" y="1082"/>
                  </a:lnTo>
                  <a:lnTo>
                    <a:pt x="2910" y="1082"/>
                  </a:lnTo>
                  <a:lnTo>
                    <a:pt x="2912" y="1082"/>
                  </a:lnTo>
                  <a:lnTo>
                    <a:pt x="2912" y="1082"/>
                  </a:lnTo>
                  <a:lnTo>
                    <a:pt x="2910" y="1082"/>
                  </a:lnTo>
                  <a:lnTo>
                    <a:pt x="2910" y="1082"/>
                  </a:lnTo>
                  <a:lnTo>
                    <a:pt x="2910" y="1082"/>
                  </a:lnTo>
                  <a:lnTo>
                    <a:pt x="2908" y="1082"/>
                  </a:lnTo>
                  <a:lnTo>
                    <a:pt x="2905" y="1082"/>
                  </a:lnTo>
                  <a:lnTo>
                    <a:pt x="2905" y="1082"/>
                  </a:lnTo>
                  <a:lnTo>
                    <a:pt x="2905" y="1080"/>
                  </a:lnTo>
                  <a:lnTo>
                    <a:pt x="2905" y="1080"/>
                  </a:lnTo>
                  <a:lnTo>
                    <a:pt x="2905" y="1080"/>
                  </a:lnTo>
                  <a:lnTo>
                    <a:pt x="2905" y="1082"/>
                  </a:lnTo>
                  <a:lnTo>
                    <a:pt x="2903" y="1082"/>
                  </a:lnTo>
                  <a:lnTo>
                    <a:pt x="2903" y="1082"/>
                  </a:lnTo>
                  <a:close/>
                  <a:moveTo>
                    <a:pt x="3087" y="1233"/>
                  </a:moveTo>
                  <a:lnTo>
                    <a:pt x="3087" y="1235"/>
                  </a:lnTo>
                  <a:lnTo>
                    <a:pt x="3089" y="1235"/>
                  </a:lnTo>
                  <a:lnTo>
                    <a:pt x="3089" y="1235"/>
                  </a:lnTo>
                  <a:lnTo>
                    <a:pt x="3089" y="1235"/>
                  </a:lnTo>
                  <a:lnTo>
                    <a:pt x="3087" y="1233"/>
                  </a:lnTo>
                  <a:lnTo>
                    <a:pt x="3087" y="1233"/>
                  </a:lnTo>
                  <a:lnTo>
                    <a:pt x="3087" y="1233"/>
                  </a:lnTo>
                  <a:close/>
                  <a:moveTo>
                    <a:pt x="3138" y="1377"/>
                  </a:moveTo>
                  <a:lnTo>
                    <a:pt x="3136" y="1377"/>
                  </a:lnTo>
                  <a:lnTo>
                    <a:pt x="3136" y="1377"/>
                  </a:lnTo>
                  <a:lnTo>
                    <a:pt x="3136" y="1377"/>
                  </a:lnTo>
                  <a:lnTo>
                    <a:pt x="3136" y="1377"/>
                  </a:lnTo>
                  <a:lnTo>
                    <a:pt x="3138" y="1379"/>
                  </a:lnTo>
                  <a:lnTo>
                    <a:pt x="3138" y="1377"/>
                  </a:lnTo>
                  <a:close/>
                  <a:moveTo>
                    <a:pt x="3132" y="1720"/>
                  </a:moveTo>
                  <a:lnTo>
                    <a:pt x="3132" y="1720"/>
                  </a:lnTo>
                  <a:lnTo>
                    <a:pt x="3132" y="1720"/>
                  </a:lnTo>
                  <a:lnTo>
                    <a:pt x="3132" y="1718"/>
                  </a:lnTo>
                  <a:lnTo>
                    <a:pt x="3134" y="1718"/>
                  </a:lnTo>
                  <a:lnTo>
                    <a:pt x="3134" y="1716"/>
                  </a:lnTo>
                  <a:lnTo>
                    <a:pt x="3134" y="1714"/>
                  </a:lnTo>
                  <a:lnTo>
                    <a:pt x="3134" y="1716"/>
                  </a:lnTo>
                  <a:lnTo>
                    <a:pt x="3134" y="1716"/>
                  </a:lnTo>
                  <a:lnTo>
                    <a:pt x="3132" y="1718"/>
                  </a:lnTo>
                  <a:lnTo>
                    <a:pt x="3132" y="1718"/>
                  </a:lnTo>
                  <a:lnTo>
                    <a:pt x="3130" y="1718"/>
                  </a:lnTo>
                  <a:lnTo>
                    <a:pt x="3132" y="1720"/>
                  </a:lnTo>
                  <a:close/>
                  <a:moveTo>
                    <a:pt x="3136" y="1384"/>
                  </a:moveTo>
                  <a:lnTo>
                    <a:pt x="3136" y="1384"/>
                  </a:lnTo>
                  <a:lnTo>
                    <a:pt x="3136" y="1384"/>
                  </a:lnTo>
                  <a:lnTo>
                    <a:pt x="3138" y="1384"/>
                  </a:lnTo>
                  <a:lnTo>
                    <a:pt x="3138" y="1384"/>
                  </a:lnTo>
                  <a:lnTo>
                    <a:pt x="3141" y="1384"/>
                  </a:lnTo>
                  <a:lnTo>
                    <a:pt x="3143" y="1384"/>
                  </a:lnTo>
                  <a:lnTo>
                    <a:pt x="3143" y="1384"/>
                  </a:lnTo>
                  <a:lnTo>
                    <a:pt x="3141" y="1384"/>
                  </a:lnTo>
                  <a:lnTo>
                    <a:pt x="3141" y="1384"/>
                  </a:lnTo>
                  <a:lnTo>
                    <a:pt x="3141" y="1384"/>
                  </a:lnTo>
                  <a:lnTo>
                    <a:pt x="3138" y="1384"/>
                  </a:lnTo>
                  <a:lnTo>
                    <a:pt x="3138" y="1384"/>
                  </a:lnTo>
                  <a:lnTo>
                    <a:pt x="3138" y="1382"/>
                  </a:lnTo>
                  <a:lnTo>
                    <a:pt x="3138" y="1382"/>
                  </a:lnTo>
                  <a:lnTo>
                    <a:pt x="3136" y="1379"/>
                  </a:lnTo>
                  <a:lnTo>
                    <a:pt x="3136" y="1379"/>
                  </a:lnTo>
                  <a:lnTo>
                    <a:pt x="3136" y="1382"/>
                  </a:lnTo>
                  <a:lnTo>
                    <a:pt x="3136" y="1382"/>
                  </a:lnTo>
                  <a:lnTo>
                    <a:pt x="3136" y="1382"/>
                  </a:lnTo>
                  <a:lnTo>
                    <a:pt x="3136" y="1382"/>
                  </a:lnTo>
                  <a:lnTo>
                    <a:pt x="3136" y="1382"/>
                  </a:lnTo>
                  <a:lnTo>
                    <a:pt x="3138" y="1384"/>
                  </a:lnTo>
                  <a:lnTo>
                    <a:pt x="3138" y="1384"/>
                  </a:lnTo>
                  <a:lnTo>
                    <a:pt x="3136" y="1384"/>
                  </a:lnTo>
                  <a:close/>
                  <a:moveTo>
                    <a:pt x="3087" y="1235"/>
                  </a:moveTo>
                  <a:lnTo>
                    <a:pt x="3087" y="1237"/>
                  </a:lnTo>
                  <a:lnTo>
                    <a:pt x="3089" y="1237"/>
                  </a:lnTo>
                  <a:lnTo>
                    <a:pt x="3091" y="1239"/>
                  </a:lnTo>
                  <a:lnTo>
                    <a:pt x="3091" y="1239"/>
                  </a:lnTo>
                  <a:lnTo>
                    <a:pt x="3093" y="1239"/>
                  </a:lnTo>
                  <a:lnTo>
                    <a:pt x="3093" y="1239"/>
                  </a:lnTo>
                  <a:lnTo>
                    <a:pt x="3093" y="1239"/>
                  </a:lnTo>
                  <a:lnTo>
                    <a:pt x="3093" y="1239"/>
                  </a:lnTo>
                  <a:lnTo>
                    <a:pt x="3091" y="1237"/>
                  </a:lnTo>
                  <a:lnTo>
                    <a:pt x="3089" y="1237"/>
                  </a:lnTo>
                  <a:lnTo>
                    <a:pt x="3087" y="1235"/>
                  </a:lnTo>
                  <a:lnTo>
                    <a:pt x="3087" y="1235"/>
                  </a:lnTo>
                  <a:lnTo>
                    <a:pt x="3087" y="1235"/>
                  </a:lnTo>
                  <a:close/>
                  <a:moveTo>
                    <a:pt x="3132" y="1683"/>
                  </a:moveTo>
                  <a:lnTo>
                    <a:pt x="3132" y="1683"/>
                  </a:lnTo>
                  <a:lnTo>
                    <a:pt x="3132" y="1683"/>
                  </a:lnTo>
                  <a:lnTo>
                    <a:pt x="3134" y="1683"/>
                  </a:lnTo>
                  <a:lnTo>
                    <a:pt x="3134" y="1681"/>
                  </a:lnTo>
                  <a:lnTo>
                    <a:pt x="3134" y="1679"/>
                  </a:lnTo>
                  <a:lnTo>
                    <a:pt x="3134" y="1677"/>
                  </a:lnTo>
                  <a:lnTo>
                    <a:pt x="3134" y="1677"/>
                  </a:lnTo>
                  <a:lnTo>
                    <a:pt x="3134" y="1677"/>
                  </a:lnTo>
                  <a:lnTo>
                    <a:pt x="3134" y="1677"/>
                  </a:lnTo>
                  <a:lnTo>
                    <a:pt x="3132" y="1677"/>
                  </a:lnTo>
                  <a:lnTo>
                    <a:pt x="3132" y="1679"/>
                  </a:lnTo>
                  <a:lnTo>
                    <a:pt x="3132" y="1683"/>
                  </a:lnTo>
                  <a:lnTo>
                    <a:pt x="3132" y="1683"/>
                  </a:lnTo>
                  <a:close/>
                  <a:moveTo>
                    <a:pt x="3252" y="1175"/>
                  </a:moveTo>
                  <a:lnTo>
                    <a:pt x="3254" y="1175"/>
                  </a:lnTo>
                  <a:lnTo>
                    <a:pt x="3254" y="1175"/>
                  </a:lnTo>
                  <a:lnTo>
                    <a:pt x="3254" y="1175"/>
                  </a:lnTo>
                  <a:lnTo>
                    <a:pt x="3256" y="1175"/>
                  </a:lnTo>
                  <a:lnTo>
                    <a:pt x="3256" y="1173"/>
                  </a:lnTo>
                  <a:lnTo>
                    <a:pt x="3256" y="1173"/>
                  </a:lnTo>
                  <a:lnTo>
                    <a:pt x="3254" y="1171"/>
                  </a:lnTo>
                  <a:lnTo>
                    <a:pt x="3254" y="1169"/>
                  </a:lnTo>
                  <a:lnTo>
                    <a:pt x="3254" y="1171"/>
                  </a:lnTo>
                  <a:lnTo>
                    <a:pt x="3252" y="1171"/>
                  </a:lnTo>
                  <a:lnTo>
                    <a:pt x="3252" y="1171"/>
                  </a:lnTo>
                  <a:lnTo>
                    <a:pt x="3252" y="1171"/>
                  </a:lnTo>
                  <a:lnTo>
                    <a:pt x="3252" y="1171"/>
                  </a:lnTo>
                  <a:lnTo>
                    <a:pt x="3252" y="1173"/>
                  </a:lnTo>
                  <a:lnTo>
                    <a:pt x="3252" y="1175"/>
                  </a:lnTo>
                  <a:close/>
                  <a:moveTo>
                    <a:pt x="2685" y="1024"/>
                  </a:moveTo>
                  <a:lnTo>
                    <a:pt x="2685" y="1024"/>
                  </a:lnTo>
                  <a:lnTo>
                    <a:pt x="2687" y="1026"/>
                  </a:lnTo>
                  <a:lnTo>
                    <a:pt x="2687" y="1024"/>
                  </a:lnTo>
                  <a:lnTo>
                    <a:pt x="2687" y="1024"/>
                  </a:lnTo>
                  <a:lnTo>
                    <a:pt x="2685" y="1024"/>
                  </a:lnTo>
                  <a:lnTo>
                    <a:pt x="2685" y="1024"/>
                  </a:lnTo>
                  <a:close/>
                  <a:moveTo>
                    <a:pt x="3176" y="1410"/>
                  </a:moveTo>
                  <a:lnTo>
                    <a:pt x="3176" y="1412"/>
                  </a:lnTo>
                  <a:lnTo>
                    <a:pt x="3176" y="1412"/>
                  </a:lnTo>
                  <a:lnTo>
                    <a:pt x="3176" y="1410"/>
                  </a:lnTo>
                  <a:lnTo>
                    <a:pt x="3176" y="1410"/>
                  </a:lnTo>
                  <a:lnTo>
                    <a:pt x="3176" y="1410"/>
                  </a:lnTo>
                  <a:close/>
                  <a:moveTo>
                    <a:pt x="3176" y="1406"/>
                  </a:moveTo>
                  <a:lnTo>
                    <a:pt x="3176" y="1406"/>
                  </a:lnTo>
                  <a:lnTo>
                    <a:pt x="3176" y="1408"/>
                  </a:lnTo>
                  <a:lnTo>
                    <a:pt x="3176" y="1408"/>
                  </a:lnTo>
                  <a:lnTo>
                    <a:pt x="3176" y="1408"/>
                  </a:lnTo>
                  <a:lnTo>
                    <a:pt x="3176" y="1406"/>
                  </a:lnTo>
                  <a:lnTo>
                    <a:pt x="3176" y="1406"/>
                  </a:lnTo>
                  <a:close/>
                  <a:moveTo>
                    <a:pt x="3174" y="1388"/>
                  </a:moveTo>
                  <a:lnTo>
                    <a:pt x="3174" y="1390"/>
                  </a:lnTo>
                  <a:lnTo>
                    <a:pt x="3174" y="1388"/>
                  </a:lnTo>
                  <a:lnTo>
                    <a:pt x="3174" y="1388"/>
                  </a:lnTo>
                  <a:lnTo>
                    <a:pt x="3174" y="1388"/>
                  </a:lnTo>
                  <a:lnTo>
                    <a:pt x="3174" y="1386"/>
                  </a:lnTo>
                  <a:lnTo>
                    <a:pt x="3174" y="1388"/>
                  </a:lnTo>
                  <a:lnTo>
                    <a:pt x="3174" y="1388"/>
                  </a:lnTo>
                  <a:close/>
                  <a:moveTo>
                    <a:pt x="3163" y="1365"/>
                  </a:moveTo>
                  <a:lnTo>
                    <a:pt x="3161" y="1367"/>
                  </a:lnTo>
                  <a:lnTo>
                    <a:pt x="3163" y="1367"/>
                  </a:lnTo>
                  <a:lnTo>
                    <a:pt x="3163" y="1369"/>
                  </a:lnTo>
                  <a:lnTo>
                    <a:pt x="3165" y="1369"/>
                  </a:lnTo>
                  <a:lnTo>
                    <a:pt x="3165" y="1369"/>
                  </a:lnTo>
                  <a:lnTo>
                    <a:pt x="3167" y="1369"/>
                  </a:lnTo>
                  <a:lnTo>
                    <a:pt x="3167" y="1369"/>
                  </a:lnTo>
                  <a:lnTo>
                    <a:pt x="3167" y="1369"/>
                  </a:lnTo>
                  <a:lnTo>
                    <a:pt x="3167" y="1369"/>
                  </a:lnTo>
                  <a:lnTo>
                    <a:pt x="3167" y="1369"/>
                  </a:lnTo>
                  <a:lnTo>
                    <a:pt x="3167" y="1369"/>
                  </a:lnTo>
                  <a:lnTo>
                    <a:pt x="3165" y="1367"/>
                  </a:lnTo>
                  <a:lnTo>
                    <a:pt x="3165" y="1367"/>
                  </a:lnTo>
                  <a:lnTo>
                    <a:pt x="3165" y="1367"/>
                  </a:lnTo>
                  <a:lnTo>
                    <a:pt x="3165" y="1369"/>
                  </a:lnTo>
                  <a:lnTo>
                    <a:pt x="3165" y="1367"/>
                  </a:lnTo>
                  <a:lnTo>
                    <a:pt x="3165" y="1367"/>
                  </a:lnTo>
                  <a:lnTo>
                    <a:pt x="3165" y="1367"/>
                  </a:lnTo>
                  <a:lnTo>
                    <a:pt x="3165" y="1367"/>
                  </a:lnTo>
                  <a:lnTo>
                    <a:pt x="3165" y="1365"/>
                  </a:lnTo>
                  <a:lnTo>
                    <a:pt x="3163" y="1365"/>
                  </a:lnTo>
                  <a:lnTo>
                    <a:pt x="3163" y="1363"/>
                  </a:lnTo>
                  <a:lnTo>
                    <a:pt x="3163" y="1365"/>
                  </a:lnTo>
                  <a:lnTo>
                    <a:pt x="3163" y="1365"/>
                  </a:lnTo>
                  <a:lnTo>
                    <a:pt x="3163" y="1365"/>
                  </a:lnTo>
                  <a:close/>
                  <a:moveTo>
                    <a:pt x="2627" y="1012"/>
                  </a:moveTo>
                  <a:lnTo>
                    <a:pt x="2627" y="1012"/>
                  </a:lnTo>
                  <a:lnTo>
                    <a:pt x="2627" y="1010"/>
                  </a:lnTo>
                  <a:lnTo>
                    <a:pt x="2627" y="1010"/>
                  </a:lnTo>
                  <a:lnTo>
                    <a:pt x="2627" y="1008"/>
                  </a:lnTo>
                  <a:lnTo>
                    <a:pt x="2625" y="1008"/>
                  </a:lnTo>
                  <a:lnTo>
                    <a:pt x="2621" y="1008"/>
                  </a:lnTo>
                  <a:lnTo>
                    <a:pt x="2621" y="1008"/>
                  </a:lnTo>
                  <a:lnTo>
                    <a:pt x="2621" y="1010"/>
                  </a:lnTo>
                  <a:lnTo>
                    <a:pt x="2621" y="1010"/>
                  </a:lnTo>
                  <a:lnTo>
                    <a:pt x="2623" y="1010"/>
                  </a:lnTo>
                  <a:lnTo>
                    <a:pt x="2627" y="1012"/>
                  </a:lnTo>
                  <a:close/>
                  <a:moveTo>
                    <a:pt x="2683" y="995"/>
                  </a:moveTo>
                  <a:lnTo>
                    <a:pt x="2683" y="997"/>
                  </a:lnTo>
                  <a:lnTo>
                    <a:pt x="2683" y="1000"/>
                  </a:lnTo>
                  <a:lnTo>
                    <a:pt x="2685" y="1000"/>
                  </a:lnTo>
                  <a:lnTo>
                    <a:pt x="2685" y="1002"/>
                  </a:lnTo>
                  <a:lnTo>
                    <a:pt x="2687" y="1002"/>
                  </a:lnTo>
                  <a:lnTo>
                    <a:pt x="2687" y="1004"/>
                  </a:lnTo>
                  <a:lnTo>
                    <a:pt x="2687" y="1004"/>
                  </a:lnTo>
                  <a:lnTo>
                    <a:pt x="2687" y="1008"/>
                  </a:lnTo>
                  <a:lnTo>
                    <a:pt x="2687" y="1008"/>
                  </a:lnTo>
                  <a:lnTo>
                    <a:pt x="2687" y="1008"/>
                  </a:lnTo>
                  <a:lnTo>
                    <a:pt x="2687" y="1010"/>
                  </a:lnTo>
                  <a:lnTo>
                    <a:pt x="2687" y="1010"/>
                  </a:lnTo>
                  <a:lnTo>
                    <a:pt x="2687" y="1010"/>
                  </a:lnTo>
                  <a:lnTo>
                    <a:pt x="2689" y="1012"/>
                  </a:lnTo>
                  <a:lnTo>
                    <a:pt x="2689" y="1012"/>
                  </a:lnTo>
                  <a:lnTo>
                    <a:pt x="2689" y="1014"/>
                  </a:lnTo>
                  <a:lnTo>
                    <a:pt x="2687" y="1014"/>
                  </a:lnTo>
                  <a:lnTo>
                    <a:pt x="2687" y="1014"/>
                  </a:lnTo>
                  <a:lnTo>
                    <a:pt x="2687" y="1014"/>
                  </a:lnTo>
                  <a:lnTo>
                    <a:pt x="2687" y="1014"/>
                  </a:lnTo>
                  <a:lnTo>
                    <a:pt x="2687" y="1016"/>
                  </a:lnTo>
                  <a:lnTo>
                    <a:pt x="2687" y="1016"/>
                  </a:lnTo>
                  <a:lnTo>
                    <a:pt x="2687" y="1018"/>
                  </a:lnTo>
                  <a:lnTo>
                    <a:pt x="2687" y="1020"/>
                  </a:lnTo>
                  <a:lnTo>
                    <a:pt x="2687" y="1022"/>
                  </a:lnTo>
                  <a:lnTo>
                    <a:pt x="2687" y="1024"/>
                  </a:lnTo>
                  <a:lnTo>
                    <a:pt x="2689" y="1024"/>
                  </a:lnTo>
                  <a:lnTo>
                    <a:pt x="2689" y="1026"/>
                  </a:lnTo>
                  <a:lnTo>
                    <a:pt x="2689" y="1026"/>
                  </a:lnTo>
                  <a:lnTo>
                    <a:pt x="2691" y="1026"/>
                  </a:lnTo>
                  <a:lnTo>
                    <a:pt x="2691" y="1026"/>
                  </a:lnTo>
                  <a:lnTo>
                    <a:pt x="2693" y="1026"/>
                  </a:lnTo>
                  <a:lnTo>
                    <a:pt x="2695" y="1026"/>
                  </a:lnTo>
                  <a:lnTo>
                    <a:pt x="2695" y="1024"/>
                  </a:lnTo>
                  <a:lnTo>
                    <a:pt x="2695" y="1022"/>
                  </a:lnTo>
                  <a:lnTo>
                    <a:pt x="2695" y="1022"/>
                  </a:lnTo>
                  <a:lnTo>
                    <a:pt x="2697" y="1022"/>
                  </a:lnTo>
                  <a:lnTo>
                    <a:pt x="2697" y="1022"/>
                  </a:lnTo>
                  <a:lnTo>
                    <a:pt x="2699" y="1022"/>
                  </a:lnTo>
                  <a:lnTo>
                    <a:pt x="2699" y="1022"/>
                  </a:lnTo>
                  <a:lnTo>
                    <a:pt x="2701" y="1024"/>
                  </a:lnTo>
                  <a:lnTo>
                    <a:pt x="2703" y="1022"/>
                  </a:lnTo>
                  <a:lnTo>
                    <a:pt x="2703" y="1022"/>
                  </a:lnTo>
                  <a:lnTo>
                    <a:pt x="2703" y="1020"/>
                  </a:lnTo>
                  <a:lnTo>
                    <a:pt x="2705" y="1010"/>
                  </a:lnTo>
                  <a:lnTo>
                    <a:pt x="2705" y="1008"/>
                  </a:lnTo>
                  <a:lnTo>
                    <a:pt x="2705" y="1008"/>
                  </a:lnTo>
                  <a:lnTo>
                    <a:pt x="2703" y="1006"/>
                  </a:lnTo>
                  <a:lnTo>
                    <a:pt x="2703" y="1004"/>
                  </a:lnTo>
                  <a:lnTo>
                    <a:pt x="2705" y="1002"/>
                  </a:lnTo>
                  <a:lnTo>
                    <a:pt x="2705" y="1002"/>
                  </a:lnTo>
                  <a:lnTo>
                    <a:pt x="2705" y="1002"/>
                  </a:lnTo>
                  <a:lnTo>
                    <a:pt x="2705" y="1000"/>
                  </a:lnTo>
                  <a:lnTo>
                    <a:pt x="2703" y="995"/>
                  </a:lnTo>
                  <a:lnTo>
                    <a:pt x="2703" y="993"/>
                  </a:lnTo>
                  <a:lnTo>
                    <a:pt x="2703" y="993"/>
                  </a:lnTo>
                  <a:lnTo>
                    <a:pt x="2703" y="993"/>
                  </a:lnTo>
                  <a:lnTo>
                    <a:pt x="2703" y="993"/>
                  </a:lnTo>
                  <a:lnTo>
                    <a:pt x="2703" y="991"/>
                  </a:lnTo>
                  <a:lnTo>
                    <a:pt x="2703" y="991"/>
                  </a:lnTo>
                  <a:lnTo>
                    <a:pt x="2703" y="991"/>
                  </a:lnTo>
                  <a:lnTo>
                    <a:pt x="2701" y="991"/>
                  </a:lnTo>
                  <a:lnTo>
                    <a:pt x="2701" y="991"/>
                  </a:lnTo>
                  <a:lnTo>
                    <a:pt x="2701" y="989"/>
                  </a:lnTo>
                  <a:lnTo>
                    <a:pt x="2699" y="989"/>
                  </a:lnTo>
                  <a:lnTo>
                    <a:pt x="2699" y="989"/>
                  </a:lnTo>
                  <a:lnTo>
                    <a:pt x="2697" y="987"/>
                  </a:lnTo>
                  <a:lnTo>
                    <a:pt x="2697" y="989"/>
                  </a:lnTo>
                  <a:lnTo>
                    <a:pt x="2697" y="989"/>
                  </a:lnTo>
                  <a:lnTo>
                    <a:pt x="2697" y="989"/>
                  </a:lnTo>
                  <a:lnTo>
                    <a:pt x="2695" y="991"/>
                  </a:lnTo>
                  <a:lnTo>
                    <a:pt x="2693" y="993"/>
                  </a:lnTo>
                  <a:lnTo>
                    <a:pt x="2691" y="993"/>
                  </a:lnTo>
                  <a:lnTo>
                    <a:pt x="2689" y="995"/>
                  </a:lnTo>
                  <a:lnTo>
                    <a:pt x="2687" y="995"/>
                  </a:lnTo>
                  <a:lnTo>
                    <a:pt x="2685" y="995"/>
                  </a:lnTo>
                  <a:lnTo>
                    <a:pt x="2685" y="995"/>
                  </a:lnTo>
                  <a:lnTo>
                    <a:pt x="2685" y="993"/>
                  </a:lnTo>
                  <a:lnTo>
                    <a:pt x="2683" y="993"/>
                  </a:lnTo>
                  <a:lnTo>
                    <a:pt x="2683" y="995"/>
                  </a:lnTo>
                  <a:lnTo>
                    <a:pt x="2683" y="995"/>
                  </a:lnTo>
                  <a:close/>
                  <a:moveTo>
                    <a:pt x="2685" y="991"/>
                  </a:moveTo>
                  <a:lnTo>
                    <a:pt x="2685" y="991"/>
                  </a:lnTo>
                  <a:lnTo>
                    <a:pt x="2685" y="991"/>
                  </a:lnTo>
                  <a:lnTo>
                    <a:pt x="2685" y="991"/>
                  </a:lnTo>
                  <a:lnTo>
                    <a:pt x="2685" y="991"/>
                  </a:lnTo>
                  <a:lnTo>
                    <a:pt x="2683" y="991"/>
                  </a:lnTo>
                  <a:lnTo>
                    <a:pt x="2683" y="993"/>
                  </a:lnTo>
                  <a:lnTo>
                    <a:pt x="2685" y="993"/>
                  </a:lnTo>
                  <a:lnTo>
                    <a:pt x="2685" y="991"/>
                  </a:lnTo>
                  <a:close/>
                  <a:moveTo>
                    <a:pt x="2699" y="964"/>
                  </a:moveTo>
                  <a:lnTo>
                    <a:pt x="2699" y="962"/>
                  </a:lnTo>
                  <a:lnTo>
                    <a:pt x="2697" y="962"/>
                  </a:lnTo>
                  <a:lnTo>
                    <a:pt x="2697" y="962"/>
                  </a:lnTo>
                  <a:lnTo>
                    <a:pt x="2695" y="964"/>
                  </a:lnTo>
                  <a:lnTo>
                    <a:pt x="2695" y="964"/>
                  </a:lnTo>
                  <a:lnTo>
                    <a:pt x="2695" y="964"/>
                  </a:lnTo>
                  <a:lnTo>
                    <a:pt x="2691" y="964"/>
                  </a:lnTo>
                  <a:lnTo>
                    <a:pt x="2691" y="966"/>
                  </a:lnTo>
                  <a:lnTo>
                    <a:pt x="2689" y="969"/>
                  </a:lnTo>
                  <a:lnTo>
                    <a:pt x="2689" y="969"/>
                  </a:lnTo>
                  <a:lnTo>
                    <a:pt x="2689" y="969"/>
                  </a:lnTo>
                  <a:lnTo>
                    <a:pt x="2689" y="971"/>
                  </a:lnTo>
                  <a:lnTo>
                    <a:pt x="2689" y="971"/>
                  </a:lnTo>
                  <a:lnTo>
                    <a:pt x="2691" y="971"/>
                  </a:lnTo>
                  <a:lnTo>
                    <a:pt x="2689" y="971"/>
                  </a:lnTo>
                  <a:lnTo>
                    <a:pt x="2689" y="973"/>
                  </a:lnTo>
                  <a:lnTo>
                    <a:pt x="2689" y="973"/>
                  </a:lnTo>
                  <a:lnTo>
                    <a:pt x="2689" y="973"/>
                  </a:lnTo>
                  <a:lnTo>
                    <a:pt x="2691" y="975"/>
                  </a:lnTo>
                  <a:lnTo>
                    <a:pt x="2691" y="975"/>
                  </a:lnTo>
                  <a:lnTo>
                    <a:pt x="2689" y="975"/>
                  </a:lnTo>
                  <a:lnTo>
                    <a:pt x="2689" y="977"/>
                  </a:lnTo>
                  <a:lnTo>
                    <a:pt x="2689" y="977"/>
                  </a:lnTo>
                  <a:lnTo>
                    <a:pt x="2691" y="977"/>
                  </a:lnTo>
                  <a:lnTo>
                    <a:pt x="2691" y="977"/>
                  </a:lnTo>
                  <a:lnTo>
                    <a:pt x="2691" y="977"/>
                  </a:lnTo>
                  <a:lnTo>
                    <a:pt x="2691" y="979"/>
                  </a:lnTo>
                  <a:lnTo>
                    <a:pt x="2691" y="979"/>
                  </a:lnTo>
                  <a:lnTo>
                    <a:pt x="2691" y="979"/>
                  </a:lnTo>
                  <a:lnTo>
                    <a:pt x="2693" y="981"/>
                  </a:lnTo>
                  <a:lnTo>
                    <a:pt x="2693" y="981"/>
                  </a:lnTo>
                  <a:lnTo>
                    <a:pt x="2693" y="981"/>
                  </a:lnTo>
                  <a:lnTo>
                    <a:pt x="2691" y="983"/>
                  </a:lnTo>
                  <a:lnTo>
                    <a:pt x="2693" y="983"/>
                  </a:lnTo>
                  <a:lnTo>
                    <a:pt x="2693" y="983"/>
                  </a:lnTo>
                  <a:lnTo>
                    <a:pt x="2695" y="985"/>
                  </a:lnTo>
                  <a:lnTo>
                    <a:pt x="2697" y="985"/>
                  </a:lnTo>
                  <a:lnTo>
                    <a:pt x="2699" y="985"/>
                  </a:lnTo>
                  <a:lnTo>
                    <a:pt x="2699" y="981"/>
                  </a:lnTo>
                  <a:lnTo>
                    <a:pt x="2699" y="981"/>
                  </a:lnTo>
                  <a:lnTo>
                    <a:pt x="2701" y="981"/>
                  </a:lnTo>
                  <a:lnTo>
                    <a:pt x="2701" y="977"/>
                  </a:lnTo>
                  <a:lnTo>
                    <a:pt x="2701" y="977"/>
                  </a:lnTo>
                  <a:lnTo>
                    <a:pt x="2703" y="973"/>
                  </a:lnTo>
                  <a:lnTo>
                    <a:pt x="2703" y="973"/>
                  </a:lnTo>
                  <a:lnTo>
                    <a:pt x="2701" y="966"/>
                  </a:lnTo>
                  <a:lnTo>
                    <a:pt x="2701" y="966"/>
                  </a:lnTo>
                  <a:lnTo>
                    <a:pt x="2701" y="964"/>
                  </a:lnTo>
                  <a:lnTo>
                    <a:pt x="2701" y="964"/>
                  </a:lnTo>
                  <a:lnTo>
                    <a:pt x="2701" y="962"/>
                  </a:lnTo>
                  <a:lnTo>
                    <a:pt x="2701" y="960"/>
                  </a:lnTo>
                  <a:lnTo>
                    <a:pt x="2701" y="960"/>
                  </a:lnTo>
                  <a:lnTo>
                    <a:pt x="2701" y="958"/>
                  </a:lnTo>
                  <a:lnTo>
                    <a:pt x="2701" y="958"/>
                  </a:lnTo>
                  <a:lnTo>
                    <a:pt x="2699" y="958"/>
                  </a:lnTo>
                  <a:lnTo>
                    <a:pt x="2699" y="960"/>
                  </a:lnTo>
                  <a:lnTo>
                    <a:pt x="2699" y="962"/>
                  </a:lnTo>
                  <a:lnTo>
                    <a:pt x="2699" y="962"/>
                  </a:lnTo>
                  <a:lnTo>
                    <a:pt x="2699" y="962"/>
                  </a:lnTo>
                  <a:lnTo>
                    <a:pt x="2699" y="964"/>
                  </a:lnTo>
                  <a:close/>
                  <a:moveTo>
                    <a:pt x="2332" y="1326"/>
                  </a:moveTo>
                  <a:lnTo>
                    <a:pt x="2332" y="1324"/>
                  </a:lnTo>
                  <a:lnTo>
                    <a:pt x="2334" y="1322"/>
                  </a:lnTo>
                  <a:lnTo>
                    <a:pt x="2332" y="1322"/>
                  </a:lnTo>
                  <a:lnTo>
                    <a:pt x="2332" y="1324"/>
                  </a:lnTo>
                  <a:lnTo>
                    <a:pt x="2332" y="1324"/>
                  </a:lnTo>
                  <a:lnTo>
                    <a:pt x="2332" y="1326"/>
                  </a:lnTo>
                  <a:lnTo>
                    <a:pt x="2332" y="1326"/>
                  </a:lnTo>
                  <a:close/>
                  <a:moveTo>
                    <a:pt x="3126" y="1695"/>
                  </a:moveTo>
                  <a:lnTo>
                    <a:pt x="3126" y="1695"/>
                  </a:lnTo>
                  <a:lnTo>
                    <a:pt x="3128" y="1697"/>
                  </a:lnTo>
                  <a:lnTo>
                    <a:pt x="3128" y="1695"/>
                  </a:lnTo>
                  <a:lnTo>
                    <a:pt x="3128" y="1697"/>
                  </a:lnTo>
                  <a:lnTo>
                    <a:pt x="3130" y="1697"/>
                  </a:lnTo>
                  <a:lnTo>
                    <a:pt x="3130" y="1697"/>
                  </a:lnTo>
                  <a:lnTo>
                    <a:pt x="3130" y="1697"/>
                  </a:lnTo>
                  <a:lnTo>
                    <a:pt x="3130" y="1697"/>
                  </a:lnTo>
                  <a:lnTo>
                    <a:pt x="3130" y="1693"/>
                  </a:lnTo>
                  <a:lnTo>
                    <a:pt x="3130" y="1693"/>
                  </a:lnTo>
                  <a:lnTo>
                    <a:pt x="3128" y="1693"/>
                  </a:lnTo>
                  <a:lnTo>
                    <a:pt x="3128" y="1691"/>
                  </a:lnTo>
                  <a:lnTo>
                    <a:pt x="3128" y="1689"/>
                  </a:lnTo>
                  <a:lnTo>
                    <a:pt x="3126" y="1687"/>
                  </a:lnTo>
                  <a:lnTo>
                    <a:pt x="3126" y="1689"/>
                  </a:lnTo>
                  <a:lnTo>
                    <a:pt x="3126" y="1691"/>
                  </a:lnTo>
                  <a:lnTo>
                    <a:pt x="3126" y="1693"/>
                  </a:lnTo>
                  <a:lnTo>
                    <a:pt x="3124" y="1693"/>
                  </a:lnTo>
                  <a:lnTo>
                    <a:pt x="3126" y="1695"/>
                  </a:lnTo>
                  <a:close/>
                  <a:moveTo>
                    <a:pt x="2590" y="1024"/>
                  </a:moveTo>
                  <a:lnTo>
                    <a:pt x="2588" y="1024"/>
                  </a:lnTo>
                  <a:lnTo>
                    <a:pt x="2586" y="1024"/>
                  </a:lnTo>
                  <a:lnTo>
                    <a:pt x="2586" y="1024"/>
                  </a:lnTo>
                  <a:lnTo>
                    <a:pt x="2586" y="1026"/>
                  </a:lnTo>
                  <a:lnTo>
                    <a:pt x="2584" y="1026"/>
                  </a:lnTo>
                  <a:lnTo>
                    <a:pt x="2584" y="1026"/>
                  </a:lnTo>
                  <a:lnTo>
                    <a:pt x="2584" y="1028"/>
                  </a:lnTo>
                  <a:lnTo>
                    <a:pt x="2586" y="1028"/>
                  </a:lnTo>
                  <a:lnTo>
                    <a:pt x="2588" y="1026"/>
                  </a:lnTo>
                  <a:lnTo>
                    <a:pt x="2588" y="1026"/>
                  </a:lnTo>
                  <a:lnTo>
                    <a:pt x="2590" y="1024"/>
                  </a:lnTo>
                  <a:lnTo>
                    <a:pt x="2590" y="1024"/>
                  </a:lnTo>
                  <a:close/>
                  <a:moveTo>
                    <a:pt x="2611" y="1010"/>
                  </a:moveTo>
                  <a:lnTo>
                    <a:pt x="2609" y="1010"/>
                  </a:lnTo>
                  <a:lnTo>
                    <a:pt x="2606" y="1012"/>
                  </a:lnTo>
                  <a:lnTo>
                    <a:pt x="2600" y="1016"/>
                  </a:lnTo>
                  <a:lnTo>
                    <a:pt x="2600" y="1016"/>
                  </a:lnTo>
                  <a:lnTo>
                    <a:pt x="2600" y="1016"/>
                  </a:lnTo>
                  <a:lnTo>
                    <a:pt x="2602" y="1016"/>
                  </a:lnTo>
                  <a:lnTo>
                    <a:pt x="2602" y="1018"/>
                  </a:lnTo>
                  <a:lnTo>
                    <a:pt x="2602" y="1016"/>
                  </a:lnTo>
                  <a:lnTo>
                    <a:pt x="2604" y="1016"/>
                  </a:lnTo>
                  <a:lnTo>
                    <a:pt x="2604" y="1016"/>
                  </a:lnTo>
                  <a:lnTo>
                    <a:pt x="2606" y="1018"/>
                  </a:lnTo>
                  <a:lnTo>
                    <a:pt x="2606" y="1018"/>
                  </a:lnTo>
                  <a:lnTo>
                    <a:pt x="2606" y="1020"/>
                  </a:lnTo>
                  <a:lnTo>
                    <a:pt x="2609" y="1020"/>
                  </a:lnTo>
                  <a:lnTo>
                    <a:pt x="2611" y="1020"/>
                  </a:lnTo>
                  <a:lnTo>
                    <a:pt x="2611" y="1020"/>
                  </a:lnTo>
                  <a:lnTo>
                    <a:pt x="2613" y="1020"/>
                  </a:lnTo>
                  <a:lnTo>
                    <a:pt x="2613" y="1018"/>
                  </a:lnTo>
                  <a:lnTo>
                    <a:pt x="2615" y="1016"/>
                  </a:lnTo>
                  <a:lnTo>
                    <a:pt x="2615" y="1016"/>
                  </a:lnTo>
                  <a:lnTo>
                    <a:pt x="2615" y="1014"/>
                  </a:lnTo>
                  <a:lnTo>
                    <a:pt x="2615" y="1014"/>
                  </a:lnTo>
                  <a:lnTo>
                    <a:pt x="2615" y="1012"/>
                  </a:lnTo>
                  <a:lnTo>
                    <a:pt x="2615" y="1012"/>
                  </a:lnTo>
                  <a:lnTo>
                    <a:pt x="2613" y="1014"/>
                  </a:lnTo>
                  <a:lnTo>
                    <a:pt x="2611" y="1012"/>
                  </a:lnTo>
                  <a:lnTo>
                    <a:pt x="2611" y="1012"/>
                  </a:lnTo>
                  <a:lnTo>
                    <a:pt x="2613" y="1012"/>
                  </a:lnTo>
                  <a:lnTo>
                    <a:pt x="2613" y="1012"/>
                  </a:lnTo>
                  <a:lnTo>
                    <a:pt x="2611" y="1010"/>
                  </a:lnTo>
                  <a:lnTo>
                    <a:pt x="2611" y="1010"/>
                  </a:lnTo>
                  <a:lnTo>
                    <a:pt x="2613" y="1010"/>
                  </a:lnTo>
                  <a:lnTo>
                    <a:pt x="2611" y="1010"/>
                  </a:lnTo>
                  <a:close/>
                  <a:moveTo>
                    <a:pt x="2586" y="1031"/>
                  </a:moveTo>
                  <a:lnTo>
                    <a:pt x="2586" y="1031"/>
                  </a:lnTo>
                  <a:lnTo>
                    <a:pt x="2586" y="1031"/>
                  </a:lnTo>
                  <a:lnTo>
                    <a:pt x="2586" y="1031"/>
                  </a:lnTo>
                  <a:lnTo>
                    <a:pt x="2588" y="1031"/>
                  </a:lnTo>
                  <a:lnTo>
                    <a:pt x="2588" y="1031"/>
                  </a:lnTo>
                  <a:lnTo>
                    <a:pt x="2590" y="1031"/>
                  </a:lnTo>
                  <a:lnTo>
                    <a:pt x="2590" y="1031"/>
                  </a:lnTo>
                  <a:lnTo>
                    <a:pt x="2588" y="1031"/>
                  </a:lnTo>
                  <a:lnTo>
                    <a:pt x="2586" y="1031"/>
                  </a:lnTo>
                  <a:close/>
                  <a:moveTo>
                    <a:pt x="4652" y="1867"/>
                  </a:moveTo>
                  <a:lnTo>
                    <a:pt x="4652" y="1867"/>
                  </a:lnTo>
                  <a:lnTo>
                    <a:pt x="4650" y="1867"/>
                  </a:lnTo>
                  <a:lnTo>
                    <a:pt x="4650" y="1867"/>
                  </a:lnTo>
                  <a:lnTo>
                    <a:pt x="4650" y="1869"/>
                  </a:lnTo>
                  <a:lnTo>
                    <a:pt x="4650" y="1869"/>
                  </a:lnTo>
                  <a:lnTo>
                    <a:pt x="4652" y="1871"/>
                  </a:lnTo>
                  <a:lnTo>
                    <a:pt x="4652" y="1871"/>
                  </a:lnTo>
                  <a:lnTo>
                    <a:pt x="4652" y="1871"/>
                  </a:lnTo>
                  <a:lnTo>
                    <a:pt x="4652" y="1869"/>
                  </a:lnTo>
                  <a:lnTo>
                    <a:pt x="4652" y="1869"/>
                  </a:lnTo>
                  <a:lnTo>
                    <a:pt x="4652" y="1867"/>
                  </a:lnTo>
                  <a:lnTo>
                    <a:pt x="4652" y="1867"/>
                  </a:lnTo>
                  <a:close/>
                  <a:moveTo>
                    <a:pt x="4058" y="1590"/>
                  </a:moveTo>
                  <a:lnTo>
                    <a:pt x="4058" y="1590"/>
                  </a:lnTo>
                  <a:lnTo>
                    <a:pt x="4056" y="1590"/>
                  </a:lnTo>
                  <a:lnTo>
                    <a:pt x="4056" y="1590"/>
                  </a:lnTo>
                  <a:lnTo>
                    <a:pt x="4054" y="1590"/>
                  </a:lnTo>
                  <a:lnTo>
                    <a:pt x="4052" y="1590"/>
                  </a:lnTo>
                  <a:lnTo>
                    <a:pt x="4052" y="1592"/>
                  </a:lnTo>
                  <a:lnTo>
                    <a:pt x="4052" y="1592"/>
                  </a:lnTo>
                  <a:lnTo>
                    <a:pt x="4054" y="1592"/>
                  </a:lnTo>
                  <a:lnTo>
                    <a:pt x="4056" y="1592"/>
                  </a:lnTo>
                  <a:lnTo>
                    <a:pt x="4056" y="1592"/>
                  </a:lnTo>
                  <a:lnTo>
                    <a:pt x="4056" y="1592"/>
                  </a:lnTo>
                  <a:lnTo>
                    <a:pt x="4056" y="1594"/>
                  </a:lnTo>
                  <a:lnTo>
                    <a:pt x="4056" y="1594"/>
                  </a:lnTo>
                  <a:lnTo>
                    <a:pt x="4056" y="1594"/>
                  </a:lnTo>
                  <a:lnTo>
                    <a:pt x="4056" y="1594"/>
                  </a:lnTo>
                  <a:lnTo>
                    <a:pt x="4058" y="1594"/>
                  </a:lnTo>
                  <a:lnTo>
                    <a:pt x="4058" y="1594"/>
                  </a:lnTo>
                  <a:lnTo>
                    <a:pt x="4058" y="1592"/>
                  </a:lnTo>
                  <a:lnTo>
                    <a:pt x="4058" y="1592"/>
                  </a:lnTo>
                  <a:lnTo>
                    <a:pt x="4058" y="1590"/>
                  </a:lnTo>
                  <a:lnTo>
                    <a:pt x="4058" y="1590"/>
                  </a:lnTo>
                  <a:close/>
                  <a:moveTo>
                    <a:pt x="4068" y="1633"/>
                  </a:moveTo>
                  <a:lnTo>
                    <a:pt x="4066" y="1633"/>
                  </a:lnTo>
                  <a:lnTo>
                    <a:pt x="4064" y="1633"/>
                  </a:lnTo>
                  <a:lnTo>
                    <a:pt x="4064" y="1636"/>
                  </a:lnTo>
                  <a:lnTo>
                    <a:pt x="4066" y="1636"/>
                  </a:lnTo>
                  <a:lnTo>
                    <a:pt x="4068" y="1636"/>
                  </a:lnTo>
                  <a:lnTo>
                    <a:pt x="4068" y="1638"/>
                  </a:lnTo>
                  <a:lnTo>
                    <a:pt x="4071" y="1636"/>
                  </a:lnTo>
                  <a:lnTo>
                    <a:pt x="4073" y="1636"/>
                  </a:lnTo>
                  <a:lnTo>
                    <a:pt x="4073" y="1638"/>
                  </a:lnTo>
                  <a:lnTo>
                    <a:pt x="4075" y="1638"/>
                  </a:lnTo>
                  <a:lnTo>
                    <a:pt x="4075" y="1640"/>
                  </a:lnTo>
                  <a:lnTo>
                    <a:pt x="4075" y="1642"/>
                  </a:lnTo>
                  <a:lnTo>
                    <a:pt x="4077" y="1642"/>
                  </a:lnTo>
                  <a:lnTo>
                    <a:pt x="4077" y="1642"/>
                  </a:lnTo>
                  <a:lnTo>
                    <a:pt x="4077" y="1644"/>
                  </a:lnTo>
                  <a:lnTo>
                    <a:pt x="4077" y="1646"/>
                  </a:lnTo>
                  <a:lnTo>
                    <a:pt x="4077" y="1646"/>
                  </a:lnTo>
                  <a:lnTo>
                    <a:pt x="4079" y="1648"/>
                  </a:lnTo>
                  <a:lnTo>
                    <a:pt x="4081" y="1648"/>
                  </a:lnTo>
                  <a:lnTo>
                    <a:pt x="4083" y="1648"/>
                  </a:lnTo>
                  <a:lnTo>
                    <a:pt x="4083" y="1648"/>
                  </a:lnTo>
                  <a:lnTo>
                    <a:pt x="4085" y="1648"/>
                  </a:lnTo>
                  <a:lnTo>
                    <a:pt x="4085" y="1650"/>
                  </a:lnTo>
                  <a:lnTo>
                    <a:pt x="4085" y="1650"/>
                  </a:lnTo>
                  <a:lnTo>
                    <a:pt x="4087" y="1650"/>
                  </a:lnTo>
                  <a:lnTo>
                    <a:pt x="4087" y="1650"/>
                  </a:lnTo>
                  <a:lnTo>
                    <a:pt x="4087" y="1650"/>
                  </a:lnTo>
                  <a:lnTo>
                    <a:pt x="4087" y="1648"/>
                  </a:lnTo>
                  <a:lnTo>
                    <a:pt x="4087" y="1648"/>
                  </a:lnTo>
                  <a:lnTo>
                    <a:pt x="4087" y="1644"/>
                  </a:lnTo>
                  <a:lnTo>
                    <a:pt x="4087" y="1644"/>
                  </a:lnTo>
                  <a:lnTo>
                    <a:pt x="4089" y="1644"/>
                  </a:lnTo>
                  <a:lnTo>
                    <a:pt x="4089" y="1644"/>
                  </a:lnTo>
                  <a:lnTo>
                    <a:pt x="4083" y="1642"/>
                  </a:lnTo>
                  <a:lnTo>
                    <a:pt x="4081" y="1638"/>
                  </a:lnTo>
                  <a:lnTo>
                    <a:pt x="4081" y="1633"/>
                  </a:lnTo>
                  <a:lnTo>
                    <a:pt x="4079" y="1631"/>
                  </a:lnTo>
                  <a:lnTo>
                    <a:pt x="4079" y="1631"/>
                  </a:lnTo>
                  <a:lnTo>
                    <a:pt x="4079" y="1629"/>
                  </a:lnTo>
                  <a:lnTo>
                    <a:pt x="4079" y="1629"/>
                  </a:lnTo>
                  <a:lnTo>
                    <a:pt x="4077" y="1629"/>
                  </a:lnTo>
                  <a:lnTo>
                    <a:pt x="4077" y="1627"/>
                  </a:lnTo>
                  <a:lnTo>
                    <a:pt x="4075" y="1627"/>
                  </a:lnTo>
                  <a:lnTo>
                    <a:pt x="4075" y="1627"/>
                  </a:lnTo>
                  <a:lnTo>
                    <a:pt x="4075" y="1629"/>
                  </a:lnTo>
                  <a:lnTo>
                    <a:pt x="4073" y="1631"/>
                  </a:lnTo>
                  <a:lnTo>
                    <a:pt x="4073" y="1629"/>
                  </a:lnTo>
                  <a:lnTo>
                    <a:pt x="4073" y="1629"/>
                  </a:lnTo>
                  <a:lnTo>
                    <a:pt x="4073" y="1627"/>
                  </a:lnTo>
                  <a:lnTo>
                    <a:pt x="4071" y="1629"/>
                  </a:lnTo>
                  <a:lnTo>
                    <a:pt x="4068" y="1629"/>
                  </a:lnTo>
                  <a:lnTo>
                    <a:pt x="4068" y="1629"/>
                  </a:lnTo>
                  <a:lnTo>
                    <a:pt x="4068" y="1631"/>
                  </a:lnTo>
                  <a:lnTo>
                    <a:pt x="4068" y="1631"/>
                  </a:lnTo>
                  <a:lnTo>
                    <a:pt x="4068" y="1631"/>
                  </a:lnTo>
                  <a:lnTo>
                    <a:pt x="4068" y="1633"/>
                  </a:lnTo>
                  <a:close/>
                  <a:moveTo>
                    <a:pt x="4075" y="1565"/>
                  </a:moveTo>
                  <a:lnTo>
                    <a:pt x="4075" y="1565"/>
                  </a:lnTo>
                  <a:lnTo>
                    <a:pt x="4075" y="1565"/>
                  </a:lnTo>
                  <a:lnTo>
                    <a:pt x="4075" y="1565"/>
                  </a:lnTo>
                  <a:lnTo>
                    <a:pt x="4075" y="1565"/>
                  </a:lnTo>
                  <a:lnTo>
                    <a:pt x="4075" y="1563"/>
                  </a:lnTo>
                  <a:lnTo>
                    <a:pt x="4075" y="1563"/>
                  </a:lnTo>
                  <a:lnTo>
                    <a:pt x="4075" y="1563"/>
                  </a:lnTo>
                  <a:lnTo>
                    <a:pt x="4073" y="1563"/>
                  </a:lnTo>
                  <a:lnTo>
                    <a:pt x="4073" y="1563"/>
                  </a:lnTo>
                  <a:lnTo>
                    <a:pt x="4073" y="1565"/>
                  </a:lnTo>
                  <a:lnTo>
                    <a:pt x="4073" y="1565"/>
                  </a:lnTo>
                  <a:lnTo>
                    <a:pt x="4073" y="1565"/>
                  </a:lnTo>
                  <a:lnTo>
                    <a:pt x="4075" y="1565"/>
                  </a:lnTo>
                  <a:close/>
                  <a:moveTo>
                    <a:pt x="4085" y="1483"/>
                  </a:moveTo>
                  <a:lnTo>
                    <a:pt x="4087" y="1483"/>
                  </a:lnTo>
                  <a:lnTo>
                    <a:pt x="4087" y="1483"/>
                  </a:lnTo>
                  <a:lnTo>
                    <a:pt x="4087" y="1483"/>
                  </a:lnTo>
                  <a:lnTo>
                    <a:pt x="4087" y="1483"/>
                  </a:lnTo>
                  <a:lnTo>
                    <a:pt x="4087" y="1483"/>
                  </a:lnTo>
                  <a:lnTo>
                    <a:pt x="4085" y="1483"/>
                  </a:lnTo>
                  <a:close/>
                  <a:moveTo>
                    <a:pt x="4058" y="1605"/>
                  </a:moveTo>
                  <a:lnTo>
                    <a:pt x="4056" y="1602"/>
                  </a:lnTo>
                  <a:lnTo>
                    <a:pt x="4056" y="1602"/>
                  </a:lnTo>
                  <a:lnTo>
                    <a:pt x="4058" y="1605"/>
                  </a:lnTo>
                  <a:lnTo>
                    <a:pt x="4058" y="1605"/>
                  </a:lnTo>
                  <a:lnTo>
                    <a:pt x="4058" y="1607"/>
                  </a:lnTo>
                  <a:lnTo>
                    <a:pt x="4058" y="1607"/>
                  </a:lnTo>
                  <a:lnTo>
                    <a:pt x="4058" y="1607"/>
                  </a:lnTo>
                  <a:lnTo>
                    <a:pt x="4058" y="1605"/>
                  </a:lnTo>
                  <a:close/>
                  <a:moveTo>
                    <a:pt x="4081" y="1563"/>
                  </a:moveTo>
                  <a:lnTo>
                    <a:pt x="4081" y="1561"/>
                  </a:lnTo>
                  <a:lnTo>
                    <a:pt x="4081" y="1561"/>
                  </a:lnTo>
                  <a:lnTo>
                    <a:pt x="4081" y="1561"/>
                  </a:lnTo>
                  <a:lnTo>
                    <a:pt x="4081" y="1561"/>
                  </a:lnTo>
                  <a:lnTo>
                    <a:pt x="4081" y="1563"/>
                  </a:lnTo>
                  <a:lnTo>
                    <a:pt x="4081" y="1563"/>
                  </a:lnTo>
                  <a:close/>
                  <a:moveTo>
                    <a:pt x="4054" y="1613"/>
                  </a:moveTo>
                  <a:lnTo>
                    <a:pt x="4054" y="1613"/>
                  </a:lnTo>
                  <a:lnTo>
                    <a:pt x="4054" y="1613"/>
                  </a:lnTo>
                  <a:lnTo>
                    <a:pt x="4054" y="1613"/>
                  </a:lnTo>
                  <a:lnTo>
                    <a:pt x="4052" y="1613"/>
                  </a:lnTo>
                  <a:lnTo>
                    <a:pt x="4054" y="1615"/>
                  </a:lnTo>
                  <a:lnTo>
                    <a:pt x="4054" y="1615"/>
                  </a:lnTo>
                  <a:lnTo>
                    <a:pt x="4054" y="1615"/>
                  </a:lnTo>
                  <a:lnTo>
                    <a:pt x="4056" y="1615"/>
                  </a:lnTo>
                  <a:lnTo>
                    <a:pt x="4056" y="1615"/>
                  </a:lnTo>
                  <a:lnTo>
                    <a:pt x="4056" y="1615"/>
                  </a:lnTo>
                  <a:lnTo>
                    <a:pt x="4058" y="1613"/>
                  </a:lnTo>
                  <a:lnTo>
                    <a:pt x="4058" y="1613"/>
                  </a:lnTo>
                  <a:lnTo>
                    <a:pt x="4056" y="1611"/>
                  </a:lnTo>
                  <a:lnTo>
                    <a:pt x="4054" y="1613"/>
                  </a:lnTo>
                  <a:close/>
                  <a:moveTo>
                    <a:pt x="4468" y="1072"/>
                  </a:moveTo>
                  <a:lnTo>
                    <a:pt x="4468" y="1070"/>
                  </a:lnTo>
                  <a:lnTo>
                    <a:pt x="4466" y="1070"/>
                  </a:lnTo>
                  <a:lnTo>
                    <a:pt x="4466" y="1070"/>
                  </a:lnTo>
                  <a:lnTo>
                    <a:pt x="4464" y="1072"/>
                  </a:lnTo>
                  <a:lnTo>
                    <a:pt x="4466" y="1072"/>
                  </a:lnTo>
                  <a:lnTo>
                    <a:pt x="4466" y="1072"/>
                  </a:lnTo>
                  <a:lnTo>
                    <a:pt x="4468" y="1072"/>
                  </a:lnTo>
                  <a:close/>
                  <a:moveTo>
                    <a:pt x="4042" y="1611"/>
                  </a:moveTo>
                  <a:lnTo>
                    <a:pt x="4042" y="1611"/>
                  </a:lnTo>
                  <a:lnTo>
                    <a:pt x="4042" y="1611"/>
                  </a:lnTo>
                  <a:lnTo>
                    <a:pt x="4044" y="1613"/>
                  </a:lnTo>
                  <a:lnTo>
                    <a:pt x="4046" y="1611"/>
                  </a:lnTo>
                  <a:lnTo>
                    <a:pt x="4046" y="1611"/>
                  </a:lnTo>
                  <a:lnTo>
                    <a:pt x="4046" y="1611"/>
                  </a:lnTo>
                  <a:lnTo>
                    <a:pt x="4044" y="1611"/>
                  </a:lnTo>
                  <a:lnTo>
                    <a:pt x="4042" y="1611"/>
                  </a:lnTo>
                  <a:close/>
                  <a:moveTo>
                    <a:pt x="4062" y="1611"/>
                  </a:moveTo>
                  <a:lnTo>
                    <a:pt x="4062" y="1611"/>
                  </a:lnTo>
                  <a:lnTo>
                    <a:pt x="4062" y="1611"/>
                  </a:lnTo>
                  <a:lnTo>
                    <a:pt x="4064" y="1611"/>
                  </a:lnTo>
                  <a:lnTo>
                    <a:pt x="4062" y="1611"/>
                  </a:lnTo>
                  <a:lnTo>
                    <a:pt x="4062" y="1609"/>
                  </a:lnTo>
                  <a:lnTo>
                    <a:pt x="4060" y="1609"/>
                  </a:lnTo>
                  <a:lnTo>
                    <a:pt x="4060" y="1609"/>
                  </a:lnTo>
                  <a:lnTo>
                    <a:pt x="4060" y="1609"/>
                  </a:lnTo>
                  <a:lnTo>
                    <a:pt x="4060" y="1609"/>
                  </a:lnTo>
                  <a:lnTo>
                    <a:pt x="4058" y="1607"/>
                  </a:lnTo>
                  <a:lnTo>
                    <a:pt x="4058" y="1607"/>
                  </a:lnTo>
                  <a:lnTo>
                    <a:pt x="4058" y="1607"/>
                  </a:lnTo>
                  <a:lnTo>
                    <a:pt x="4056" y="1607"/>
                  </a:lnTo>
                  <a:lnTo>
                    <a:pt x="4056" y="1609"/>
                  </a:lnTo>
                  <a:lnTo>
                    <a:pt x="4056" y="1609"/>
                  </a:lnTo>
                  <a:lnTo>
                    <a:pt x="4056" y="1609"/>
                  </a:lnTo>
                  <a:lnTo>
                    <a:pt x="4058" y="1611"/>
                  </a:lnTo>
                  <a:lnTo>
                    <a:pt x="4058" y="1609"/>
                  </a:lnTo>
                  <a:lnTo>
                    <a:pt x="4062" y="1611"/>
                  </a:lnTo>
                  <a:close/>
                  <a:moveTo>
                    <a:pt x="4066" y="1700"/>
                  </a:moveTo>
                  <a:lnTo>
                    <a:pt x="4066" y="1700"/>
                  </a:lnTo>
                  <a:lnTo>
                    <a:pt x="4066" y="1700"/>
                  </a:lnTo>
                  <a:lnTo>
                    <a:pt x="4066" y="1700"/>
                  </a:lnTo>
                  <a:lnTo>
                    <a:pt x="4064" y="1700"/>
                  </a:lnTo>
                  <a:lnTo>
                    <a:pt x="4066" y="1702"/>
                  </a:lnTo>
                  <a:lnTo>
                    <a:pt x="4066" y="1702"/>
                  </a:lnTo>
                  <a:lnTo>
                    <a:pt x="4066" y="1700"/>
                  </a:lnTo>
                  <a:lnTo>
                    <a:pt x="4066" y="1700"/>
                  </a:lnTo>
                  <a:close/>
                  <a:moveTo>
                    <a:pt x="4099" y="1648"/>
                  </a:moveTo>
                  <a:lnTo>
                    <a:pt x="4099" y="1648"/>
                  </a:lnTo>
                  <a:lnTo>
                    <a:pt x="4099" y="1650"/>
                  </a:lnTo>
                  <a:lnTo>
                    <a:pt x="4101" y="1650"/>
                  </a:lnTo>
                  <a:lnTo>
                    <a:pt x="4101" y="1652"/>
                  </a:lnTo>
                  <a:lnTo>
                    <a:pt x="4101" y="1652"/>
                  </a:lnTo>
                  <a:lnTo>
                    <a:pt x="4104" y="1652"/>
                  </a:lnTo>
                  <a:lnTo>
                    <a:pt x="4104" y="1650"/>
                  </a:lnTo>
                  <a:lnTo>
                    <a:pt x="4104" y="1650"/>
                  </a:lnTo>
                  <a:lnTo>
                    <a:pt x="4106" y="1650"/>
                  </a:lnTo>
                  <a:lnTo>
                    <a:pt x="4106" y="1652"/>
                  </a:lnTo>
                  <a:lnTo>
                    <a:pt x="4106" y="1652"/>
                  </a:lnTo>
                  <a:lnTo>
                    <a:pt x="4108" y="1652"/>
                  </a:lnTo>
                  <a:lnTo>
                    <a:pt x="4108" y="1652"/>
                  </a:lnTo>
                  <a:lnTo>
                    <a:pt x="4108" y="1650"/>
                  </a:lnTo>
                  <a:lnTo>
                    <a:pt x="4110" y="1650"/>
                  </a:lnTo>
                  <a:lnTo>
                    <a:pt x="4110" y="1648"/>
                  </a:lnTo>
                  <a:lnTo>
                    <a:pt x="4110" y="1646"/>
                  </a:lnTo>
                  <a:lnTo>
                    <a:pt x="4110" y="1644"/>
                  </a:lnTo>
                  <a:lnTo>
                    <a:pt x="4108" y="1644"/>
                  </a:lnTo>
                  <a:lnTo>
                    <a:pt x="4104" y="1642"/>
                  </a:lnTo>
                  <a:lnTo>
                    <a:pt x="4104" y="1642"/>
                  </a:lnTo>
                  <a:lnTo>
                    <a:pt x="4101" y="1644"/>
                  </a:lnTo>
                  <a:lnTo>
                    <a:pt x="4101" y="1646"/>
                  </a:lnTo>
                  <a:lnTo>
                    <a:pt x="4099" y="1646"/>
                  </a:lnTo>
                  <a:lnTo>
                    <a:pt x="4101" y="1648"/>
                  </a:lnTo>
                  <a:lnTo>
                    <a:pt x="4099" y="1648"/>
                  </a:lnTo>
                  <a:lnTo>
                    <a:pt x="4099" y="1648"/>
                  </a:lnTo>
                  <a:close/>
                  <a:moveTo>
                    <a:pt x="4099" y="1648"/>
                  </a:moveTo>
                  <a:lnTo>
                    <a:pt x="4099" y="1646"/>
                  </a:lnTo>
                  <a:lnTo>
                    <a:pt x="4099" y="1646"/>
                  </a:lnTo>
                  <a:lnTo>
                    <a:pt x="4097" y="1646"/>
                  </a:lnTo>
                  <a:lnTo>
                    <a:pt x="4097" y="1648"/>
                  </a:lnTo>
                  <a:lnTo>
                    <a:pt x="4097" y="1648"/>
                  </a:lnTo>
                  <a:lnTo>
                    <a:pt x="4097" y="1648"/>
                  </a:lnTo>
                  <a:lnTo>
                    <a:pt x="4099" y="1648"/>
                  </a:lnTo>
                  <a:close/>
                  <a:moveTo>
                    <a:pt x="4110" y="1553"/>
                  </a:moveTo>
                  <a:lnTo>
                    <a:pt x="4110" y="1553"/>
                  </a:lnTo>
                  <a:lnTo>
                    <a:pt x="4108" y="1555"/>
                  </a:lnTo>
                  <a:lnTo>
                    <a:pt x="4110" y="1555"/>
                  </a:lnTo>
                  <a:lnTo>
                    <a:pt x="4110" y="1555"/>
                  </a:lnTo>
                  <a:lnTo>
                    <a:pt x="4112" y="1553"/>
                  </a:lnTo>
                  <a:lnTo>
                    <a:pt x="4112" y="1551"/>
                  </a:lnTo>
                  <a:lnTo>
                    <a:pt x="4112" y="1551"/>
                  </a:lnTo>
                  <a:lnTo>
                    <a:pt x="4110" y="1549"/>
                  </a:lnTo>
                  <a:lnTo>
                    <a:pt x="4110" y="1547"/>
                  </a:lnTo>
                  <a:lnTo>
                    <a:pt x="4110" y="1547"/>
                  </a:lnTo>
                  <a:lnTo>
                    <a:pt x="4106" y="1549"/>
                  </a:lnTo>
                  <a:lnTo>
                    <a:pt x="4106" y="1551"/>
                  </a:lnTo>
                  <a:lnTo>
                    <a:pt x="4108" y="1551"/>
                  </a:lnTo>
                  <a:lnTo>
                    <a:pt x="4108" y="1553"/>
                  </a:lnTo>
                  <a:lnTo>
                    <a:pt x="4110" y="1553"/>
                  </a:lnTo>
                  <a:lnTo>
                    <a:pt x="4110" y="1553"/>
                  </a:lnTo>
                  <a:lnTo>
                    <a:pt x="4110" y="1553"/>
                  </a:lnTo>
                  <a:close/>
                  <a:moveTo>
                    <a:pt x="4120" y="1590"/>
                  </a:moveTo>
                  <a:lnTo>
                    <a:pt x="4120" y="1590"/>
                  </a:lnTo>
                  <a:lnTo>
                    <a:pt x="4120" y="1594"/>
                  </a:lnTo>
                  <a:lnTo>
                    <a:pt x="4120" y="1596"/>
                  </a:lnTo>
                  <a:lnTo>
                    <a:pt x="4120" y="1598"/>
                  </a:lnTo>
                  <a:lnTo>
                    <a:pt x="4120" y="1602"/>
                  </a:lnTo>
                  <a:lnTo>
                    <a:pt x="4122" y="1602"/>
                  </a:lnTo>
                  <a:lnTo>
                    <a:pt x="4122" y="1605"/>
                  </a:lnTo>
                  <a:lnTo>
                    <a:pt x="4122" y="1605"/>
                  </a:lnTo>
                  <a:lnTo>
                    <a:pt x="4124" y="1605"/>
                  </a:lnTo>
                  <a:lnTo>
                    <a:pt x="4124" y="1607"/>
                  </a:lnTo>
                  <a:lnTo>
                    <a:pt x="4124" y="1607"/>
                  </a:lnTo>
                  <a:lnTo>
                    <a:pt x="4124" y="1607"/>
                  </a:lnTo>
                  <a:lnTo>
                    <a:pt x="4122" y="1609"/>
                  </a:lnTo>
                  <a:lnTo>
                    <a:pt x="4122" y="1609"/>
                  </a:lnTo>
                  <a:lnTo>
                    <a:pt x="4122" y="1611"/>
                  </a:lnTo>
                  <a:lnTo>
                    <a:pt x="4122" y="1613"/>
                  </a:lnTo>
                  <a:lnTo>
                    <a:pt x="4122" y="1613"/>
                  </a:lnTo>
                  <a:lnTo>
                    <a:pt x="4122" y="1613"/>
                  </a:lnTo>
                  <a:lnTo>
                    <a:pt x="4124" y="1615"/>
                  </a:lnTo>
                  <a:lnTo>
                    <a:pt x="4126" y="1615"/>
                  </a:lnTo>
                  <a:lnTo>
                    <a:pt x="4126" y="1617"/>
                  </a:lnTo>
                  <a:lnTo>
                    <a:pt x="4124" y="1617"/>
                  </a:lnTo>
                  <a:lnTo>
                    <a:pt x="4124" y="1617"/>
                  </a:lnTo>
                  <a:lnTo>
                    <a:pt x="4124" y="1617"/>
                  </a:lnTo>
                  <a:lnTo>
                    <a:pt x="4124" y="1619"/>
                  </a:lnTo>
                  <a:lnTo>
                    <a:pt x="4124" y="1619"/>
                  </a:lnTo>
                  <a:lnTo>
                    <a:pt x="4126" y="1619"/>
                  </a:lnTo>
                  <a:lnTo>
                    <a:pt x="4130" y="1619"/>
                  </a:lnTo>
                  <a:lnTo>
                    <a:pt x="4132" y="1621"/>
                  </a:lnTo>
                  <a:lnTo>
                    <a:pt x="4132" y="1623"/>
                  </a:lnTo>
                  <a:lnTo>
                    <a:pt x="4134" y="1623"/>
                  </a:lnTo>
                  <a:lnTo>
                    <a:pt x="4134" y="1625"/>
                  </a:lnTo>
                  <a:lnTo>
                    <a:pt x="4134" y="1627"/>
                  </a:lnTo>
                  <a:lnTo>
                    <a:pt x="4134" y="1627"/>
                  </a:lnTo>
                  <a:lnTo>
                    <a:pt x="4134" y="1629"/>
                  </a:lnTo>
                  <a:lnTo>
                    <a:pt x="4134" y="1631"/>
                  </a:lnTo>
                  <a:lnTo>
                    <a:pt x="4134" y="1633"/>
                  </a:lnTo>
                  <a:lnTo>
                    <a:pt x="4137" y="1633"/>
                  </a:lnTo>
                  <a:lnTo>
                    <a:pt x="4137" y="1636"/>
                  </a:lnTo>
                  <a:lnTo>
                    <a:pt x="4137" y="1638"/>
                  </a:lnTo>
                  <a:lnTo>
                    <a:pt x="4139" y="1644"/>
                  </a:lnTo>
                  <a:lnTo>
                    <a:pt x="4139" y="1648"/>
                  </a:lnTo>
                  <a:lnTo>
                    <a:pt x="4139" y="1648"/>
                  </a:lnTo>
                  <a:lnTo>
                    <a:pt x="4139" y="1648"/>
                  </a:lnTo>
                  <a:lnTo>
                    <a:pt x="4141" y="1648"/>
                  </a:lnTo>
                  <a:lnTo>
                    <a:pt x="4141" y="1648"/>
                  </a:lnTo>
                  <a:lnTo>
                    <a:pt x="4143" y="1648"/>
                  </a:lnTo>
                  <a:lnTo>
                    <a:pt x="4145" y="1650"/>
                  </a:lnTo>
                  <a:lnTo>
                    <a:pt x="4145" y="1650"/>
                  </a:lnTo>
                  <a:lnTo>
                    <a:pt x="4145" y="1648"/>
                  </a:lnTo>
                  <a:lnTo>
                    <a:pt x="4147" y="1648"/>
                  </a:lnTo>
                  <a:lnTo>
                    <a:pt x="4147" y="1648"/>
                  </a:lnTo>
                  <a:lnTo>
                    <a:pt x="4147" y="1648"/>
                  </a:lnTo>
                  <a:lnTo>
                    <a:pt x="4147" y="1648"/>
                  </a:lnTo>
                  <a:lnTo>
                    <a:pt x="4147" y="1650"/>
                  </a:lnTo>
                  <a:lnTo>
                    <a:pt x="4149" y="1650"/>
                  </a:lnTo>
                  <a:lnTo>
                    <a:pt x="4149" y="1650"/>
                  </a:lnTo>
                  <a:lnTo>
                    <a:pt x="4153" y="1648"/>
                  </a:lnTo>
                  <a:lnTo>
                    <a:pt x="4155" y="1648"/>
                  </a:lnTo>
                  <a:lnTo>
                    <a:pt x="4155" y="1648"/>
                  </a:lnTo>
                  <a:lnTo>
                    <a:pt x="4157" y="1648"/>
                  </a:lnTo>
                  <a:lnTo>
                    <a:pt x="4159" y="1648"/>
                  </a:lnTo>
                  <a:lnTo>
                    <a:pt x="4159" y="1648"/>
                  </a:lnTo>
                  <a:lnTo>
                    <a:pt x="4159" y="1648"/>
                  </a:lnTo>
                  <a:lnTo>
                    <a:pt x="4161" y="1650"/>
                  </a:lnTo>
                  <a:lnTo>
                    <a:pt x="4161" y="1650"/>
                  </a:lnTo>
                  <a:lnTo>
                    <a:pt x="4161" y="1654"/>
                  </a:lnTo>
                  <a:lnTo>
                    <a:pt x="4161" y="1654"/>
                  </a:lnTo>
                  <a:lnTo>
                    <a:pt x="4161" y="1656"/>
                  </a:lnTo>
                  <a:lnTo>
                    <a:pt x="4161" y="1656"/>
                  </a:lnTo>
                  <a:lnTo>
                    <a:pt x="4161" y="1656"/>
                  </a:lnTo>
                  <a:lnTo>
                    <a:pt x="4163" y="1656"/>
                  </a:lnTo>
                  <a:lnTo>
                    <a:pt x="4165" y="1654"/>
                  </a:lnTo>
                  <a:lnTo>
                    <a:pt x="4167" y="1654"/>
                  </a:lnTo>
                  <a:lnTo>
                    <a:pt x="4169" y="1654"/>
                  </a:lnTo>
                  <a:lnTo>
                    <a:pt x="4172" y="1654"/>
                  </a:lnTo>
                  <a:lnTo>
                    <a:pt x="4174" y="1654"/>
                  </a:lnTo>
                  <a:lnTo>
                    <a:pt x="4178" y="1652"/>
                  </a:lnTo>
                  <a:lnTo>
                    <a:pt x="4178" y="1648"/>
                  </a:lnTo>
                  <a:lnTo>
                    <a:pt x="4182" y="1652"/>
                  </a:lnTo>
                  <a:lnTo>
                    <a:pt x="4182" y="1652"/>
                  </a:lnTo>
                  <a:lnTo>
                    <a:pt x="4184" y="1652"/>
                  </a:lnTo>
                  <a:lnTo>
                    <a:pt x="4184" y="1652"/>
                  </a:lnTo>
                  <a:lnTo>
                    <a:pt x="4186" y="1652"/>
                  </a:lnTo>
                  <a:lnTo>
                    <a:pt x="4186" y="1652"/>
                  </a:lnTo>
                  <a:lnTo>
                    <a:pt x="4186" y="1652"/>
                  </a:lnTo>
                  <a:lnTo>
                    <a:pt x="4186" y="1654"/>
                  </a:lnTo>
                  <a:lnTo>
                    <a:pt x="4186" y="1654"/>
                  </a:lnTo>
                  <a:lnTo>
                    <a:pt x="4188" y="1656"/>
                  </a:lnTo>
                  <a:lnTo>
                    <a:pt x="4188" y="1656"/>
                  </a:lnTo>
                  <a:lnTo>
                    <a:pt x="4190" y="1654"/>
                  </a:lnTo>
                  <a:lnTo>
                    <a:pt x="4192" y="1652"/>
                  </a:lnTo>
                  <a:lnTo>
                    <a:pt x="4194" y="1652"/>
                  </a:lnTo>
                  <a:lnTo>
                    <a:pt x="4194" y="1654"/>
                  </a:lnTo>
                  <a:lnTo>
                    <a:pt x="4194" y="1654"/>
                  </a:lnTo>
                  <a:lnTo>
                    <a:pt x="4194" y="1654"/>
                  </a:lnTo>
                  <a:lnTo>
                    <a:pt x="4196" y="1654"/>
                  </a:lnTo>
                  <a:lnTo>
                    <a:pt x="4196" y="1652"/>
                  </a:lnTo>
                  <a:lnTo>
                    <a:pt x="4196" y="1654"/>
                  </a:lnTo>
                  <a:lnTo>
                    <a:pt x="4196" y="1654"/>
                  </a:lnTo>
                  <a:lnTo>
                    <a:pt x="4196" y="1656"/>
                  </a:lnTo>
                  <a:lnTo>
                    <a:pt x="4198" y="1656"/>
                  </a:lnTo>
                  <a:lnTo>
                    <a:pt x="4198" y="1656"/>
                  </a:lnTo>
                  <a:lnTo>
                    <a:pt x="4198" y="1654"/>
                  </a:lnTo>
                  <a:lnTo>
                    <a:pt x="4198" y="1656"/>
                  </a:lnTo>
                  <a:lnTo>
                    <a:pt x="4200" y="1658"/>
                  </a:lnTo>
                  <a:lnTo>
                    <a:pt x="4200" y="1664"/>
                  </a:lnTo>
                  <a:lnTo>
                    <a:pt x="4200" y="1664"/>
                  </a:lnTo>
                  <a:lnTo>
                    <a:pt x="4202" y="1666"/>
                  </a:lnTo>
                  <a:lnTo>
                    <a:pt x="4209" y="1662"/>
                  </a:lnTo>
                  <a:lnTo>
                    <a:pt x="4219" y="1658"/>
                  </a:lnTo>
                  <a:lnTo>
                    <a:pt x="4221" y="1656"/>
                  </a:lnTo>
                  <a:lnTo>
                    <a:pt x="4221" y="1654"/>
                  </a:lnTo>
                  <a:lnTo>
                    <a:pt x="4221" y="1654"/>
                  </a:lnTo>
                  <a:lnTo>
                    <a:pt x="4223" y="1652"/>
                  </a:lnTo>
                  <a:lnTo>
                    <a:pt x="4223" y="1652"/>
                  </a:lnTo>
                  <a:lnTo>
                    <a:pt x="4223" y="1652"/>
                  </a:lnTo>
                  <a:lnTo>
                    <a:pt x="4223" y="1650"/>
                  </a:lnTo>
                  <a:lnTo>
                    <a:pt x="4223" y="1650"/>
                  </a:lnTo>
                  <a:lnTo>
                    <a:pt x="4223" y="1648"/>
                  </a:lnTo>
                  <a:lnTo>
                    <a:pt x="4223" y="1648"/>
                  </a:lnTo>
                  <a:lnTo>
                    <a:pt x="4223" y="1648"/>
                  </a:lnTo>
                  <a:lnTo>
                    <a:pt x="4225" y="1648"/>
                  </a:lnTo>
                  <a:lnTo>
                    <a:pt x="4225" y="1648"/>
                  </a:lnTo>
                  <a:lnTo>
                    <a:pt x="4225" y="1646"/>
                  </a:lnTo>
                  <a:lnTo>
                    <a:pt x="4225" y="1644"/>
                  </a:lnTo>
                  <a:lnTo>
                    <a:pt x="4225" y="1644"/>
                  </a:lnTo>
                  <a:lnTo>
                    <a:pt x="4225" y="1644"/>
                  </a:lnTo>
                  <a:lnTo>
                    <a:pt x="4225" y="1642"/>
                  </a:lnTo>
                  <a:lnTo>
                    <a:pt x="4225" y="1642"/>
                  </a:lnTo>
                  <a:lnTo>
                    <a:pt x="4225" y="1642"/>
                  </a:lnTo>
                  <a:lnTo>
                    <a:pt x="4227" y="1642"/>
                  </a:lnTo>
                  <a:lnTo>
                    <a:pt x="4227" y="1642"/>
                  </a:lnTo>
                  <a:lnTo>
                    <a:pt x="4227" y="1640"/>
                  </a:lnTo>
                  <a:lnTo>
                    <a:pt x="4227" y="1640"/>
                  </a:lnTo>
                  <a:lnTo>
                    <a:pt x="4227" y="1638"/>
                  </a:lnTo>
                  <a:lnTo>
                    <a:pt x="4225" y="1638"/>
                  </a:lnTo>
                  <a:lnTo>
                    <a:pt x="4225" y="1638"/>
                  </a:lnTo>
                  <a:lnTo>
                    <a:pt x="4225" y="1638"/>
                  </a:lnTo>
                  <a:lnTo>
                    <a:pt x="4227" y="1636"/>
                  </a:lnTo>
                  <a:lnTo>
                    <a:pt x="4227" y="1633"/>
                  </a:lnTo>
                  <a:lnTo>
                    <a:pt x="4227" y="1633"/>
                  </a:lnTo>
                  <a:lnTo>
                    <a:pt x="4227" y="1631"/>
                  </a:lnTo>
                  <a:lnTo>
                    <a:pt x="4225" y="1631"/>
                  </a:lnTo>
                  <a:lnTo>
                    <a:pt x="4223" y="1631"/>
                  </a:lnTo>
                  <a:lnTo>
                    <a:pt x="4225" y="1631"/>
                  </a:lnTo>
                  <a:lnTo>
                    <a:pt x="4225" y="1631"/>
                  </a:lnTo>
                  <a:lnTo>
                    <a:pt x="4227" y="1629"/>
                  </a:lnTo>
                  <a:lnTo>
                    <a:pt x="4227" y="1629"/>
                  </a:lnTo>
                  <a:lnTo>
                    <a:pt x="4227" y="1629"/>
                  </a:lnTo>
                  <a:lnTo>
                    <a:pt x="4227" y="1627"/>
                  </a:lnTo>
                  <a:lnTo>
                    <a:pt x="4229" y="1627"/>
                  </a:lnTo>
                  <a:lnTo>
                    <a:pt x="4231" y="1625"/>
                  </a:lnTo>
                  <a:lnTo>
                    <a:pt x="4231" y="1625"/>
                  </a:lnTo>
                  <a:lnTo>
                    <a:pt x="4231" y="1625"/>
                  </a:lnTo>
                  <a:lnTo>
                    <a:pt x="4231" y="1623"/>
                  </a:lnTo>
                  <a:lnTo>
                    <a:pt x="4231" y="1623"/>
                  </a:lnTo>
                  <a:lnTo>
                    <a:pt x="4231" y="1621"/>
                  </a:lnTo>
                  <a:lnTo>
                    <a:pt x="4231" y="1621"/>
                  </a:lnTo>
                  <a:lnTo>
                    <a:pt x="4231" y="1623"/>
                  </a:lnTo>
                  <a:lnTo>
                    <a:pt x="4231" y="1623"/>
                  </a:lnTo>
                  <a:lnTo>
                    <a:pt x="4231" y="1623"/>
                  </a:lnTo>
                  <a:lnTo>
                    <a:pt x="4233" y="1623"/>
                  </a:lnTo>
                  <a:lnTo>
                    <a:pt x="4235" y="1623"/>
                  </a:lnTo>
                  <a:lnTo>
                    <a:pt x="4235" y="1623"/>
                  </a:lnTo>
                  <a:lnTo>
                    <a:pt x="4238" y="1621"/>
                  </a:lnTo>
                  <a:lnTo>
                    <a:pt x="4238" y="1619"/>
                  </a:lnTo>
                  <a:lnTo>
                    <a:pt x="4240" y="1619"/>
                  </a:lnTo>
                  <a:lnTo>
                    <a:pt x="4242" y="1617"/>
                  </a:lnTo>
                  <a:lnTo>
                    <a:pt x="4242" y="1617"/>
                  </a:lnTo>
                  <a:lnTo>
                    <a:pt x="4242" y="1617"/>
                  </a:lnTo>
                  <a:lnTo>
                    <a:pt x="4242" y="1617"/>
                  </a:lnTo>
                  <a:lnTo>
                    <a:pt x="4242" y="1615"/>
                  </a:lnTo>
                  <a:lnTo>
                    <a:pt x="4242" y="1611"/>
                  </a:lnTo>
                  <a:lnTo>
                    <a:pt x="4242" y="1609"/>
                  </a:lnTo>
                  <a:lnTo>
                    <a:pt x="4242" y="1602"/>
                  </a:lnTo>
                  <a:lnTo>
                    <a:pt x="4242" y="1602"/>
                  </a:lnTo>
                  <a:lnTo>
                    <a:pt x="4246" y="1596"/>
                  </a:lnTo>
                  <a:lnTo>
                    <a:pt x="4246" y="1596"/>
                  </a:lnTo>
                  <a:lnTo>
                    <a:pt x="4246" y="1596"/>
                  </a:lnTo>
                  <a:lnTo>
                    <a:pt x="4248" y="1594"/>
                  </a:lnTo>
                  <a:lnTo>
                    <a:pt x="4248" y="1594"/>
                  </a:lnTo>
                  <a:lnTo>
                    <a:pt x="4248" y="1592"/>
                  </a:lnTo>
                  <a:lnTo>
                    <a:pt x="4248" y="1592"/>
                  </a:lnTo>
                  <a:lnTo>
                    <a:pt x="4248" y="1590"/>
                  </a:lnTo>
                  <a:lnTo>
                    <a:pt x="4250" y="1592"/>
                  </a:lnTo>
                  <a:lnTo>
                    <a:pt x="4250" y="1594"/>
                  </a:lnTo>
                  <a:lnTo>
                    <a:pt x="4252" y="1594"/>
                  </a:lnTo>
                  <a:lnTo>
                    <a:pt x="4254" y="1594"/>
                  </a:lnTo>
                  <a:lnTo>
                    <a:pt x="4256" y="1594"/>
                  </a:lnTo>
                  <a:lnTo>
                    <a:pt x="4260" y="1594"/>
                  </a:lnTo>
                  <a:lnTo>
                    <a:pt x="4262" y="1594"/>
                  </a:lnTo>
                  <a:lnTo>
                    <a:pt x="4262" y="1592"/>
                  </a:lnTo>
                  <a:lnTo>
                    <a:pt x="4262" y="1592"/>
                  </a:lnTo>
                  <a:lnTo>
                    <a:pt x="4260" y="1590"/>
                  </a:lnTo>
                  <a:lnTo>
                    <a:pt x="4258" y="1588"/>
                  </a:lnTo>
                  <a:lnTo>
                    <a:pt x="4256" y="1586"/>
                  </a:lnTo>
                  <a:lnTo>
                    <a:pt x="4250" y="1584"/>
                  </a:lnTo>
                  <a:lnTo>
                    <a:pt x="4250" y="1582"/>
                  </a:lnTo>
                  <a:lnTo>
                    <a:pt x="4248" y="1580"/>
                  </a:lnTo>
                  <a:lnTo>
                    <a:pt x="4246" y="1578"/>
                  </a:lnTo>
                  <a:lnTo>
                    <a:pt x="4246" y="1578"/>
                  </a:lnTo>
                  <a:lnTo>
                    <a:pt x="4246" y="1578"/>
                  </a:lnTo>
                  <a:lnTo>
                    <a:pt x="4248" y="1578"/>
                  </a:lnTo>
                  <a:lnTo>
                    <a:pt x="4248" y="1578"/>
                  </a:lnTo>
                  <a:lnTo>
                    <a:pt x="4248" y="1576"/>
                  </a:lnTo>
                  <a:lnTo>
                    <a:pt x="4250" y="1576"/>
                  </a:lnTo>
                  <a:lnTo>
                    <a:pt x="4250" y="1574"/>
                  </a:lnTo>
                  <a:lnTo>
                    <a:pt x="4250" y="1574"/>
                  </a:lnTo>
                  <a:lnTo>
                    <a:pt x="4250" y="1574"/>
                  </a:lnTo>
                  <a:lnTo>
                    <a:pt x="4248" y="1571"/>
                  </a:lnTo>
                  <a:lnTo>
                    <a:pt x="4246" y="1569"/>
                  </a:lnTo>
                  <a:lnTo>
                    <a:pt x="4246" y="1567"/>
                  </a:lnTo>
                  <a:lnTo>
                    <a:pt x="4246" y="1567"/>
                  </a:lnTo>
                  <a:lnTo>
                    <a:pt x="4244" y="1567"/>
                  </a:lnTo>
                  <a:lnTo>
                    <a:pt x="4244" y="1567"/>
                  </a:lnTo>
                  <a:lnTo>
                    <a:pt x="4244" y="1565"/>
                  </a:lnTo>
                  <a:lnTo>
                    <a:pt x="4244" y="1565"/>
                  </a:lnTo>
                  <a:lnTo>
                    <a:pt x="4244" y="1565"/>
                  </a:lnTo>
                  <a:lnTo>
                    <a:pt x="4242" y="1565"/>
                  </a:lnTo>
                  <a:lnTo>
                    <a:pt x="4244" y="1565"/>
                  </a:lnTo>
                  <a:lnTo>
                    <a:pt x="4244" y="1563"/>
                  </a:lnTo>
                  <a:lnTo>
                    <a:pt x="4244" y="1563"/>
                  </a:lnTo>
                  <a:lnTo>
                    <a:pt x="4242" y="1563"/>
                  </a:lnTo>
                  <a:lnTo>
                    <a:pt x="4242" y="1563"/>
                  </a:lnTo>
                  <a:lnTo>
                    <a:pt x="4240" y="1561"/>
                  </a:lnTo>
                  <a:lnTo>
                    <a:pt x="4240" y="1561"/>
                  </a:lnTo>
                  <a:lnTo>
                    <a:pt x="4240" y="1561"/>
                  </a:lnTo>
                  <a:lnTo>
                    <a:pt x="4240" y="1559"/>
                  </a:lnTo>
                  <a:lnTo>
                    <a:pt x="4240" y="1557"/>
                  </a:lnTo>
                  <a:lnTo>
                    <a:pt x="4238" y="1555"/>
                  </a:lnTo>
                  <a:lnTo>
                    <a:pt x="4235" y="1555"/>
                  </a:lnTo>
                  <a:lnTo>
                    <a:pt x="4235" y="1555"/>
                  </a:lnTo>
                  <a:lnTo>
                    <a:pt x="4238" y="1555"/>
                  </a:lnTo>
                  <a:lnTo>
                    <a:pt x="4238" y="1555"/>
                  </a:lnTo>
                  <a:lnTo>
                    <a:pt x="4242" y="1555"/>
                  </a:lnTo>
                  <a:lnTo>
                    <a:pt x="4242" y="1555"/>
                  </a:lnTo>
                  <a:lnTo>
                    <a:pt x="4242" y="1553"/>
                  </a:lnTo>
                  <a:lnTo>
                    <a:pt x="4242" y="1555"/>
                  </a:lnTo>
                  <a:lnTo>
                    <a:pt x="4244" y="1555"/>
                  </a:lnTo>
                  <a:lnTo>
                    <a:pt x="4244" y="1555"/>
                  </a:lnTo>
                  <a:lnTo>
                    <a:pt x="4246" y="1555"/>
                  </a:lnTo>
                  <a:lnTo>
                    <a:pt x="4246" y="1553"/>
                  </a:lnTo>
                  <a:lnTo>
                    <a:pt x="4246" y="1553"/>
                  </a:lnTo>
                  <a:lnTo>
                    <a:pt x="4246" y="1553"/>
                  </a:lnTo>
                  <a:lnTo>
                    <a:pt x="4244" y="1551"/>
                  </a:lnTo>
                  <a:lnTo>
                    <a:pt x="4242" y="1551"/>
                  </a:lnTo>
                  <a:lnTo>
                    <a:pt x="4242" y="1551"/>
                  </a:lnTo>
                  <a:lnTo>
                    <a:pt x="4242" y="1549"/>
                  </a:lnTo>
                  <a:lnTo>
                    <a:pt x="4242" y="1549"/>
                  </a:lnTo>
                  <a:lnTo>
                    <a:pt x="4242" y="1547"/>
                  </a:lnTo>
                  <a:lnTo>
                    <a:pt x="4244" y="1547"/>
                  </a:lnTo>
                  <a:lnTo>
                    <a:pt x="4244" y="1545"/>
                  </a:lnTo>
                  <a:lnTo>
                    <a:pt x="4244" y="1545"/>
                  </a:lnTo>
                  <a:lnTo>
                    <a:pt x="4246" y="1545"/>
                  </a:lnTo>
                  <a:lnTo>
                    <a:pt x="4248" y="1547"/>
                  </a:lnTo>
                  <a:lnTo>
                    <a:pt x="4248" y="1547"/>
                  </a:lnTo>
                  <a:lnTo>
                    <a:pt x="4250" y="1547"/>
                  </a:lnTo>
                  <a:lnTo>
                    <a:pt x="4252" y="1545"/>
                  </a:lnTo>
                  <a:lnTo>
                    <a:pt x="4254" y="1545"/>
                  </a:lnTo>
                  <a:lnTo>
                    <a:pt x="4256" y="1545"/>
                  </a:lnTo>
                  <a:lnTo>
                    <a:pt x="4256" y="1545"/>
                  </a:lnTo>
                  <a:lnTo>
                    <a:pt x="4256" y="1545"/>
                  </a:lnTo>
                  <a:lnTo>
                    <a:pt x="4258" y="1543"/>
                  </a:lnTo>
                  <a:lnTo>
                    <a:pt x="4256" y="1543"/>
                  </a:lnTo>
                  <a:lnTo>
                    <a:pt x="4254" y="1541"/>
                  </a:lnTo>
                  <a:lnTo>
                    <a:pt x="4252" y="1538"/>
                  </a:lnTo>
                  <a:lnTo>
                    <a:pt x="4252" y="1536"/>
                  </a:lnTo>
                  <a:lnTo>
                    <a:pt x="4254" y="1536"/>
                  </a:lnTo>
                  <a:lnTo>
                    <a:pt x="4254" y="1536"/>
                  </a:lnTo>
                  <a:lnTo>
                    <a:pt x="4256" y="1536"/>
                  </a:lnTo>
                  <a:lnTo>
                    <a:pt x="4258" y="1536"/>
                  </a:lnTo>
                  <a:lnTo>
                    <a:pt x="4262" y="1536"/>
                  </a:lnTo>
                  <a:lnTo>
                    <a:pt x="4264" y="1534"/>
                  </a:lnTo>
                  <a:lnTo>
                    <a:pt x="4266" y="1534"/>
                  </a:lnTo>
                  <a:lnTo>
                    <a:pt x="4266" y="1532"/>
                  </a:lnTo>
                  <a:lnTo>
                    <a:pt x="4266" y="1532"/>
                  </a:lnTo>
                  <a:lnTo>
                    <a:pt x="4266" y="1532"/>
                  </a:lnTo>
                  <a:lnTo>
                    <a:pt x="4266" y="1530"/>
                  </a:lnTo>
                  <a:lnTo>
                    <a:pt x="4266" y="1530"/>
                  </a:lnTo>
                  <a:lnTo>
                    <a:pt x="4266" y="1530"/>
                  </a:lnTo>
                  <a:lnTo>
                    <a:pt x="4264" y="1530"/>
                  </a:lnTo>
                  <a:lnTo>
                    <a:pt x="4262" y="1530"/>
                  </a:lnTo>
                  <a:lnTo>
                    <a:pt x="4262" y="1530"/>
                  </a:lnTo>
                  <a:lnTo>
                    <a:pt x="4258" y="1528"/>
                  </a:lnTo>
                  <a:lnTo>
                    <a:pt x="4258" y="1528"/>
                  </a:lnTo>
                  <a:lnTo>
                    <a:pt x="4256" y="1526"/>
                  </a:lnTo>
                  <a:lnTo>
                    <a:pt x="4256" y="1526"/>
                  </a:lnTo>
                  <a:lnTo>
                    <a:pt x="4256" y="1524"/>
                  </a:lnTo>
                  <a:lnTo>
                    <a:pt x="4254" y="1524"/>
                  </a:lnTo>
                  <a:lnTo>
                    <a:pt x="4252" y="1524"/>
                  </a:lnTo>
                  <a:lnTo>
                    <a:pt x="4252" y="1524"/>
                  </a:lnTo>
                  <a:lnTo>
                    <a:pt x="4250" y="1526"/>
                  </a:lnTo>
                  <a:lnTo>
                    <a:pt x="4250" y="1526"/>
                  </a:lnTo>
                  <a:lnTo>
                    <a:pt x="4248" y="1526"/>
                  </a:lnTo>
                  <a:lnTo>
                    <a:pt x="4248" y="1524"/>
                  </a:lnTo>
                  <a:lnTo>
                    <a:pt x="4248" y="1524"/>
                  </a:lnTo>
                  <a:lnTo>
                    <a:pt x="4250" y="1524"/>
                  </a:lnTo>
                  <a:lnTo>
                    <a:pt x="4250" y="1524"/>
                  </a:lnTo>
                  <a:lnTo>
                    <a:pt x="4250" y="1522"/>
                  </a:lnTo>
                  <a:lnTo>
                    <a:pt x="4248" y="1520"/>
                  </a:lnTo>
                  <a:lnTo>
                    <a:pt x="4248" y="1522"/>
                  </a:lnTo>
                  <a:lnTo>
                    <a:pt x="4246" y="1522"/>
                  </a:lnTo>
                  <a:lnTo>
                    <a:pt x="4242" y="1524"/>
                  </a:lnTo>
                  <a:lnTo>
                    <a:pt x="4244" y="1522"/>
                  </a:lnTo>
                  <a:lnTo>
                    <a:pt x="4244" y="1522"/>
                  </a:lnTo>
                  <a:lnTo>
                    <a:pt x="4244" y="1520"/>
                  </a:lnTo>
                  <a:lnTo>
                    <a:pt x="4244" y="1518"/>
                  </a:lnTo>
                  <a:lnTo>
                    <a:pt x="4244" y="1518"/>
                  </a:lnTo>
                  <a:lnTo>
                    <a:pt x="4244" y="1516"/>
                  </a:lnTo>
                  <a:lnTo>
                    <a:pt x="4244" y="1516"/>
                  </a:lnTo>
                  <a:lnTo>
                    <a:pt x="4244" y="1516"/>
                  </a:lnTo>
                  <a:lnTo>
                    <a:pt x="4244" y="1514"/>
                  </a:lnTo>
                  <a:lnTo>
                    <a:pt x="4242" y="1514"/>
                  </a:lnTo>
                  <a:lnTo>
                    <a:pt x="4240" y="1514"/>
                  </a:lnTo>
                  <a:lnTo>
                    <a:pt x="4240" y="1512"/>
                  </a:lnTo>
                  <a:lnTo>
                    <a:pt x="4238" y="1510"/>
                  </a:lnTo>
                  <a:lnTo>
                    <a:pt x="4238" y="1510"/>
                  </a:lnTo>
                  <a:lnTo>
                    <a:pt x="4238" y="1510"/>
                  </a:lnTo>
                  <a:lnTo>
                    <a:pt x="4238" y="1507"/>
                  </a:lnTo>
                  <a:lnTo>
                    <a:pt x="4235" y="1507"/>
                  </a:lnTo>
                  <a:lnTo>
                    <a:pt x="4235" y="1510"/>
                  </a:lnTo>
                  <a:lnTo>
                    <a:pt x="4235" y="1510"/>
                  </a:lnTo>
                  <a:lnTo>
                    <a:pt x="4233" y="1512"/>
                  </a:lnTo>
                  <a:lnTo>
                    <a:pt x="4231" y="1514"/>
                  </a:lnTo>
                  <a:lnTo>
                    <a:pt x="4231" y="1514"/>
                  </a:lnTo>
                  <a:lnTo>
                    <a:pt x="4231" y="1512"/>
                  </a:lnTo>
                  <a:lnTo>
                    <a:pt x="4231" y="1512"/>
                  </a:lnTo>
                  <a:lnTo>
                    <a:pt x="4231" y="1510"/>
                  </a:lnTo>
                  <a:lnTo>
                    <a:pt x="4231" y="1507"/>
                  </a:lnTo>
                  <a:lnTo>
                    <a:pt x="4231" y="1507"/>
                  </a:lnTo>
                  <a:lnTo>
                    <a:pt x="4231" y="1507"/>
                  </a:lnTo>
                  <a:lnTo>
                    <a:pt x="4227" y="1514"/>
                  </a:lnTo>
                  <a:lnTo>
                    <a:pt x="4227" y="1514"/>
                  </a:lnTo>
                  <a:lnTo>
                    <a:pt x="4223" y="1520"/>
                  </a:lnTo>
                  <a:lnTo>
                    <a:pt x="4221" y="1522"/>
                  </a:lnTo>
                  <a:lnTo>
                    <a:pt x="4221" y="1524"/>
                  </a:lnTo>
                  <a:lnTo>
                    <a:pt x="4219" y="1526"/>
                  </a:lnTo>
                  <a:lnTo>
                    <a:pt x="4219" y="1526"/>
                  </a:lnTo>
                  <a:lnTo>
                    <a:pt x="4217" y="1528"/>
                  </a:lnTo>
                  <a:lnTo>
                    <a:pt x="4217" y="1528"/>
                  </a:lnTo>
                  <a:lnTo>
                    <a:pt x="4215" y="1528"/>
                  </a:lnTo>
                  <a:lnTo>
                    <a:pt x="4215" y="1528"/>
                  </a:lnTo>
                  <a:lnTo>
                    <a:pt x="4215" y="1528"/>
                  </a:lnTo>
                  <a:lnTo>
                    <a:pt x="4215" y="1528"/>
                  </a:lnTo>
                  <a:lnTo>
                    <a:pt x="4213" y="1530"/>
                  </a:lnTo>
                  <a:lnTo>
                    <a:pt x="4213" y="1530"/>
                  </a:lnTo>
                  <a:lnTo>
                    <a:pt x="4213" y="1532"/>
                  </a:lnTo>
                  <a:lnTo>
                    <a:pt x="4215" y="1532"/>
                  </a:lnTo>
                  <a:lnTo>
                    <a:pt x="4215" y="1534"/>
                  </a:lnTo>
                  <a:lnTo>
                    <a:pt x="4213" y="1534"/>
                  </a:lnTo>
                  <a:lnTo>
                    <a:pt x="4213" y="1536"/>
                  </a:lnTo>
                  <a:lnTo>
                    <a:pt x="4211" y="1536"/>
                  </a:lnTo>
                  <a:lnTo>
                    <a:pt x="4209" y="1536"/>
                  </a:lnTo>
                  <a:lnTo>
                    <a:pt x="4207" y="1536"/>
                  </a:lnTo>
                  <a:lnTo>
                    <a:pt x="4207" y="1536"/>
                  </a:lnTo>
                  <a:lnTo>
                    <a:pt x="4207" y="1536"/>
                  </a:lnTo>
                  <a:lnTo>
                    <a:pt x="4207" y="1536"/>
                  </a:lnTo>
                  <a:lnTo>
                    <a:pt x="4205" y="1536"/>
                  </a:lnTo>
                  <a:lnTo>
                    <a:pt x="4202" y="1538"/>
                  </a:lnTo>
                  <a:lnTo>
                    <a:pt x="4200" y="1538"/>
                  </a:lnTo>
                  <a:lnTo>
                    <a:pt x="4200" y="1541"/>
                  </a:lnTo>
                  <a:lnTo>
                    <a:pt x="4198" y="1541"/>
                  </a:lnTo>
                  <a:lnTo>
                    <a:pt x="4196" y="1541"/>
                  </a:lnTo>
                  <a:lnTo>
                    <a:pt x="4194" y="1543"/>
                  </a:lnTo>
                  <a:lnTo>
                    <a:pt x="4192" y="1541"/>
                  </a:lnTo>
                  <a:lnTo>
                    <a:pt x="4192" y="1543"/>
                  </a:lnTo>
                  <a:lnTo>
                    <a:pt x="4192" y="1543"/>
                  </a:lnTo>
                  <a:lnTo>
                    <a:pt x="4192" y="1543"/>
                  </a:lnTo>
                  <a:lnTo>
                    <a:pt x="4192" y="1545"/>
                  </a:lnTo>
                  <a:lnTo>
                    <a:pt x="4190" y="1547"/>
                  </a:lnTo>
                  <a:lnTo>
                    <a:pt x="4190" y="1547"/>
                  </a:lnTo>
                  <a:lnTo>
                    <a:pt x="4188" y="1551"/>
                  </a:lnTo>
                  <a:lnTo>
                    <a:pt x="4184" y="1553"/>
                  </a:lnTo>
                  <a:lnTo>
                    <a:pt x="4182" y="1557"/>
                  </a:lnTo>
                  <a:lnTo>
                    <a:pt x="4180" y="1559"/>
                  </a:lnTo>
                  <a:lnTo>
                    <a:pt x="4178" y="1561"/>
                  </a:lnTo>
                  <a:lnTo>
                    <a:pt x="4178" y="1561"/>
                  </a:lnTo>
                  <a:lnTo>
                    <a:pt x="4176" y="1563"/>
                  </a:lnTo>
                  <a:lnTo>
                    <a:pt x="4174" y="1563"/>
                  </a:lnTo>
                  <a:lnTo>
                    <a:pt x="4165" y="1565"/>
                  </a:lnTo>
                  <a:lnTo>
                    <a:pt x="4159" y="1565"/>
                  </a:lnTo>
                  <a:lnTo>
                    <a:pt x="4157" y="1567"/>
                  </a:lnTo>
                  <a:lnTo>
                    <a:pt x="4157" y="1567"/>
                  </a:lnTo>
                  <a:lnTo>
                    <a:pt x="4155" y="1569"/>
                  </a:lnTo>
                  <a:lnTo>
                    <a:pt x="4155" y="1571"/>
                  </a:lnTo>
                  <a:lnTo>
                    <a:pt x="4155" y="1571"/>
                  </a:lnTo>
                  <a:lnTo>
                    <a:pt x="4155" y="1574"/>
                  </a:lnTo>
                  <a:lnTo>
                    <a:pt x="4155" y="1574"/>
                  </a:lnTo>
                  <a:lnTo>
                    <a:pt x="4153" y="1574"/>
                  </a:lnTo>
                  <a:lnTo>
                    <a:pt x="4153" y="1574"/>
                  </a:lnTo>
                  <a:lnTo>
                    <a:pt x="4153" y="1571"/>
                  </a:lnTo>
                  <a:lnTo>
                    <a:pt x="4151" y="1574"/>
                  </a:lnTo>
                  <a:lnTo>
                    <a:pt x="4151" y="1574"/>
                  </a:lnTo>
                  <a:lnTo>
                    <a:pt x="4151" y="1576"/>
                  </a:lnTo>
                  <a:lnTo>
                    <a:pt x="4153" y="1576"/>
                  </a:lnTo>
                  <a:lnTo>
                    <a:pt x="4153" y="1578"/>
                  </a:lnTo>
                  <a:lnTo>
                    <a:pt x="4151" y="1578"/>
                  </a:lnTo>
                  <a:lnTo>
                    <a:pt x="4151" y="1580"/>
                  </a:lnTo>
                  <a:lnTo>
                    <a:pt x="4151" y="1582"/>
                  </a:lnTo>
                  <a:lnTo>
                    <a:pt x="4151" y="1582"/>
                  </a:lnTo>
                  <a:lnTo>
                    <a:pt x="4149" y="1584"/>
                  </a:lnTo>
                  <a:lnTo>
                    <a:pt x="4149" y="1584"/>
                  </a:lnTo>
                  <a:lnTo>
                    <a:pt x="4149" y="1586"/>
                  </a:lnTo>
                  <a:lnTo>
                    <a:pt x="4151" y="1586"/>
                  </a:lnTo>
                  <a:lnTo>
                    <a:pt x="4153" y="1586"/>
                  </a:lnTo>
                  <a:lnTo>
                    <a:pt x="4151" y="1586"/>
                  </a:lnTo>
                  <a:lnTo>
                    <a:pt x="4151" y="1586"/>
                  </a:lnTo>
                  <a:lnTo>
                    <a:pt x="4149" y="1586"/>
                  </a:lnTo>
                  <a:lnTo>
                    <a:pt x="4147" y="1584"/>
                  </a:lnTo>
                  <a:lnTo>
                    <a:pt x="4147" y="1586"/>
                  </a:lnTo>
                  <a:lnTo>
                    <a:pt x="4145" y="1584"/>
                  </a:lnTo>
                  <a:lnTo>
                    <a:pt x="4141" y="1582"/>
                  </a:lnTo>
                  <a:lnTo>
                    <a:pt x="4141" y="1582"/>
                  </a:lnTo>
                  <a:lnTo>
                    <a:pt x="4139" y="1582"/>
                  </a:lnTo>
                  <a:lnTo>
                    <a:pt x="4139" y="1582"/>
                  </a:lnTo>
                  <a:lnTo>
                    <a:pt x="4137" y="1582"/>
                  </a:lnTo>
                  <a:lnTo>
                    <a:pt x="4134" y="1582"/>
                  </a:lnTo>
                  <a:lnTo>
                    <a:pt x="4132" y="1582"/>
                  </a:lnTo>
                  <a:lnTo>
                    <a:pt x="4130" y="1580"/>
                  </a:lnTo>
                  <a:lnTo>
                    <a:pt x="4130" y="1580"/>
                  </a:lnTo>
                  <a:lnTo>
                    <a:pt x="4130" y="1578"/>
                  </a:lnTo>
                  <a:lnTo>
                    <a:pt x="4126" y="1580"/>
                  </a:lnTo>
                  <a:lnTo>
                    <a:pt x="4124" y="1580"/>
                  </a:lnTo>
                  <a:lnTo>
                    <a:pt x="4124" y="1582"/>
                  </a:lnTo>
                  <a:lnTo>
                    <a:pt x="4122" y="1584"/>
                  </a:lnTo>
                  <a:lnTo>
                    <a:pt x="4122" y="1586"/>
                  </a:lnTo>
                  <a:lnTo>
                    <a:pt x="4122" y="1586"/>
                  </a:lnTo>
                  <a:lnTo>
                    <a:pt x="4120" y="1588"/>
                  </a:lnTo>
                  <a:lnTo>
                    <a:pt x="4122" y="1588"/>
                  </a:lnTo>
                  <a:lnTo>
                    <a:pt x="4122" y="1588"/>
                  </a:lnTo>
                  <a:lnTo>
                    <a:pt x="4122" y="1588"/>
                  </a:lnTo>
                  <a:lnTo>
                    <a:pt x="4122" y="1590"/>
                  </a:lnTo>
                  <a:lnTo>
                    <a:pt x="4120" y="1590"/>
                  </a:lnTo>
                  <a:close/>
                  <a:moveTo>
                    <a:pt x="4048" y="1586"/>
                  </a:moveTo>
                  <a:lnTo>
                    <a:pt x="4046" y="1586"/>
                  </a:lnTo>
                  <a:lnTo>
                    <a:pt x="4046" y="1586"/>
                  </a:lnTo>
                  <a:lnTo>
                    <a:pt x="4044" y="1588"/>
                  </a:lnTo>
                  <a:lnTo>
                    <a:pt x="4046" y="1588"/>
                  </a:lnTo>
                  <a:lnTo>
                    <a:pt x="4048" y="1588"/>
                  </a:lnTo>
                  <a:lnTo>
                    <a:pt x="4050" y="1588"/>
                  </a:lnTo>
                  <a:lnTo>
                    <a:pt x="4048" y="1586"/>
                  </a:lnTo>
                  <a:lnTo>
                    <a:pt x="4048" y="1586"/>
                  </a:lnTo>
                  <a:close/>
                  <a:moveTo>
                    <a:pt x="4095" y="1458"/>
                  </a:moveTo>
                  <a:lnTo>
                    <a:pt x="4095" y="1458"/>
                  </a:lnTo>
                  <a:lnTo>
                    <a:pt x="4093" y="1458"/>
                  </a:lnTo>
                  <a:lnTo>
                    <a:pt x="4093" y="1460"/>
                  </a:lnTo>
                  <a:lnTo>
                    <a:pt x="4093" y="1460"/>
                  </a:lnTo>
                  <a:lnTo>
                    <a:pt x="4095" y="1460"/>
                  </a:lnTo>
                  <a:lnTo>
                    <a:pt x="4095" y="1458"/>
                  </a:lnTo>
                  <a:close/>
                  <a:moveTo>
                    <a:pt x="4073" y="1755"/>
                  </a:moveTo>
                  <a:lnTo>
                    <a:pt x="4073" y="1755"/>
                  </a:lnTo>
                  <a:lnTo>
                    <a:pt x="4073" y="1755"/>
                  </a:lnTo>
                  <a:lnTo>
                    <a:pt x="4073" y="1755"/>
                  </a:lnTo>
                  <a:lnTo>
                    <a:pt x="4073" y="1755"/>
                  </a:lnTo>
                  <a:lnTo>
                    <a:pt x="4073" y="1757"/>
                  </a:lnTo>
                  <a:lnTo>
                    <a:pt x="4075" y="1755"/>
                  </a:lnTo>
                  <a:lnTo>
                    <a:pt x="4073" y="1755"/>
                  </a:lnTo>
                  <a:lnTo>
                    <a:pt x="4073" y="1755"/>
                  </a:lnTo>
                  <a:close/>
                  <a:moveTo>
                    <a:pt x="4089" y="1648"/>
                  </a:moveTo>
                  <a:lnTo>
                    <a:pt x="4089" y="1648"/>
                  </a:lnTo>
                  <a:lnTo>
                    <a:pt x="4089" y="1650"/>
                  </a:lnTo>
                  <a:lnTo>
                    <a:pt x="4089" y="1650"/>
                  </a:lnTo>
                  <a:lnTo>
                    <a:pt x="4091" y="1650"/>
                  </a:lnTo>
                  <a:lnTo>
                    <a:pt x="4091" y="1648"/>
                  </a:lnTo>
                  <a:lnTo>
                    <a:pt x="4089" y="1648"/>
                  </a:lnTo>
                  <a:lnTo>
                    <a:pt x="4089" y="1648"/>
                  </a:lnTo>
                  <a:lnTo>
                    <a:pt x="4089" y="1648"/>
                  </a:lnTo>
                  <a:close/>
                  <a:moveTo>
                    <a:pt x="4180" y="1724"/>
                  </a:moveTo>
                  <a:lnTo>
                    <a:pt x="4182" y="1724"/>
                  </a:lnTo>
                  <a:lnTo>
                    <a:pt x="4188" y="1726"/>
                  </a:lnTo>
                  <a:lnTo>
                    <a:pt x="4190" y="1728"/>
                  </a:lnTo>
                  <a:lnTo>
                    <a:pt x="4194" y="1728"/>
                  </a:lnTo>
                  <a:lnTo>
                    <a:pt x="4196" y="1728"/>
                  </a:lnTo>
                  <a:lnTo>
                    <a:pt x="4196" y="1728"/>
                  </a:lnTo>
                  <a:lnTo>
                    <a:pt x="4196" y="1730"/>
                  </a:lnTo>
                  <a:lnTo>
                    <a:pt x="4198" y="1730"/>
                  </a:lnTo>
                  <a:lnTo>
                    <a:pt x="4200" y="1730"/>
                  </a:lnTo>
                  <a:lnTo>
                    <a:pt x="4200" y="1730"/>
                  </a:lnTo>
                  <a:lnTo>
                    <a:pt x="4200" y="1730"/>
                  </a:lnTo>
                  <a:lnTo>
                    <a:pt x="4198" y="1728"/>
                  </a:lnTo>
                  <a:lnTo>
                    <a:pt x="4198" y="1728"/>
                  </a:lnTo>
                  <a:lnTo>
                    <a:pt x="4196" y="1726"/>
                  </a:lnTo>
                  <a:lnTo>
                    <a:pt x="4196" y="1724"/>
                  </a:lnTo>
                  <a:lnTo>
                    <a:pt x="4196" y="1724"/>
                  </a:lnTo>
                  <a:lnTo>
                    <a:pt x="4198" y="1720"/>
                  </a:lnTo>
                  <a:lnTo>
                    <a:pt x="4198" y="1718"/>
                  </a:lnTo>
                  <a:lnTo>
                    <a:pt x="4198" y="1716"/>
                  </a:lnTo>
                  <a:lnTo>
                    <a:pt x="4196" y="1716"/>
                  </a:lnTo>
                  <a:lnTo>
                    <a:pt x="4192" y="1714"/>
                  </a:lnTo>
                  <a:lnTo>
                    <a:pt x="4192" y="1714"/>
                  </a:lnTo>
                  <a:lnTo>
                    <a:pt x="4190" y="1716"/>
                  </a:lnTo>
                  <a:lnTo>
                    <a:pt x="4188" y="1716"/>
                  </a:lnTo>
                  <a:lnTo>
                    <a:pt x="4184" y="1716"/>
                  </a:lnTo>
                  <a:lnTo>
                    <a:pt x="4182" y="1716"/>
                  </a:lnTo>
                  <a:lnTo>
                    <a:pt x="4178" y="1714"/>
                  </a:lnTo>
                  <a:lnTo>
                    <a:pt x="4174" y="1714"/>
                  </a:lnTo>
                  <a:lnTo>
                    <a:pt x="4174" y="1712"/>
                  </a:lnTo>
                  <a:lnTo>
                    <a:pt x="4174" y="1710"/>
                  </a:lnTo>
                  <a:lnTo>
                    <a:pt x="4174" y="1710"/>
                  </a:lnTo>
                  <a:lnTo>
                    <a:pt x="4172" y="1708"/>
                  </a:lnTo>
                  <a:lnTo>
                    <a:pt x="4172" y="1708"/>
                  </a:lnTo>
                  <a:lnTo>
                    <a:pt x="4172" y="1706"/>
                  </a:lnTo>
                  <a:lnTo>
                    <a:pt x="4172" y="1704"/>
                  </a:lnTo>
                  <a:lnTo>
                    <a:pt x="4169" y="1704"/>
                  </a:lnTo>
                  <a:lnTo>
                    <a:pt x="4167" y="1704"/>
                  </a:lnTo>
                  <a:lnTo>
                    <a:pt x="4165" y="1704"/>
                  </a:lnTo>
                  <a:lnTo>
                    <a:pt x="4165" y="1704"/>
                  </a:lnTo>
                  <a:lnTo>
                    <a:pt x="4163" y="1704"/>
                  </a:lnTo>
                  <a:lnTo>
                    <a:pt x="4159" y="1702"/>
                  </a:lnTo>
                  <a:lnTo>
                    <a:pt x="4159" y="1702"/>
                  </a:lnTo>
                  <a:lnTo>
                    <a:pt x="4157" y="1702"/>
                  </a:lnTo>
                  <a:lnTo>
                    <a:pt x="4157" y="1702"/>
                  </a:lnTo>
                  <a:lnTo>
                    <a:pt x="4155" y="1702"/>
                  </a:lnTo>
                  <a:lnTo>
                    <a:pt x="4155" y="1702"/>
                  </a:lnTo>
                  <a:lnTo>
                    <a:pt x="4153" y="1702"/>
                  </a:lnTo>
                  <a:lnTo>
                    <a:pt x="4151" y="1702"/>
                  </a:lnTo>
                  <a:lnTo>
                    <a:pt x="4151" y="1702"/>
                  </a:lnTo>
                  <a:lnTo>
                    <a:pt x="4149" y="1697"/>
                  </a:lnTo>
                  <a:lnTo>
                    <a:pt x="4149" y="1697"/>
                  </a:lnTo>
                  <a:lnTo>
                    <a:pt x="4147" y="1697"/>
                  </a:lnTo>
                  <a:lnTo>
                    <a:pt x="4147" y="1697"/>
                  </a:lnTo>
                  <a:lnTo>
                    <a:pt x="4145" y="1697"/>
                  </a:lnTo>
                  <a:lnTo>
                    <a:pt x="4145" y="1700"/>
                  </a:lnTo>
                  <a:lnTo>
                    <a:pt x="4145" y="1700"/>
                  </a:lnTo>
                  <a:lnTo>
                    <a:pt x="4143" y="1702"/>
                  </a:lnTo>
                  <a:lnTo>
                    <a:pt x="4143" y="1704"/>
                  </a:lnTo>
                  <a:lnTo>
                    <a:pt x="4143" y="1704"/>
                  </a:lnTo>
                  <a:lnTo>
                    <a:pt x="4141" y="1706"/>
                  </a:lnTo>
                  <a:lnTo>
                    <a:pt x="4141" y="1706"/>
                  </a:lnTo>
                  <a:lnTo>
                    <a:pt x="4139" y="1706"/>
                  </a:lnTo>
                  <a:lnTo>
                    <a:pt x="4139" y="1704"/>
                  </a:lnTo>
                  <a:lnTo>
                    <a:pt x="4137" y="1704"/>
                  </a:lnTo>
                  <a:lnTo>
                    <a:pt x="4137" y="1704"/>
                  </a:lnTo>
                  <a:lnTo>
                    <a:pt x="4134" y="1704"/>
                  </a:lnTo>
                  <a:lnTo>
                    <a:pt x="4132" y="1704"/>
                  </a:lnTo>
                  <a:lnTo>
                    <a:pt x="4128" y="1704"/>
                  </a:lnTo>
                  <a:lnTo>
                    <a:pt x="4128" y="1704"/>
                  </a:lnTo>
                  <a:lnTo>
                    <a:pt x="4126" y="1704"/>
                  </a:lnTo>
                  <a:lnTo>
                    <a:pt x="4124" y="1704"/>
                  </a:lnTo>
                  <a:lnTo>
                    <a:pt x="4120" y="1704"/>
                  </a:lnTo>
                  <a:lnTo>
                    <a:pt x="4118" y="1704"/>
                  </a:lnTo>
                  <a:lnTo>
                    <a:pt x="4118" y="1704"/>
                  </a:lnTo>
                  <a:lnTo>
                    <a:pt x="4116" y="1704"/>
                  </a:lnTo>
                  <a:lnTo>
                    <a:pt x="4114" y="1702"/>
                  </a:lnTo>
                  <a:lnTo>
                    <a:pt x="4114" y="1700"/>
                  </a:lnTo>
                  <a:lnTo>
                    <a:pt x="4114" y="1697"/>
                  </a:lnTo>
                  <a:lnTo>
                    <a:pt x="4112" y="1697"/>
                  </a:lnTo>
                  <a:lnTo>
                    <a:pt x="4112" y="1695"/>
                  </a:lnTo>
                  <a:lnTo>
                    <a:pt x="4110" y="1695"/>
                  </a:lnTo>
                  <a:lnTo>
                    <a:pt x="4110" y="1695"/>
                  </a:lnTo>
                  <a:lnTo>
                    <a:pt x="4110" y="1695"/>
                  </a:lnTo>
                  <a:lnTo>
                    <a:pt x="4108" y="1695"/>
                  </a:lnTo>
                  <a:lnTo>
                    <a:pt x="4106" y="1695"/>
                  </a:lnTo>
                  <a:lnTo>
                    <a:pt x="4104" y="1695"/>
                  </a:lnTo>
                  <a:lnTo>
                    <a:pt x="4104" y="1695"/>
                  </a:lnTo>
                  <a:lnTo>
                    <a:pt x="4101" y="1695"/>
                  </a:lnTo>
                  <a:lnTo>
                    <a:pt x="4099" y="1693"/>
                  </a:lnTo>
                  <a:lnTo>
                    <a:pt x="4099" y="1693"/>
                  </a:lnTo>
                  <a:lnTo>
                    <a:pt x="4097" y="1691"/>
                  </a:lnTo>
                  <a:lnTo>
                    <a:pt x="4097" y="1691"/>
                  </a:lnTo>
                  <a:lnTo>
                    <a:pt x="4093" y="1691"/>
                  </a:lnTo>
                  <a:lnTo>
                    <a:pt x="4093" y="1689"/>
                  </a:lnTo>
                  <a:lnTo>
                    <a:pt x="4091" y="1691"/>
                  </a:lnTo>
                  <a:lnTo>
                    <a:pt x="4091" y="1693"/>
                  </a:lnTo>
                  <a:lnTo>
                    <a:pt x="4091" y="1693"/>
                  </a:lnTo>
                  <a:lnTo>
                    <a:pt x="4089" y="1693"/>
                  </a:lnTo>
                  <a:lnTo>
                    <a:pt x="4087" y="1691"/>
                  </a:lnTo>
                  <a:lnTo>
                    <a:pt x="4085" y="1691"/>
                  </a:lnTo>
                  <a:lnTo>
                    <a:pt x="4085" y="1691"/>
                  </a:lnTo>
                  <a:lnTo>
                    <a:pt x="4083" y="1691"/>
                  </a:lnTo>
                  <a:lnTo>
                    <a:pt x="4081" y="1691"/>
                  </a:lnTo>
                  <a:lnTo>
                    <a:pt x="4079" y="1689"/>
                  </a:lnTo>
                  <a:lnTo>
                    <a:pt x="4079" y="1691"/>
                  </a:lnTo>
                  <a:lnTo>
                    <a:pt x="4077" y="1691"/>
                  </a:lnTo>
                  <a:lnTo>
                    <a:pt x="4077" y="1693"/>
                  </a:lnTo>
                  <a:lnTo>
                    <a:pt x="4075" y="1697"/>
                  </a:lnTo>
                  <a:lnTo>
                    <a:pt x="4075" y="1697"/>
                  </a:lnTo>
                  <a:lnTo>
                    <a:pt x="4073" y="1700"/>
                  </a:lnTo>
                  <a:lnTo>
                    <a:pt x="4073" y="1697"/>
                  </a:lnTo>
                  <a:lnTo>
                    <a:pt x="4073" y="1700"/>
                  </a:lnTo>
                  <a:lnTo>
                    <a:pt x="4073" y="1702"/>
                  </a:lnTo>
                  <a:lnTo>
                    <a:pt x="4071" y="1702"/>
                  </a:lnTo>
                  <a:lnTo>
                    <a:pt x="4071" y="1704"/>
                  </a:lnTo>
                  <a:lnTo>
                    <a:pt x="4068" y="1702"/>
                  </a:lnTo>
                  <a:lnTo>
                    <a:pt x="4068" y="1702"/>
                  </a:lnTo>
                  <a:lnTo>
                    <a:pt x="4068" y="1702"/>
                  </a:lnTo>
                  <a:lnTo>
                    <a:pt x="4068" y="1702"/>
                  </a:lnTo>
                  <a:lnTo>
                    <a:pt x="4066" y="1702"/>
                  </a:lnTo>
                  <a:lnTo>
                    <a:pt x="4066" y="1702"/>
                  </a:lnTo>
                  <a:lnTo>
                    <a:pt x="4066" y="1704"/>
                  </a:lnTo>
                  <a:lnTo>
                    <a:pt x="4068" y="1704"/>
                  </a:lnTo>
                  <a:lnTo>
                    <a:pt x="4068" y="1704"/>
                  </a:lnTo>
                  <a:lnTo>
                    <a:pt x="4068" y="1704"/>
                  </a:lnTo>
                  <a:lnTo>
                    <a:pt x="4071" y="1704"/>
                  </a:lnTo>
                  <a:lnTo>
                    <a:pt x="4073" y="1704"/>
                  </a:lnTo>
                  <a:lnTo>
                    <a:pt x="4075" y="1704"/>
                  </a:lnTo>
                  <a:lnTo>
                    <a:pt x="4075" y="1704"/>
                  </a:lnTo>
                  <a:lnTo>
                    <a:pt x="4077" y="1704"/>
                  </a:lnTo>
                  <a:lnTo>
                    <a:pt x="4081" y="1704"/>
                  </a:lnTo>
                  <a:lnTo>
                    <a:pt x="4085" y="1706"/>
                  </a:lnTo>
                  <a:lnTo>
                    <a:pt x="4085" y="1708"/>
                  </a:lnTo>
                  <a:lnTo>
                    <a:pt x="4085" y="1708"/>
                  </a:lnTo>
                  <a:lnTo>
                    <a:pt x="4083" y="1710"/>
                  </a:lnTo>
                  <a:lnTo>
                    <a:pt x="4083" y="1710"/>
                  </a:lnTo>
                  <a:lnTo>
                    <a:pt x="4085" y="1712"/>
                  </a:lnTo>
                  <a:lnTo>
                    <a:pt x="4085" y="1712"/>
                  </a:lnTo>
                  <a:lnTo>
                    <a:pt x="4087" y="1712"/>
                  </a:lnTo>
                  <a:lnTo>
                    <a:pt x="4093" y="1712"/>
                  </a:lnTo>
                  <a:lnTo>
                    <a:pt x="4095" y="1712"/>
                  </a:lnTo>
                  <a:lnTo>
                    <a:pt x="4099" y="1714"/>
                  </a:lnTo>
                  <a:lnTo>
                    <a:pt x="4099" y="1714"/>
                  </a:lnTo>
                  <a:lnTo>
                    <a:pt x="4101" y="1714"/>
                  </a:lnTo>
                  <a:lnTo>
                    <a:pt x="4104" y="1716"/>
                  </a:lnTo>
                  <a:lnTo>
                    <a:pt x="4106" y="1716"/>
                  </a:lnTo>
                  <a:lnTo>
                    <a:pt x="4110" y="1716"/>
                  </a:lnTo>
                  <a:lnTo>
                    <a:pt x="4112" y="1716"/>
                  </a:lnTo>
                  <a:lnTo>
                    <a:pt x="4112" y="1716"/>
                  </a:lnTo>
                  <a:lnTo>
                    <a:pt x="4114" y="1716"/>
                  </a:lnTo>
                  <a:lnTo>
                    <a:pt x="4114" y="1716"/>
                  </a:lnTo>
                  <a:lnTo>
                    <a:pt x="4116" y="1716"/>
                  </a:lnTo>
                  <a:lnTo>
                    <a:pt x="4118" y="1716"/>
                  </a:lnTo>
                  <a:lnTo>
                    <a:pt x="4120" y="1716"/>
                  </a:lnTo>
                  <a:lnTo>
                    <a:pt x="4124" y="1716"/>
                  </a:lnTo>
                  <a:lnTo>
                    <a:pt x="4124" y="1716"/>
                  </a:lnTo>
                  <a:lnTo>
                    <a:pt x="4132" y="1718"/>
                  </a:lnTo>
                  <a:lnTo>
                    <a:pt x="4134" y="1718"/>
                  </a:lnTo>
                  <a:lnTo>
                    <a:pt x="4143" y="1722"/>
                  </a:lnTo>
                  <a:lnTo>
                    <a:pt x="4147" y="1722"/>
                  </a:lnTo>
                  <a:lnTo>
                    <a:pt x="4149" y="1724"/>
                  </a:lnTo>
                  <a:lnTo>
                    <a:pt x="4153" y="1724"/>
                  </a:lnTo>
                  <a:lnTo>
                    <a:pt x="4157" y="1724"/>
                  </a:lnTo>
                  <a:lnTo>
                    <a:pt x="4165" y="1724"/>
                  </a:lnTo>
                  <a:lnTo>
                    <a:pt x="4167" y="1724"/>
                  </a:lnTo>
                  <a:lnTo>
                    <a:pt x="4172" y="1726"/>
                  </a:lnTo>
                  <a:lnTo>
                    <a:pt x="4174" y="1726"/>
                  </a:lnTo>
                  <a:lnTo>
                    <a:pt x="4174" y="1726"/>
                  </a:lnTo>
                  <a:lnTo>
                    <a:pt x="4176" y="1724"/>
                  </a:lnTo>
                  <a:lnTo>
                    <a:pt x="4178" y="1724"/>
                  </a:lnTo>
                  <a:lnTo>
                    <a:pt x="4180" y="1724"/>
                  </a:lnTo>
                  <a:close/>
                  <a:moveTo>
                    <a:pt x="3965" y="1439"/>
                  </a:moveTo>
                  <a:lnTo>
                    <a:pt x="3963" y="1437"/>
                  </a:lnTo>
                  <a:lnTo>
                    <a:pt x="3963" y="1441"/>
                  </a:lnTo>
                  <a:lnTo>
                    <a:pt x="3965" y="1441"/>
                  </a:lnTo>
                  <a:lnTo>
                    <a:pt x="3965" y="1441"/>
                  </a:lnTo>
                  <a:lnTo>
                    <a:pt x="3965" y="1439"/>
                  </a:lnTo>
                  <a:lnTo>
                    <a:pt x="3965" y="1439"/>
                  </a:lnTo>
                  <a:close/>
                  <a:moveTo>
                    <a:pt x="3980" y="1499"/>
                  </a:moveTo>
                  <a:lnTo>
                    <a:pt x="3978" y="1499"/>
                  </a:lnTo>
                  <a:lnTo>
                    <a:pt x="3978" y="1499"/>
                  </a:lnTo>
                  <a:lnTo>
                    <a:pt x="3978" y="1499"/>
                  </a:lnTo>
                  <a:lnTo>
                    <a:pt x="3980" y="1501"/>
                  </a:lnTo>
                  <a:lnTo>
                    <a:pt x="3980" y="1501"/>
                  </a:lnTo>
                  <a:lnTo>
                    <a:pt x="3980" y="1499"/>
                  </a:lnTo>
                  <a:close/>
                  <a:moveTo>
                    <a:pt x="3986" y="1514"/>
                  </a:moveTo>
                  <a:lnTo>
                    <a:pt x="3988" y="1514"/>
                  </a:lnTo>
                  <a:lnTo>
                    <a:pt x="3988" y="1514"/>
                  </a:lnTo>
                  <a:lnTo>
                    <a:pt x="3988" y="1514"/>
                  </a:lnTo>
                  <a:lnTo>
                    <a:pt x="3988" y="1512"/>
                  </a:lnTo>
                  <a:lnTo>
                    <a:pt x="3986" y="1514"/>
                  </a:lnTo>
                  <a:close/>
                  <a:moveTo>
                    <a:pt x="3972" y="1493"/>
                  </a:moveTo>
                  <a:lnTo>
                    <a:pt x="3972" y="1491"/>
                  </a:lnTo>
                  <a:lnTo>
                    <a:pt x="3972" y="1495"/>
                  </a:lnTo>
                  <a:lnTo>
                    <a:pt x="3972" y="1495"/>
                  </a:lnTo>
                  <a:lnTo>
                    <a:pt x="3972" y="1493"/>
                  </a:lnTo>
                  <a:close/>
                  <a:moveTo>
                    <a:pt x="4011" y="1563"/>
                  </a:moveTo>
                  <a:lnTo>
                    <a:pt x="4011" y="1563"/>
                  </a:lnTo>
                  <a:lnTo>
                    <a:pt x="4011" y="1563"/>
                  </a:lnTo>
                  <a:lnTo>
                    <a:pt x="4011" y="1563"/>
                  </a:lnTo>
                  <a:lnTo>
                    <a:pt x="4011" y="1565"/>
                  </a:lnTo>
                  <a:lnTo>
                    <a:pt x="4011" y="1563"/>
                  </a:lnTo>
                  <a:lnTo>
                    <a:pt x="4011" y="1563"/>
                  </a:lnTo>
                  <a:close/>
                  <a:moveTo>
                    <a:pt x="3988" y="1516"/>
                  </a:moveTo>
                  <a:lnTo>
                    <a:pt x="3988" y="1518"/>
                  </a:lnTo>
                  <a:lnTo>
                    <a:pt x="3988" y="1518"/>
                  </a:lnTo>
                  <a:lnTo>
                    <a:pt x="3988" y="1518"/>
                  </a:lnTo>
                  <a:lnTo>
                    <a:pt x="3990" y="1518"/>
                  </a:lnTo>
                  <a:lnTo>
                    <a:pt x="3990" y="1518"/>
                  </a:lnTo>
                  <a:lnTo>
                    <a:pt x="3990" y="1518"/>
                  </a:lnTo>
                  <a:lnTo>
                    <a:pt x="3990" y="1516"/>
                  </a:lnTo>
                  <a:lnTo>
                    <a:pt x="3990" y="1516"/>
                  </a:lnTo>
                  <a:lnTo>
                    <a:pt x="3990" y="1516"/>
                  </a:lnTo>
                  <a:lnTo>
                    <a:pt x="3988" y="1516"/>
                  </a:lnTo>
                  <a:lnTo>
                    <a:pt x="3988" y="1516"/>
                  </a:lnTo>
                  <a:lnTo>
                    <a:pt x="3988" y="1516"/>
                  </a:lnTo>
                  <a:lnTo>
                    <a:pt x="3988" y="1516"/>
                  </a:lnTo>
                  <a:close/>
                  <a:moveTo>
                    <a:pt x="3996" y="1530"/>
                  </a:moveTo>
                  <a:lnTo>
                    <a:pt x="3996" y="1530"/>
                  </a:lnTo>
                  <a:lnTo>
                    <a:pt x="3996" y="1528"/>
                  </a:lnTo>
                  <a:lnTo>
                    <a:pt x="3994" y="1530"/>
                  </a:lnTo>
                  <a:lnTo>
                    <a:pt x="3994" y="1532"/>
                  </a:lnTo>
                  <a:lnTo>
                    <a:pt x="3996" y="1532"/>
                  </a:lnTo>
                  <a:lnTo>
                    <a:pt x="3996" y="1532"/>
                  </a:lnTo>
                  <a:lnTo>
                    <a:pt x="3996" y="1530"/>
                  </a:lnTo>
                  <a:close/>
                  <a:moveTo>
                    <a:pt x="3965" y="1452"/>
                  </a:moveTo>
                  <a:lnTo>
                    <a:pt x="3965" y="1452"/>
                  </a:lnTo>
                  <a:lnTo>
                    <a:pt x="3965" y="1452"/>
                  </a:lnTo>
                  <a:lnTo>
                    <a:pt x="3967" y="1452"/>
                  </a:lnTo>
                  <a:lnTo>
                    <a:pt x="3967" y="1454"/>
                  </a:lnTo>
                  <a:lnTo>
                    <a:pt x="3967" y="1454"/>
                  </a:lnTo>
                  <a:lnTo>
                    <a:pt x="3967" y="1454"/>
                  </a:lnTo>
                  <a:lnTo>
                    <a:pt x="3967" y="1454"/>
                  </a:lnTo>
                  <a:lnTo>
                    <a:pt x="3967" y="1452"/>
                  </a:lnTo>
                  <a:lnTo>
                    <a:pt x="3965" y="1450"/>
                  </a:lnTo>
                  <a:lnTo>
                    <a:pt x="3965" y="1452"/>
                  </a:lnTo>
                  <a:close/>
                  <a:moveTo>
                    <a:pt x="4122" y="1326"/>
                  </a:moveTo>
                  <a:lnTo>
                    <a:pt x="4120" y="1328"/>
                  </a:lnTo>
                  <a:lnTo>
                    <a:pt x="4118" y="1328"/>
                  </a:lnTo>
                  <a:lnTo>
                    <a:pt x="4116" y="1330"/>
                  </a:lnTo>
                  <a:lnTo>
                    <a:pt x="4116" y="1330"/>
                  </a:lnTo>
                  <a:lnTo>
                    <a:pt x="4116" y="1330"/>
                  </a:lnTo>
                  <a:lnTo>
                    <a:pt x="4116" y="1336"/>
                  </a:lnTo>
                  <a:lnTo>
                    <a:pt x="4116" y="1336"/>
                  </a:lnTo>
                  <a:lnTo>
                    <a:pt x="4116" y="1338"/>
                  </a:lnTo>
                  <a:lnTo>
                    <a:pt x="4116" y="1342"/>
                  </a:lnTo>
                  <a:lnTo>
                    <a:pt x="4120" y="1342"/>
                  </a:lnTo>
                  <a:lnTo>
                    <a:pt x="4120" y="1344"/>
                  </a:lnTo>
                  <a:lnTo>
                    <a:pt x="4122" y="1344"/>
                  </a:lnTo>
                  <a:lnTo>
                    <a:pt x="4126" y="1344"/>
                  </a:lnTo>
                  <a:lnTo>
                    <a:pt x="4126" y="1344"/>
                  </a:lnTo>
                  <a:lnTo>
                    <a:pt x="4128" y="1346"/>
                  </a:lnTo>
                  <a:lnTo>
                    <a:pt x="4128" y="1346"/>
                  </a:lnTo>
                  <a:lnTo>
                    <a:pt x="4130" y="1346"/>
                  </a:lnTo>
                  <a:lnTo>
                    <a:pt x="4130" y="1346"/>
                  </a:lnTo>
                  <a:lnTo>
                    <a:pt x="4130" y="1344"/>
                  </a:lnTo>
                  <a:lnTo>
                    <a:pt x="4132" y="1344"/>
                  </a:lnTo>
                  <a:lnTo>
                    <a:pt x="4134" y="1342"/>
                  </a:lnTo>
                  <a:lnTo>
                    <a:pt x="4134" y="1342"/>
                  </a:lnTo>
                  <a:lnTo>
                    <a:pt x="4137" y="1342"/>
                  </a:lnTo>
                  <a:lnTo>
                    <a:pt x="4137" y="1342"/>
                  </a:lnTo>
                  <a:lnTo>
                    <a:pt x="4134" y="1342"/>
                  </a:lnTo>
                  <a:lnTo>
                    <a:pt x="4137" y="1340"/>
                  </a:lnTo>
                  <a:lnTo>
                    <a:pt x="4139" y="1340"/>
                  </a:lnTo>
                  <a:lnTo>
                    <a:pt x="4139" y="1340"/>
                  </a:lnTo>
                  <a:lnTo>
                    <a:pt x="4139" y="1340"/>
                  </a:lnTo>
                  <a:lnTo>
                    <a:pt x="4141" y="1338"/>
                  </a:lnTo>
                  <a:lnTo>
                    <a:pt x="4141" y="1338"/>
                  </a:lnTo>
                  <a:lnTo>
                    <a:pt x="4141" y="1338"/>
                  </a:lnTo>
                  <a:lnTo>
                    <a:pt x="4143" y="1336"/>
                  </a:lnTo>
                  <a:lnTo>
                    <a:pt x="4143" y="1334"/>
                  </a:lnTo>
                  <a:lnTo>
                    <a:pt x="4143" y="1332"/>
                  </a:lnTo>
                  <a:lnTo>
                    <a:pt x="4143" y="1332"/>
                  </a:lnTo>
                  <a:lnTo>
                    <a:pt x="4143" y="1332"/>
                  </a:lnTo>
                  <a:lnTo>
                    <a:pt x="4145" y="1330"/>
                  </a:lnTo>
                  <a:lnTo>
                    <a:pt x="4147" y="1326"/>
                  </a:lnTo>
                  <a:lnTo>
                    <a:pt x="4147" y="1326"/>
                  </a:lnTo>
                  <a:lnTo>
                    <a:pt x="4149" y="1326"/>
                  </a:lnTo>
                  <a:lnTo>
                    <a:pt x="4149" y="1324"/>
                  </a:lnTo>
                  <a:lnTo>
                    <a:pt x="4149" y="1322"/>
                  </a:lnTo>
                  <a:lnTo>
                    <a:pt x="4149" y="1322"/>
                  </a:lnTo>
                  <a:lnTo>
                    <a:pt x="4147" y="1320"/>
                  </a:lnTo>
                  <a:lnTo>
                    <a:pt x="4147" y="1320"/>
                  </a:lnTo>
                  <a:lnTo>
                    <a:pt x="4145" y="1320"/>
                  </a:lnTo>
                  <a:lnTo>
                    <a:pt x="4145" y="1318"/>
                  </a:lnTo>
                  <a:lnTo>
                    <a:pt x="4145" y="1318"/>
                  </a:lnTo>
                  <a:lnTo>
                    <a:pt x="4143" y="1320"/>
                  </a:lnTo>
                  <a:lnTo>
                    <a:pt x="4143" y="1320"/>
                  </a:lnTo>
                  <a:lnTo>
                    <a:pt x="4143" y="1320"/>
                  </a:lnTo>
                  <a:lnTo>
                    <a:pt x="4141" y="1320"/>
                  </a:lnTo>
                  <a:lnTo>
                    <a:pt x="4141" y="1320"/>
                  </a:lnTo>
                  <a:lnTo>
                    <a:pt x="4141" y="1320"/>
                  </a:lnTo>
                  <a:lnTo>
                    <a:pt x="4141" y="1320"/>
                  </a:lnTo>
                  <a:lnTo>
                    <a:pt x="4139" y="1320"/>
                  </a:lnTo>
                  <a:lnTo>
                    <a:pt x="4139" y="1320"/>
                  </a:lnTo>
                  <a:lnTo>
                    <a:pt x="4137" y="1320"/>
                  </a:lnTo>
                  <a:lnTo>
                    <a:pt x="4137" y="1320"/>
                  </a:lnTo>
                  <a:lnTo>
                    <a:pt x="4132" y="1320"/>
                  </a:lnTo>
                  <a:lnTo>
                    <a:pt x="4130" y="1320"/>
                  </a:lnTo>
                  <a:lnTo>
                    <a:pt x="4128" y="1320"/>
                  </a:lnTo>
                  <a:lnTo>
                    <a:pt x="4128" y="1322"/>
                  </a:lnTo>
                  <a:lnTo>
                    <a:pt x="4126" y="1322"/>
                  </a:lnTo>
                  <a:lnTo>
                    <a:pt x="4124" y="1322"/>
                  </a:lnTo>
                  <a:lnTo>
                    <a:pt x="4124" y="1322"/>
                  </a:lnTo>
                  <a:lnTo>
                    <a:pt x="4124" y="1322"/>
                  </a:lnTo>
                  <a:lnTo>
                    <a:pt x="4122" y="1324"/>
                  </a:lnTo>
                  <a:lnTo>
                    <a:pt x="4124" y="1324"/>
                  </a:lnTo>
                  <a:lnTo>
                    <a:pt x="4124" y="1324"/>
                  </a:lnTo>
                  <a:lnTo>
                    <a:pt x="4122" y="1326"/>
                  </a:lnTo>
                  <a:lnTo>
                    <a:pt x="4122" y="1326"/>
                  </a:lnTo>
                  <a:close/>
                  <a:moveTo>
                    <a:pt x="3963" y="1431"/>
                  </a:moveTo>
                  <a:lnTo>
                    <a:pt x="3963" y="1431"/>
                  </a:lnTo>
                  <a:lnTo>
                    <a:pt x="3963" y="1431"/>
                  </a:lnTo>
                  <a:lnTo>
                    <a:pt x="3963" y="1431"/>
                  </a:lnTo>
                  <a:lnTo>
                    <a:pt x="3963" y="1431"/>
                  </a:lnTo>
                  <a:lnTo>
                    <a:pt x="3965" y="1431"/>
                  </a:lnTo>
                  <a:lnTo>
                    <a:pt x="3965" y="1431"/>
                  </a:lnTo>
                  <a:lnTo>
                    <a:pt x="3965" y="1431"/>
                  </a:lnTo>
                  <a:lnTo>
                    <a:pt x="3963" y="1431"/>
                  </a:lnTo>
                  <a:close/>
                  <a:moveTo>
                    <a:pt x="3969" y="1491"/>
                  </a:moveTo>
                  <a:lnTo>
                    <a:pt x="3967" y="1491"/>
                  </a:lnTo>
                  <a:lnTo>
                    <a:pt x="3967" y="1491"/>
                  </a:lnTo>
                  <a:lnTo>
                    <a:pt x="3967" y="1495"/>
                  </a:lnTo>
                  <a:lnTo>
                    <a:pt x="3967" y="1497"/>
                  </a:lnTo>
                  <a:lnTo>
                    <a:pt x="3967" y="1497"/>
                  </a:lnTo>
                  <a:lnTo>
                    <a:pt x="3969" y="1495"/>
                  </a:lnTo>
                  <a:lnTo>
                    <a:pt x="3969" y="1495"/>
                  </a:lnTo>
                  <a:lnTo>
                    <a:pt x="3969" y="1495"/>
                  </a:lnTo>
                  <a:lnTo>
                    <a:pt x="3969" y="1493"/>
                  </a:lnTo>
                  <a:lnTo>
                    <a:pt x="3969" y="1491"/>
                  </a:lnTo>
                  <a:lnTo>
                    <a:pt x="3969" y="1491"/>
                  </a:lnTo>
                  <a:close/>
                  <a:moveTo>
                    <a:pt x="4025" y="1588"/>
                  </a:moveTo>
                  <a:lnTo>
                    <a:pt x="4025" y="1586"/>
                  </a:lnTo>
                  <a:lnTo>
                    <a:pt x="4025" y="1586"/>
                  </a:lnTo>
                  <a:lnTo>
                    <a:pt x="4023" y="1588"/>
                  </a:lnTo>
                  <a:lnTo>
                    <a:pt x="4023" y="1588"/>
                  </a:lnTo>
                  <a:lnTo>
                    <a:pt x="4025" y="1590"/>
                  </a:lnTo>
                  <a:lnTo>
                    <a:pt x="4025" y="1592"/>
                  </a:lnTo>
                  <a:lnTo>
                    <a:pt x="4025" y="1592"/>
                  </a:lnTo>
                  <a:lnTo>
                    <a:pt x="4025" y="1592"/>
                  </a:lnTo>
                  <a:lnTo>
                    <a:pt x="4027" y="1592"/>
                  </a:lnTo>
                  <a:lnTo>
                    <a:pt x="4027" y="1592"/>
                  </a:lnTo>
                  <a:lnTo>
                    <a:pt x="4027" y="1590"/>
                  </a:lnTo>
                  <a:lnTo>
                    <a:pt x="4027" y="1590"/>
                  </a:lnTo>
                  <a:lnTo>
                    <a:pt x="4027" y="1588"/>
                  </a:lnTo>
                  <a:lnTo>
                    <a:pt x="4025" y="1588"/>
                  </a:lnTo>
                  <a:close/>
                  <a:moveTo>
                    <a:pt x="3967" y="1441"/>
                  </a:moveTo>
                  <a:lnTo>
                    <a:pt x="3965" y="1443"/>
                  </a:lnTo>
                  <a:lnTo>
                    <a:pt x="3967" y="1443"/>
                  </a:lnTo>
                  <a:lnTo>
                    <a:pt x="3967" y="1443"/>
                  </a:lnTo>
                  <a:lnTo>
                    <a:pt x="3967" y="1443"/>
                  </a:lnTo>
                  <a:lnTo>
                    <a:pt x="3967" y="1443"/>
                  </a:lnTo>
                  <a:lnTo>
                    <a:pt x="3967" y="1441"/>
                  </a:lnTo>
                  <a:lnTo>
                    <a:pt x="3967" y="1439"/>
                  </a:lnTo>
                  <a:lnTo>
                    <a:pt x="3967" y="1439"/>
                  </a:lnTo>
                  <a:lnTo>
                    <a:pt x="3967" y="1439"/>
                  </a:lnTo>
                  <a:lnTo>
                    <a:pt x="3967" y="1441"/>
                  </a:lnTo>
                  <a:lnTo>
                    <a:pt x="3967" y="1441"/>
                  </a:lnTo>
                  <a:close/>
                  <a:moveTo>
                    <a:pt x="4040" y="1596"/>
                  </a:moveTo>
                  <a:lnTo>
                    <a:pt x="4042" y="1598"/>
                  </a:lnTo>
                  <a:lnTo>
                    <a:pt x="4042" y="1596"/>
                  </a:lnTo>
                  <a:lnTo>
                    <a:pt x="4042" y="1596"/>
                  </a:lnTo>
                  <a:lnTo>
                    <a:pt x="4042" y="1596"/>
                  </a:lnTo>
                  <a:lnTo>
                    <a:pt x="4042" y="1594"/>
                  </a:lnTo>
                  <a:lnTo>
                    <a:pt x="4040" y="1594"/>
                  </a:lnTo>
                  <a:lnTo>
                    <a:pt x="4040" y="1594"/>
                  </a:lnTo>
                  <a:lnTo>
                    <a:pt x="4040" y="1596"/>
                  </a:lnTo>
                  <a:close/>
                  <a:moveTo>
                    <a:pt x="4042" y="1592"/>
                  </a:moveTo>
                  <a:lnTo>
                    <a:pt x="4040" y="1590"/>
                  </a:lnTo>
                  <a:lnTo>
                    <a:pt x="4040" y="1590"/>
                  </a:lnTo>
                  <a:lnTo>
                    <a:pt x="4040" y="1592"/>
                  </a:lnTo>
                  <a:lnTo>
                    <a:pt x="4040" y="1592"/>
                  </a:lnTo>
                  <a:lnTo>
                    <a:pt x="4042" y="1592"/>
                  </a:lnTo>
                  <a:lnTo>
                    <a:pt x="4042" y="1592"/>
                  </a:lnTo>
                  <a:lnTo>
                    <a:pt x="4042" y="1592"/>
                  </a:lnTo>
                  <a:close/>
                  <a:moveTo>
                    <a:pt x="4050" y="1590"/>
                  </a:moveTo>
                  <a:lnTo>
                    <a:pt x="4050" y="1590"/>
                  </a:lnTo>
                  <a:lnTo>
                    <a:pt x="4048" y="1590"/>
                  </a:lnTo>
                  <a:lnTo>
                    <a:pt x="4048" y="1592"/>
                  </a:lnTo>
                  <a:lnTo>
                    <a:pt x="4048" y="1592"/>
                  </a:lnTo>
                  <a:lnTo>
                    <a:pt x="4048" y="1592"/>
                  </a:lnTo>
                  <a:lnTo>
                    <a:pt x="4048" y="1592"/>
                  </a:lnTo>
                  <a:lnTo>
                    <a:pt x="4050" y="1592"/>
                  </a:lnTo>
                  <a:lnTo>
                    <a:pt x="4050" y="1590"/>
                  </a:lnTo>
                  <a:lnTo>
                    <a:pt x="4052" y="1590"/>
                  </a:lnTo>
                  <a:lnTo>
                    <a:pt x="4052" y="1590"/>
                  </a:lnTo>
                  <a:lnTo>
                    <a:pt x="4050" y="1590"/>
                  </a:lnTo>
                  <a:lnTo>
                    <a:pt x="4050" y="1590"/>
                  </a:lnTo>
                  <a:close/>
                  <a:moveTo>
                    <a:pt x="4013" y="1582"/>
                  </a:moveTo>
                  <a:lnTo>
                    <a:pt x="4015" y="1582"/>
                  </a:lnTo>
                  <a:lnTo>
                    <a:pt x="4017" y="1582"/>
                  </a:lnTo>
                  <a:lnTo>
                    <a:pt x="4017" y="1580"/>
                  </a:lnTo>
                  <a:lnTo>
                    <a:pt x="4017" y="1580"/>
                  </a:lnTo>
                  <a:lnTo>
                    <a:pt x="4017" y="1578"/>
                  </a:lnTo>
                  <a:lnTo>
                    <a:pt x="4017" y="1578"/>
                  </a:lnTo>
                  <a:lnTo>
                    <a:pt x="4015" y="1576"/>
                  </a:lnTo>
                  <a:lnTo>
                    <a:pt x="4015" y="1578"/>
                  </a:lnTo>
                  <a:lnTo>
                    <a:pt x="4013" y="1578"/>
                  </a:lnTo>
                  <a:lnTo>
                    <a:pt x="4013" y="1578"/>
                  </a:lnTo>
                  <a:lnTo>
                    <a:pt x="4013" y="1580"/>
                  </a:lnTo>
                  <a:lnTo>
                    <a:pt x="4013" y="1582"/>
                  </a:lnTo>
                  <a:lnTo>
                    <a:pt x="4013" y="1582"/>
                  </a:lnTo>
                  <a:close/>
                  <a:moveTo>
                    <a:pt x="4038" y="1598"/>
                  </a:moveTo>
                  <a:lnTo>
                    <a:pt x="4040" y="1598"/>
                  </a:lnTo>
                  <a:lnTo>
                    <a:pt x="4040" y="1598"/>
                  </a:lnTo>
                  <a:lnTo>
                    <a:pt x="4038" y="1596"/>
                  </a:lnTo>
                  <a:lnTo>
                    <a:pt x="4038" y="1596"/>
                  </a:lnTo>
                  <a:lnTo>
                    <a:pt x="4038" y="1598"/>
                  </a:lnTo>
                  <a:lnTo>
                    <a:pt x="4038" y="1598"/>
                  </a:lnTo>
                  <a:lnTo>
                    <a:pt x="4038" y="1598"/>
                  </a:lnTo>
                  <a:close/>
                  <a:moveTo>
                    <a:pt x="4035" y="1592"/>
                  </a:moveTo>
                  <a:lnTo>
                    <a:pt x="4031" y="1590"/>
                  </a:lnTo>
                  <a:lnTo>
                    <a:pt x="4031" y="1590"/>
                  </a:lnTo>
                  <a:lnTo>
                    <a:pt x="4031" y="1592"/>
                  </a:lnTo>
                  <a:lnTo>
                    <a:pt x="4031" y="1592"/>
                  </a:lnTo>
                  <a:lnTo>
                    <a:pt x="4031" y="1592"/>
                  </a:lnTo>
                  <a:lnTo>
                    <a:pt x="4033" y="1592"/>
                  </a:lnTo>
                  <a:lnTo>
                    <a:pt x="4033" y="1594"/>
                  </a:lnTo>
                  <a:lnTo>
                    <a:pt x="4035" y="1594"/>
                  </a:lnTo>
                  <a:lnTo>
                    <a:pt x="4035" y="1594"/>
                  </a:lnTo>
                  <a:lnTo>
                    <a:pt x="4038" y="1594"/>
                  </a:lnTo>
                  <a:lnTo>
                    <a:pt x="4038" y="1594"/>
                  </a:lnTo>
                  <a:lnTo>
                    <a:pt x="4035" y="1592"/>
                  </a:lnTo>
                  <a:lnTo>
                    <a:pt x="4035" y="1592"/>
                  </a:lnTo>
                  <a:close/>
                  <a:moveTo>
                    <a:pt x="4027" y="1586"/>
                  </a:moveTo>
                  <a:lnTo>
                    <a:pt x="4021" y="1584"/>
                  </a:lnTo>
                  <a:lnTo>
                    <a:pt x="4021" y="1584"/>
                  </a:lnTo>
                  <a:lnTo>
                    <a:pt x="4021" y="1584"/>
                  </a:lnTo>
                  <a:lnTo>
                    <a:pt x="4021" y="1584"/>
                  </a:lnTo>
                  <a:lnTo>
                    <a:pt x="4021" y="1586"/>
                  </a:lnTo>
                  <a:lnTo>
                    <a:pt x="4023" y="1586"/>
                  </a:lnTo>
                  <a:lnTo>
                    <a:pt x="4025" y="1586"/>
                  </a:lnTo>
                  <a:lnTo>
                    <a:pt x="4025" y="1586"/>
                  </a:lnTo>
                  <a:lnTo>
                    <a:pt x="4027" y="1588"/>
                  </a:lnTo>
                  <a:lnTo>
                    <a:pt x="4027" y="1588"/>
                  </a:lnTo>
                  <a:lnTo>
                    <a:pt x="4027" y="1586"/>
                  </a:lnTo>
                  <a:lnTo>
                    <a:pt x="4027" y="1586"/>
                  </a:lnTo>
                  <a:close/>
                  <a:moveTo>
                    <a:pt x="4029" y="1590"/>
                  </a:moveTo>
                  <a:lnTo>
                    <a:pt x="4027" y="1592"/>
                  </a:lnTo>
                  <a:lnTo>
                    <a:pt x="4027" y="1592"/>
                  </a:lnTo>
                  <a:lnTo>
                    <a:pt x="4027" y="1592"/>
                  </a:lnTo>
                  <a:lnTo>
                    <a:pt x="4027" y="1594"/>
                  </a:lnTo>
                  <a:lnTo>
                    <a:pt x="4027" y="1594"/>
                  </a:lnTo>
                  <a:lnTo>
                    <a:pt x="4029" y="1594"/>
                  </a:lnTo>
                  <a:lnTo>
                    <a:pt x="4031" y="1596"/>
                  </a:lnTo>
                  <a:lnTo>
                    <a:pt x="4031" y="1596"/>
                  </a:lnTo>
                  <a:lnTo>
                    <a:pt x="4033" y="1596"/>
                  </a:lnTo>
                  <a:lnTo>
                    <a:pt x="4035" y="1596"/>
                  </a:lnTo>
                  <a:lnTo>
                    <a:pt x="4035" y="1596"/>
                  </a:lnTo>
                  <a:lnTo>
                    <a:pt x="4035" y="1594"/>
                  </a:lnTo>
                  <a:lnTo>
                    <a:pt x="4033" y="1594"/>
                  </a:lnTo>
                  <a:lnTo>
                    <a:pt x="4031" y="1592"/>
                  </a:lnTo>
                  <a:lnTo>
                    <a:pt x="4031" y="1592"/>
                  </a:lnTo>
                  <a:lnTo>
                    <a:pt x="4029" y="1592"/>
                  </a:lnTo>
                  <a:lnTo>
                    <a:pt x="4029" y="1590"/>
                  </a:lnTo>
                  <a:close/>
                  <a:moveTo>
                    <a:pt x="4050" y="1594"/>
                  </a:moveTo>
                  <a:lnTo>
                    <a:pt x="4050" y="1594"/>
                  </a:lnTo>
                  <a:lnTo>
                    <a:pt x="4050" y="1594"/>
                  </a:lnTo>
                  <a:lnTo>
                    <a:pt x="4052" y="1594"/>
                  </a:lnTo>
                  <a:lnTo>
                    <a:pt x="4052" y="1594"/>
                  </a:lnTo>
                  <a:lnTo>
                    <a:pt x="4052" y="1594"/>
                  </a:lnTo>
                  <a:lnTo>
                    <a:pt x="4052" y="1594"/>
                  </a:lnTo>
                  <a:lnTo>
                    <a:pt x="4050" y="1592"/>
                  </a:lnTo>
                  <a:lnTo>
                    <a:pt x="4050" y="1594"/>
                  </a:lnTo>
                  <a:close/>
                  <a:moveTo>
                    <a:pt x="4306" y="1404"/>
                  </a:moveTo>
                  <a:lnTo>
                    <a:pt x="4308" y="1406"/>
                  </a:lnTo>
                  <a:lnTo>
                    <a:pt x="4308" y="1406"/>
                  </a:lnTo>
                  <a:lnTo>
                    <a:pt x="4306" y="1404"/>
                  </a:lnTo>
                  <a:lnTo>
                    <a:pt x="4306" y="1404"/>
                  </a:lnTo>
                  <a:lnTo>
                    <a:pt x="4306" y="1404"/>
                  </a:lnTo>
                  <a:lnTo>
                    <a:pt x="4306" y="1404"/>
                  </a:lnTo>
                  <a:close/>
                  <a:moveTo>
                    <a:pt x="4365" y="1117"/>
                  </a:moveTo>
                  <a:lnTo>
                    <a:pt x="4365" y="1117"/>
                  </a:lnTo>
                  <a:lnTo>
                    <a:pt x="4365" y="1117"/>
                  </a:lnTo>
                  <a:lnTo>
                    <a:pt x="4365" y="1119"/>
                  </a:lnTo>
                  <a:lnTo>
                    <a:pt x="4365" y="1119"/>
                  </a:lnTo>
                  <a:lnTo>
                    <a:pt x="4367" y="1119"/>
                  </a:lnTo>
                  <a:lnTo>
                    <a:pt x="4367" y="1119"/>
                  </a:lnTo>
                  <a:lnTo>
                    <a:pt x="4372" y="1119"/>
                  </a:lnTo>
                  <a:lnTo>
                    <a:pt x="4374" y="1117"/>
                  </a:lnTo>
                  <a:lnTo>
                    <a:pt x="4376" y="1117"/>
                  </a:lnTo>
                  <a:lnTo>
                    <a:pt x="4376" y="1117"/>
                  </a:lnTo>
                  <a:lnTo>
                    <a:pt x="4376" y="1115"/>
                  </a:lnTo>
                  <a:lnTo>
                    <a:pt x="4376" y="1115"/>
                  </a:lnTo>
                  <a:lnTo>
                    <a:pt x="4374" y="1113"/>
                  </a:lnTo>
                  <a:lnTo>
                    <a:pt x="4374" y="1113"/>
                  </a:lnTo>
                  <a:lnTo>
                    <a:pt x="4367" y="1115"/>
                  </a:lnTo>
                  <a:lnTo>
                    <a:pt x="4365" y="1117"/>
                  </a:lnTo>
                  <a:close/>
                  <a:moveTo>
                    <a:pt x="4384" y="1590"/>
                  </a:moveTo>
                  <a:lnTo>
                    <a:pt x="4384" y="1594"/>
                  </a:lnTo>
                  <a:lnTo>
                    <a:pt x="4386" y="1594"/>
                  </a:lnTo>
                  <a:lnTo>
                    <a:pt x="4386" y="1596"/>
                  </a:lnTo>
                  <a:lnTo>
                    <a:pt x="4386" y="1596"/>
                  </a:lnTo>
                  <a:lnTo>
                    <a:pt x="4384" y="1596"/>
                  </a:lnTo>
                  <a:lnTo>
                    <a:pt x="4384" y="1598"/>
                  </a:lnTo>
                  <a:lnTo>
                    <a:pt x="4384" y="1600"/>
                  </a:lnTo>
                  <a:lnTo>
                    <a:pt x="4386" y="1600"/>
                  </a:lnTo>
                  <a:lnTo>
                    <a:pt x="4386" y="1602"/>
                  </a:lnTo>
                  <a:lnTo>
                    <a:pt x="4388" y="1602"/>
                  </a:lnTo>
                  <a:lnTo>
                    <a:pt x="4386" y="1605"/>
                  </a:lnTo>
                  <a:lnTo>
                    <a:pt x="4386" y="1607"/>
                  </a:lnTo>
                  <a:lnTo>
                    <a:pt x="4386" y="1609"/>
                  </a:lnTo>
                  <a:lnTo>
                    <a:pt x="4386" y="1609"/>
                  </a:lnTo>
                  <a:lnTo>
                    <a:pt x="4386" y="1611"/>
                  </a:lnTo>
                  <a:lnTo>
                    <a:pt x="4388" y="1611"/>
                  </a:lnTo>
                  <a:lnTo>
                    <a:pt x="4390" y="1613"/>
                  </a:lnTo>
                  <a:lnTo>
                    <a:pt x="4390" y="1613"/>
                  </a:lnTo>
                  <a:lnTo>
                    <a:pt x="4392" y="1615"/>
                  </a:lnTo>
                  <a:lnTo>
                    <a:pt x="4392" y="1617"/>
                  </a:lnTo>
                  <a:lnTo>
                    <a:pt x="4394" y="1617"/>
                  </a:lnTo>
                  <a:lnTo>
                    <a:pt x="4394" y="1619"/>
                  </a:lnTo>
                  <a:lnTo>
                    <a:pt x="4396" y="1619"/>
                  </a:lnTo>
                  <a:lnTo>
                    <a:pt x="4396" y="1619"/>
                  </a:lnTo>
                  <a:lnTo>
                    <a:pt x="4394" y="1617"/>
                  </a:lnTo>
                  <a:lnTo>
                    <a:pt x="4392" y="1613"/>
                  </a:lnTo>
                  <a:lnTo>
                    <a:pt x="4390" y="1611"/>
                  </a:lnTo>
                  <a:lnTo>
                    <a:pt x="4390" y="1607"/>
                  </a:lnTo>
                  <a:lnTo>
                    <a:pt x="4390" y="1605"/>
                  </a:lnTo>
                  <a:lnTo>
                    <a:pt x="4390" y="1605"/>
                  </a:lnTo>
                  <a:lnTo>
                    <a:pt x="4390" y="1602"/>
                  </a:lnTo>
                  <a:lnTo>
                    <a:pt x="4390" y="1600"/>
                  </a:lnTo>
                  <a:lnTo>
                    <a:pt x="4390" y="1600"/>
                  </a:lnTo>
                  <a:lnTo>
                    <a:pt x="4390" y="1600"/>
                  </a:lnTo>
                  <a:lnTo>
                    <a:pt x="4392" y="1600"/>
                  </a:lnTo>
                  <a:lnTo>
                    <a:pt x="4394" y="1600"/>
                  </a:lnTo>
                  <a:lnTo>
                    <a:pt x="4396" y="1600"/>
                  </a:lnTo>
                  <a:lnTo>
                    <a:pt x="4398" y="1600"/>
                  </a:lnTo>
                  <a:lnTo>
                    <a:pt x="4398" y="1602"/>
                  </a:lnTo>
                  <a:lnTo>
                    <a:pt x="4405" y="1602"/>
                  </a:lnTo>
                  <a:lnTo>
                    <a:pt x="4405" y="1602"/>
                  </a:lnTo>
                  <a:lnTo>
                    <a:pt x="4403" y="1602"/>
                  </a:lnTo>
                  <a:lnTo>
                    <a:pt x="4403" y="1602"/>
                  </a:lnTo>
                  <a:lnTo>
                    <a:pt x="4400" y="1600"/>
                  </a:lnTo>
                  <a:lnTo>
                    <a:pt x="4400" y="1600"/>
                  </a:lnTo>
                  <a:lnTo>
                    <a:pt x="4400" y="1598"/>
                  </a:lnTo>
                  <a:lnTo>
                    <a:pt x="4400" y="1598"/>
                  </a:lnTo>
                  <a:lnTo>
                    <a:pt x="4396" y="1598"/>
                  </a:lnTo>
                  <a:lnTo>
                    <a:pt x="4394" y="1596"/>
                  </a:lnTo>
                  <a:lnTo>
                    <a:pt x="4394" y="1594"/>
                  </a:lnTo>
                  <a:lnTo>
                    <a:pt x="4396" y="1594"/>
                  </a:lnTo>
                  <a:lnTo>
                    <a:pt x="4396" y="1594"/>
                  </a:lnTo>
                  <a:lnTo>
                    <a:pt x="4398" y="1592"/>
                  </a:lnTo>
                  <a:lnTo>
                    <a:pt x="4400" y="1592"/>
                  </a:lnTo>
                  <a:lnTo>
                    <a:pt x="4400" y="1590"/>
                  </a:lnTo>
                  <a:lnTo>
                    <a:pt x="4403" y="1588"/>
                  </a:lnTo>
                  <a:lnTo>
                    <a:pt x="4400" y="1586"/>
                  </a:lnTo>
                  <a:lnTo>
                    <a:pt x="4400" y="1584"/>
                  </a:lnTo>
                  <a:lnTo>
                    <a:pt x="4400" y="1584"/>
                  </a:lnTo>
                  <a:lnTo>
                    <a:pt x="4398" y="1584"/>
                  </a:lnTo>
                  <a:lnTo>
                    <a:pt x="4396" y="1586"/>
                  </a:lnTo>
                  <a:lnTo>
                    <a:pt x="4394" y="1586"/>
                  </a:lnTo>
                  <a:lnTo>
                    <a:pt x="4394" y="1588"/>
                  </a:lnTo>
                  <a:lnTo>
                    <a:pt x="4394" y="1588"/>
                  </a:lnTo>
                  <a:lnTo>
                    <a:pt x="4394" y="1590"/>
                  </a:lnTo>
                  <a:lnTo>
                    <a:pt x="4392" y="1590"/>
                  </a:lnTo>
                  <a:lnTo>
                    <a:pt x="4392" y="1590"/>
                  </a:lnTo>
                  <a:lnTo>
                    <a:pt x="4390" y="1592"/>
                  </a:lnTo>
                  <a:lnTo>
                    <a:pt x="4390" y="1594"/>
                  </a:lnTo>
                  <a:lnTo>
                    <a:pt x="4390" y="1594"/>
                  </a:lnTo>
                  <a:lnTo>
                    <a:pt x="4390" y="1594"/>
                  </a:lnTo>
                  <a:lnTo>
                    <a:pt x="4388" y="1594"/>
                  </a:lnTo>
                  <a:lnTo>
                    <a:pt x="4388" y="1594"/>
                  </a:lnTo>
                  <a:lnTo>
                    <a:pt x="4386" y="1594"/>
                  </a:lnTo>
                  <a:lnTo>
                    <a:pt x="4386" y="1594"/>
                  </a:lnTo>
                  <a:lnTo>
                    <a:pt x="4386" y="1592"/>
                  </a:lnTo>
                  <a:lnTo>
                    <a:pt x="4386" y="1592"/>
                  </a:lnTo>
                  <a:lnTo>
                    <a:pt x="4390" y="1590"/>
                  </a:lnTo>
                  <a:lnTo>
                    <a:pt x="4390" y="1588"/>
                  </a:lnTo>
                  <a:lnTo>
                    <a:pt x="4392" y="1588"/>
                  </a:lnTo>
                  <a:lnTo>
                    <a:pt x="4392" y="1586"/>
                  </a:lnTo>
                  <a:lnTo>
                    <a:pt x="4392" y="1584"/>
                  </a:lnTo>
                  <a:lnTo>
                    <a:pt x="4392" y="1582"/>
                  </a:lnTo>
                  <a:lnTo>
                    <a:pt x="4390" y="1582"/>
                  </a:lnTo>
                  <a:lnTo>
                    <a:pt x="4390" y="1580"/>
                  </a:lnTo>
                  <a:lnTo>
                    <a:pt x="4390" y="1580"/>
                  </a:lnTo>
                  <a:lnTo>
                    <a:pt x="4390" y="1580"/>
                  </a:lnTo>
                  <a:lnTo>
                    <a:pt x="4392" y="1576"/>
                  </a:lnTo>
                  <a:lnTo>
                    <a:pt x="4392" y="1576"/>
                  </a:lnTo>
                  <a:lnTo>
                    <a:pt x="4392" y="1576"/>
                  </a:lnTo>
                  <a:lnTo>
                    <a:pt x="4390" y="1576"/>
                  </a:lnTo>
                  <a:lnTo>
                    <a:pt x="4390" y="1576"/>
                  </a:lnTo>
                  <a:lnTo>
                    <a:pt x="4388" y="1580"/>
                  </a:lnTo>
                  <a:lnTo>
                    <a:pt x="4386" y="1580"/>
                  </a:lnTo>
                  <a:lnTo>
                    <a:pt x="4386" y="1582"/>
                  </a:lnTo>
                  <a:lnTo>
                    <a:pt x="4386" y="1584"/>
                  </a:lnTo>
                  <a:lnTo>
                    <a:pt x="4384" y="1584"/>
                  </a:lnTo>
                  <a:lnTo>
                    <a:pt x="4384" y="1586"/>
                  </a:lnTo>
                  <a:lnTo>
                    <a:pt x="4384" y="1588"/>
                  </a:lnTo>
                  <a:lnTo>
                    <a:pt x="4384" y="1590"/>
                  </a:lnTo>
                  <a:close/>
                  <a:moveTo>
                    <a:pt x="4345" y="1043"/>
                  </a:moveTo>
                  <a:lnTo>
                    <a:pt x="4345" y="1043"/>
                  </a:lnTo>
                  <a:lnTo>
                    <a:pt x="4345" y="1043"/>
                  </a:lnTo>
                  <a:lnTo>
                    <a:pt x="4345" y="1043"/>
                  </a:lnTo>
                  <a:lnTo>
                    <a:pt x="4345" y="1043"/>
                  </a:lnTo>
                  <a:lnTo>
                    <a:pt x="4345" y="1043"/>
                  </a:lnTo>
                  <a:lnTo>
                    <a:pt x="4343" y="1043"/>
                  </a:lnTo>
                  <a:lnTo>
                    <a:pt x="4343" y="1043"/>
                  </a:lnTo>
                  <a:lnTo>
                    <a:pt x="4343" y="1043"/>
                  </a:lnTo>
                  <a:lnTo>
                    <a:pt x="4343" y="1043"/>
                  </a:lnTo>
                  <a:lnTo>
                    <a:pt x="4345" y="1043"/>
                  </a:lnTo>
                  <a:lnTo>
                    <a:pt x="4345" y="1043"/>
                  </a:lnTo>
                  <a:close/>
                  <a:moveTo>
                    <a:pt x="4374" y="1101"/>
                  </a:moveTo>
                  <a:lnTo>
                    <a:pt x="4374" y="1101"/>
                  </a:lnTo>
                  <a:lnTo>
                    <a:pt x="4372" y="1101"/>
                  </a:lnTo>
                  <a:lnTo>
                    <a:pt x="4372" y="1101"/>
                  </a:lnTo>
                  <a:lnTo>
                    <a:pt x="4372" y="1103"/>
                  </a:lnTo>
                  <a:lnTo>
                    <a:pt x="4374" y="1103"/>
                  </a:lnTo>
                  <a:lnTo>
                    <a:pt x="4374" y="1101"/>
                  </a:lnTo>
                  <a:close/>
                  <a:moveTo>
                    <a:pt x="4332" y="1258"/>
                  </a:moveTo>
                  <a:lnTo>
                    <a:pt x="4332" y="1256"/>
                  </a:lnTo>
                  <a:lnTo>
                    <a:pt x="4332" y="1256"/>
                  </a:lnTo>
                  <a:lnTo>
                    <a:pt x="4332" y="1256"/>
                  </a:lnTo>
                  <a:lnTo>
                    <a:pt x="4330" y="1254"/>
                  </a:lnTo>
                  <a:lnTo>
                    <a:pt x="4330" y="1256"/>
                  </a:lnTo>
                  <a:lnTo>
                    <a:pt x="4330" y="1256"/>
                  </a:lnTo>
                  <a:lnTo>
                    <a:pt x="4330" y="1256"/>
                  </a:lnTo>
                  <a:lnTo>
                    <a:pt x="4330" y="1256"/>
                  </a:lnTo>
                  <a:lnTo>
                    <a:pt x="4330" y="1256"/>
                  </a:lnTo>
                  <a:lnTo>
                    <a:pt x="4332" y="1258"/>
                  </a:lnTo>
                  <a:close/>
                  <a:moveTo>
                    <a:pt x="4334" y="1412"/>
                  </a:moveTo>
                  <a:lnTo>
                    <a:pt x="4337" y="1415"/>
                  </a:lnTo>
                  <a:lnTo>
                    <a:pt x="4339" y="1412"/>
                  </a:lnTo>
                  <a:lnTo>
                    <a:pt x="4339" y="1412"/>
                  </a:lnTo>
                  <a:lnTo>
                    <a:pt x="4339" y="1415"/>
                  </a:lnTo>
                  <a:lnTo>
                    <a:pt x="4339" y="1412"/>
                  </a:lnTo>
                  <a:lnTo>
                    <a:pt x="4341" y="1412"/>
                  </a:lnTo>
                  <a:lnTo>
                    <a:pt x="4341" y="1410"/>
                  </a:lnTo>
                  <a:lnTo>
                    <a:pt x="4341" y="1408"/>
                  </a:lnTo>
                  <a:lnTo>
                    <a:pt x="4339" y="1408"/>
                  </a:lnTo>
                  <a:lnTo>
                    <a:pt x="4339" y="1408"/>
                  </a:lnTo>
                  <a:lnTo>
                    <a:pt x="4337" y="1406"/>
                  </a:lnTo>
                  <a:lnTo>
                    <a:pt x="4337" y="1406"/>
                  </a:lnTo>
                  <a:lnTo>
                    <a:pt x="4337" y="1406"/>
                  </a:lnTo>
                  <a:lnTo>
                    <a:pt x="4337" y="1408"/>
                  </a:lnTo>
                  <a:lnTo>
                    <a:pt x="4337" y="1410"/>
                  </a:lnTo>
                  <a:lnTo>
                    <a:pt x="4334" y="1412"/>
                  </a:lnTo>
                  <a:lnTo>
                    <a:pt x="4334" y="1412"/>
                  </a:lnTo>
                  <a:close/>
                  <a:moveTo>
                    <a:pt x="4388" y="1227"/>
                  </a:moveTo>
                  <a:lnTo>
                    <a:pt x="4386" y="1227"/>
                  </a:lnTo>
                  <a:lnTo>
                    <a:pt x="4386" y="1229"/>
                  </a:lnTo>
                  <a:lnTo>
                    <a:pt x="4386" y="1229"/>
                  </a:lnTo>
                  <a:lnTo>
                    <a:pt x="4388" y="1229"/>
                  </a:lnTo>
                  <a:lnTo>
                    <a:pt x="4388" y="1229"/>
                  </a:lnTo>
                  <a:lnTo>
                    <a:pt x="4388" y="1229"/>
                  </a:lnTo>
                  <a:lnTo>
                    <a:pt x="4388" y="1227"/>
                  </a:lnTo>
                  <a:lnTo>
                    <a:pt x="4388" y="1227"/>
                  </a:lnTo>
                  <a:lnTo>
                    <a:pt x="4390" y="1227"/>
                  </a:lnTo>
                  <a:lnTo>
                    <a:pt x="4390" y="1225"/>
                  </a:lnTo>
                  <a:lnTo>
                    <a:pt x="4390" y="1225"/>
                  </a:lnTo>
                  <a:lnTo>
                    <a:pt x="4390" y="1225"/>
                  </a:lnTo>
                  <a:lnTo>
                    <a:pt x="4390" y="1225"/>
                  </a:lnTo>
                  <a:lnTo>
                    <a:pt x="4392" y="1223"/>
                  </a:lnTo>
                  <a:lnTo>
                    <a:pt x="4392" y="1223"/>
                  </a:lnTo>
                  <a:lnTo>
                    <a:pt x="4394" y="1220"/>
                  </a:lnTo>
                  <a:lnTo>
                    <a:pt x="4394" y="1220"/>
                  </a:lnTo>
                  <a:lnTo>
                    <a:pt x="4396" y="1220"/>
                  </a:lnTo>
                  <a:lnTo>
                    <a:pt x="4396" y="1218"/>
                  </a:lnTo>
                  <a:lnTo>
                    <a:pt x="4394" y="1216"/>
                  </a:lnTo>
                  <a:lnTo>
                    <a:pt x="4394" y="1218"/>
                  </a:lnTo>
                  <a:lnTo>
                    <a:pt x="4392" y="1220"/>
                  </a:lnTo>
                  <a:lnTo>
                    <a:pt x="4392" y="1220"/>
                  </a:lnTo>
                  <a:lnTo>
                    <a:pt x="4392" y="1220"/>
                  </a:lnTo>
                  <a:lnTo>
                    <a:pt x="4392" y="1220"/>
                  </a:lnTo>
                  <a:lnTo>
                    <a:pt x="4392" y="1220"/>
                  </a:lnTo>
                  <a:lnTo>
                    <a:pt x="4390" y="1220"/>
                  </a:lnTo>
                  <a:lnTo>
                    <a:pt x="4390" y="1220"/>
                  </a:lnTo>
                  <a:lnTo>
                    <a:pt x="4390" y="1220"/>
                  </a:lnTo>
                  <a:lnTo>
                    <a:pt x="4390" y="1223"/>
                  </a:lnTo>
                  <a:lnTo>
                    <a:pt x="4390" y="1223"/>
                  </a:lnTo>
                  <a:lnTo>
                    <a:pt x="4388" y="1223"/>
                  </a:lnTo>
                  <a:lnTo>
                    <a:pt x="4388" y="1225"/>
                  </a:lnTo>
                  <a:lnTo>
                    <a:pt x="4388" y="1225"/>
                  </a:lnTo>
                  <a:lnTo>
                    <a:pt x="4388" y="1227"/>
                  </a:lnTo>
                  <a:close/>
                  <a:moveTo>
                    <a:pt x="4339" y="1427"/>
                  </a:moveTo>
                  <a:lnTo>
                    <a:pt x="4339" y="1431"/>
                  </a:lnTo>
                  <a:lnTo>
                    <a:pt x="4341" y="1433"/>
                  </a:lnTo>
                  <a:lnTo>
                    <a:pt x="4341" y="1433"/>
                  </a:lnTo>
                  <a:lnTo>
                    <a:pt x="4343" y="1435"/>
                  </a:lnTo>
                  <a:lnTo>
                    <a:pt x="4343" y="1435"/>
                  </a:lnTo>
                  <a:lnTo>
                    <a:pt x="4345" y="1435"/>
                  </a:lnTo>
                  <a:lnTo>
                    <a:pt x="4345" y="1437"/>
                  </a:lnTo>
                  <a:lnTo>
                    <a:pt x="4345" y="1437"/>
                  </a:lnTo>
                  <a:lnTo>
                    <a:pt x="4347" y="1437"/>
                  </a:lnTo>
                  <a:lnTo>
                    <a:pt x="4347" y="1439"/>
                  </a:lnTo>
                  <a:lnTo>
                    <a:pt x="4347" y="1439"/>
                  </a:lnTo>
                  <a:lnTo>
                    <a:pt x="4349" y="1439"/>
                  </a:lnTo>
                  <a:lnTo>
                    <a:pt x="4349" y="1439"/>
                  </a:lnTo>
                  <a:lnTo>
                    <a:pt x="4349" y="1441"/>
                  </a:lnTo>
                  <a:lnTo>
                    <a:pt x="4347" y="1441"/>
                  </a:lnTo>
                  <a:lnTo>
                    <a:pt x="4347" y="1443"/>
                  </a:lnTo>
                  <a:lnTo>
                    <a:pt x="4349" y="1446"/>
                  </a:lnTo>
                  <a:lnTo>
                    <a:pt x="4349" y="1446"/>
                  </a:lnTo>
                  <a:lnTo>
                    <a:pt x="4351" y="1448"/>
                  </a:lnTo>
                  <a:lnTo>
                    <a:pt x="4351" y="1448"/>
                  </a:lnTo>
                  <a:lnTo>
                    <a:pt x="4353" y="1448"/>
                  </a:lnTo>
                  <a:lnTo>
                    <a:pt x="4355" y="1450"/>
                  </a:lnTo>
                  <a:lnTo>
                    <a:pt x="4357" y="1448"/>
                  </a:lnTo>
                  <a:lnTo>
                    <a:pt x="4357" y="1450"/>
                  </a:lnTo>
                  <a:lnTo>
                    <a:pt x="4359" y="1450"/>
                  </a:lnTo>
                  <a:lnTo>
                    <a:pt x="4359" y="1450"/>
                  </a:lnTo>
                  <a:lnTo>
                    <a:pt x="4359" y="1448"/>
                  </a:lnTo>
                  <a:lnTo>
                    <a:pt x="4357" y="1448"/>
                  </a:lnTo>
                  <a:lnTo>
                    <a:pt x="4357" y="1448"/>
                  </a:lnTo>
                  <a:lnTo>
                    <a:pt x="4357" y="1446"/>
                  </a:lnTo>
                  <a:lnTo>
                    <a:pt x="4357" y="1446"/>
                  </a:lnTo>
                  <a:lnTo>
                    <a:pt x="4357" y="1446"/>
                  </a:lnTo>
                  <a:lnTo>
                    <a:pt x="4355" y="1443"/>
                  </a:lnTo>
                  <a:lnTo>
                    <a:pt x="4355" y="1441"/>
                  </a:lnTo>
                  <a:lnTo>
                    <a:pt x="4355" y="1441"/>
                  </a:lnTo>
                  <a:lnTo>
                    <a:pt x="4355" y="1439"/>
                  </a:lnTo>
                  <a:lnTo>
                    <a:pt x="4355" y="1439"/>
                  </a:lnTo>
                  <a:lnTo>
                    <a:pt x="4355" y="1437"/>
                  </a:lnTo>
                  <a:lnTo>
                    <a:pt x="4355" y="1435"/>
                  </a:lnTo>
                  <a:lnTo>
                    <a:pt x="4355" y="1433"/>
                  </a:lnTo>
                  <a:lnTo>
                    <a:pt x="4357" y="1433"/>
                  </a:lnTo>
                  <a:lnTo>
                    <a:pt x="4355" y="1433"/>
                  </a:lnTo>
                  <a:lnTo>
                    <a:pt x="4355" y="1431"/>
                  </a:lnTo>
                  <a:lnTo>
                    <a:pt x="4353" y="1431"/>
                  </a:lnTo>
                  <a:lnTo>
                    <a:pt x="4353" y="1431"/>
                  </a:lnTo>
                  <a:lnTo>
                    <a:pt x="4353" y="1431"/>
                  </a:lnTo>
                  <a:lnTo>
                    <a:pt x="4353" y="1429"/>
                  </a:lnTo>
                  <a:lnTo>
                    <a:pt x="4351" y="1429"/>
                  </a:lnTo>
                  <a:lnTo>
                    <a:pt x="4351" y="1427"/>
                  </a:lnTo>
                  <a:lnTo>
                    <a:pt x="4347" y="1429"/>
                  </a:lnTo>
                  <a:lnTo>
                    <a:pt x="4343" y="1429"/>
                  </a:lnTo>
                  <a:lnTo>
                    <a:pt x="4339" y="1427"/>
                  </a:lnTo>
                  <a:close/>
                  <a:moveTo>
                    <a:pt x="4337" y="1256"/>
                  </a:moveTo>
                  <a:lnTo>
                    <a:pt x="4339" y="1256"/>
                  </a:lnTo>
                  <a:lnTo>
                    <a:pt x="4339" y="1254"/>
                  </a:lnTo>
                  <a:lnTo>
                    <a:pt x="4339" y="1251"/>
                  </a:lnTo>
                  <a:lnTo>
                    <a:pt x="4339" y="1251"/>
                  </a:lnTo>
                  <a:lnTo>
                    <a:pt x="4337" y="1254"/>
                  </a:lnTo>
                  <a:lnTo>
                    <a:pt x="4337" y="1254"/>
                  </a:lnTo>
                  <a:lnTo>
                    <a:pt x="4337" y="1254"/>
                  </a:lnTo>
                  <a:lnTo>
                    <a:pt x="4334" y="1254"/>
                  </a:lnTo>
                  <a:lnTo>
                    <a:pt x="4337" y="1256"/>
                  </a:lnTo>
                  <a:lnTo>
                    <a:pt x="4337" y="1256"/>
                  </a:lnTo>
                  <a:close/>
                  <a:moveTo>
                    <a:pt x="4355" y="1249"/>
                  </a:moveTo>
                  <a:lnTo>
                    <a:pt x="4355" y="1249"/>
                  </a:lnTo>
                  <a:lnTo>
                    <a:pt x="4353" y="1249"/>
                  </a:lnTo>
                  <a:lnTo>
                    <a:pt x="4353" y="1247"/>
                  </a:lnTo>
                  <a:lnTo>
                    <a:pt x="4353" y="1247"/>
                  </a:lnTo>
                  <a:lnTo>
                    <a:pt x="4353" y="1249"/>
                  </a:lnTo>
                  <a:lnTo>
                    <a:pt x="4353" y="1249"/>
                  </a:lnTo>
                  <a:lnTo>
                    <a:pt x="4355" y="1249"/>
                  </a:lnTo>
                  <a:close/>
                  <a:moveTo>
                    <a:pt x="4415" y="1117"/>
                  </a:moveTo>
                  <a:lnTo>
                    <a:pt x="4413" y="1119"/>
                  </a:lnTo>
                  <a:lnTo>
                    <a:pt x="4415" y="1119"/>
                  </a:lnTo>
                  <a:lnTo>
                    <a:pt x="4417" y="1121"/>
                  </a:lnTo>
                  <a:lnTo>
                    <a:pt x="4419" y="1121"/>
                  </a:lnTo>
                  <a:lnTo>
                    <a:pt x="4419" y="1123"/>
                  </a:lnTo>
                  <a:lnTo>
                    <a:pt x="4419" y="1125"/>
                  </a:lnTo>
                  <a:lnTo>
                    <a:pt x="4419" y="1125"/>
                  </a:lnTo>
                  <a:lnTo>
                    <a:pt x="4417" y="1123"/>
                  </a:lnTo>
                  <a:lnTo>
                    <a:pt x="4417" y="1123"/>
                  </a:lnTo>
                  <a:lnTo>
                    <a:pt x="4415" y="1121"/>
                  </a:lnTo>
                  <a:lnTo>
                    <a:pt x="4415" y="1123"/>
                  </a:lnTo>
                  <a:lnTo>
                    <a:pt x="4415" y="1123"/>
                  </a:lnTo>
                  <a:lnTo>
                    <a:pt x="4415" y="1125"/>
                  </a:lnTo>
                  <a:lnTo>
                    <a:pt x="4417" y="1125"/>
                  </a:lnTo>
                  <a:lnTo>
                    <a:pt x="4417" y="1128"/>
                  </a:lnTo>
                  <a:lnTo>
                    <a:pt x="4417" y="1128"/>
                  </a:lnTo>
                  <a:lnTo>
                    <a:pt x="4417" y="1130"/>
                  </a:lnTo>
                  <a:lnTo>
                    <a:pt x="4417" y="1128"/>
                  </a:lnTo>
                  <a:lnTo>
                    <a:pt x="4419" y="1128"/>
                  </a:lnTo>
                  <a:lnTo>
                    <a:pt x="4421" y="1125"/>
                  </a:lnTo>
                  <a:lnTo>
                    <a:pt x="4421" y="1125"/>
                  </a:lnTo>
                  <a:lnTo>
                    <a:pt x="4423" y="1128"/>
                  </a:lnTo>
                  <a:lnTo>
                    <a:pt x="4423" y="1128"/>
                  </a:lnTo>
                  <a:lnTo>
                    <a:pt x="4423" y="1128"/>
                  </a:lnTo>
                  <a:lnTo>
                    <a:pt x="4425" y="1128"/>
                  </a:lnTo>
                  <a:lnTo>
                    <a:pt x="4425" y="1125"/>
                  </a:lnTo>
                  <a:lnTo>
                    <a:pt x="4425" y="1125"/>
                  </a:lnTo>
                  <a:lnTo>
                    <a:pt x="4425" y="1125"/>
                  </a:lnTo>
                  <a:lnTo>
                    <a:pt x="4423" y="1125"/>
                  </a:lnTo>
                  <a:lnTo>
                    <a:pt x="4423" y="1125"/>
                  </a:lnTo>
                  <a:lnTo>
                    <a:pt x="4423" y="1125"/>
                  </a:lnTo>
                  <a:lnTo>
                    <a:pt x="4423" y="1123"/>
                  </a:lnTo>
                  <a:lnTo>
                    <a:pt x="4423" y="1121"/>
                  </a:lnTo>
                  <a:lnTo>
                    <a:pt x="4421" y="1121"/>
                  </a:lnTo>
                  <a:lnTo>
                    <a:pt x="4423" y="1119"/>
                  </a:lnTo>
                  <a:lnTo>
                    <a:pt x="4423" y="1119"/>
                  </a:lnTo>
                  <a:lnTo>
                    <a:pt x="4423" y="1119"/>
                  </a:lnTo>
                  <a:lnTo>
                    <a:pt x="4425" y="1121"/>
                  </a:lnTo>
                  <a:lnTo>
                    <a:pt x="4425" y="1123"/>
                  </a:lnTo>
                  <a:lnTo>
                    <a:pt x="4427" y="1125"/>
                  </a:lnTo>
                  <a:lnTo>
                    <a:pt x="4427" y="1128"/>
                  </a:lnTo>
                  <a:lnTo>
                    <a:pt x="4427" y="1128"/>
                  </a:lnTo>
                  <a:lnTo>
                    <a:pt x="4427" y="1128"/>
                  </a:lnTo>
                  <a:lnTo>
                    <a:pt x="4429" y="1128"/>
                  </a:lnTo>
                  <a:lnTo>
                    <a:pt x="4427" y="1132"/>
                  </a:lnTo>
                  <a:lnTo>
                    <a:pt x="4427" y="1134"/>
                  </a:lnTo>
                  <a:lnTo>
                    <a:pt x="4425" y="1136"/>
                  </a:lnTo>
                  <a:lnTo>
                    <a:pt x="4425" y="1136"/>
                  </a:lnTo>
                  <a:lnTo>
                    <a:pt x="4423" y="1136"/>
                  </a:lnTo>
                  <a:lnTo>
                    <a:pt x="4423" y="1138"/>
                  </a:lnTo>
                  <a:lnTo>
                    <a:pt x="4423" y="1140"/>
                  </a:lnTo>
                  <a:lnTo>
                    <a:pt x="4423" y="1140"/>
                  </a:lnTo>
                  <a:lnTo>
                    <a:pt x="4423" y="1142"/>
                  </a:lnTo>
                  <a:lnTo>
                    <a:pt x="4423" y="1142"/>
                  </a:lnTo>
                  <a:lnTo>
                    <a:pt x="4423" y="1142"/>
                  </a:lnTo>
                  <a:lnTo>
                    <a:pt x="4425" y="1144"/>
                  </a:lnTo>
                  <a:lnTo>
                    <a:pt x="4425" y="1146"/>
                  </a:lnTo>
                  <a:lnTo>
                    <a:pt x="4423" y="1146"/>
                  </a:lnTo>
                  <a:lnTo>
                    <a:pt x="4423" y="1146"/>
                  </a:lnTo>
                  <a:lnTo>
                    <a:pt x="4421" y="1148"/>
                  </a:lnTo>
                  <a:lnTo>
                    <a:pt x="4423" y="1150"/>
                  </a:lnTo>
                  <a:lnTo>
                    <a:pt x="4423" y="1150"/>
                  </a:lnTo>
                  <a:lnTo>
                    <a:pt x="4425" y="1150"/>
                  </a:lnTo>
                  <a:lnTo>
                    <a:pt x="4427" y="1150"/>
                  </a:lnTo>
                  <a:lnTo>
                    <a:pt x="4429" y="1150"/>
                  </a:lnTo>
                  <a:lnTo>
                    <a:pt x="4429" y="1150"/>
                  </a:lnTo>
                  <a:lnTo>
                    <a:pt x="4427" y="1148"/>
                  </a:lnTo>
                  <a:lnTo>
                    <a:pt x="4427" y="1148"/>
                  </a:lnTo>
                  <a:lnTo>
                    <a:pt x="4427" y="1146"/>
                  </a:lnTo>
                  <a:lnTo>
                    <a:pt x="4427" y="1146"/>
                  </a:lnTo>
                  <a:lnTo>
                    <a:pt x="4429" y="1144"/>
                  </a:lnTo>
                  <a:lnTo>
                    <a:pt x="4429" y="1142"/>
                  </a:lnTo>
                  <a:lnTo>
                    <a:pt x="4429" y="1142"/>
                  </a:lnTo>
                  <a:lnTo>
                    <a:pt x="4431" y="1142"/>
                  </a:lnTo>
                  <a:lnTo>
                    <a:pt x="4431" y="1144"/>
                  </a:lnTo>
                  <a:lnTo>
                    <a:pt x="4431" y="1144"/>
                  </a:lnTo>
                  <a:lnTo>
                    <a:pt x="4431" y="1144"/>
                  </a:lnTo>
                  <a:lnTo>
                    <a:pt x="4431" y="1144"/>
                  </a:lnTo>
                  <a:lnTo>
                    <a:pt x="4429" y="1144"/>
                  </a:lnTo>
                  <a:lnTo>
                    <a:pt x="4429" y="1146"/>
                  </a:lnTo>
                  <a:lnTo>
                    <a:pt x="4431" y="1148"/>
                  </a:lnTo>
                  <a:lnTo>
                    <a:pt x="4431" y="1150"/>
                  </a:lnTo>
                  <a:lnTo>
                    <a:pt x="4431" y="1152"/>
                  </a:lnTo>
                  <a:lnTo>
                    <a:pt x="4429" y="1152"/>
                  </a:lnTo>
                  <a:lnTo>
                    <a:pt x="4429" y="1152"/>
                  </a:lnTo>
                  <a:lnTo>
                    <a:pt x="4429" y="1152"/>
                  </a:lnTo>
                  <a:lnTo>
                    <a:pt x="4429" y="1154"/>
                  </a:lnTo>
                  <a:lnTo>
                    <a:pt x="4433" y="1152"/>
                  </a:lnTo>
                  <a:lnTo>
                    <a:pt x="4436" y="1150"/>
                  </a:lnTo>
                  <a:lnTo>
                    <a:pt x="4436" y="1148"/>
                  </a:lnTo>
                  <a:lnTo>
                    <a:pt x="4436" y="1146"/>
                  </a:lnTo>
                  <a:lnTo>
                    <a:pt x="4436" y="1146"/>
                  </a:lnTo>
                  <a:lnTo>
                    <a:pt x="4438" y="1148"/>
                  </a:lnTo>
                  <a:lnTo>
                    <a:pt x="4440" y="1148"/>
                  </a:lnTo>
                  <a:lnTo>
                    <a:pt x="4440" y="1144"/>
                  </a:lnTo>
                  <a:lnTo>
                    <a:pt x="4442" y="1142"/>
                  </a:lnTo>
                  <a:lnTo>
                    <a:pt x="4440" y="1140"/>
                  </a:lnTo>
                  <a:lnTo>
                    <a:pt x="4442" y="1138"/>
                  </a:lnTo>
                  <a:lnTo>
                    <a:pt x="4442" y="1136"/>
                  </a:lnTo>
                  <a:lnTo>
                    <a:pt x="4442" y="1134"/>
                  </a:lnTo>
                  <a:lnTo>
                    <a:pt x="4444" y="1134"/>
                  </a:lnTo>
                  <a:lnTo>
                    <a:pt x="4444" y="1132"/>
                  </a:lnTo>
                  <a:lnTo>
                    <a:pt x="4444" y="1130"/>
                  </a:lnTo>
                  <a:lnTo>
                    <a:pt x="4448" y="1125"/>
                  </a:lnTo>
                  <a:lnTo>
                    <a:pt x="4448" y="1123"/>
                  </a:lnTo>
                  <a:lnTo>
                    <a:pt x="4448" y="1123"/>
                  </a:lnTo>
                  <a:lnTo>
                    <a:pt x="4448" y="1123"/>
                  </a:lnTo>
                  <a:lnTo>
                    <a:pt x="4448" y="1121"/>
                  </a:lnTo>
                  <a:lnTo>
                    <a:pt x="4448" y="1121"/>
                  </a:lnTo>
                  <a:lnTo>
                    <a:pt x="4448" y="1121"/>
                  </a:lnTo>
                  <a:lnTo>
                    <a:pt x="4446" y="1121"/>
                  </a:lnTo>
                  <a:lnTo>
                    <a:pt x="4446" y="1119"/>
                  </a:lnTo>
                  <a:lnTo>
                    <a:pt x="4448" y="1119"/>
                  </a:lnTo>
                  <a:lnTo>
                    <a:pt x="4444" y="1119"/>
                  </a:lnTo>
                  <a:lnTo>
                    <a:pt x="4442" y="1117"/>
                  </a:lnTo>
                  <a:lnTo>
                    <a:pt x="4444" y="1117"/>
                  </a:lnTo>
                  <a:lnTo>
                    <a:pt x="4444" y="1115"/>
                  </a:lnTo>
                  <a:lnTo>
                    <a:pt x="4444" y="1113"/>
                  </a:lnTo>
                  <a:lnTo>
                    <a:pt x="4444" y="1113"/>
                  </a:lnTo>
                  <a:lnTo>
                    <a:pt x="4444" y="1113"/>
                  </a:lnTo>
                  <a:lnTo>
                    <a:pt x="4442" y="1113"/>
                  </a:lnTo>
                  <a:lnTo>
                    <a:pt x="4442" y="1113"/>
                  </a:lnTo>
                  <a:lnTo>
                    <a:pt x="4440" y="1113"/>
                  </a:lnTo>
                  <a:lnTo>
                    <a:pt x="4440" y="1113"/>
                  </a:lnTo>
                  <a:lnTo>
                    <a:pt x="4438" y="1113"/>
                  </a:lnTo>
                  <a:lnTo>
                    <a:pt x="4438" y="1113"/>
                  </a:lnTo>
                  <a:lnTo>
                    <a:pt x="4436" y="1111"/>
                  </a:lnTo>
                  <a:lnTo>
                    <a:pt x="4433" y="1111"/>
                  </a:lnTo>
                  <a:lnTo>
                    <a:pt x="4433" y="1109"/>
                  </a:lnTo>
                  <a:lnTo>
                    <a:pt x="4431" y="1109"/>
                  </a:lnTo>
                  <a:lnTo>
                    <a:pt x="4429" y="1107"/>
                  </a:lnTo>
                  <a:lnTo>
                    <a:pt x="4429" y="1109"/>
                  </a:lnTo>
                  <a:lnTo>
                    <a:pt x="4427" y="1109"/>
                  </a:lnTo>
                  <a:lnTo>
                    <a:pt x="4427" y="1111"/>
                  </a:lnTo>
                  <a:lnTo>
                    <a:pt x="4425" y="1111"/>
                  </a:lnTo>
                  <a:lnTo>
                    <a:pt x="4425" y="1113"/>
                  </a:lnTo>
                  <a:lnTo>
                    <a:pt x="4423" y="1113"/>
                  </a:lnTo>
                  <a:lnTo>
                    <a:pt x="4423" y="1113"/>
                  </a:lnTo>
                  <a:lnTo>
                    <a:pt x="4421" y="1113"/>
                  </a:lnTo>
                  <a:lnTo>
                    <a:pt x="4421" y="1113"/>
                  </a:lnTo>
                  <a:lnTo>
                    <a:pt x="4421" y="1115"/>
                  </a:lnTo>
                  <a:lnTo>
                    <a:pt x="4419" y="1115"/>
                  </a:lnTo>
                  <a:lnTo>
                    <a:pt x="4417" y="1115"/>
                  </a:lnTo>
                  <a:lnTo>
                    <a:pt x="4417" y="1115"/>
                  </a:lnTo>
                  <a:lnTo>
                    <a:pt x="4417" y="1117"/>
                  </a:lnTo>
                  <a:lnTo>
                    <a:pt x="4417" y="1117"/>
                  </a:lnTo>
                  <a:lnTo>
                    <a:pt x="4415" y="1117"/>
                  </a:lnTo>
                  <a:lnTo>
                    <a:pt x="4415" y="1117"/>
                  </a:lnTo>
                  <a:lnTo>
                    <a:pt x="4415" y="1117"/>
                  </a:lnTo>
                  <a:close/>
                  <a:moveTo>
                    <a:pt x="4388" y="1097"/>
                  </a:moveTo>
                  <a:lnTo>
                    <a:pt x="4388" y="1097"/>
                  </a:lnTo>
                  <a:lnTo>
                    <a:pt x="4388" y="1097"/>
                  </a:lnTo>
                  <a:lnTo>
                    <a:pt x="4388" y="1097"/>
                  </a:lnTo>
                  <a:lnTo>
                    <a:pt x="4388" y="1097"/>
                  </a:lnTo>
                  <a:close/>
                  <a:moveTo>
                    <a:pt x="4417" y="1111"/>
                  </a:moveTo>
                  <a:lnTo>
                    <a:pt x="4417" y="1109"/>
                  </a:lnTo>
                  <a:lnTo>
                    <a:pt x="4415" y="1109"/>
                  </a:lnTo>
                  <a:lnTo>
                    <a:pt x="4415" y="1109"/>
                  </a:lnTo>
                  <a:lnTo>
                    <a:pt x="4415" y="1111"/>
                  </a:lnTo>
                  <a:lnTo>
                    <a:pt x="4415" y="1111"/>
                  </a:lnTo>
                  <a:lnTo>
                    <a:pt x="4417" y="1111"/>
                  </a:lnTo>
                  <a:close/>
                  <a:moveTo>
                    <a:pt x="4462" y="1082"/>
                  </a:moveTo>
                  <a:lnTo>
                    <a:pt x="4458" y="1084"/>
                  </a:lnTo>
                  <a:lnTo>
                    <a:pt x="4458" y="1084"/>
                  </a:lnTo>
                  <a:lnTo>
                    <a:pt x="4456" y="1086"/>
                  </a:lnTo>
                  <a:lnTo>
                    <a:pt x="4454" y="1088"/>
                  </a:lnTo>
                  <a:lnTo>
                    <a:pt x="4452" y="1090"/>
                  </a:lnTo>
                  <a:lnTo>
                    <a:pt x="4450" y="1090"/>
                  </a:lnTo>
                  <a:lnTo>
                    <a:pt x="4450" y="1092"/>
                  </a:lnTo>
                  <a:lnTo>
                    <a:pt x="4448" y="1095"/>
                  </a:lnTo>
                  <a:lnTo>
                    <a:pt x="4446" y="1095"/>
                  </a:lnTo>
                  <a:lnTo>
                    <a:pt x="4444" y="1097"/>
                  </a:lnTo>
                  <a:lnTo>
                    <a:pt x="4444" y="1097"/>
                  </a:lnTo>
                  <a:lnTo>
                    <a:pt x="4442" y="1099"/>
                  </a:lnTo>
                  <a:lnTo>
                    <a:pt x="4440" y="1099"/>
                  </a:lnTo>
                  <a:lnTo>
                    <a:pt x="4440" y="1101"/>
                  </a:lnTo>
                  <a:lnTo>
                    <a:pt x="4438" y="1101"/>
                  </a:lnTo>
                  <a:lnTo>
                    <a:pt x="4436" y="1101"/>
                  </a:lnTo>
                  <a:lnTo>
                    <a:pt x="4433" y="1101"/>
                  </a:lnTo>
                  <a:lnTo>
                    <a:pt x="4433" y="1101"/>
                  </a:lnTo>
                  <a:lnTo>
                    <a:pt x="4433" y="1103"/>
                  </a:lnTo>
                  <a:lnTo>
                    <a:pt x="4433" y="1103"/>
                  </a:lnTo>
                  <a:lnTo>
                    <a:pt x="4433" y="1107"/>
                  </a:lnTo>
                  <a:lnTo>
                    <a:pt x="4433" y="1107"/>
                  </a:lnTo>
                  <a:lnTo>
                    <a:pt x="4436" y="1107"/>
                  </a:lnTo>
                  <a:lnTo>
                    <a:pt x="4436" y="1107"/>
                  </a:lnTo>
                  <a:lnTo>
                    <a:pt x="4438" y="1107"/>
                  </a:lnTo>
                  <a:lnTo>
                    <a:pt x="4440" y="1107"/>
                  </a:lnTo>
                  <a:lnTo>
                    <a:pt x="4440" y="1107"/>
                  </a:lnTo>
                  <a:lnTo>
                    <a:pt x="4442" y="1107"/>
                  </a:lnTo>
                  <a:lnTo>
                    <a:pt x="4444" y="1107"/>
                  </a:lnTo>
                  <a:lnTo>
                    <a:pt x="4446" y="1107"/>
                  </a:lnTo>
                  <a:lnTo>
                    <a:pt x="4450" y="1109"/>
                  </a:lnTo>
                  <a:lnTo>
                    <a:pt x="4450" y="1109"/>
                  </a:lnTo>
                  <a:lnTo>
                    <a:pt x="4450" y="1107"/>
                  </a:lnTo>
                  <a:lnTo>
                    <a:pt x="4452" y="1107"/>
                  </a:lnTo>
                  <a:lnTo>
                    <a:pt x="4452" y="1103"/>
                  </a:lnTo>
                  <a:lnTo>
                    <a:pt x="4452" y="1101"/>
                  </a:lnTo>
                  <a:lnTo>
                    <a:pt x="4454" y="1101"/>
                  </a:lnTo>
                  <a:lnTo>
                    <a:pt x="4456" y="1103"/>
                  </a:lnTo>
                  <a:lnTo>
                    <a:pt x="4458" y="1103"/>
                  </a:lnTo>
                  <a:lnTo>
                    <a:pt x="4460" y="1103"/>
                  </a:lnTo>
                  <a:lnTo>
                    <a:pt x="4462" y="1101"/>
                  </a:lnTo>
                  <a:lnTo>
                    <a:pt x="4464" y="1103"/>
                  </a:lnTo>
                  <a:lnTo>
                    <a:pt x="4466" y="1101"/>
                  </a:lnTo>
                  <a:lnTo>
                    <a:pt x="4466" y="1101"/>
                  </a:lnTo>
                  <a:lnTo>
                    <a:pt x="4468" y="1101"/>
                  </a:lnTo>
                  <a:lnTo>
                    <a:pt x="4468" y="1101"/>
                  </a:lnTo>
                  <a:lnTo>
                    <a:pt x="4471" y="1099"/>
                  </a:lnTo>
                  <a:lnTo>
                    <a:pt x="4473" y="1099"/>
                  </a:lnTo>
                  <a:lnTo>
                    <a:pt x="4475" y="1099"/>
                  </a:lnTo>
                  <a:lnTo>
                    <a:pt x="4477" y="1099"/>
                  </a:lnTo>
                  <a:lnTo>
                    <a:pt x="4479" y="1097"/>
                  </a:lnTo>
                  <a:lnTo>
                    <a:pt x="4479" y="1097"/>
                  </a:lnTo>
                  <a:lnTo>
                    <a:pt x="4481" y="1095"/>
                  </a:lnTo>
                  <a:lnTo>
                    <a:pt x="4483" y="1095"/>
                  </a:lnTo>
                  <a:lnTo>
                    <a:pt x="4483" y="1095"/>
                  </a:lnTo>
                  <a:lnTo>
                    <a:pt x="4485" y="1095"/>
                  </a:lnTo>
                  <a:lnTo>
                    <a:pt x="4487" y="1095"/>
                  </a:lnTo>
                  <a:lnTo>
                    <a:pt x="4487" y="1095"/>
                  </a:lnTo>
                  <a:lnTo>
                    <a:pt x="4489" y="1097"/>
                  </a:lnTo>
                  <a:lnTo>
                    <a:pt x="4491" y="1097"/>
                  </a:lnTo>
                  <a:lnTo>
                    <a:pt x="4493" y="1097"/>
                  </a:lnTo>
                  <a:lnTo>
                    <a:pt x="4495" y="1097"/>
                  </a:lnTo>
                  <a:lnTo>
                    <a:pt x="4497" y="1097"/>
                  </a:lnTo>
                  <a:lnTo>
                    <a:pt x="4497" y="1099"/>
                  </a:lnTo>
                  <a:lnTo>
                    <a:pt x="4497" y="1099"/>
                  </a:lnTo>
                  <a:lnTo>
                    <a:pt x="4495" y="1101"/>
                  </a:lnTo>
                  <a:lnTo>
                    <a:pt x="4495" y="1101"/>
                  </a:lnTo>
                  <a:lnTo>
                    <a:pt x="4493" y="1101"/>
                  </a:lnTo>
                  <a:lnTo>
                    <a:pt x="4493" y="1103"/>
                  </a:lnTo>
                  <a:lnTo>
                    <a:pt x="4493" y="1103"/>
                  </a:lnTo>
                  <a:lnTo>
                    <a:pt x="4493" y="1107"/>
                  </a:lnTo>
                  <a:lnTo>
                    <a:pt x="4493" y="1109"/>
                  </a:lnTo>
                  <a:lnTo>
                    <a:pt x="4495" y="1109"/>
                  </a:lnTo>
                  <a:lnTo>
                    <a:pt x="4495" y="1111"/>
                  </a:lnTo>
                  <a:lnTo>
                    <a:pt x="4497" y="1113"/>
                  </a:lnTo>
                  <a:lnTo>
                    <a:pt x="4497" y="1113"/>
                  </a:lnTo>
                  <a:lnTo>
                    <a:pt x="4501" y="1115"/>
                  </a:lnTo>
                  <a:lnTo>
                    <a:pt x="4504" y="1113"/>
                  </a:lnTo>
                  <a:lnTo>
                    <a:pt x="4506" y="1111"/>
                  </a:lnTo>
                  <a:lnTo>
                    <a:pt x="4510" y="1105"/>
                  </a:lnTo>
                  <a:lnTo>
                    <a:pt x="4510" y="1105"/>
                  </a:lnTo>
                  <a:lnTo>
                    <a:pt x="4514" y="1103"/>
                  </a:lnTo>
                  <a:lnTo>
                    <a:pt x="4516" y="1103"/>
                  </a:lnTo>
                  <a:lnTo>
                    <a:pt x="4518" y="1101"/>
                  </a:lnTo>
                  <a:lnTo>
                    <a:pt x="4518" y="1101"/>
                  </a:lnTo>
                  <a:lnTo>
                    <a:pt x="4518" y="1101"/>
                  </a:lnTo>
                  <a:lnTo>
                    <a:pt x="4518" y="1099"/>
                  </a:lnTo>
                  <a:lnTo>
                    <a:pt x="4514" y="1097"/>
                  </a:lnTo>
                  <a:lnTo>
                    <a:pt x="4514" y="1097"/>
                  </a:lnTo>
                  <a:lnTo>
                    <a:pt x="4514" y="1095"/>
                  </a:lnTo>
                  <a:lnTo>
                    <a:pt x="4516" y="1090"/>
                  </a:lnTo>
                  <a:lnTo>
                    <a:pt x="4516" y="1090"/>
                  </a:lnTo>
                  <a:lnTo>
                    <a:pt x="4516" y="1090"/>
                  </a:lnTo>
                  <a:lnTo>
                    <a:pt x="4518" y="1090"/>
                  </a:lnTo>
                  <a:lnTo>
                    <a:pt x="4518" y="1090"/>
                  </a:lnTo>
                  <a:lnTo>
                    <a:pt x="4518" y="1090"/>
                  </a:lnTo>
                  <a:lnTo>
                    <a:pt x="4518" y="1092"/>
                  </a:lnTo>
                  <a:lnTo>
                    <a:pt x="4518" y="1095"/>
                  </a:lnTo>
                  <a:lnTo>
                    <a:pt x="4518" y="1095"/>
                  </a:lnTo>
                  <a:lnTo>
                    <a:pt x="4518" y="1095"/>
                  </a:lnTo>
                  <a:lnTo>
                    <a:pt x="4518" y="1095"/>
                  </a:lnTo>
                  <a:lnTo>
                    <a:pt x="4518" y="1095"/>
                  </a:lnTo>
                  <a:lnTo>
                    <a:pt x="4520" y="1092"/>
                  </a:lnTo>
                  <a:lnTo>
                    <a:pt x="4520" y="1095"/>
                  </a:lnTo>
                  <a:lnTo>
                    <a:pt x="4520" y="1095"/>
                  </a:lnTo>
                  <a:lnTo>
                    <a:pt x="4520" y="1095"/>
                  </a:lnTo>
                  <a:lnTo>
                    <a:pt x="4522" y="1095"/>
                  </a:lnTo>
                  <a:lnTo>
                    <a:pt x="4524" y="1095"/>
                  </a:lnTo>
                  <a:lnTo>
                    <a:pt x="4524" y="1095"/>
                  </a:lnTo>
                  <a:lnTo>
                    <a:pt x="4524" y="1095"/>
                  </a:lnTo>
                  <a:lnTo>
                    <a:pt x="4520" y="1097"/>
                  </a:lnTo>
                  <a:lnTo>
                    <a:pt x="4520" y="1097"/>
                  </a:lnTo>
                  <a:lnTo>
                    <a:pt x="4524" y="1097"/>
                  </a:lnTo>
                  <a:lnTo>
                    <a:pt x="4528" y="1097"/>
                  </a:lnTo>
                  <a:lnTo>
                    <a:pt x="4530" y="1097"/>
                  </a:lnTo>
                  <a:lnTo>
                    <a:pt x="4532" y="1097"/>
                  </a:lnTo>
                  <a:lnTo>
                    <a:pt x="4534" y="1097"/>
                  </a:lnTo>
                  <a:lnTo>
                    <a:pt x="4537" y="1097"/>
                  </a:lnTo>
                  <a:lnTo>
                    <a:pt x="4537" y="1095"/>
                  </a:lnTo>
                  <a:lnTo>
                    <a:pt x="4539" y="1092"/>
                  </a:lnTo>
                  <a:lnTo>
                    <a:pt x="4541" y="1092"/>
                  </a:lnTo>
                  <a:lnTo>
                    <a:pt x="4541" y="1090"/>
                  </a:lnTo>
                  <a:lnTo>
                    <a:pt x="4541" y="1090"/>
                  </a:lnTo>
                  <a:lnTo>
                    <a:pt x="4543" y="1090"/>
                  </a:lnTo>
                  <a:lnTo>
                    <a:pt x="4545" y="1088"/>
                  </a:lnTo>
                  <a:lnTo>
                    <a:pt x="4545" y="1088"/>
                  </a:lnTo>
                  <a:lnTo>
                    <a:pt x="4547" y="1090"/>
                  </a:lnTo>
                  <a:lnTo>
                    <a:pt x="4545" y="1090"/>
                  </a:lnTo>
                  <a:lnTo>
                    <a:pt x="4545" y="1092"/>
                  </a:lnTo>
                  <a:lnTo>
                    <a:pt x="4545" y="1097"/>
                  </a:lnTo>
                  <a:lnTo>
                    <a:pt x="4545" y="1097"/>
                  </a:lnTo>
                  <a:lnTo>
                    <a:pt x="4545" y="1097"/>
                  </a:lnTo>
                  <a:lnTo>
                    <a:pt x="4547" y="1097"/>
                  </a:lnTo>
                  <a:lnTo>
                    <a:pt x="4547" y="1097"/>
                  </a:lnTo>
                  <a:lnTo>
                    <a:pt x="4549" y="1095"/>
                  </a:lnTo>
                  <a:lnTo>
                    <a:pt x="4549" y="1092"/>
                  </a:lnTo>
                  <a:lnTo>
                    <a:pt x="4549" y="1092"/>
                  </a:lnTo>
                  <a:lnTo>
                    <a:pt x="4549" y="1088"/>
                  </a:lnTo>
                  <a:lnTo>
                    <a:pt x="4551" y="1088"/>
                  </a:lnTo>
                  <a:lnTo>
                    <a:pt x="4551" y="1088"/>
                  </a:lnTo>
                  <a:lnTo>
                    <a:pt x="4551" y="1086"/>
                  </a:lnTo>
                  <a:lnTo>
                    <a:pt x="4553" y="1086"/>
                  </a:lnTo>
                  <a:lnTo>
                    <a:pt x="4555" y="1086"/>
                  </a:lnTo>
                  <a:lnTo>
                    <a:pt x="4557" y="1086"/>
                  </a:lnTo>
                  <a:lnTo>
                    <a:pt x="4557" y="1088"/>
                  </a:lnTo>
                  <a:lnTo>
                    <a:pt x="4557" y="1088"/>
                  </a:lnTo>
                  <a:lnTo>
                    <a:pt x="4559" y="1086"/>
                  </a:lnTo>
                  <a:lnTo>
                    <a:pt x="4559" y="1086"/>
                  </a:lnTo>
                  <a:lnTo>
                    <a:pt x="4557" y="1086"/>
                  </a:lnTo>
                  <a:lnTo>
                    <a:pt x="4557" y="1086"/>
                  </a:lnTo>
                  <a:lnTo>
                    <a:pt x="4557" y="1084"/>
                  </a:lnTo>
                  <a:lnTo>
                    <a:pt x="4559" y="1082"/>
                  </a:lnTo>
                  <a:lnTo>
                    <a:pt x="4559" y="1082"/>
                  </a:lnTo>
                  <a:lnTo>
                    <a:pt x="4559" y="1082"/>
                  </a:lnTo>
                  <a:lnTo>
                    <a:pt x="4559" y="1080"/>
                  </a:lnTo>
                  <a:lnTo>
                    <a:pt x="4559" y="1080"/>
                  </a:lnTo>
                  <a:lnTo>
                    <a:pt x="4561" y="1080"/>
                  </a:lnTo>
                  <a:lnTo>
                    <a:pt x="4561" y="1080"/>
                  </a:lnTo>
                  <a:lnTo>
                    <a:pt x="4563" y="1080"/>
                  </a:lnTo>
                  <a:lnTo>
                    <a:pt x="4563" y="1082"/>
                  </a:lnTo>
                  <a:lnTo>
                    <a:pt x="4563" y="1082"/>
                  </a:lnTo>
                  <a:lnTo>
                    <a:pt x="4563" y="1082"/>
                  </a:lnTo>
                  <a:lnTo>
                    <a:pt x="4561" y="1084"/>
                  </a:lnTo>
                  <a:lnTo>
                    <a:pt x="4561" y="1084"/>
                  </a:lnTo>
                  <a:lnTo>
                    <a:pt x="4559" y="1086"/>
                  </a:lnTo>
                  <a:lnTo>
                    <a:pt x="4559" y="1086"/>
                  </a:lnTo>
                  <a:lnTo>
                    <a:pt x="4559" y="1090"/>
                  </a:lnTo>
                  <a:lnTo>
                    <a:pt x="4559" y="1090"/>
                  </a:lnTo>
                  <a:lnTo>
                    <a:pt x="4559" y="1092"/>
                  </a:lnTo>
                  <a:lnTo>
                    <a:pt x="4559" y="1092"/>
                  </a:lnTo>
                  <a:lnTo>
                    <a:pt x="4561" y="1092"/>
                  </a:lnTo>
                  <a:lnTo>
                    <a:pt x="4561" y="1092"/>
                  </a:lnTo>
                  <a:lnTo>
                    <a:pt x="4563" y="1090"/>
                  </a:lnTo>
                  <a:lnTo>
                    <a:pt x="4565" y="1088"/>
                  </a:lnTo>
                  <a:lnTo>
                    <a:pt x="4567" y="1088"/>
                  </a:lnTo>
                  <a:lnTo>
                    <a:pt x="4567" y="1088"/>
                  </a:lnTo>
                  <a:lnTo>
                    <a:pt x="4567" y="1086"/>
                  </a:lnTo>
                  <a:lnTo>
                    <a:pt x="4567" y="1086"/>
                  </a:lnTo>
                  <a:lnTo>
                    <a:pt x="4567" y="1084"/>
                  </a:lnTo>
                  <a:lnTo>
                    <a:pt x="4570" y="1082"/>
                  </a:lnTo>
                  <a:lnTo>
                    <a:pt x="4572" y="1080"/>
                  </a:lnTo>
                  <a:lnTo>
                    <a:pt x="4572" y="1080"/>
                  </a:lnTo>
                  <a:lnTo>
                    <a:pt x="4576" y="1080"/>
                  </a:lnTo>
                  <a:lnTo>
                    <a:pt x="4574" y="1078"/>
                  </a:lnTo>
                  <a:lnTo>
                    <a:pt x="4574" y="1078"/>
                  </a:lnTo>
                  <a:lnTo>
                    <a:pt x="4572" y="1074"/>
                  </a:lnTo>
                  <a:lnTo>
                    <a:pt x="4572" y="1072"/>
                  </a:lnTo>
                  <a:lnTo>
                    <a:pt x="4570" y="1072"/>
                  </a:lnTo>
                  <a:lnTo>
                    <a:pt x="4572" y="1070"/>
                  </a:lnTo>
                  <a:lnTo>
                    <a:pt x="4572" y="1068"/>
                  </a:lnTo>
                  <a:lnTo>
                    <a:pt x="4572" y="1068"/>
                  </a:lnTo>
                  <a:lnTo>
                    <a:pt x="4572" y="1066"/>
                  </a:lnTo>
                  <a:lnTo>
                    <a:pt x="4574" y="1064"/>
                  </a:lnTo>
                  <a:lnTo>
                    <a:pt x="4574" y="1061"/>
                  </a:lnTo>
                  <a:lnTo>
                    <a:pt x="4574" y="1059"/>
                  </a:lnTo>
                  <a:lnTo>
                    <a:pt x="4576" y="1059"/>
                  </a:lnTo>
                  <a:lnTo>
                    <a:pt x="4576" y="1059"/>
                  </a:lnTo>
                  <a:lnTo>
                    <a:pt x="4576" y="1057"/>
                  </a:lnTo>
                  <a:lnTo>
                    <a:pt x="4578" y="1051"/>
                  </a:lnTo>
                  <a:lnTo>
                    <a:pt x="4576" y="1047"/>
                  </a:lnTo>
                  <a:lnTo>
                    <a:pt x="4576" y="1045"/>
                  </a:lnTo>
                  <a:lnTo>
                    <a:pt x="4576" y="1043"/>
                  </a:lnTo>
                  <a:lnTo>
                    <a:pt x="4576" y="1041"/>
                  </a:lnTo>
                  <a:lnTo>
                    <a:pt x="4576" y="1039"/>
                  </a:lnTo>
                  <a:lnTo>
                    <a:pt x="4578" y="1037"/>
                  </a:lnTo>
                  <a:lnTo>
                    <a:pt x="4578" y="1037"/>
                  </a:lnTo>
                  <a:lnTo>
                    <a:pt x="4580" y="1037"/>
                  </a:lnTo>
                  <a:lnTo>
                    <a:pt x="4582" y="1037"/>
                  </a:lnTo>
                  <a:lnTo>
                    <a:pt x="4584" y="1035"/>
                  </a:lnTo>
                  <a:lnTo>
                    <a:pt x="4584" y="1035"/>
                  </a:lnTo>
                  <a:lnTo>
                    <a:pt x="4584" y="1033"/>
                  </a:lnTo>
                  <a:lnTo>
                    <a:pt x="4584" y="1031"/>
                  </a:lnTo>
                  <a:lnTo>
                    <a:pt x="4584" y="1028"/>
                  </a:lnTo>
                  <a:lnTo>
                    <a:pt x="4586" y="1028"/>
                  </a:lnTo>
                  <a:lnTo>
                    <a:pt x="4586" y="1026"/>
                  </a:lnTo>
                  <a:lnTo>
                    <a:pt x="4586" y="1026"/>
                  </a:lnTo>
                  <a:lnTo>
                    <a:pt x="4586" y="1026"/>
                  </a:lnTo>
                  <a:lnTo>
                    <a:pt x="4588" y="1026"/>
                  </a:lnTo>
                  <a:lnTo>
                    <a:pt x="4588" y="1026"/>
                  </a:lnTo>
                  <a:lnTo>
                    <a:pt x="4588" y="1024"/>
                  </a:lnTo>
                  <a:lnTo>
                    <a:pt x="4588" y="1024"/>
                  </a:lnTo>
                  <a:lnTo>
                    <a:pt x="4590" y="1024"/>
                  </a:lnTo>
                  <a:lnTo>
                    <a:pt x="4590" y="1022"/>
                  </a:lnTo>
                  <a:lnTo>
                    <a:pt x="4590" y="1018"/>
                  </a:lnTo>
                  <a:lnTo>
                    <a:pt x="4590" y="1016"/>
                  </a:lnTo>
                  <a:lnTo>
                    <a:pt x="4590" y="1014"/>
                  </a:lnTo>
                  <a:lnTo>
                    <a:pt x="4590" y="1014"/>
                  </a:lnTo>
                  <a:lnTo>
                    <a:pt x="4590" y="1012"/>
                  </a:lnTo>
                  <a:lnTo>
                    <a:pt x="4590" y="1012"/>
                  </a:lnTo>
                  <a:lnTo>
                    <a:pt x="4590" y="1010"/>
                  </a:lnTo>
                  <a:lnTo>
                    <a:pt x="4590" y="1008"/>
                  </a:lnTo>
                  <a:lnTo>
                    <a:pt x="4588" y="1004"/>
                  </a:lnTo>
                  <a:lnTo>
                    <a:pt x="4586" y="1002"/>
                  </a:lnTo>
                  <a:lnTo>
                    <a:pt x="4584" y="1000"/>
                  </a:lnTo>
                  <a:lnTo>
                    <a:pt x="4584" y="1000"/>
                  </a:lnTo>
                  <a:lnTo>
                    <a:pt x="4582" y="997"/>
                  </a:lnTo>
                  <a:lnTo>
                    <a:pt x="4582" y="995"/>
                  </a:lnTo>
                  <a:lnTo>
                    <a:pt x="4582" y="991"/>
                  </a:lnTo>
                  <a:lnTo>
                    <a:pt x="4582" y="987"/>
                  </a:lnTo>
                  <a:lnTo>
                    <a:pt x="4584" y="985"/>
                  </a:lnTo>
                  <a:lnTo>
                    <a:pt x="4580" y="987"/>
                  </a:lnTo>
                  <a:lnTo>
                    <a:pt x="4580" y="985"/>
                  </a:lnTo>
                  <a:lnTo>
                    <a:pt x="4578" y="985"/>
                  </a:lnTo>
                  <a:lnTo>
                    <a:pt x="4578" y="985"/>
                  </a:lnTo>
                  <a:lnTo>
                    <a:pt x="4576" y="983"/>
                  </a:lnTo>
                  <a:lnTo>
                    <a:pt x="4576" y="985"/>
                  </a:lnTo>
                  <a:lnTo>
                    <a:pt x="4574" y="985"/>
                  </a:lnTo>
                  <a:lnTo>
                    <a:pt x="4574" y="987"/>
                  </a:lnTo>
                  <a:lnTo>
                    <a:pt x="4574" y="989"/>
                  </a:lnTo>
                  <a:lnTo>
                    <a:pt x="4578" y="989"/>
                  </a:lnTo>
                  <a:lnTo>
                    <a:pt x="4578" y="989"/>
                  </a:lnTo>
                  <a:lnTo>
                    <a:pt x="4580" y="989"/>
                  </a:lnTo>
                  <a:lnTo>
                    <a:pt x="4580" y="989"/>
                  </a:lnTo>
                  <a:lnTo>
                    <a:pt x="4580" y="989"/>
                  </a:lnTo>
                  <a:lnTo>
                    <a:pt x="4580" y="991"/>
                  </a:lnTo>
                  <a:lnTo>
                    <a:pt x="4580" y="993"/>
                  </a:lnTo>
                  <a:lnTo>
                    <a:pt x="4580" y="993"/>
                  </a:lnTo>
                  <a:lnTo>
                    <a:pt x="4578" y="993"/>
                  </a:lnTo>
                  <a:lnTo>
                    <a:pt x="4576" y="993"/>
                  </a:lnTo>
                  <a:lnTo>
                    <a:pt x="4576" y="993"/>
                  </a:lnTo>
                  <a:lnTo>
                    <a:pt x="4574" y="995"/>
                  </a:lnTo>
                  <a:lnTo>
                    <a:pt x="4574" y="995"/>
                  </a:lnTo>
                  <a:lnTo>
                    <a:pt x="4574" y="995"/>
                  </a:lnTo>
                  <a:lnTo>
                    <a:pt x="4572" y="995"/>
                  </a:lnTo>
                  <a:lnTo>
                    <a:pt x="4572" y="993"/>
                  </a:lnTo>
                  <a:lnTo>
                    <a:pt x="4572" y="989"/>
                  </a:lnTo>
                  <a:lnTo>
                    <a:pt x="4572" y="989"/>
                  </a:lnTo>
                  <a:lnTo>
                    <a:pt x="4570" y="989"/>
                  </a:lnTo>
                  <a:lnTo>
                    <a:pt x="4570" y="989"/>
                  </a:lnTo>
                  <a:lnTo>
                    <a:pt x="4570" y="989"/>
                  </a:lnTo>
                  <a:lnTo>
                    <a:pt x="4567" y="989"/>
                  </a:lnTo>
                  <a:lnTo>
                    <a:pt x="4567" y="989"/>
                  </a:lnTo>
                  <a:lnTo>
                    <a:pt x="4567" y="989"/>
                  </a:lnTo>
                  <a:lnTo>
                    <a:pt x="4567" y="991"/>
                  </a:lnTo>
                  <a:lnTo>
                    <a:pt x="4567" y="993"/>
                  </a:lnTo>
                  <a:lnTo>
                    <a:pt x="4565" y="995"/>
                  </a:lnTo>
                  <a:lnTo>
                    <a:pt x="4565" y="995"/>
                  </a:lnTo>
                  <a:lnTo>
                    <a:pt x="4565" y="995"/>
                  </a:lnTo>
                  <a:lnTo>
                    <a:pt x="4565" y="997"/>
                  </a:lnTo>
                  <a:lnTo>
                    <a:pt x="4563" y="997"/>
                  </a:lnTo>
                  <a:lnTo>
                    <a:pt x="4563" y="997"/>
                  </a:lnTo>
                  <a:lnTo>
                    <a:pt x="4561" y="997"/>
                  </a:lnTo>
                  <a:lnTo>
                    <a:pt x="4561" y="1000"/>
                  </a:lnTo>
                  <a:lnTo>
                    <a:pt x="4561" y="1000"/>
                  </a:lnTo>
                  <a:lnTo>
                    <a:pt x="4561" y="1002"/>
                  </a:lnTo>
                  <a:lnTo>
                    <a:pt x="4563" y="1004"/>
                  </a:lnTo>
                  <a:lnTo>
                    <a:pt x="4563" y="1006"/>
                  </a:lnTo>
                  <a:lnTo>
                    <a:pt x="4561" y="1008"/>
                  </a:lnTo>
                  <a:lnTo>
                    <a:pt x="4561" y="1008"/>
                  </a:lnTo>
                  <a:lnTo>
                    <a:pt x="4561" y="1010"/>
                  </a:lnTo>
                  <a:lnTo>
                    <a:pt x="4559" y="1010"/>
                  </a:lnTo>
                  <a:lnTo>
                    <a:pt x="4559" y="1010"/>
                  </a:lnTo>
                  <a:lnTo>
                    <a:pt x="4559" y="1010"/>
                  </a:lnTo>
                  <a:lnTo>
                    <a:pt x="4559" y="1012"/>
                  </a:lnTo>
                  <a:lnTo>
                    <a:pt x="4561" y="1012"/>
                  </a:lnTo>
                  <a:lnTo>
                    <a:pt x="4561" y="1012"/>
                  </a:lnTo>
                  <a:lnTo>
                    <a:pt x="4561" y="1012"/>
                  </a:lnTo>
                  <a:lnTo>
                    <a:pt x="4563" y="1014"/>
                  </a:lnTo>
                  <a:lnTo>
                    <a:pt x="4563" y="1016"/>
                  </a:lnTo>
                  <a:lnTo>
                    <a:pt x="4563" y="1018"/>
                  </a:lnTo>
                  <a:lnTo>
                    <a:pt x="4563" y="1018"/>
                  </a:lnTo>
                  <a:lnTo>
                    <a:pt x="4563" y="1020"/>
                  </a:lnTo>
                  <a:lnTo>
                    <a:pt x="4561" y="1020"/>
                  </a:lnTo>
                  <a:lnTo>
                    <a:pt x="4561" y="1020"/>
                  </a:lnTo>
                  <a:lnTo>
                    <a:pt x="4561" y="1022"/>
                  </a:lnTo>
                  <a:lnTo>
                    <a:pt x="4561" y="1024"/>
                  </a:lnTo>
                  <a:lnTo>
                    <a:pt x="4559" y="1028"/>
                  </a:lnTo>
                  <a:lnTo>
                    <a:pt x="4559" y="1028"/>
                  </a:lnTo>
                  <a:lnTo>
                    <a:pt x="4557" y="1031"/>
                  </a:lnTo>
                  <a:lnTo>
                    <a:pt x="4557" y="1033"/>
                  </a:lnTo>
                  <a:lnTo>
                    <a:pt x="4555" y="1035"/>
                  </a:lnTo>
                  <a:lnTo>
                    <a:pt x="4555" y="1035"/>
                  </a:lnTo>
                  <a:lnTo>
                    <a:pt x="4555" y="1039"/>
                  </a:lnTo>
                  <a:lnTo>
                    <a:pt x="4553" y="1041"/>
                  </a:lnTo>
                  <a:lnTo>
                    <a:pt x="4553" y="1041"/>
                  </a:lnTo>
                  <a:lnTo>
                    <a:pt x="4551" y="1043"/>
                  </a:lnTo>
                  <a:lnTo>
                    <a:pt x="4547" y="1045"/>
                  </a:lnTo>
                  <a:lnTo>
                    <a:pt x="4545" y="1045"/>
                  </a:lnTo>
                  <a:lnTo>
                    <a:pt x="4545" y="1047"/>
                  </a:lnTo>
                  <a:lnTo>
                    <a:pt x="4545" y="1049"/>
                  </a:lnTo>
                  <a:lnTo>
                    <a:pt x="4543" y="1051"/>
                  </a:lnTo>
                  <a:lnTo>
                    <a:pt x="4541" y="1051"/>
                  </a:lnTo>
                  <a:lnTo>
                    <a:pt x="4539" y="1055"/>
                  </a:lnTo>
                  <a:lnTo>
                    <a:pt x="4537" y="1055"/>
                  </a:lnTo>
                  <a:lnTo>
                    <a:pt x="4534" y="1055"/>
                  </a:lnTo>
                  <a:lnTo>
                    <a:pt x="4532" y="1057"/>
                  </a:lnTo>
                  <a:lnTo>
                    <a:pt x="4526" y="1059"/>
                  </a:lnTo>
                  <a:lnTo>
                    <a:pt x="4526" y="1059"/>
                  </a:lnTo>
                  <a:lnTo>
                    <a:pt x="4524" y="1061"/>
                  </a:lnTo>
                  <a:lnTo>
                    <a:pt x="4524" y="1061"/>
                  </a:lnTo>
                  <a:lnTo>
                    <a:pt x="4522" y="1061"/>
                  </a:lnTo>
                  <a:lnTo>
                    <a:pt x="4522" y="1061"/>
                  </a:lnTo>
                  <a:lnTo>
                    <a:pt x="4520" y="1061"/>
                  </a:lnTo>
                  <a:lnTo>
                    <a:pt x="4520" y="1059"/>
                  </a:lnTo>
                  <a:lnTo>
                    <a:pt x="4520" y="1059"/>
                  </a:lnTo>
                  <a:lnTo>
                    <a:pt x="4520" y="1057"/>
                  </a:lnTo>
                  <a:lnTo>
                    <a:pt x="4518" y="1057"/>
                  </a:lnTo>
                  <a:lnTo>
                    <a:pt x="4518" y="1055"/>
                  </a:lnTo>
                  <a:lnTo>
                    <a:pt x="4520" y="1055"/>
                  </a:lnTo>
                  <a:lnTo>
                    <a:pt x="4520" y="1055"/>
                  </a:lnTo>
                  <a:lnTo>
                    <a:pt x="4522" y="1053"/>
                  </a:lnTo>
                  <a:lnTo>
                    <a:pt x="4524" y="1051"/>
                  </a:lnTo>
                  <a:lnTo>
                    <a:pt x="4524" y="1051"/>
                  </a:lnTo>
                  <a:lnTo>
                    <a:pt x="4524" y="1049"/>
                  </a:lnTo>
                  <a:lnTo>
                    <a:pt x="4522" y="1051"/>
                  </a:lnTo>
                  <a:lnTo>
                    <a:pt x="4520" y="1051"/>
                  </a:lnTo>
                  <a:lnTo>
                    <a:pt x="4518" y="1053"/>
                  </a:lnTo>
                  <a:lnTo>
                    <a:pt x="4516" y="1055"/>
                  </a:lnTo>
                  <a:lnTo>
                    <a:pt x="4516" y="1059"/>
                  </a:lnTo>
                  <a:lnTo>
                    <a:pt x="4516" y="1064"/>
                  </a:lnTo>
                  <a:lnTo>
                    <a:pt x="4514" y="1066"/>
                  </a:lnTo>
                  <a:lnTo>
                    <a:pt x="4510" y="1070"/>
                  </a:lnTo>
                  <a:lnTo>
                    <a:pt x="4510" y="1070"/>
                  </a:lnTo>
                  <a:lnTo>
                    <a:pt x="4508" y="1072"/>
                  </a:lnTo>
                  <a:lnTo>
                    <a:pt x="4506" y="1072"/>
                  </a:lnTo>
                  <a:lnTo>
                    <a:pt x="4506" y="1074"/>
                  </a:lnTo>
                  <a:lnTo>
                    <a:pt x="4506" y="1076"/>
                  </a:lnTo>
                  <a:lnTo>
                    <a:pt x="4508" y="1078"/>
                  </a:lnTo>
                  <a:lnTo>
                    <a:pt x="4506" y="1080"/>
                  </a:lnTo>
                  <a:lnTo>
                    <a:pt x="4504" y="1080"/>
                  </a:lnTo>
                  <a:lnTo>
                    <a:pt x="4501" y="1082"/>
                  </a:lnTo>
                  <a:lnTo>
                    <a:pt x="4501" y="1082"/>
                  </a:lnTo>
                  <a:lnTo>
                    <a:pt x="4499" y="1082"/>
                  </a:lnTo>
                  <a:lnTo>
                    <a:pt x="4495" y="1082"/>
                  </a:lnTo>
                  <a:lnTo>
                    <a:pt x="4495" y="1082"/>
                  </a:lnTo>
                  <a:lnTo>
                    <a:pt x="4495" y="1082"/>
                  </a:lnTo>
                  <a:lnTo>
                    <a:pt x="4495" y="1080"/>
                  </a:lnTo>
                  <a:lnTo>
                    <a:pt x="4495" y="1080"/>
                  </a:lnTo>
                  <a:lnTo>
                    <a:pt x="4493" y="1078"/>
                  </a:lnTo>
                  <a:lnTo>
                    <a:pt x="4493" y="1078"/>
                  </a:lnTo>
                  <a:lnTo>
                    <a:pt x="4489" y="1080"/>
                  </a:lnTo>
                  <a:lnTo>
                    <a:pt x="4483" y="1080"/>
                  </a:lnTo>
                  <a:lnTo>
                    <a:pt x="4481" y="1082"/>
                  </a:lnTo>
                  <a:lnTo>
                    <a:pt x="4481" y="1082"/>
                  </a:lnTo>
                  <a:lnTo>
                    <a:pt x="4477" y="1082"/>
                  </a:lnTo>
                  <a:lnTo>
                    <a:pt x="4475" y="1082"/>
                  </a:lnTo>
                  <a:lnTo>
                    <a:pt x="4473" y="1082"/>
                  </a:lnTo>
                  <a:lnTo>
                    <a:pt x="4471" y="1082"/>
                  </a:lnTo>
                  <a:lnTo>
                    <a:pt x="4471" y="1082"/>
                  </a:lnTo>
                  <a:lnTo>
                    <a:pt x="4468" y="1084"/>
                  </a:lnTo>
                  <a:lnTo>
                    <a:pt x="4468" y="1084"/>
                  </a:lnTo>
                  <a:lnTo>
                    <a:pt x="4466" y="1082"/>
                  </a:lnTo>
                  <a:lnTo>
                    <a:pt x="4464" y="1082"/>
                  </a:lnTo>
                  <a:lnTo>
                    <a:pt x="4462" y="1082"/>
                  </a:lnTo>
                  <a:close/>
                  <a:moveTo>
                    <a:pt x="4409" y="1198"/>
                  </a:moveTo>
                  <a:lnTo>
                    <a:pt x="4411" y="1198"/>
                  </a:lnTo>
                  <a:lnTo>
                    <a:pt x="4413" y="1198"/>
                  </a:lnTo>
                  <a:lnTo>
                    <a:pt x="4413" y="1196"/>
                  </a:lnTo>
                  <a:lnTo>
                    <a:pt x="4413" y="1196"/>
                  </a:lnTo>
                  <a:lnTo>
                    <a:pt x="4413" y="1196"/>
                  </a:lnTo>
                  <a:lnTo>
                    <a:pt x="4413" y="1194"/>
                  </a:lnTo>
                  <a:lnTo>
                    <a:pt x="4415" y="1194"/>
                  </a:lnTo>
                  <a:lnTo>
                    <a:pt x="4415" y="1194"/>
                  </a:lnTo>
                  <a:lnTo>
                    <a:pt x="4415" y="1194"/>
                  </a:lnTo>
                  <a:lnTo>
                    <a:pt x="4415" y="1192"/>
                  </a:lnTo>
                  <a:lnTo>
                    <a:pt x="4415" y="1194"/>
                  </a:lnTo>
                  <a:lnTo>
                    <a:pt x="4413" y="1194"/>
                  </a:lnTo>
                  <a:lnTo>
                    <a:pt x="4413" y="1194"/>
                  </a:lnTo>
                  <a:lnTo>
                    <a:pt x="4413" y="1194"/>
                  </a:lnTo>
                  <a:lnTo>
                    <a:pt x="4413" y="1194"/>
                  </a:lnTo>
                  <a:lnTo>
                    <a:pt x="4411" y="1196"/>
                  </a:lnTo>
                  <a:lnTo>
                    <a:pt x="4409" y="1196"/>
                  </a:lnTo>
                  <a:lnTo>
                    <a:pt x="4409" y="1196"/>
                  </a:lnTo>
                  <a:lnTo>
                    <a:pt x="4409" y="1196"/>
                  </a:lnTo>
                  <a:lnTo>
                    <a:pt x="4409" y="1196"/>
                  </a:lnTo>
                  <a:lnTo>
                    <a:pt x="4409" y="1198"/>
                  </a:lnTo>
                  <a:close/>
                  <a:moveTo>
                    <a:pt x="4390" y="1095"/>
                  </a:moveTo>
                  <a:lnTo>
                    <a:pt x="4390" y="1095"/>
                  </a:lnTo>
                  <a:lnTo>
                    <a:pt x="4390" y="1095"/>
                  </a:lnTo>
                  <a:lnTo>
                    <a:pt x="4392" y="1095"/>
                  </a:lnTo>
                  <a:lnTo>
                    <a:pt x="4392" y="1095"/>
                  </a:lnTo>
                  <a:lnTo>
                    <a:pt x="4392" y="1092"/>
                  </a:lnTo>
                  <a:lnTo>
                    <a:pt x="4390" y="1092"/>
                  </a:lnTo>
                  <a:lnTo>
                    <a:pt x="4390" y="1092"/>
                  </a:lnTo>
                  <a:lnTo>
                    <a:pt x="4388" y="1092"/>
                  </a:lnTo>
                  <a:lnTo>
                    <a:pt x="4388" y="1095"/>
                  </a:lnTo>
                  <a:lnTo>
                    <a:pt x="4390" y="1095"/>
                  </a:lnTo>
                  <a:lnTo>
                    <a:pt x="4390" y="1095"/>
                  </a:lnTo>
                  <a:close/>
                  <a:moveTo>
                    <a:pt x="4411" y="1101"/>
                  </a:moveTo>
                  <a:lnTo>
                    <a:pt x="4411" y="1103"/>
                  </a:lnTo>
                  <a:lnTo>
                    <a:pt x="4411" y="1101"/>
                  </a:lnTo>
                  <a:lnTo>
                    <a:pt x="4411" y="1101"/>
                  </a:lnTo>
                  <a:lnTo>
                    <a:pt x="4413" y="1099"/>
                  </a:lnTo>
                  <a:lnTo>
                    <a:pt x="4413" y="1097"/>
                  </a:lnTo>
                  <a:lnTo>
                    <a:pt x="4413" y="1097"/>
                  </a:lnTo>
                  <a:lnTo>
                    <a:pt x="4413" y="1097"/>
                  </a:lnTo>
                  <a:lnTo>
                    <a:pt x="4413" y="1097"/>
                  </a:lnTo>
                  <a:lnTo>
                    <a:pt x="4411" y="1097"/>
                  </a:lnTo>
                  <a:lnTo>
                    <a:pt x="4411" y="1097"/>
                  </a:lnTo>
                  <a:lnTo>
                    <a:pt x="4411" y="1099"/>
                  </a:lnTo>
                  <a:lnTo>
                    <a:pt x="4409" y="1101"/>
                  </a:lnTo>
                  <a:lnTo>
                    <a:pt x="4411" y="1101"/>
                  </a:lnTo>
                  <a:close/>
                  <a:moveTo>
                    <a:pt x="4411" y="1119"/>
                  </a:moveTo>
                  <a:lnTo>
                    <a:pt x="4411" y="1119"/>
                  </a:lnTo>
                  <a:lnTo>
                    <a:pt x="4411" y="1119"/>
                  </a:lnTo>
                  <a:lnTo>
                    <a:pt x="4411" y="1119"/>
                  </a:lnTo>
                  <a:lnTo>
                    <a:pt x="4413" y="1119"/>
                  </a:lnTo>
                  <a:lnTo>
                    <a:pt x="4413" y="1117"/>
                  </a:lnTo>
                  <a:lnTo>
                    <a:pt x="4413" y="1117"/>
                  </a:lnTo>
                  <a:lnTo>
                    <a:pt x="4413" y="1117"/>
                  </a:lnTo>
                  <a:lnTo>
                    <a:pt x="4413" y="1117"/>
                  </a:lnTo>
                  <a:lnTo>
                    <a:pt x="4411" y="1119"/>
                  </a:lnTo>
                  <a:close/>
                  <a:moveTo>
                    <a:pt x="4409" y="1105"/>
                  </a:moveTo>
                  <a:lnTo>
                    <a:pt x="4409" y="1105"/>
                  </a:lnTo>
                  <a:lnTo>
                    <a:pt x="4409" y="1105"/>
                  </a:lnTo>
                  <a:lnTo>
                    <a:pt x="4411" y="1103"/>
                  </a:lnTo>
                  <a:lnTo>
                    <a:pt x="4411" y="1103"/>
                  </a:lnTo>
                  <a:lnTo>
                    <a:pt x="4409" y="1101"/>
                  </a:lnTo>
                  <a:lnTo>
                    <a:pt x="4409" y="1105"/>
                  </a:lnTo>
                  <a:close/>
                  <a:moveTo>
                    <a:pt x="4297" y="1328"/>
                  </a:moveTo>
                  <a:lnTo>
                    <a:pt x="4297" y="1330"/>
                  </a:lnTo>
                  <a:lnTo>
                    <a:pt x="4297" y="1330"/>
                  </a:lnTo>
                  <a:lnTo>
                    <a:pt x="4297" y="1330"/>
                  </a:lnTo>
                  <a:lnTo>
                    <a:pt x="4297" y="1330"/>
                  </a:lnTo>
                  <a:lnTo>
                    <a:pt x="4299" y="1330"/>
                  </a:lnTo>
                  <a:lnTo>
                    <a:pt x="4299" y="1330"/>
                  </a:lnTo>
                  <a:lnTo>
                    <a:pt x="4297" y="1328"/>
                  </a:lnTo>
                  <a:close/>
                  <a:moveTo>
                    <a:pt x="4250" y="1254"/>
                  </a:moveTo>
                  <a:lnTo>
                    <a:pt x="4252" y="1254"/>
                  </a:lnTo>
                  <a:lnTo>
                    <a:pt x="4252" y="1254"/>
                  </a:lnTo>
                  <a:lnTo>
                    <a:pt x="4250" y="1251"/>
                  </a:lnTo>
                  <a:lnTo>
                    <a:pt x="4250" y="1254"/>
                  </a:lnTo>
                  <a:lnTo>
                    <a:pt x="4250" y="1254"/>
                  </a:lnTo>
                  <a:lnTo>
                    <a:pt x="4250" y="1254"/>
                  </a:lnTo>
                  <a:lnTo>
                    <a:pt x="4250" y="1254"/>
                  </a:lnTo>
                  <a:lnTo>
                    <a:pt x="4250" y="1254"/>
                  </a:lnTo>
                  <a:close/>
                  <a:moveTo>
                    <a:pt x="4304" y="1398"/>
                  </a:moveTo>
                  <a:lnTo>
                    <a:pt x="4306" y="1398"/>
                  </a:lnTo>
                  <a:lnTo>
                    <a:pt x="4306" y="1398"/>
                  </a:lnTo>
                  <a:lnTo>
                    <a:pt x="4306" y="1396"/>
                  </a:lnTo>
                  <a:lnTo>
                    <a:pt x="4306" y="1394"/>
                  </a:lnTo>
                  <a:lnTo>
                    <a:pt x="4306" y="1394"/>
                  </a:lnTo>
                  <a:lnTo>
                    <a:pt x="4306" y="1394"/>
                  </a:lnTo>
                  <a:lnTo>
                    <a:pt x="4306" y="1394"/>
                  </a:lnTo>
                  <a:lnTo>
                    <a:pt x="4306" y="1392"/>
                  </a:lnTo>
                  <a:lnTo>
                    <a:pt x="4306" y="1392"/>
                  </a:lnTo>
                  <a:lnTo>
                    <a:pt x="4304" y="1392"/>
                  </a:lnTo>
                  <a:lnTo>
                    <a:pt x="4304" y="1394"/>
                  </a:lnTo>
                  <a:lnTo>
                    <a:pt x="4304" y="1394"/>
                  </a:lnTo>
                  <a:lnTo>
                    <a:pt x="4304" y="1396"/>
                  </a:lnTo>
                  <a:lnTo>
                    <a:pt x="4306" y="1396"/>
                  </a:lnTo>
                  <a:lnTo>
                    <a:pt x="4306" y="1396"/>
                  </a:lnTo>
                  <a:lnTo>
                    <a:pt x="4306" y="1396"/>
                  </a:lnTo>
                  <a:lnTo>
                    <a:pt x="4304" y="1398"/>
                  </a:lnTo>
                  <a:close/>
                  <a:moveTo>
                    <a:pt x="4256" y="1254"/>
                  </a:moveTo>
                  <a:lnTo>
                    <a:pt x="4254" y="1254"/>
                  </a:lnTo>
                  <a:lnTo>
                    <a:pt x="4254" y="1254"/>
                  </a:lnTo>
                  <a:lnTo>
                    <a:pt x="4252" y="1254"/>
                  </a:lnTo>
                  <a:lnTo>
                    <a:pt x="4252" y="1254"/>
                  </a:lnTo>
                  <a:lnTo>
                    <a:pt x="4254" y="1254"/>
                  </a:lnTo>
                  <a:lnTo>
                    <a:pt x="4256" y="1254"/>
                  </a:lnTo>
                  <a:close/>
                  <a:moveTo>
                    <a:pt x="4194" y="1287"/>
                  </a:moveTo>
                  <a:lnTo>
                    <a:pt x="4194" y="1287"/>
                  </a:lnTo>
                  <a:lnTo>
                    <a:pt x="4194" y="1287"/>
                  </a:lnTo>
                  <a:lnTo>
                    <a:pt x="4194" y="1287"/>
                  </a:lnTo>
                  <a:lnTo>
                    <a:pt x="4194" y="1287"/>
                  </a:lnTo>
                  <a:lnTo>
                    <a:pt x="4194" y="1287"/>
                  </a:lnTo>
                  <a:lnTo>
                    <a:pt x="4194" y="1289"/>
                  </a:lnTo>
                  <a:lnTo>
                    <a:pt x="4194" y="1287"/>
                  </a:lnTo>
                  <a:close/>
                  <a:moveTo>
                    <a:pt x="4279" y="1272"/>
                  </a:moveTo>
                  <a:lnTo>
                    <a:pt x="4279" y="1274"/>
                  </a:lnTo>
                  <a:lnTo>
                    <a:pt x="4279" y="1274"/>
                  </a:lnTo>
                  <a:lnTo>
                    <a:pt x="4279" y="1274"/>
                  </a:lnTo>
                  <a:lnTo>
                    <a:pt x="4279" y="1276"/>
                  </a:lnTo>
                  <a:lnTo>
                    <a:pt x="4281" y="1280"/>
                  </a:lnTo>
                  <a:lnTo>
                    <a:pt x="4281" y="1280"/>
                  </a:lnTo>
                  <a:lnTo>
                    <a:pt x="4281" y="1282"/>
                  </a:lnTo>
                  <a:lnTo>
                    <a:pt x="4281" y="1282"/>
                  </a:lnTo>
                  <a:lnTo>
                    <a:pt x="4283" y="1282"/>
                  </a:lnTo>
                  <a:lnTo>
                    <a:pt x="4285" y="1284"/>
                  </a:lnTo>
                  <a:lnTo>
                    <a:pt x="4285" y="1284"/>
                  </a:lnTo>
                  <a:lnTo>
                    <a:pt x="4285" y="1287"/>
                  </a:lnTo>
                  <a:lnTo>
                    <a:pt x="4287" y="1289"/>
                  </a:lnTo>
                  <a:lnTo>
                    <a:pt x="4287" y="1291"/>
                  </a:lnTo>
                  <a:lnTo>
                    <a:pt x="4287" y="1291"/>
                  </a:lnTo>
                  <a:lnTo>
                    <a:pt x="4289" y="1291"/>
                  </a:lnTo>
                  <a:lnTo>
                    <a:pt x="4289" y="1291"/>
                  </a:lnTo>
                  <a:lnTo>
                    <a:pt x="4289" y="1289"/>
                  </a:lnTo>
                  <a:lnTo>
                    <a:pt x="4289" y="1287"/>
                  </a:lnTo>
                  <a:lnTo>
                    <a:pt x="4289" y="1284"/>
                  </a:lnTo>
                  <a:lnTo>
                    <a:pt x="4291" y="1282"/>
                  </a:lnTo>
                  <a:lnTo>
                    <a:pt x="4291" y="1280"/>
                  </a:lnTo>
                  <a:lnTo>
                    <a:pt x="4293" y="1278"/>
                  </a:lnTo>
                  <a:lnTo>
                    <a:pt x="4295" y="1276"/>
                  </a:lnTo>
                  <a:lnTo>
                    <a:pt x="4297" y="1274"/>
                  </a:lnTo>
                  <a:lnTo>
                    <a:pt x="4297" y="1272"/>
                  </a:lnTo>
                  <a:lnTo>
                    <a:pt x="4297" y="1270"/>
                  </a:lnTo>
                  <a:lnTo>
                    <a:pt x="4299" y="1266"/>
                  </a:lnTo>
                  <a:lnTo>
                    <a:pt x="4299" y="1262"/>
                  </a:lnTo>
                  <a:lnTo>
                    <a:pt x="4299" y="1260"/>
                  </a:lnTo>
                  <a:lnTo>
                    <a:pt x="4301" y="1260"/>
                  </a:lnTo>
                  <a:lnTo>
                    <a:pt x="4301" y="1256"/>
                  </a:lnTo>
                  <a:lnTo>
                    <a:pt x="4304" y="1254"/>
                  </a:lnTo>
                  <a:lnTo>
                    <a:pt x="4304" y="1251"/>
                  </a:lnTo>
                  <a:lnTo>
                    <a:pt x="4304" y="1249"/>
                  </a:lnTo>
                  <a:lnTo>
                    <a:pt x="4304" y="1247"/>
                  </a:lnTo>
                  <a:lnTo>
                    <a:pt x="4304" y="1247"/>
                  </a:lnTo>
                  <a:lnTo>
                    <a:pt x="4306" y="1245"/>
                  </a:lnTo>
                  <a:lnTo>
                    <a:pt x="4304" y="1245"/>
                  </a:lnTo>
                  <a:lnTo>
                    <a:pt x="4304" y="1243"/>
                  </a:lnTo>
                  <a:lnTo>
                    <a:pt x="4301" y="1243"/>
                  </a:lnTo>
                  <a:lnTo>
                    <a:pt x="4301" y="1243"/>
                  </a:lnTo>
                  <a:lnTo>
                    <a:pt x="4301" y="1243"/>
                  </a:lnTo>
                  <a:lnTo>
                    <a:pt x="4299" y="1241"/>
                  </a:lnTo>
                  <a:lnTo>
                    <a:pt x="4299" y="1241"/>
                  </a:lnTo>
                  <a:lnTo>
                    <a:pt x="4297" y="1241"/>
                  </a:lnTo>
                  <a:lnTo>
                    <a:pt x="4297" y="1243"/>
                  </a:lnTo>
                  <a:lnTo>
                    <a:pt x="4293" y="1245"/>
                  </a:lnTo>
                  <a:lnTo>
                    <a:pt x="4291" y="1245"/>
                  </a:lnTo>
                  <a:lnTo>
                    <a:pt x="4291" y="1247"/>
                  </a:lnTo>
                  <a:lnTo>
                    <a:pt x="4289" y="1249"/>
                  </a:lnTo>
                  <a:lnTo>
                    <a:pt x="4289" y="1249"/>
                  </a:lnTo>
                  <a:lnTo>
                    <a:pt x="4287" y="1251"/>
                  </a:lnTo>
                  <a:lnTo>
                    <a:pt x="4287" y="1254"/>
                  </a:lnTo>
                  <a:lnTo>
                    <a:pt x="4279" y="1266"/>
                  </a:lnTo>
                  <a:lnTo>
                    <a:pt x="4279" y="1266"/>
                  </a:lnTo>
                  <a:lnTo>
                    <a:pt x="4279" y="1268"/>
                  </a:lnTo>
                  <a:lnTo>
                    <a:pt x="4279" y="1270"/>
                  </a:lnTo>
                  <a:lnTo>
                    <a:pt x="4279" y="1272"/>
                  </a:lnTo>
                  <a:lnTo>
                    <a:pt x="4279" y="1272"/>
                  </a:lnTo>
                  <a:close/>
                  <a:moveTo>
                    <a:pt x="4248" y="1474"/>
                  </a:moveTo>
                  <a:lnTo>
                    <a:pt x="4248" y="1474"/>
                  </a:lnTo>
                  <a:lnTo>
                    <a:pt x="4248" y="1477"/>
                  </a:lnTo>
                  <a:lnTo>
                    <a:pt x="4246" y="1477"/>
                  </a:lnTo>
                  <a:lnTo>
                    <a:pt x="4244" y="1479"/>
                  </a:lnTo>
                  <a:lnTo>
                    <a:pt x="4242" y="1481"/>
                  </a:lnTo>
                  <a:lnTo>
                    <a:pt x="4240" y="1483"/>
                  </a:lnTo>
                  <a:lnTo>
                    <a:pt x="4240" y="1483"/>
                  </a:lnTo>
                  <a:lnTo>
                    <a:pt x="4238" y="1485"/>
                  </a:lnTo>
                  <a:lnTo>
                    <a:pt x="4238" y="1487"/>
                  </a:lnTo>
                  <a:lnTo>
                    <a:pt x="4238" y="1489"/>
                  </a:lnTo>
                  <a:lnTo>
                    <a:pt x="4240" y="1487"/>
                  </a:lnTo>
                  <a:lnTo>
                    <a:pt x="4240" y="1487"/>
                  </a:lnTo>
                  <a:lnTo>
                    <a:pt x="4242" y="1487"/>
                  </a:lnTo>
                  <a:lnTo>
                    <a:pt x="4242" y="1485"/>
                  </a:lnTo>
                  <a:lnTo>
                    <a:pt x="4242" y="1485"/>
                  </a:lnTo>
                  <a:lnTo>
                    <a:pt x="4242" y="1485"/>
                  </a:lnTo>
                  <a:lnTo>
                    <a:pt x="4244" y="1483"/>
                  </a:lnTo>
                  <a:lnTo>
                    <a:pt x="4246" y="1483"/>
                  </a:lnTo>
                  <a:lnTo>
                    <a:pt x="4248" y="1483"/>
                  </a:lnTo>
                  <a:lnTo>
                    <a:pt x="4248" y="1481"/>
                  </a:lnTo>
                  <a:lnTo>
                    <a:pt x="4250" y="1479"/>
                  </a:lnTo>
                  <a:lnTo>
                    <a:pt x="4250" y="1477"/>
                  </a:lnTo>
                  <a:lnTo>
                    <a:pt x="4252" y="1477"/>
                  </a:lnTo>
                  <a:lnTo>
                    <a:pt x="4254" y="1477"/>
                  </a:lnTo>
                  <a:lnTo>
                    <a:pt x="4254" y="1474"/>
                  </a:lnTo>
                  <a:lnTo>
                    <a:pt x="4256" y="1474"/>
                  </a:lnTo>
                  <a:lnTo>
                    <a:pt x="4256" y="1472"/>
                  </a:lnTo>
                  <a:lnTo>
                    <a:pt x="4260" y="1468"/>
                  </a:lnTo>
                  <a:lnTo>
                    <a:pt x="4260" y="1466"/>
                  </a:lnTo>
                  <a:lnTo>
                    <a:pt x="4260" y="1466"/>
                  </a:lnTo>
                  <a:lnTo>
                    <a:pt x="4260" y="1466"/>
                  </a:lnTo>
                  <a:lnTo>
                    <a:pt x="4262" y="1464"/>
                  </a:lnTo>
                  <a:lnTo>
                    <a:pt x="4266" y="1464"/>
                  </a:lnTo>
                  <a:lnTo>
                    <a:pt x="4266" y="1464"/>
                  </a:lnTo>
                  <a:lnTo>
                    <a:pt x="4266" y="1462"/>
                  </a:lnTo>
                  <a:lnTo>
                    <a:pt x="4266" y="1462"/>
                  </a:lnTo>
                  <a:lnTo>
                    <a:pt x="4268" y="1460"/>
                  </a:lnTo>
                  <a:lnTo>
                    <a:pt x="4268" y="1460"/>
                  </a:lnTo>
                  <a:lnTo>
                    <a:pt x="4271" y="1460"/>
                  </a:lnTo>
                  <a:lnTo>
                    <a:pt x="4271" y="1458"/>
                  </a:lnTo>
                  <a:lnTo>
                    <a:pt x="4273" y="1458"/>
                  </a:lnTo>
                  <a:lnTo>
                    <a:pt x="4273" y="1456"/>
                  </a:lnTo>
                  <a:lnTo>
                    <a:pt x="4273" y="1454"/>
                  </a:lnTo>
                  <a:lnTo>
                    <a:pt x="4271" y="1452"/>
                  </a:lnTo>
                  <a:lnTo>
                    <a:pt x="4271" y="1450"/>
                  </a:lnTo>
                  <a:lnTo>
                    <a:pt x="4271" y="1450"/>
                  </a:lnTo>
                  <a:lnTo>
                    <a:pt x="4271" y="1448"/>
                  </a:lnTo>
                  <a:lnTo>
                    <a:pt x="4271" y="1448"/>
                  </a:lnTo>
                  <a:lnTo>
                    <a:pt x="4271" y="1446"/>
                  </a:lnTo>
                  <a:lnTo>
                    <a:pt x="4271" y="1446"/>
                  </a:lnTo>
                  <a:lnTo>
                    <a:pt x="4271" y="1446"/>
                  </a:lnTo>
                  <a:lnTo>
                    <a:pt x="4268" y="1450"/>
                  </a:lnTo>
                  <a:lnTo>
                    <a:pt x="4266" y="1452"/>
                  </a:lnTo>
                  <a:lnTo>
                    <a:pt x="4266" y="1452"/>
                  </a:lnTo>
                  <a:lnTo>
                    <a:pt x="4266" y="1454"/>
                  </a:lnTo>
                  <a:lnTo>
                    <a:pt x="4266" y="1456"/>
                  </a:lnTo>
                  <a:lnTo>
                    <a:pt x="4266" y="1456"/>
                  </a:lnTo>
                  <a:lnTo>
                    <a:pt x="4266" y="1458"/>
                  </a:lnTo>
                  <a:lnTo>
                    <a:pt x="4266" y="1458"/>
                  </a:lnTo>
                  <a:lnTo>
                    <a:pt x="4264" y="1458"/>
                  </a:lnTo>
                  <a:lnTo>
                    <a:pt x="4264" y="1460"/>
                  </a:lnTo>
                  <a:lnTo>
                    <a:pt x="4262" y="1460"/>
                  </a:lnTo>
                  <a:lnTo>
                    <a:pt x="4260" y="1462"/>
                  </a:lnTo>
                  <a:lnTo>
                    <a:pt x="4260" y="1464"/>
                  </a:lnTo>
                  <a:lnTo>
                    <a:pt x="4258" y="1464"/>
                  </a:lnTo>
                  <a:lnTo>
                    <a:pt x="4256" y="1468"/>
                  </a:lnTo>
                  <a:lnTo>
                    <a:pt x="4254" y="1470"/>
                  </a:lnTo>
                  <a:lnTo>
                    <a:pt x="4250" y="1474"/>
                  </a:lnTo>
                  <a:lnTo>
                    <a:pt x="4250" y="1474"/>
                  </a:lnTo>
                  <a:lnTo>
                    <a:pt x="4248" y="1474"/>
                  </a:lnTo>
                  <a:close/>
                  <a:moveTo>
                    <a:pt x="4153" y="1567"/>
                  </a:moveTo>
                  <a:lnTo>
                    <a:pt x="4153" y="1567"/>
                  </a:lnTo>
                  <a:lnTo>
                    <a:pt x="4153" y="1567"/>
                  </a:lnTo>
                  <a:lnTo>
                    <a:pt x="4153" y="1571"/>
                  </a:lnTo>
                  <a:lnTo>
                    <a:pt x="4153" y="1574"/>
                  </a:lnTo>
                  <a:lnTo>
                    <a:pt x="4155" y="1571"/>
                  </a:lnTo>
                  <a:lnTo>
                    <a:pt x="4155" y="1571"/>
                  </a:lnTo>
                  <a:lnTo>
                    <a:pt x="4155" y="1569"/>
                  </a:lnTo>
                  <a:lnTo>
                    <a:pt x="4155" y="1567"/>
                  </a:lnTo>
                  <a:lnTo>
                    <a:pt x="4153" y="1567"/>
                  </a:lnTo>
                  <a:close/>
                  <a:moveTo>
                    <a:pt x="4172" y="1295"/>
                  </a:moveTo>
                  <a:lnTo>
                    <a:pt x="4172" y="1295"/>
                  </a:lnTo>
                  <a:lnTo>
                    <a:pt x="4172" y="1297"/>
                  </a:lnTo>
                  <a:lnTo>
                    <a:pt x="4172" y="1297"/>
                  </a:lnTo>
                  <a:lnTo>
                    <a:pt x="4172" y="1295"/>
                  </a:lnTo>
                  <a:lnTo>
                    <a:pt x="4172" y="1295"/>
                  </a:lnTo>
                  <a:close/>
                  <a:moveTo>
                    <a:pt x="4174" y="1297"/>
                  </a:moveTo>
                  <a:lnTo>
                    <a:pt x="4174" y="1297"/>
                  </a:lnTo>
                  <a:lnTo>
                    <a:pt x="4174" y="1295"/>
                  </a:lnTo>
                  <a:lnTo>
                    <a:pt x="4176" y="1295"/>
                  </a:lnTo>
                  <a:lnTo>
                    <a:pt x="4176" y="1295"/>
                  </a:lnTo>
                  <a:lnTo>
                    <a:pt x="4176" y="1295"/>
                  </a:lnTo>
                  <a:lnTo>
                    <a:pt x="4174" y="1295"/>
                  </a:lnTo>
                  <a:lnTo>
                    <a:pt x="4174" y="1295"/>
                  </a:lnTo>
                  <a:lnTo>
                    <a:pt x="4174" y="1295"/>
                  </a:lnTo>
                  <a:lnTo>
                    <a:pt x="4174" y="1295"/>
                  </a:lnTo>
                  <a:lnTo>
                    <a:pt x="4174" y="1297"/>
                  </a:lnTo>
                  <a:lnTo>
                    <a:pt x="4174" y="1297"/>
                  </a:lnTo>
                  <a:close/>
                  <a:moveTo>
                    <a:pt x="4192" y="1287"/>
                  </a:moveTo>
                  <a:lnTo>
                    <a:pt x="4192" y="1287"/>
                  </a:lnTo>
                  <a:lnTo>
                    <a:pt x="4192" y="1287"/>
                  </a:lnTo>
                  <a:lnTo>
                    <a:pt x="4190" y="1287"/>
                  </a:lnTo>
                  <a:lnTo>
                    <a:pt x="4190" y="1287"/>
                  </a:lnTo>
                  <a:lnTo>
                    <a:pt x="4190" y="1287"/>
                  </a:lnTo>
                  <a:lnTo>
                    <a:pt x="4190" y="1287"/>
                  </a:lnTo>
                  <a:lnTo>
                    <a:pt x="4192" y="1287"/>
                  </a:lnTo>
                  <a:close/>
                  <a:moveTo>
                    <a:pt x="4295" y="1198"/>
                  </a:moveTo>
                  <a:lnTo>
                    <a:pt x="4295" y="1198"/>
                  </a:lnTo>
                  <a:lnTo>
                    <a:pt x="4295" y="1198"/>
                  </a:lnTo>
                  <a:lnTo>
                    <a:pt x="4293" y="1198"/>
                  </a:lnTo>
                  <a:lnTo>
                    <a:pt x="4293" y="1200"/>
                  </a:lnTo>
                  <a:lnTo>
                    <a:pt x="4293" y="1200"/>
                  </a:lnTo>
                  <a:lnTo>
                    <a:pt x="4295" y="1200"/>
                  </a:lnTo>
                  <a:lnTo>
                    <a:pt x="4295" y="1198"/>
                  </a:lnTo>
                  <a:close/>
                  <a:moveTo>
                    <a:pt x="4310" y="1171"/>
                  </a:moveTo>
                  <a:lnTo>
                    <a:pt x="4310" y="1169"/>
                  </a:lnTo>
                  <a:lnTo>
                    <a:pt x="4310" y="1169"/>
                  </a:lnTo>
                  <a:lnTo>
                    <a:pt x="4308" y="1167"/>
                  </a:lnTo>
                  <a:lnTo>
                    <a:pt x="4306" y="1167"/>
                  </a:lnTo>
                  <a:lnTo>
                    <a:pt x="4306" y="1169"/>
                  </a:lnTo>
                  <a:lnTo>
                    <a:pt x="4306" y="1169"/>
                  </a:lnTo>
                  <a:lnTo>
                    <a:pt x="4308" y="1169"/>
                  </a:lnTo>
                  <a:lnTo>
                    <a:pt x="4310" y="1171"/>
                  </a:lnTo>
                  <a:lnTo>
                    <a:pt x="4310" y="1171"/>
                  </a:lnTo>
                  <a:close/>
                  <a:moveTo>
                    <a:pt x="4306" y="1173"/>
                  </a:moveTo>
                  <a:lnTo>
                    <a:pt x="4308" y="1173"/>
                  </a:lnTo>
                  <a:lnTo>
                    <a:pt x="4308" y="1175"/>
                  </a:lnTo>
                  <a:lnTo>
                    <a:pt x="4308" y="1175"/>
                  </a:lnTo>
                  <a:lnTo>
                    <a:pt x="4308" y="1175"/>
                  </a:lnTo>
                  <a:lnTo>
                    <a:pt x="4308" y="1173"/>
                  </a:lnTo>
                  <a:lnTo>
                    <a:pt x="4308" y="1173"/>
                  </a:lnTo>
                  <a:lnTo>
                    <a:pt x="4306" y="1173"/>
                  </a:lnTo>
                  <a:close/>
                  <a:moveTo>
                    <a:pt x="4277" y="1375"/>
                  </a:moveTo>
                  <a:lnTo>
                    <a:pt x="4277" y="1375"/>
                  </a:lnTo>
                  <a:lnTo>
                    <a:pt x="4275" y="1373"/>
                  </a:lnTo>
                  <a:lnTo>
                    <a:pt x="4275" y="1373"/>
                  </a:lnTo>
                  <a:lnTo>
                    <a:pt x="4275" y="1373"/>
                  </a:lnTo>
                  <a:lnTo>
                    <a:pt x="4275" y="1375"/>
                  </a:lnTo>
                  <a:lnTo>
                    <a:pt x="4275" y="1377"/>
                  </a:lnTo>
                  <a:lnTo>
                    <a:pt x="4275" y="1377"/>
                  </a:lnTo>
                  <a:lnTo>
                    <a:pt x="4275" y="1379"/>
                  </a:lnTo>
                  <a:lnTo>
                    <a:pt x="4275" y="1379"/>
                  </a:lnTo>
                  <a:lnTo>
                    <a:pt x="4275" y="1379"/>
                  </a:lnTo>
                  <a:lnTo>
                    <a:pt x="4275" y="1382"/>
                  </a:lnTo>
                  <a:lnTo>
                    <a:pt x="4277" y="1386"/>
                  </a:lnTo>
                  <a:lnTo>
                    <a:pt x="4277" y="1388"/>
                  </a:lnTo>
                  <a:lnTo>
                    <a:pt x="4277" y="1390"/>
                  </a:lnTo>
                  <a:lnTo>
                    <a:pt x="4277" y="1392"/>
                  </a:lnTo>
                  <a:lnTo>
                    <a:pt x="4279" y="1394"/>
                  </a:lnTo>
                  <a:lnTo>
                    <a:pt x="4279" y="1396"/>
                  </a:lnTo>
                  <a:lnTo>
                    <a:pt x="4279" y="1396"/>
                  </a:lnTo>
                  <a:lnTo>
                    <a:pt x="4281" y="1396"/>
                  </a:lnTo>
                  <a:lnTo>
                    <a:pt x="4281" y="1396"/>
                  </a:lnTo>
                  <a:lnTo>
                    <a:pt x="4281" y="1398"/>
                  </a:lnTo>
                  <a:lnTo>
                    <a:pt x="4283" y="1398"/>
                  </a:lnTo>
                  <a:lnTo>
                    <a:pt x="4283" y="1400"/>
                  </a:lnTo>
                  <a:lnTo>
                    <a:pt x="4283" y="1400"/>
                  </a:lnTo>
                  <a:lnTo>
                    <a:pt x="4285" y="1400"/>
                  </a:lnTo>
                  <a:lnTo>
                    <a:pt x="4285" y="1400"/>
                  </a:lnTo>
                  <a:lnTo>
                    <a:pt x="4285" y="1400"/>
                  </a:lnTo>
                  <a:lnTo>
                    <a:pt x="4285" y="1398"/>
                  </a:lnTo>
                  <a:lnTo>
                    <a:pt x="4285" y="1396"/>
                  </a:lnTo>
                  <a:lnTo>
                    <a:pt x="4285" y="1394"/>
                  </a:lnTo>
                  <a:lnTo>
                    <a:pt x="4287" y="1396"/>
                  </a:lnTo>
                  <a:lnTo>
                    <a:pt x="4287" y="1396"/>
                  </a:lnTo>
                  <a:lnTo>
                    <a:pt x="4289" y="1396"/>
                  </a:lnTo>
                  <a:lnTo>
                    <a:pt x="4289" y="1396"/>
                  </a:lnTo>
                  <a:lnTo>
                    <a:pt x="4291" y="1398"/>
                  </a:lnTo>
                  <a:lnTo>
                    <a:pt x="4291" y="1400"/>
                  </a:lnTo>
                  <a:lnTo>
                    <a:pt x="4291" y="1400"/>
                  </a:lnTo>
                  <a:lnTo>
                    <a:pt x="4287" y="1402"/>
                  </a:lnTo>
                  <a:lnTo>
                    <a:pt x="4287" y="1404"/>
                  </a:lnTo>
                  <a:lnTo>
                    <a:pt x="4287" y="1404"/>
                  </a:lnTo>
                  <a:lnTo>
                    <a:pt x="4287" y="1408"/>
                  </a:lnTo>
                  <a:lnTo>
                    <a:pt x="4287" y="1410"/>
                  </a:lnTo>
                  <a:lnTo>
                    <a:pt x="4287" y="1408"/>
                  </a:lnTo>
                  <a:lnTo>
                    <a:pt x="4289" y="1408"/>
                  </a:lnTo>
                  <a:lnTo>
                    <a:pt x="4291" y="1410"/>
                  </a:lnTo>
                  <a:lnTo>
                    <a:pt x="4291" y="1410"/>
                  </a:lnTo>
                  <a:lnTo>
                    <a:pt x="4293" y="1412"/>
                  </a:lnTo>
                  <a:lnTo>
                    <a:pt x="4295" y="1412"/>
                  </a:lnTo>
                  <a:lnTo>
                    <a:pt x="4297" y="1412"/>
                  </a:lnTo>
                  <a:lnTo>
                    <a:pt x="4297" y="1412"/>
                  </a:lnTo>
                  <a:lnTo>
                    <a:pt x="4297" y="1410"/>
                  </a:lnTo>
                  <a:lnTo>
                    <a:pt x="4299" y="1410"/>
                  </a:lnTo>
                  <a:lnTo>
                    <a:pt x="4301" y="1408"/>
                  </a:lnTo>
                  <a:lnTo>
                    <a:pt x="4301" y="1408"/>
                  </a:lnTo>
                  <a:lnTo>
                    <a:pt x="4301" y="1408"/>
                  </a:lnTo>
                  <a:lnTo>
                    <a:pt x="4304" y="1408"/>
                  </a:lnTo>
                  <a:lnTo>
                    <a:pt x="4308" y="1410"/>
                  </a:lnTo>
                  <a:lnTo>
                    <a:pt x="4308" y="1412"/>
                  </a:lnTo>
                  <a:lnTo>
                    <a:pt x="4312" y="1415"/>
                  </a:lnTo>
                  <a:lnTo>
                    <a:pt x="4312" y="1415"/>
                  </a:lnTo>
                  <a:lnTo>
                    <a:pt x="4314" y="1417"/>
                  </a:lnTo>
                  <a:lnTo>
                    <a:pt x="4314" y="1417"/>
                  </a:lnTo>
                  <a:lnTo>
                    <a:pt x="4314" y="1419"/>
                  </a:lnTo>
                  <a:lnTo>
                    <a:pt x="4314" y="1419"/>
                  </a:lnTo>
                  <a:lnTo>
                    <a:pt x="4316" y="1419"/>
                  </a:lnTo>
                  <a:lnTo>
                    <a:pt x="4316" y="1417"/>
                  </a:lnTo>
                  <a:lnTo>
                    <a:pt x="4314" y="1415"/>
                  </a:lnTo>
                  <a:lnTo>
                    <a:pt x="4314" y="1415"/>
                  </a:lnTo>
                  <a:lnTo>
                    <a:pt x="4314" y="1412"/>
                  </a:lnTo>
                  <a:lnTo>
                    <a:pt x="4314" y="1412"/>
                  </a:lnTo>
                  <a:lnTo>
                    <a:pt x="4314" y="1410"/>
                  </a:lnTo>
                  <a:lnTo>
                    <a:pt x="4312" y="1410"/>
                  </a:lnTo>
                  <a:lnTo>
                    <a:pt x="4312" y="1408"/>
                  </a:lnTo>
                  <a:lnTo>
                    <a:pt x="4312" y="1408"/>
                  </a:lnTo>
                  <a:lnTo>
                    <a:pt x="4314" y="1408"/>
                  </a:lnTo>
                  <a:lnTo>
                    <a:pt x="4314" y="1408"/>
                  </a:lnTo>
                  <a:lnTo>
                    <a:pt x="4316" y="1410"/>
                  </a:lnTo>
                  <a:lnTo>
                    <a:pt x="4318" y="1412"/>
                  </a:lnTo>
                  <a:lnTo>
                    <a:pt x="4318" y="1412"/>
                  </a:lnTo>
                  <a:lnTo>
                    <a:pt x="4322" y="1415"/>
                  </a:lnTo>
                  <a:lnTo>
                    <a:pt x="4322" y="1417"/>
                  </a:lnTo>
                  <a:lnTo>
                    <a:pt x="4322" y="1417"/>
                  </a:lnTo>
                  <a:lnTo>
                    <a:pt x="4324" y="1419"/>
                  </a:lnTo>
                  <a:lnTo>
                    <a:pt x="4324" y="1421"/>
                  </a:lnTo>
                  <a:lnTo>
                    <a:pt x="4324" y="1421"/>
                  </a:lnTo>
                  <a:lnTo>
                    <a:pt x="4326" y="1421"/>
                  </a:lnTo>
                  <a:lnTo>
                    <a:pt x="4328" y="1423"/>
                  </a:lnTo>
                  <a:lnTo>
                    <a:pt x="4330" y="1423"/>
                  </a:lnTo>
                  <a:lnTo>
                    <a:pt x="4332" y="1423"/>
                  </a:lnTo>
                  <a:lnTo>
                    <a:pt x="4332" y="1423"/>
                  </a:lnTo>
                  <a:lnTo>
                    <a:pt x="4332" y="1423"/>
                  </a:lnTo>
                  <a:lnTo>
                    <a:pt x="4334" y="1423"/>
                  </a:lnTo>
                  <a:lnTo>
                    <a:pt x="4332" y="1425"/>
                  </a:lnTo>
                  <a:lnTo>
                    <a:pt x="4332" y="1427"/>
                  </a:lnTo>
                  <a:lnTo>
                    <a:pt x="4334" y="1427"/>
                  </a:lnTo>
                  <a:lnTo>
                    <a:pt x="4334" y="1427"/>
                  </a:lnTo>
                  <a:lnTo>
                    <a:pt x="4337" y="1425"/>
                  </a:lnTo>
                  <a:lnTo>
                    <a:pt x="4337" y="1421"/>
                  </a:lnTo>
                  <a:lnTo>
                    <a:pt x="4337" y="1421"/>
                  </a:lnTo>
                  <a:lnTo>
                    <a:pt x="4334" y="1421"/>
                  </a:lnTo>
                  <a:lnTo>
                    <a:pt x="4334" y="1421"/>
                  </a:lnTo>
                  <a:lnTo>
                    <a:pt x="4332" y="1421"/>
                  </a:lnTo>
                  <a:lnTo>
                    <a:pt x="4330" y="1421"/>
                  </a:lnTo>
                  <a:lnTo>
                    <a:pt x="4332" y="1419"/>
                  </a:lnTo>
                  <a:lnTo>
                    <a:pt x="4332" y="1419"/>
                  </a:lnTo>
                  <a:lnTo>
                    <a:pt x="4330" y="1417"/>
                  </a:lnTo>
                  <a:lnTo>
                    <a:pt x="4330" y="1415"/>
                  </a:lnTo>
                  <a:lnTo>
                    <a:pt x="4328" y="1415"/>
                  </a:lnTo>
                  <a:lnTo>
                    <a:pt x="4328" y="1412"/>
                  </a:lnTo>
                  <a:lnTo>
                    <a:pt x="4328" y="1412"/>
                  </a:lnTo>
                  <a:lnTo>
                    <a:pt x="4332" y="1410"/>
                  </a:lnTo>
                  <a:lnTo>
                    <a:pt x="4332" y="1410"/>
                  </a:lnTo>
                  <a:lnTo>
                    <a:pt x="4332" y="1410"/>
                  </a:lnTo>
                  <a:lnTo>
                    <a:pt x="4330" y="1408"/>
                  </a:lnTo>
                  <a:lnTo>
                    <a:pt x="4330" y="1408"/>
                  </a:lnTo>
                  <a:lnTo>
                    <a:pt x="4328" y="1408"/>
                  </a:lnTo>
                  <a:lnTo>
                    <a:pt x="4326" y="1408"/>
                  </a:lnTo>
                  <a:lnTo>
                    <a:pt x="4326" y="1406"/>
                  </a:lnTo>
                  <a:lnTo>
                    <a:pt x="4324" y="1406"/>
                  </a:lnTo>
                  <a:lnTo>
                    <a:pt x="4324" y="1406"/>
                  </a:lnTo>
                  <a:lnTo>
                    <a:pt x="4324" y="1408"/>
                  </a:lnTo>
                  <a:lnTo>
                    <a:pt x="4324" y="1408"/>
                  </a:lnTo>
                  <a:lnTo>
                    <a:pt x="4324" y="1410"/>
                  </a:lnTo>
                  <a:lnTo>
                    <a:pt x="4324" y="1410"/>
                  </a:lnTo>
                  <a:lnTo>
                    <a:pt x="4322" y="1410"/>
                  </a:lnTo>
                  <a:lnTo>
                    <a:pt x="4320" y="1410"/>
                  </a:lnTo>
                  <a:lnTo>
                    <a:pt x="4320" y="1410"/>
                  </a:lnTo>
                  <a:lnTo>
                    <a:pt x="4320" y="1408"/>
                  </a:lnTo>
                  <a:lnTo>
                    <a:pt x="4320" y="1408"/>
                  </a:lnTo>
                  <a:lnTo>
                    <a:pt x="4320" y="1406"/>
                  </a:lnTo>
                  <a:lnTo>
                    <a:pt x="4320" y="1404"/>
                  </a:lnTo>
                  <a:lnTo>
                    <a:pt x="4318" y="1404"/>
                  </a:lnTo>
                  <a:lnTo>
                    <a:pt x="4316" y="1404"/>
                  </a:lnTo>
                  <a:lnTo>
                    <a:pt x="4314" y="1402"/>
                  </a:lnTo>
                  <a:lnTo>
                    <a:pt x="4312" y="1402"/>
                  </a:lnTo>
                  <a:lnTo>
                    <a:pt x="4312" y="1404"/>
                  </a:lnTo>
                  <a:lnTo>
                    <a:pt x="4310" y="1404"/>
                  </a:lnTo>
                  <a:lnTo>
                    <a:pt x="4310" y="1404"/>
                  </a:lnTo>
                  <a:lnTo>
                    <a:pt x="4308" y="1404"/>
                  </a:lnTo>
                  <a:lnTo>
                    <a:pt x="4308" y="1406"/>
                  </a:lnTo>
                  <a:lnTo>
                    <a:pt x="4310" y="1406"/>
                  </a:lnTo>
                  <a:lnTo>
                    <a:pt x="4310" y="1408"/>
                  </a:lnTo>
                  <a:lnTo>
                    <a:pt x="4310" y="1408"/>
                  </a:lnTo>
                  <a:lnTo>
                    <a:pt x="4310" y="1408"/>
                  </a:lnTo>
                  <a:lnTo>
                    <a:pt x="4308" y="1408"/>
                  </a:lnTo>
                  <a:lnTo>
                    <a:pt x="4308" y="1408"/>
                  </a:lnTo>
                  <a:lnTo>
                    <a:pt x="4304" y="1406"/>
                  </a:lnTo>
                  <a:lnTo>
                    <a:pt x="4304" y="1406"/>
                  </a:lnTo>
                  <a:lnTo>
                    <a:pt x="4304" y="1406"/>
                  </a:lnTo>
                  <a:lnTo>
                    <a:pt x="4301" y="1404"/>
                  </a:lnTo>
                  <a:lnTo>
                    <a:pt x="4301" y="1404"/>
                  </a:lnTo>
                  <a:lnTo>
                    <a:pt x="4301" y="1400"/>
                  </a:lnTo>
                  <a:lnTo>
                    <a:pt x="4299" y="1398"/>
                  </a:lnTo>
                  <a:lnTo>
                    <a:pt x="4299" y="1398"/>
                  </a:lnTo>
                  <a:lnTo>
                    <a:pt x="4301" y="1396"/>
                  </a:lnTo>
                  <a:lnTo>
                    <a:pt x="4301" y="1396"/>
                  </a:lnTo>
                  <a:lnTo>
                    <a:pt x="4301" y="1396"/>
                  </a:lnTo>
                  <a:lnTo>
                    <a:pt x="4299" y="1394"/>
                  </a:lnTo>
                  <a:lnTo>
                    <a:pt x="4297" y="1390"/>
                  </a:lnTo>
                  <a:lnTo>
                    <a:pt x="4297" y="1390"/>
                  </a:lnTo>
                  <a:lnTo>
                    <a:pt x="4297" y="1388"/>
                  </a:lnTo>
                  <a:lnTo>
                    <a:pt x="4297" y="1388"/>
                  </a:lnTo>
                  <a:lnTo>
                    <a:pt x="4297" y="1388"/>
                  </a:lnTo>
                  <a:lnTo>
                    <a:pt x="4299" y="1386"/>
                  </a:lnTo>
                  <a:lnTo>
                    <a:pt x="4299" y="1384"/>
                  </a:lnTo>
                  <a:lnTo>
                    <a:pt x="4299" y="1384"/>
                  </a:lnTo>
                  <a:lnTo>
                    <a:pt x="4299" y="1382"/>
                  </a:lnTo>
                  <a:lnTo>
                    <a:pt x="4299" y="1382"/>
                  </a:lnTo>
                  <a:lnTo>
                    <a:pt x="4299" y="1382"/>
                  </a:lnTo>
                  <a:lnTo>
                    <a:pt x="4299" y="1379"/>
                  </a:lnTo>
                  <a:lnTo>
                    <a:pt x="4301" y="1377"/>
                  </a:lnTo>
                  <a:lnTo>
                    <a:pt x="4304" y="1377"/>
                  </a:lnTo>
                  <a:lnTo>
                    <a:pt x="4306" y="1375"/>
                  </a:lnTo>
                  <a:lnTo>
                    <a:pt x="4308" y="1375"/>
                  </a:lnTo>
                  <a:lnTo>
                    <a:pt x="4310" y="1373"/>
                  </a:lnTo>
                  <a:lnTo>
                    <a:pt x="4310" y="1371"/>
                  </a:lnTo>
                  <a:lnTo>
                    <a:pt x="4312" y="1367"/>
                  </a:lnTo>
                  <a:lnTo>
                    <a:pt x="4312" y="1365"/>
                  </a:lnTo>
                  <a:lnTo>
                    <a:pt x="4314" y="1363"/>
                  </a:lnTo>
                  <a:lnTo>
                    <a:pt x="4314" y="1363"/>
                  </a:lnTo>
                  <a:lnTo>
                    <a:pt x="4312" y="1361"/>
                  </a:lnTo>
                  <a:lnTo>
                    <a:pt x="4312" y="1361"/>
                  </a:lnTo>
                  <a:lnTo>
                    <a:pt x="4312" y="1361"/>
                  </a:lnTo>
                  <a:lnTo>
                    <a:pt x="4312" y="1359"/>
                  </a:lnTo>
                  <a:lnTo>
                    <a:pt x="4312" y="1359"/>
                  </a:lnTo>
                  <a:lnTo>
                    <a:pt x="4310" y="1359"/>
                  </a:lnTo>
                  <a:lnTo>
                    <a:pt x="4310" y="1357"/>
                  </a:lnTo>
                  <a:lnTo>
                    <a:pt x="4308" y="1355"/>
                  </a:lnTo>
                  <a:lnTo>
                    <a:pt x="4308" y="1355"/>
                  </a:lnTo>
                  <a:lnTo>
                    <a:pt x="4308" y="1353"/>
                  </a:lnTo>
                  <a:lnTo>
                    <a:pt x="4308" y="1348"/>
                  </a:lnTo>
                  <a:lnTo>
                    <a:pt x="4310" y="1346"/>
                  </a:lnTo>
                  <a:lnTo>
                    <a:pt x="4310" y="1346"/>
                  </a:lnTo>
                  <a:lnTo>
                    <a:pt x="4310" y="1344"/>
                  </a:lnTo>
                  <a:lnTo>
                    <a:pt x="4310" y="1344"/>
                  </a:lnTo>
                  <a:lnTo>
                    <a:pt x="4310" y="1342"/>
                  </a:lnTo>
                  <a:lnTo>
                    <a:pt x="4310" y="1342"/>
                  </a:lnTo>
                  <a:lnTo>
                    <a:pt x="4308" y="1342"/>
                  </a:lnTo>
                  <a:lnTo>
                    <a:pt x="4308" y="1344"/>
                  </a:lnTo>
                  <a:lnTo>
                    <a:pt x="4306" y="1344"/>
                  </a:lnTo>
                  <a:lnTo>
                    <a:pt x="4306" y="1344"/>
                  </a:lnTo>
                  <a:lnTo>
                    <a:pt x="4304" y="1344"/>
                  </a:lnTo>
                  <a:lnTo>
                    <a:pt x="4301" y="1344"/>
                  </a:lnTo>
                  <a:lnTo>
                    <a:pt x="4299" y="1344"/>
                  </a:lnTo>
                  <a:lnTo>
                    <a:pt x="4295" y="1340"/>
                  </a:lnTo>
                  <a:lnTo>
                    <a:pt x="4293" y="1340"/>
                  </a:lnTo>
                  <a:lnTo>
                    <a:pt x="4293" y="1340"/>
                  </a:lnTo>
                  <a:lnTo>
                    <a:pt x="4291" y="1340"/>
                  </a:lnTo>
                  <a:lnTo>
                    <a:pt x="4289" y="1340"/>
                  </a:lnTo>
                  <a:lnTo>
                    <a:pt x="4289" y="1340"/>
                  </a:lnTo>
                  <a:lnTo>
                    <a:pt x="4287" y="1342"/>
                  </a:lnTo>
                  <a:lnTo>
                    <a:pt x="4285" y="1342"/>
                  </a:lnTo>
                  <a:lnTo>
                    <a:pt x="4285" y="1344"/>
                  </a:lnTo>
                  <a:lnTo>
                    <a:pt x="4285" y="1346"/>
                  </a:lnTo>
                  <a:lnTo>
                    <a:pt x="4285" y="1346"/>
                  </a:lnTo>
                  <a:lnTo>
                    <a:pt x="4283" y="1355"/>
                  </a:lnTo>
                  <a:lnTo>
                    <a:pt x="4283" y="1357"/>
                  </a:lnTo>
                  <a:lnTo>
                    <a:pt x="4283" y="1357"/>
                  </a:lnTo>
                  <a:lnTo>
                    <a:pt x="4283" y="1359"/>
                  </a:lnTo>
                  <a:lnTo>
                    <a:pt x="4283" y="1361"/>
                  </a:lnTo>
                  <a:lnTo>
                    <a:pt x="4283" y="1363"/>
                  </a:lnTo>
                  <a:lnTo>
                    <a:pt x="4283" y="1365"/>
                  </a:lnTo>
                  <a:lnTo>
                    <a:pt x="4281" y="1367"/>
                  </a:lnTo>
                  <a:lnTo>
                    <a:pt x="4281" y="1369"/>
                  </a:lnTo>
                  <a:lnTo>
                    <a:pt x="4281" y="1371"/>
                  </a:lnTo>
                  <a:lnTo>
                    <a:pt x="4281" y="1373"/>
                  </a:lnTo>
                  <a:lnTo>
                    <a:pt x="4283" y="1375"/>
                  </a:lnTo>
                  <a:lnTo>
                    <a:pt x="4283" y="1375"/>
                  </a:lnTo>
                  <a:lnTo>
                    <a:pt x="4283" y="1377"/>
                  </a:lnTo>
                  <a:lnTo>
                    <a:pt x="4283" y="1377"/>
                  </a:lnTo>
                  <a:lnTo>
                    <a:pt x="4281" y="1377"/>
                  </a:lnTo>
                  <a:lnTo>
                    <a:pt x="4279" y="1377"/>
                  </a:lnTo>
                  <a:lnTo>
                    <a:pt x="4279" y="1377"/>
                  </a:lnTo>
                  <a:lnTo>
                    <a:pt x="4277" y="1375"/>
                  </a:lnTo>
                  <a:lnTo>
                    <a:pt x="4277" y="1375"/>
                  </a:lnTo>
                  <a:close/>
                  <a:moveTo>
                    <a:pt x="4312" y="1171"/>
                  </a:moveTo>
                  <a:lnTo>
                    <a:pt x="4312" y="1171"/>
                  </a:lnTo>
                  <a:lnTo>
                    <a:pt x="4312" y="1171"/>
                  </a:lnTo>
                  <a:lnTo>
                    <a:pt x="4310" y="1171"/>
                  </a:lnTo>
                  <a:lnTo>
                    <a:pt x="4310" y="1171"/>
                  </a:lnTo>
                  <a:lnTo>
                    <a:pt x="4312" y="1171"/>
                  </a:lnTo>
                  <a:lnTo>
                    <a:pt x="4312" y="1171"/>
                  </a:lnTo>
                  <a:close/>
                  <a:moveTo>
                    <a:pt x="4306" y="1336"/>
                  </a:moveTo>
                  <a:lnTo>
                    <a:pt x="4306" y="1336"/>
                  </a:lnTo>
                  <a:lnTo>
                    <a:pt x="4306" y="1334"/>
                  </a:lnTo>
                  <a:lnTo>
                    <a:pt x="4304" y="1334"/>
                  </a:lnTo>
                  <a:lnTo>
                    <a:pt x="4304" y="1336"/>
                  </a:lnTo>
                  <a:lnTo>
                    <a:pt x="4304" y="1336"/>
                  </a:lnTo>
                  <a:lnTo>
                    <a:pt x="4304" y="1336"/>
                  </a:lnTo>
                  <a:lnTo>
                    <a:pt x="4304" y="1338"/>
                  </a:lnTo>
                  <a:lnTo>
                    <a:pt x="4306" y="1336"/>
                  </a:lnTo>
                  <a:close/>
                  <a:moveTo>
                    <a:pt x="4306" y="1313"/>
                  </a:moveTo>
                  <a:lnTo>
                    <a:pt x="4306" y="1313"/>
                  </a:lnTo>
                  <a:lnTo>
                    <a:pt x="4304" y="1315"/>
                  </a:lnTo>
                  <a:lnTo>
                    <a:pt x="4306" y="1315"/>
                  </a:lnTo>
                  <a:lnTo>
                    <a:pt x="4306" y="1315"/>
                  </a:lnTo>
                  <a:lnTo>
                    <a:pt x="4306" y="1313"/>
                  </a:lnTo>
                  <a:lnTo>
                    <a:pt x="4306" y="1313"/>
                  </a:lnTo>
                  <a:close/>
                  <a:moveTo>
                    <a:pt x="4293" y="1332"/>
                  </a:moveTo>
                  <a:lnTo>
                    <a:pt x="4293" y="1334"/>
                  </a:lnTo>
                  <a:lnTo>
                    <a:pt x="4295" y="1334"/>
                  </a:lnTo>
                  <a:lnTo>
                    <a:pt x="4295" y="1334"/>
                  </a:lnTo>
                  <a:lnTo>
                    <a:pt x="4295" y="1334"/>
                  </a:lnTo>
                  <a:lnTo>
                    <a:pt x="4295" y="1332"/>
                  </a:lnTo>
                  <a:lnTo>
                    <a:pt x="4295" y="1332"/>
                  </a:lnTo>
                  <a:lnTo>
                    <a:pt x="4293" y="1332"/>
                  </a:lnTo>
                  <a:close/>
                  <a:moveTo>
                    <a:pt x="4304" y="1307"/>
                  </a:moveTo>
                  <a:lnTo>
                    <a:pt x="4304" y="1307"/>
                  </a:lnTo>
                  <a:lnTo>
                    <a:pt x="4304" y="1309"/>
                  </a:lnTo>
                  <a:lnTo>
                    <a:pt x="4304" y="1309"/>
                  </a:lnTo>
                  <a:lnTo>
                    <a:pt x="4304" y="1309"/>
                  </a:lnTo>
                  <a:lnTo>
                    <a:pt x="4304" y="1309"/>
                  </a:lnTo>
                  <a:lnTo>
                    <a:pt x="4304" y="1307"/>
                  </a:lnTo>
                  <a:close/>
                  <a:moveTo>
                    <a:pt x="4141" y="1305"/>
                  </a:moveTo>
                  <a:lnTo>
                    <a:pt x="4141" y="1303"/>
                  </a:lnTo>
                  <a:lnTo>
                    <a:pt x="4139" y="1305"/>
                  </a:lnTo>
                  <a:lnTo>
                    <a:pt x="4139" y="1305"/>
                  </a:lnTo>
                  <a:lnTo>
                    <a:pt x="4139" y="1305"/>
                  </a:lnTo>
                  <a:lnTo>
                    <a:pt x="4139" y="1305"/>
                  </a:lnTo>
                  <a:lnTo>
                    <a:pt x="4141" y="1305"/>
                  </a:lnTo>
                  <a:lnTo>
                    <a:pt x="4143" y="1305"/>
                  </a:lnTo>
                  <a:lnTo>
                    <a:pt x="4143" y="1305"/>
                  </a:lnTo>
                  <a:lnTo>
                    <a:pt x="4143" y="1305"/>
                  </a:lnTo>
                  <a:lnTo>
                    <a:pt x="4143" y="1303"/>
                  </a:lnTo>
                  <a:lnTo>
                    <a:pt x="4141" y="1305"/>
                  </a:lnTo>
                  <a:close/>
                  <a:moveTo>
                    <a:pt x="4046" y="1594"/>
                  </a:moveTo>
                  <a:lnTo>
                    <a:pt x="4046" y="1594"/>
                  </a:lnTo>
                  <a:lnTo>
                    <a:pt x="4046" y="1594"/>
                  </a:lnTo>
                  <a:lnTo>
                    <a:pt x="4046" y="1596"/>
                  </a:lnTo>
                  <a:lnTo>
                    <a:pt x="4046" y="1594"/>
                  </a:lnTo>
                  <a:lnTo>
                    <a:pt x="4046" y="1594"/>
                  </a:lnTo>
                  <a:lnTo>
                    <a:pt x="4046" y="1594"/>
                  </a:lnTo>
                  <a:close/>
                  <a:moveTo>
                    <a:pt x="3357" y="1675"/>
                  </a:moveTo>
                  <a:lnTo>
                    <a:pt x="3359" y="1675"/>
                  </a:lnTo>
                  <a:lnTo>
                    <a:pt x="3359" y="1673"/>
                  </a:lnTo>
                  <a:lnTo>
                    <a:pt x="3357" y="1671"/>
                  </a:lnTo>
                  <a:lnTo>
                    <a:pt x="3355" y="1673"/>
                  </a:lnTo>
                  <a:lnTo>
                    <a:pt x="3357" y="1673"/>
                  </a:lnTo>
                  <a:lnTo>
                    <a:pt x="3357" y="1673"/>
                  </a:lnTo>
                  <a:lnTo>
                    <a:pt x="3357" y="1675"/>
                  </a:lnTo>
                  <a:close/>
                  <a:moveTo>
                    <a:pt x="3359" y="1906"/>
                  </a:moveTo>
                  <a:lnTo>
                    <a:pt x="3359" y="1906"/>
                  </a:lnTo>
                  <a:lnTo>
                    <a:pt x="3357" y="1906"/>
                  </a:lnTo>
                  <a:lnTo>
                    <a:pt x="3355" y="1906"/>
                  </a:lnTo>
                  <a:lnTo>
                    <a:pt x="3355" y="1908"/>
                  </a:lnTo>
                  <a:lnTo>
                    <a:pt x="3353" y="1908"/>
                  </a:lnTo>
                  <a:lnTo>
                    <a:pt x="3355" y="1910"/>
                  </a:lnTo>
                  <a:lnTo>
                    <a:pt x="3355" y="1912"/>
                  </a:lnTo>
                  <a:lnTo>
                    <a:pt x="3359" y="1912"/>
                  </a:lnTo>
                  <a:lnTo>
                    <a:pt x="3359" y="1912"/>
                  </a:lnTo>
                  <a:lnTo>
                    <a:pt x="3361" y="1912"/>
                  </a:lnTo>
                  <a:lnTo>
                    <a:pt x="3363" y="1912"/>
                  </a:lnTo>
                  <a:lnTo>
                    <a:pt x="3363" y="1910"/>
                  </a:lnTo>
                  <a:lnTo>
                    <a:pt x="3361" y="1908"/>
                  </a:lnTo>
                  <a:lnTo>
                    <a:pt x="3359" y="1906"/>
                  </a:lnTo>
                  <a:close/>
                  <a:moveTo>
                    <a:pt x="3192" y="1782"/>
                  </a:moveTo>
                  <a:lnTo>
                    <a:pt x="3190" y="1782"/>
                  </a:lnTo>
                  <a:lnTo>
                    <a:pt x="3190" y="1780"/>
                  </a:lnTo>
                  <a:lnTo>
                    <a:pt x="3188" y="1780"/>
                  </a:lnTo>
                  <a:lnTo>
                    <a:pt x="3188" y="1782"/>
                  </a:lnTo>
                  <a:lnTo>
                    <a:pt x="3188" y="1782"/>
                  </a:lnTo>
                  <a:lnTo>
                    <a:pt x="3192" y="1782"/>
                  </a:lnTo>
                  <a:close/>
                  <a:moveTo>
                    <a:pt x="3334" y="1427"/>
                  </a:moveTo>
                  <a:lnTo>
                    <a:pt x="3334" y="1427"/>
                  </a:lnTo>
                  <a:lnTo>
                    <a:pt x="3332" y="1427"/>
                  </a:lnTo>
                  <a:lnTo>
                    <a:pt x="3330" y="1427"/>
                  </a:lnTo>
                  <a:lnTo>
                    <a:pt x="3330" y="1425"/>
                  </a:lnTo>
                  <a:lnTo>
                    <a:pt x="3328" y="1427"/>
                  </a:lnTo>
                  <a:lnTo>
                    <a:pt x="3328" y="1427"/>
                  </a:lnTo>
                  <a:lnTo>
                    <a:pt x="3328" y="1427"/>
                  </a:lnTo>
                  <a:lnTo>
                    <a:pt x="3326" y="1429"/>
                  </a:lnTo>
                  <a:lnTo>
                    <a:pt x="3328" y="1429"/>
                  </a:lnTo>
                  <a:lnTo>
                    <a:pt x="3330" y="1431"/>
                  </a:lnTo>
                  <a:lnTo>
                    <a:pt x="3332" y="1431"/>
                  </a:lnTo>
                  <a:lnTo>
                    <a:pt x="3338" y="1431"/>
                  </a:lnTo>
                  <a:lnTo>
                    <a:pt x="3341" y="1429"/>
                  </a:lnTo>
                  <a:lnTo>
                    <a:pt x="3343" y="1429"/>
                  </a:lnTo>
                  <a:lnTo>
                    <a:pt x="3343" y="1429"/>
                  </a:lnTo>
                  <a:lnTo>
                    <a:pt x="3343" y="1429"/>
                  </a:lnTo>
                  <a:lnTo>
                    <a:pt x="3338" y="1427"/>
                  </a:lnTo>
                  <a:lnTo>
                    <a:pt x="3334" y="1427"/>
                  </a:lnTo>
                  <a:close/>
                  <a:moveTo>
                    <a:pt x="3404" y="1313"/>
                  </a:moveTo>
                  <a:lnTo>
                    <a:pt x="3402" y="1315"/>
                  </a:lnTo>
                  <a:lnTo>
                    <a:pt x="3402" y="1318"/>
                  </a:lnTo>
                  <a:lnTo>
                    <a:pt x="3402" y="1318"/>
                  </a:lnTo>
                  <a:lnTo>
                    <a:pt x="3404" y="1318"/>
                  </a:lnTo>
                  <a:lnTo>
                    <a:pt x="3404" y="1315"/>
                  </a:lnTo>
                  <a:lnTo>
                    <a:pt x="3404" y="1313"/>
                  </a:lnTo>
                  <a:lnTo>
                    <a:pt x="3407" y="1313"/>
                  </a:lnTo>
                  <a:lnTo>
                    <a:pt x="3407" y="1309"/>
                  </a:lnTo>
                  <a:lnTo>
                    <a:pt x="3404" y="1313"/>
                  </a:lnTo>
                  <a:close/>
                  <a:moveTo>
                    <a:pt x="3388" y="1894"/>
                  </a:moveTo>
                  <a:lnTo>
                    <a:pt x="3388" y="1894"/>
                  </a:lnTo>
                  <a:lnTo>
                    <a:pt x="3386" y="1894"/>
                  </a:lnTo>
                  <a:lnTo>
                    <a:pt x="3386" y="1896"/>
                  </a:lnTo>
                  <a:lnTo>
                    <a:pt x="3386" y="1896"/>
                  </a:lnTo>
                  <a:lnTo>
                    <a:pt x="3384" y="1896"/>
                  </a:lnTo>
                  <a:lnTo>
                    <a:pt x="3384" y="1898"/>
                  </a:lnTo>
                  <a:lnTo>
                    <a:pt x="3384" y="1900"/>
                  </a:lnTo>
                  <a:lnTo>
                    <a:pt x="3384" y="1900"/>
                  </a:lnTo>
                  <a:lnTo>
                    <a:pt x="3384" y="1900"/>
                  </a:lnTo>
                  <a:lnTo>
                    <a:pt x="3384" y="1900"/>
                  </a:lnTo>
                  <a:lnTo>
                    <a:pt x="3386" y="1900"/>
                  </a:lnTo>
                  <a:lnTo>
                    <a:pt x="3388" y="1900"/>
                  </a:lnTo>
                  <a:lnTo>
                    <a:pt x="3390" y="1900"/>
                  </a:lnTo>
                  <a:lnTo>
                    <a:pt x="3390" y="1898"/>
                  </a:lnTo>
                  <a:lnTo>
                    <a:pt x="3390" y="1898"/>
                  </a:lnTo>
                  <a:lnTo>
                    <a:pt x="3390" y="1896"/>
                  </a:lnTo>
                  <a:lnTo>
                    <a:pt x="3390" y="1894"/>
                  </a:lnTo>
                  <a:lnTo>
                    <a:pt x="3388" y="1894"/>
                  </a:lnTo>
                  <a:close/>
                  <a:moveTo>
                    <a:pt x="3200" y="1782"/>
                  </a:moveTo>
                  <a:lnTo>
                    <a:pt x="3200" y="1782"/>
                  </a:lnTo>
                  <a:lnTo>
                    <a:pt x="3200" y="1780"/>
                  </a:lnTo>
                  <a:lnTo>
                    <a:pt x="3200" y="1778"/>
                  </a:lnTo>
                  <a:lnTo>
                    <a:pt x="3200" y="1778"/>
                  </a:lnTo>
                  <a:lnTo>
                    <a:pt x="3200" y="1778"/>
                  </a:lnTo>
                  <a:lnTo>
                    <a:pt x="3200" y="1778"/>
                  </a:lnTo>
                  <a:lnTo>
                    <a:pt x="3198" y="1780"/>
                  </a:lnTo>
                  <a:lnTo>
                    <a:pt x="3198" y="1780"/>
                  </a:lnTo>
                  <a:lnTo>
                    <a:pt x="3198" y="1780"/>
                  </a:lnTo>
                  <a:lnTo>
                    <a:pt x="3196" y="1780"/>
                  </a:lnTo>
                  <a:lnTo>
                    <a:pt x="3198" y="1780"/>
                  </a:lnTo>
                  <a:lnTo>
                    <a:pt x="3200" y="1782"/>
                  </a:lnTo>
                  <a:lnTo>
                    <a:pt x="3200" y="1782"/>
                  </a:lnTo>
                  <a:close/>
                  <a:moveTo>
                    <a:pt x="3211" y="1786"/>
                  </a:moveTo>
                  <a:lnTo>
                    <a:pt x="3211" y="1786"/>
                  </a:lnTo>
                  <a:lnTo>
                    <a:pt x="3209" y="1786"/>
                  </a:lnTo>
                  <a:lnTo>
                    <a:pt x="3209" y="1786"/>
                  </a:lnTo>
                  <a:lnTo>
                    <a:pt x="3209" y="1788"/>
                  </a:lnTo>
                  <a:lnTo>
                    <a:pt x="3209" y="1788"/>
                  </a:lnTo>
                  <a:lnTo>
                    <a:pt x="3209" y="1790"/>
                  </a:lnTo>
                  <a:lnTo>
                    <a:pt x="3209" y="1790"/>
                  </a:lnTo>
                  <a:lnTo>
                    <a:pt x="3209" y="1790"/>
                  </a:lnTo>
                  <a:lnTo>
                    <a:pt x="3211" y="1790"/>
                  </a:lnTo>
                  <a:lnTo>
                    <a:pt x="3211" y="1790"/>
                  </a:lnTo>
                  <a:lnTo>
                    <a:pt x="3211" y="1788"/>
                  </a:lnTo>
                  <a:lnTo>
                    <a:pt x="3211" y="1788"/>
                  </a:lnTo>
                  <a:lnTo>
                    <a:pt x="3211" y="1788"/>
                  </a:lnTo>
                  <a:lnTo>
                    <a:pt x="3211" y="1786"/>
                  </a:lnTo>
                  <a:close/>
                  <a:moveTo>
                    <a:pt x="3256" y="1794"/>
                  </a:moveTo>
                  <a:lnTo>
                    <a:pt x="3254" y="1794"/>
                  </a:lnTo>
                  <a:lnTo>
                    <a:pt x="3254" y="1794"/>
                  </a:lnTo>
                  <a:lnTo>
                    <a:pt x="3254" y="1794"/>
                  </a:lnTo>
                  <a:lnTo>
                    <a:pt x="3254" y="1797"/>
                  </a:lnTo>
                  <a:lnTo>
                    <a:pt x="3256" y="1797"/>
                  </a:lnTo>
                  <a:lnTo>
                    <a:pt x="3256" y="1797"/>
                  </a:lnTo>
                  <a:lnTo>
                    <a:pt x="3256" y="1797"/>
                  </a:lnTo>
                  <a:lnTo>
                    <a:pt x="3256" y="1794"/>
                  </a:lnTo>
                  <a:close/>
                  <a:moveTo>
                    <a:pt x="3305" y="2313"/>
                  </a:moveTo>
                  <a:lnTo>
                    <a:pt x="3303" y="2313"/>
                  </a:lnTo>
                  <a:lnTo>
                    <a:pt x="3303" y="2313"/>
                  </a:lnTo>
                  <a:lnTo>
                    <a:pt x="3303" y="2315"/>
                  </a:lnTo>
                  <a:lnTo>
                    <a:pt x="3303" y="2315"/>
                  </a:lnTo>
                  <a:lnTo>
                    <a:pt x="3305" y="2315"/>
                  </a:lnTo>
                  <a:lnTo>
                    <a:pt x="3305" y="2313"/>
                  </a:lnTo>
                  <a:lnTo>
                    <a:pt x="3305" y="2313"/>
                  </a:lnTo>
                  <a:close/>
                  <a:moveTo>
                    <a:pt x="3571" y="2362"/>
                  </a:moveTo>
                  <a:lnTo>
                    <a:pt x="3569" y="2362"/>
                  </a:lnTo>
                  <a:lnTo>
                    <a:pt x="3569" y="2362"/>
                  </a:lnTo>
                  <a:lnTo>
                    <a:pt x="3569" y="2362"/>
                  </a:lnTo>
                  <a:lnTo>
                    <a:pt x="3567" y="2362"/>
                  </a:lnTo>
                  <a:lnTo>
                    <a:pt x="3565" y="2362"/>
                  </a:lnTo>
                  <a:lnTo>
                    <a:pt x="3563" y="2364"/>
                  </a:lnTo>
                  <a:lnTo>
                    <a:pt x="3563" y="2364"/>
                  </a:lnTo>
                  <a:lnTo>
                    <a:pt x="3561" y="2364"/>
                  </a:lnTo>
                  <a:lnTo>
                    <a:pt x="3559" y="2366"/>
                  </a:lnTo>
                  <a:lnTo>
                    <a:pt x="3559" y="2366"/>
                  </a:lnTo>
                  <a:lnTo>
                    <a:pt x="3557" y="2364"/>
                  </a:lnTo>
                  <a:lnTo>
                    <a:pt x="3555" y="2364"/>
                  </a:lnTo>
                  <a:lnTo>
                    <a:pt x="3557" y="2362"/>
                  </a:lnTo>
                  <a:lnTo>
                    <a:pt x="3559" y="2362"/>
                  </a:lnTo>
                  <a:lnTo>
                    <a:pt x="3559" y="2362"/>
                  </a:lnTo>
                  <a:lnTo>
                    <a:pt x="3559" y="2362"/>
                  </a:lnTo>
                  <a:lnTo>
                    <a:pt x="3559" y="2360"/>
                  </a:lnTo>
                  <a:lnTo>
                    <a:pt x="3557" y="2360"/>
                  </a:lnTo>
                  <a:lnTo>
                    <a:pt x="3555" y="2362"/>
                  </a:lnTo>
                  <a:lnTo>
                    <a:pt x="3553" y="2362"/>
                  </a:lnTo>
                  <a:lnTo>
                    <a:pt x="3553" y="2362"/>
                  </a:lnTo>
                  <a:lnTo>
                    <a:pt x="3551" y="2362"/>
                  </a:lnTo>
                  <a:lnTo>
                    <a:pt x="3551" y="2360"/>
                  </a:lnTo>
                  <a:lnTo>
                    <a:pt x="3551" y="2360"/>
                  </a:lnTo>
                  <a:lnTo>
                    <a:pt x="3551" y="2358"/>
                  </a:lnTo>
                  <a:lnTo>
                    <a:pt x="3553" y="2358"/>
                  </a:lnTo>
                  <a:lnTo>
                    <a:pt x="3551" y="2356"/>
                  </a:lnTo>
                  <a:lnTo>
                    <a:pt x="3551" y="2356"/>
                  </a:lnTo>
                  <a:lnTo>
                    <a:pt x="3551" y="2356"/>
                  </a:lnTo>
                  <a:lnTo>
                    <a:pt x="3551" y="2354"/>
                  </a:lnTo>
                  <a:lnTo>
                    <a:pt x="3551" y="2354"/>
                  </a:lnTo>
                  <a:lnTo>
                    <a:pt x="3551" y="2354"/>
                  </a:lnTo>
                  <a:lnTo>
                    <a:pt x="3549" y="2354"/>
                  </a:lnTo>
                  <a:lnTo>
                    <a:pt x="3549" y="2356"/>
                  </a:lnTo>
                  <a:lnTo>
                    <a:pt x="3547" y="2358"/>
                  </a:lnTo>
                  <a:lnTo>
                    <a:pt x="3547" y="2360"/>
                  </a:lnTo>
                  <a:lnTo>
                    <a:pt x="3547" y="2360"/>
                  </a:lnTo>
                  <a:lnTo>
                    <a:pt x="3547" y="2362"/>
                  </a:lnTo>
                  <a:lnTo>
                    <a:pt x="3547" y="2362"/>
                  </a:lnTo>
                  <a:lnTo>
                    <a:pt x="3547" y="2362"/>
                  </a:lnTo>
                  <a:lnTo>
                    <a:pt x="3549" y="2362"/>
                  </a:lnTo>
                  <a:lnTo>
                    <a:pt x="3549" y="2364"/>
                  </a:lnTo>
                  <a:lnTo>
                    <a:pt x="3547" y="2364"/>
                  </a:lnTo>
                  <a:lnTo>
                    <a:pt x="3547" y="2364"/>
                  </a:lnTo>
                  <a:lnTo>
                    <a:pt x="3549" y="2366"/>
                  </a:lnTo>
                  <a:lnTo>
                    <a:pt x="3547" y="2366"/>
                  </a:lnTo>
                  <a:lnTo>
                    <a:pt x="3549" y="2369"/>
                  </a:lnTo>
                  <a:lnTo>
                    <a:pt x="3549" y="2369"/>
                  </a:lnTo>
                  <a:lnTo>
                    <a:pt x="3549" y="2371"/>
                  </a:lnTo>
                  <a:lnTo>
                    <a:pt x="3547" y="2371"/>
                  </a:lnTo>
                  <a:lnTo>
                    <a:pt x="3547" y="2371"/>
                  </a:lnTo>
                  <a:lnTo>
                    <a:pt x="3547" y="2373"/>
                  </a:lnTo>
                  <a:lnTo>
                    <a:pt x="3547" y="2373"/>
                  </a:lnTo>
                  <a:lnTo>
                    <a:pt x="3549" y="2373"/>
                  </a:lnTo>
                  <a:lnTo>
                    <a:pt x="3551" y="2373"/>
                  </a:lnTo>
                  <a:lnTo>
                    <a:pt x="3551" y="2373"/>
                  </a:lnTo>
                  <a:lnTo>
                    <a:pt x="3553" y="2371"/>
                  </a:lnTo>
                  <a:lnTo>
                    <a:pt x="3555" y="2371"/>
                  </a:lnTo>
                  <a:lnTo>
                    <a:pt x="3555" y="2371"/>
                  </a:lnTo>
                  <a:lnTo>
                    <a:pt x="3557" y="2373"/>
                  </a:lnTo>
                  <a:lnTo>
                    <a:pt x="3559" y="2373"/>
                  </a:lnTo>
                  <a:lnTo>
                    <a:pt x="3559" y="2373"/>
                  </a:lnTo>
                  <a:lnTo>
                    <a:pt x="3561" y="2373"/>
                  </a:lnTo>
                  <a:lnTo>
                    <a:pt x="3561" y="2373"/>
                  </a:lnTo>
                  <a:lnTo>
                    <a:pt x="3561" y="2373"/>
                  </a:lnTo>
                  <a:lnTo>
                    <a:pt x="3563" y="2373"/>
                  </a:lnTo>
                  <a:lnTo>
                    <a:pt x="3565" y="2373"/>
                  </a:lnTo>
                  <a:lnTo>
                    <a:pt x="3565" y="2373"/>
                  </a:lnTo>
                  <a:lnTo>
                    <a:pt x="3567" y="2373"/>
                  </a:lnTo>
                  <a:lnTo>
                    <a:pt x="3567" y="2373"/>
                  </a:lnTo>
                  <a:lnTo>
                    <a:pt x="3567" y="2373"/>
                  </a:lnTo>
                  <a:lnTo>
                    <a:pt x="3569" y="2371"/>
                  </a:lnTo>
                  <a:lnTo>
                    <a:pt x="3567" y="2371"/>
                  </a:lnTo>
                  <a:lnTo>
                    <a:pt x="3567" y="2371"/>
                  </a:lnTo>
                  <a:lnTo>
                    <a:pt x="3565" y="2371"/>
                  </a:lnTo>
                  <a:lnTo>
                    <a:pt x="3565" y="2371"/>
                  </a:lnTo>
                  <a:lnTo>
                    <a:pt x="3563" y="2371"/>
                  </a:lnTo>
                  <a:lnTo>
                    <a:pt x="3563" y="2371"/>
                  </a:lnTo>
                  <a:lnTo>
                    <a:pt x="3561" y="2371"/>
                  </a:lnTo>
                  <a:lnTo>
                    <a:pt x="3561" y="2369"/>
                  </a:lnTo>
                  <a:lnTo>
                    <a:pt x="3561" y="2369"/>
                  </a:lnTo>
                  <a:lnTo>
                    <a:pt x="3561" y="2369"/>
                  </a:lnTo>
                  <a:lnTo>
                    <a:pt x="3563" y="2369"/>
                  </a:lnTo>
                  <a:lnTo>
                    <a:pt x="3563" y="2369"/>
                  </a:lnTo>
                  <a:lnTo>
                    <a:pt x="3563" y="2366"/>
                  </a:lnTo>
                  <a:lnTo>
                    <a:pt x="3563" y="2366"/>
                  </a:lnTo>
                  <a:lnTo>
                    <a:pt x="3567" y="2366"/>
                  </a:lnTo>
                  <a:lnTo>
                    <a:pt x="3567" y="2366"/>
                  </a:lnTo>
                  <a:lnTo>
                    <a:pt x="3569" y="2369"/>
                  </a:lnTo>
                  <a:lnTo>
                    <a:pt x="3569" y="2369"/>
                  </a:lnTo>
                  <a:lnTo>
                    <a:pt x="3569" y="2369"/>
                  </a:lnTo>
                  <a:lnTo>
                    <a:pt x="3569" y="2369"/>
                  </a:lnTo>
                  <a:lnTo>
                    <a:pt x="3569" y="2366"/>
                  </a:lnTo>
                  <a:lnTo>
                    <a:pt x="3571" y="2366"/>
                  </a:lnTo>
                  <a:lnTo>
                    <a:pt x="3571" y="2366"/>
                  </a:lnTo>
                  <a:lnTo>
                    <a:pt x="3571" y="2364"/>
                  </a:lnTo>
                  <a:lnTo>
                    <a:pt x="3571" y="2362"/>
                  </a:lnTo>
                  <a:lnTo>
                    <a:pt x="3571" y="2362"/>
                  </a:lnTo>
                  <a:close/>
                  <a:moveTo>
                    <a:pt x="3613" y="1561"/>
                  </a:moveTo>
                  <a:lnTo>
                    <a:pt x="3613" y="1561"/>
                  </a:lnTo>
                  <a:lnTo>
                    <a:pt x="3613" y="1561"/>
                  </a:lnTo>
                  <a:lnTo>
                    <a:pt x="3613" y="1559"/>
                  </a:lnTo>
                  <a:lnTo>
                    <a:pt x="3613" y="1559"/>
                  </a:lnTo>
                  <a:lnTo>
                    <a:pt x="3613" y="1561"/>
                  </a:lnTo>
                  <a:lnTo>
                    <a:pt x="3613" y="1561"/>
                  </a:lnTo>
                  <a:lnTo>
                    <a:pt x="3613" y="1561"/>
                  </a:lnTo>
                  <a:lnTo>
                    <a:pt x="3613" y="1561"/>
                  </a:lnTo>
                  <a:close/>
                  <a:moveTo>
                    <a:pt x="3732" y="1501"/>
                  </a:moveTo>
                  <a:lnTo>
                    <a:pt x="3732" y="1501"/>
                  </a:lnTo>
                  <a:lnTo>
                    <a:pt x="3732" y="1499"/>
                  </a:lnTo>
                  <a:lnTo>
                    <a:pt x="3730" y="1497"/>
                  </a:lnTo>
                  <a:lnTo>
                    <a:pt x="3730" y="1497"/>
                  </a:lnTo>
                  <a:lnTo>
                    <a:pt x="3730" y="1497"/>
                  </a:lnTo>
                  <a:lnTo>
                    <a:pt x="3730" y="1497"/>
                  </a:lnTo>
                  <a:lnTo>
                    <a:pt x="3728" y="1491"/>
                  </a:lnTo>
                  <a:lnTo>
                    <a:pt x="3728" y="1491"/>
                  </a:lnTo>
                  <a:lnTo>
                    <a:pt x="3728" y="1491"/>
                  </a:lnTo>
                  <a:lnTo>
                    <a:pt x="3726" y="1487"/>
                  </a:lnTo>
                  <a:lnTo>
                    <a:pt x="3726" y="1487"/>
                  </a:lnTo>
                  <a:lnTo>
                    <a:pt x="3724" y="1487"/>
                  </a:lnTo>
                  <a:lnTo>
                    <a:pt x="3724" y="1487"/>
                  </a:lnTo>
                  <a:lnTo>
                    <a:pt x="3724" y="1485"/>
                  </a:lnTo>
                  <a:lnTo>
                    <a:pt x="3724" y="1485"/>
                  </a:lnTo>
                  <a:lnTo>
                    <a:pt x="3724" y="1485"/>
                  </a:lnTo>
                  <a:lnTo>
                    <a:pt x="3722" y="1481"/>
                  </a:lnTo>
                  <a:lnTo>
                    <a:pt x="3720" y="1479"/>
                  </a:lnTo>
                  <a:lnTo>
                    <a:pt x="3720" y="1479"/>
                  </a:lnTo>
                  <a:lnTo>
                    <a:pt x="3720" y="1479"/>
                  </a:lnTo>
                  <a:lnTo>
                    <a:pt x="3720" y="1479"/>
                  </a:lnTo>
                  <a:lnTo>
                    <a:pt x="3718" y="1474"/>
                  </a:lnTo>
                  <a:lnTo>
                    <a:pt x="3712" y="1470"/>
                  </a:lnTo>
                  <a:lnTo>
                    <a:pt x="3710" y="1468"/>
                  </a:lnTo>
                  <a:lnTo>
                    <a:pt x="3710" y="1468"/>
                  </a:lnTo>
                  <a:lnTo>
                    <a:pt x="3708" y="1468"/>
                  </a:lnTo>
                  <a:lnTo>
                    <a:pt x="3708" y="1468"/>
                  </a:lnTo>
                  <a:lnTo>
                    <a:pt x="3706" y="1468"/>
                  </a:lnTo>
                  <a:lnTo>
                    <a:pt x="3706" y="1468"/>
                  </a:lnTo>
                  <a:lnTo>
                    <a:pt x="3708" y="1468"/>
                  </a:lnTo>
                  <a:lnTo>
                    <a:pt x="3708" y="1470"/>
                  </a:lnTo>
                  <a:lnTo>
                    <a:pt x="3710" y="1470"/>
                  </a:lnTo>
                  <a:lnTo>
                    <a:pt x="3712" y="1470"/>
                  </a:lnTo>
                  <a:lnTo>
                    <a:pt x="3714" y="1472"/>
                  </a:lnTo>
                  <a:lnTo>
                    <a:pt x="3712" y="1472"/>
                  </a:lnTo>
                  <a:lnTo>
                    <a:pt x="3712" y="1472"/>
                  </a:lnTo>
                  <a:lnTo>
                    <a:pt x="3710" y="1472"/>
                  </a:lnTo>
                  <a:lnTo>
                    <a:pt x="3710" y="1470"/>
                  </a:lnTo>
                  <a:lnTo>
                    <a:pt x="3708" y="1470"/>
                  </a:lnTo>
                  <a:lnTo>
                    <a:pt x="3708" y="1472"/>
                  </a:lnTo>
                  <a:lnTo>
                    <a:pt x="3708" y="1474"/>
                  </a:lnTo>
                  <a:lnTo>
                    <a:pt x="3708" y="1477"/>
                  </a:lnTo>
                  <a:lnTo>
                    <a:pt x="3708" y="1479"/>
                  </a:lnTo>
                  <a:lnTo>
                    <a:pt x="3706" y="1481"/>
                  </a:lnTo>
                  <a:lnTo>
                    <a:pt x="3706" y="1481"/>
                  </a:lnTo>
                  <a:lnTo>
                    <a:pt x="3706" y="1483"/>
                  </a:lnTo>
                  <a:lnTo>
                    <a:pt x="3706" y="1483"/>
                  </a:lnTo>
                  <a:lnTo>
                    <a:pt x="3706" y="1487"/>
                  </a:lnTo>
                  <a:lnTo>
                    <a:pt x="3706" y="1489"/>
                  </a:lnTo>
                  <a:lnTo>
                    <a:pt x="3703" y="1493"/>
                  </a:lnTo>
                  <a:lnTo>
                    <a:pt x="3703" y="1493"/>
                  </a:lnTo>
                  <a:lnTo>
                    <a:pt x="3703" y="1493"/>
                  </a:lnTo>
                  <a:lnTo>
                    <a:pt x="3703" y="1489"/>
                  </a:lnTo>
                  <a:lnTo>
                    <a:pt x="3703" y="1491"/>
                  </a:lnTo>
                  <a:lnTo>
                    <a:pt x="3703" y="1493"/>
                  </a:lnTo>
                  <a:lnTo>
                    <a:pt x="3703" y="1495"/>
                  </a:lnTo>
                  <a:lnTo>
                    <a:pt x="3703" y="1499"/>
                  </a:lnTo>
                  <a:lnTo>
                    <a:pt x="3706" y="1510"/>
                  </a:lnTo>
                  <a:lnTo>
                    <a:pt x="3706" y="1514"/>
                  </a:lnTo>
                  <a:lnTo>
                    <a:pt x="3708" y="1516"/>
                  </a:lnTo>
                  <a:lnTo>
                    <a:pt x="3708" y="1520"/>
                  </a:lnTo>
                  <a:lnTo>
                    <a:pt x="3712" y="1522"/>
                  </a:lnTo>
                  <a:lnTo>
                    <a:pt x="3714" y="1522"/>
                  </a:lnTo>
                  <a:lnTo>
                    <a:pt x="3718" y="1522"/>
                  </a:lnTo>
                  <a:lnTo>
                    <a:pt x="3720" y="1520"/>
                  </a:lnTo>
                  <a:lnTo>
                    <a:pt x="3726" y="1518"/>
                  </a:lnTo>
                  <a:lnTo>
                    <a:pt x="3726" y="1518"/>
                  </a:lnTo>
                  <a:lnTo>
                    <a:pt x="3730" y="1516"/>
                  </a:lnTo>
                  <a:lnTo>
                    <a:pt x="3732" y="1514"/>
                  </a:lnTo>
                  <a:lnTo>
                    <a:pt x="3732" y="1514"/>
                  </a:lnTo>
                  <a:lnTo>
                    <a:pt x="3732" y="1512"/>
                  </a:lnTo>
                  <a:lnTo>
                    <a:pt x="3734" y="1510"/>
                  </a:lnTo>
                  <a:lnTo>
                    <a:pt x="3734" y="1507"/>
                  </a:lnTo>
                  <a:lnTo>
                    <a:pt x="3734" y="1503"/>
                  </a:lnTo>
                  <a:lnTo>
                    <a:pt x="3732" y="1501"/>
                  </a:lnTo>
                  <a:close/>
                  <a:moveTo>
                    <a:pt x="3615" y="1547"/>
                  </a:moveTo>
                  <a:lnTo>
                    <a:pt x="3615" y="1547"/>
                  </a:lnTo>
                  <a:lnTo>
                    <a:pt x="3615" y="1547"/>
                  </a:lnTo>
                  <a:lnTo>
                    <a:pt x="3615" y="1547"/>
                  </a:lnTo>
                  <a:lnTo>
                    <a:pt x="3615" y="1547"/>
                  </a:lnTo>
                  <a:lnTo>
                    <a:pt x="3615" y="1547"/>
                  </a:lnTo>
                  <a:lnTo>
                    <a:pt x="3615" y="1547"/>
                  </a:lnTo>
                  <a:lnTo>
                    <a:pt x="3615" y="1547"/>
                  </a:lnTo>
                  <a:lnTo>
                    <a:pt x="3615" y="1547"/>
                  </a:lnTo>
                  <a:lnTo>
                    <a:pt x="3615" y="1547"/>
                  </a:lnTo>
                  <a:lnTo>
                    <a:pt x="3615" y="1547"/>
                  </a:lnTo>
                  <a:lnTo>
                    <a:pt x="3615" y="1547"/>
                  </a:lnTo>
                  <a:lnTo>
                    <a:pt x="3615" y="1547"/>
                  </a:lnTo>
                  <a:close/>
                  <a:moveTo>
                    <a:pt x="3553" y="2362"/>
                  </a:moveTo>
                  <a:lnTo>
                    <a:pt x="3555" y="2362"/>
                  </a:lnTo>
                  <a:lnTo>
                    <a:pt x="3555" y="2360"/>
                  </a:lnTo>
                  <a:lnTo>
                    <a:pt x="3555" y="2360"/>
                  </a:lnTo>
                  <a:lnTo>
                    <a:pt x="3555" y="2358"/>
                  </a:lnTo>
                  <a:lnTo>
                    <a:pt x="3553" y="2358"/>
                  </a:lnTo>
                  <a:lnTo>
                    <a:pt x="3553" y="2358"/>
                  </a:lnTo>
                  <a:lnTo>
                    <a:pt x="3553" y="2358"/>
                  </a:lnTo>
                  <a:lnTo>
                    <a:pt x="3553" y="2360"/>
                  </a:lnTo>
                  <a:lnTo>
                    <a:pt x="3553" y="2360"/>
                  </a:lnTo>
                  <a:lnTo>
                    <a:pt x="3553" y="2360"/>
                  </a:lnTo>
                  <a:lnTo>
                    <a:pt x="3553" y="2362"/>
                  </a:lnTo>
                  <a:close/>
                  <a:moveTo>
                    <a:pt x="3703" y="1479"/>
                  </a:moveTo>
                  <a:lnTo>
                    <a:pt x="3703" y="1479"/>
                  </a:lnTo>
                  <a:lnTo>
                    <a:pt x="3706" y="1479"/>
                  </a:lnTo>
                  <a:lnTo>
                    <a:pt x="3706" y="1479"/>
                  </a:lnTo>
                  <a:lnTo>
                    <a:pt x="3706" y="1479"/>
                  </a:lnTo>
                  <a:lnTo>
                    <a:pt x="3703" y="1477"/>
                  </a:lnTo>
                  <a:lnTo>
                    <a:pt x="3703" y="1479"/>
                  </a:lnTo>
                  <a:close/>
                  <a:moveTo>
                    <a:pt x="3615" y="2437"/>
                  </a:moveTo>
                  <a:lnTo>
                    <a:pt x="3613" y="2435"/>
                  </a:lnTo>
                  <a:lnTo>
                    <a:pt x="3611" y="2435"/>
                  </a:lnTo>
                  <a:lnTo>
                    <a:pt x="3611" y="2435"/>
                  </a:lnTo>
                  <a:lnTo>
                    <a:pt x="3611" y="2435"/>
                  </a:lnTo>
                  <a:lnTo>
                    <a:pt x="3611" y="2437"/>
                  </a:lnTo>
                  <a:lnTo>
                    <a:pt x="3613" y="2437"/>
                  </a:lnTo>
                  <a:lnTo>
                    <a:pt x="3613" y="2439"/>
                  </a:lnTo>
                  <a:lnTo>
                    <a:pt x="3613" y="2439"/>
                  </a:lnTo>
                  <a:lnTo>
                    <a:pt x="3615" y="2439"/>
                  </a:lnTo>
                  <a:lnTo>
                    <a:pt x="3617" y="2439"/>
                  </a:lnTo>
                  <a:lnTo>
                    <a:pt x="3619" y="2439"/>
                  </a:lnTo>
                  <a:lnTo>
                    <a:pt x="3619" y="2437"/>
                  </a:lnTo>
                  <a:lnTo>
                    <a:pt x="3617" y="2437"/>
                  </a:lnTo>
                  <a:lnTo>
                    <a:pt x="3615" y="2437"/>
                  </a:lnTo>
                  <a:close/>
                  <a:moveTo>
                    <a:pt x="3604" y="1448"/>
                  </a:moveTo>
                  <a:lnTo>
                    <a:pt x="3604" y="1448"/>
                  </a:lnTo>
                  <a:lnTo>
                    <a:pt x="3604" y="1448"/>
                  </a:lnTo>
                  <a:lnTo>
                    <a:pt x="3604" y="1448"/>
                  </a:lnTo>
                  <a:lnTo>
                    <a:pt x="3604" y="1448"/>
                  </a:lnTo>
                  <a:lnTo>
                    <a:pt x="3604" y="1448"/>
                  </a:lnTo>
                  <a:lnTo>
                    <a:pt x="3604" y="1448"/>
                  </a:lnTo>
                  <a:lnTo>
                    <a:pt x="3604" y="1448"/>
                  </a:lnTo>
                  <a:lnTo>
                    <a:pt x="3604" y="1448"/>
                  </a:lnTo>
                  <a:close/>
                  <a:moveTo>
                    <a:pt x="3598" y="1708"/>
                  </a:moveTo>
                  <a:lnTo>
                    <a:pt x="3598" y="1710"/>
                  </a:lnTo>
                  <a:lnTo>
                    <a:pt x="3600" y="1710"/>
                  </a:lnTo>
                  <a:lnTo>
                    <a:pt x="3600" y="1710"/>
                  </a:lnTo>
                  <a:lnTo>
                    <a:pt x="3600" y="1710"/>
                  </a:lnTo>
                  <a:lnTo>
                    <a:pt x="3600" y="1710"/>
                  </a:lnTo>
                  <a:lnTo>
                    <a:pt x="3598" y="1712"/>
                  </a:lnTo>
                  <a:lnTo>
                    <a:pt x="3598" y="1710"/>
                  </a:lnTo>
                  <a:lnTo>
                    <a:pt x="3598" y="1710"/>
                  </a:lnTo>
                  <a:lnTo>
                    <a:pt x="3598" y="1710"/>
                  </a:lnTo>
                  <a:lnTo>
                    <a:pt x="3598" y="1710"/>
                  </a:lnTo>
                  <a:lnTo>
                    <a:pt x="3598" y="1712"/>
                  </a:lnTo>
                  <a:lnTo>
                    <a:pt x="3600" y="1712"/>
                  </a:lnTo>
                  <a:lnTo>
                    <a:pt x="3600" y="1712"/>
                  </a:lnTo>
                  <a:lnTo>
                    <a:pt x="3600" y="1710"/>
                  </a:lnTo>
                  <a:lnTo>
                    <a:pt x="3600" y="1710"/>
                  </a:lnTo>
                  <a:lnTo>
                    <a:pt x="3598" y="1708"/>
                  </a:lnTo>
                  <a:close/>
                  <a:moveTo>
                    <a:pt x="3609" y="1489"/>
                  </a:moveTo>
                  <a:lnTo>
                    <a:pt x="3609" y="1489"/>
                  </a:lnTo>
                  <a:lnTo>
                    <a:pt x="3609" y="1489"/>
                  </a:lnTo>
                  <a:lnTo>
                    <a:pt x="3607" y="1489"/>
                  </a:lnTo>
                  <a:lnTo>
                    <a:pt x="3607" y="1489"/>
                  </a:lnTo>
                  <a:lnTo>
                    <a:pt x="3607" y="1489"/>
                  </a:lnTo>
                  <a:lnTo>
                    <a:pt x="3609" y="1489"/>
                  </a:lnTo>
                  <a:lnTo>
                    <a:pt x="3609" y="1489"/>
                  </a:lnTo>
                  <a:lnTo>
                    <a:pt x="3609" y="1489"/>
                  </a:lnTo>
                  <a:lnTo>
                    <a:pt x="3609" y="1489"/>
                  </a:lnTo>
                  <a:lnTo>
                    <a:pt x="3609" y="1489"/>
                  </a:lnTo>
                  <a:lnTo>
                    <a:pt x="3609" y="1489"/>
                  </a:lnTo>
                  <a:lnTo>
                    <a:pt x="3609" y="1489"/>
                  </a:lnTo>
                  <a:close/>
                  <a:moveTo>
                    <a:pt x="2338" y="1437"/>
                  </a:moveTo>
                  <a:lnTo>
                    <a:pt x="2336" y="1437"/>
                  </a:lnTo>
                  <a:lnTo>
                    <a:pt x="2336" y="1437"/>
                  </a:lnTo>
                  <a:lnTo>
                    <a:pt x="2336" y="1439"/>
                  </a:lnTo>
                  <a:lnTo>
                    <a:pt x="2338" y="1439"/>
                  </a:lnTo>
                  <a:lnTo>
                    <a:pt x="2338" y="1437"/>
                  </a:lnTo>
                  <a:lnTo>
                    <a:pt x="2338" y="1437"/>
                  </a:lnTo>
                  <a:close/>
                  <a:moveTo>
                    <a:pt x="2342" y="1446"/>
                  </a:moveTo>
                  <a:lnTo>
                    <a:pt x="2342" y="1446"/>
                  </a:lnTo>
                  <a:lnTo>
                    <a:pt x="2340" y="1448"/>
                  </a:lnTo>
                  <a:lnTo>
                    <a:pt x="2342" y="1448"/>
                  </a:lnTo>
                  <a:lnTo>
                    <a:pt x="2342" y="1448"/>
                  </a:lnTo>
                  <a:lnTo>
                    <a:pt x="2342" y="1448"/>
                  </a:lnTo>
                  <a:lnTo>
                    <a:pt x="2342" y="1448"/>
                  </a:lnTo>
                  <a:lnTo>
                    <a:pt x="2342" y="1448"/>
                  </a:lnTo>
                  <a:lnTo>
                    <a:pt x="2342" y="1446"/>
                  </a:lnTo>
                  <a:lnTo>
                    <a:pt x="2342" y="1446"/>
                  </a:lnTo>
                  <a:lnTo>
                    <a:pt x="2342" y="1446"/>
                  </a:lnTo>
                  <a:close/>
                  <a:moveTo>
                    <a:pt x="2340" y="1443"/>
                  </a:moveTo>
                  <a:lnTo>
                    <a:pt x="2340" y="1441"/>
                  </a:lnTo>
                  <a:lnTo>
                    <a:pt x="2338" y="1441"/>
                  </a:lnTo>
                  <a:lnTo>
                    <a:pt x="2338" y="1443"/>
                  </a:lnTo>
                  <a:lnTo>
                    <a:pt x="2338" y="1443"/>
                  </a:lnTo>
                  <a:lnTo>
                    <a:pt x="2338" y="1443"/>
                  </a:lnTo>
                  <a:lnTo>
                    <a:pt x="2338" y="1443"/>
                  </a:lnTo>
                  <a:lnTo>
                    <a:pt x="2340" y="1443"/>
                  </a:lnTo>
                  <a:close/>
                  <a:moveTo>
                    <a:pt x="2340" y="1448"/>
                  </a:moveTo>
                  <a:lnTo>
                    <a:pt x="2338" y="1448"/>
                  </a:lnTo>
                  <a:lnTo>
                    <a:pt x="2338" y="1448"/>
                  </a:lnTo>
                  <a:lnTo>
                    <a:pt x="2338" y="1450"/>
                  </a:lnTo>
                  <a:lnTo>
                    <a:pt x="2338" y="1450"/>
                  </a:lnTo>
                  <a:lnTo>
                    <a:pt x="2338" y="1450"/>
                  </a:lnTo>
                  <a:lnTo>
                    <a:pt x="2340" y="1450"/>
                  </a:lnTo>
                  <a:lnTo>
                    <a:pt x="2340" y="1450"/>
                  </a:lnTo>
                  <a:lnTo>
                    <a:pt x="2340" y="1448"/>
                  </a:lnTo>
                  <a:lnTo>
                    <a:pt x="2340" y="1448"/>
                  </a:lnTo>
                  <a:close/>
                  <a:moveTo>
                    <a:pt x="2361" y="1718"/>
                  </a:moveTo>
                  <a:lnTo>
                    <a:pt x="2361" y="1718"/>
                  </a:lnTo>
                  <a:lnTo>
                    <a:pt x="2361" y="1718"/>
                  </a:lnTo>
                  <a:lnTo>
                    <a:pt x="2361" y="1718"/>
                  </a:lnTo>
                  <a:lnTo>
                    <a:pt x="2361" y="1720"/>
                  </a:lnTo>
                  <a:lnTo>
                    <a:pt x="2361" y="1720"/>
                  </a:lnTo>
                  <a:lnTo>
                    <a:pt x="2361" y="1720"/>
                  </a:lnTo>
                  <a:lnTo>
                    <a:pt x="2363" y="1720"/>
                  </a:lnTo>
                  <a:lnTo>
                    <a:pt x="2363" y="1718"/>
                  </a:lnTo>
                  <a:lnTo>
                    <a:pt x="2361" y="1718"/>
                  </a:lnTo>
                  <a:lnTo>
                    <a:pt x="2361" y="1718"/>
                  </a:lnTo>
                  <a:close/>
                  <a:moveTo>
                    <a:pt x="2388" y="1499"/>
                  </a:moveTo>
                  <a:lnTo>
                    <a:pt x="2386" y="1499"/>
                  </a:lnTo>
                  <a:lnTo>
                    <a:pt x="2384" y="1499"/>
                  </a:lnTo>
                  <a:lnTo>
                    <a:pt x="2382" y="1499"/>
                  </a:lnTo>
                  <a:lnTo>
                    <a:pt x="2386" y="1501"/>
                  </a:lnTo>
                  <a:lnTo>
                    <a:pt x="2388" y="1501"/>
                  </a:lnTo>
                  <a:lnTo>
                    <a:pt x="2388" y="1501"/>
                  </a:lnTo>
                  <a:lnTo>
                    <a:pt x="2388" y="1499"/>
                  </a:lnTo>
                  <a:lnTo>
                    <a:pt x="2388" y="1499"/>
                  </a:lnTo>
                  <a:lnTo>
                    <a:pt x="2388" y="1499"/>
                  </a:lnTo>
                  <a:close/>
                  <a:moveTo>
                    <a:pt x="2345" y="1443"/>
                  </a:moveTo>
                  <a:lnTo>
                    <a:pt x="2345" y="1443"/>
                  </a:lnTo>
                  <a:lnTo>
                    <a:pt x="2345" y="1443"/>
                  </a:lnTo>
                  <a:lnTo>
                    <a:pt x="2345" y="1443"/>
                  </a:lnTo>
                  <a:lnTo>
                    <a:pt x="2345" y="1441"/>
                  </a:lnTo>
                  <a:lnTo>
                    <a:pt x="2345" y="1441"/>
                  </a:lnTo>
                  <a:lnTo>
                    <a:pt x="2345" y="1441"/>
                  </a:lnTo>
                  <a:lnTo>
                    <a:pt x="2345" y="1443"/>
                  </a:lnTo>
                  <a:close/>
                  <a:moveTo>
                    <a:pt x="2326" y="1198"/>
                  </a:moveTo>
                  <a:lnTo>
                    <a:pt x="2328" y="1200"/>
                  </a:lnTo>
                  <a:lnTo>
                    <a:pt x="2330" y="1200"/>
                  </a:lnTo>
                  <a:lnTo>
                    <a:pt x="2330" y="1200"/>
                  </a:lnTo>
                  <a:lnTo>
                    <a:pt x="2332" y="1198"/>
                  </a:lnTo>
                  <a:lnTo>
                    <a:pt x="2334" y="1194"/>
                  </a:lnTo>
                  <a:lnTo>
                    <a:pt x="2336" y="1192"/>
                  </a:lnTo>
                  <a:lnTo>
                    <a:pt x="2336" y="1192"/>
                  </a:lnTo>
                  <a:lnTo>
                    <a:pt x="2334" y="1192"/>
                  </a:lnTo>
                  <a:lnTo>
                    <a:pt x="2330" y="1194"/>
                  </a:lnTo>
                  <a:lnTo>
                    <a:pt x="2330" y="1194"/>
                  </a:lnTo>
                  <a:lnTo>
                    <a:pt x="2328" y="1194"/>
                  </a:lnTo>
                  <a:lnTo>
                    <a:pt x="2326" y="1194"/>
                  </a:lnTo>
                  <a:lnTo>
                    <a:pt x="2326" y="1196"/>
                  </a:lnTo>
                  <a:lnTo>
                    <a:pt x="2326" y="1196"/>
                  </a:lnTo>
                  <a:lnTo>
                    <a:pt x="2326" y="1198"/>
                  </a:lnTo>
                  <a:close/>
                  <a:moveTo>
                    <a:pt x="2322" y="1198"/>
                  </a:moveTo>
                  <a:lnTo>
                    <a:pt x="2320" y="1198"/>
                  </a:lnTo>
                  <a:lnTo>
                    <a:pt x="2320" y="1198"/>
                  </a:lnTo>
                  <a:lnTo>
                    <a:pt x="2320" y="1198"/>
                  </a:lnTo>
                  <a:lnTo>
                    <a:pt x="2320" y="1200"/>
                  </a:lnTo>
                  <a:lnTo>
                    <a:pt x="2320" y="1200"/>
                  </a:lnTo>
                  <a:lnTo>
                    <a:pt x="2322" y="1200"/>
                  </a:lnTo>
                  <a:lnTo>
                    <a:pt x="2322" y="1200"/>
                  </a:lnTo>
                  <a:lnTo>
                    <a:pt x="2322" y="1198"/>
                  </a:lnTo>
                  <a:lnTo>
                    <a:pt x="2322" y="1198"/>
                  </a:lnTo>
                  <a:lnTo>
                    <a:pt x="2322" y="1198"/>
                  </a:lnTo>
                  <a:close/>
                  <a:moveTo>
                    <a:pt x="4380" y="1611"/>
                  </a:moveTo>
                  <a:lnTo>
                    <a:pt x="4378" y="1613"/>
                  </a:lnTo>
                  <a:lnTo>
                    <a:pt x="4378" y="1615"/>
                  </a:lnTo>
                  <a:lnTo>
                    <a:pt x="4380" y="1615"/>
                  </a:lnTo>
                  <a:lnTo>
                    <a:pt x="4380" y="1613"/>
                  </a:lnTo>
                  <a:lnTo>
                    <a:pt x="4382" y="1613"/>
                  </a:lnTo>
                  <a:lnTo>
                    <a:pt x="4380" y="1611"/>
                  </a:lnTo>
                  <a:lnTo>
                    <a:pt x="4382" y="1611"/>
                  </a:lnTo>
                  <a:lnTo>
                    <a:pt x="4380" y="1611"/>
                  </a:lnTo>
                  <a:lnTo>
                    <a:pt x="4380" y="1611"/>
                  </a:lnTo>
                  <a:close/>
                  <a:moveTo>
                    <a:pt x="2336" y="1448"/>
                  </a:moveTo>
                  <a:lnTo>
                    <a:pt x="2336" y="1448"/>
                  </a:lnTo>
                  <a:lnTo>
                    <a:pt x="2336" y="1448"/>
                  </a:lnTo>
                  <a:lnTo>
                    <a:pt x="2336" y="1448"/>
                  </a:lnTo>
                  <a:lnTo>
                    <a:pt x="2336" y="1448"/>
                  </a:lnTo>
                  <a:lnTo>
                    <a:pt x="2334" y="1450"/>
                  </a:lnTo>
                  <a:lnTo>
                    <a:pt x="2334" y="1450"/>
                  </a:lnTo>
                  <a:lnTo>
                    <a:pt x="2336" y="1450"/>
                  </a:lnTo>
                  <a:lnTo>
                    <a:pt x="2336" y="1450"/>
                  </a:lnTo>
                  <a:lnTo>
                    <a:pt x="2336" y="1450"/>
                  </a:lnTo>
                  <a:lnTo>
                    <a:pt x="2338" y="1450"/>
                  </a:lnTo>
                  <a:lnTo>
                    <a:pt x="2336" y="1448"/>
                  </a:lnTo>
                  <a:lnTo>
                    <a:pt x="2336" y="1448"/>
                  </a:lnTo>
                  <a:close/>
                  <a:moveTo>
                    <a:pt x="3184" y="1768"/>
                  </a:moveTo>
                  <a:lnTo>
                    <a:pt x="3184" y="1768"/>
                  </a:lnTo>
                  <a:lnTo>
                    <a:pt x="3184" y="1768"/>
                  </a:lnTo>
                  <a:lnTo>
                    <a:pt x="3184" y="1770"/>
                  </a:lnTo>
                  <a:lnTo>
                    <a:pt x="3182" y="1774"/>
                  </a:lnTo>
                  <a:lnTo>
                    <a:pt x="3184" y="1774"/>
                  </a:lnTo>
                  <a:lnTo>
                    <a:pt x="3184" y="1776"/>
                  </a:lnTo>
                  <a:lnTo>
                    <a:pt x="3186" y="1776"/>
                  </a:lnTo>
                  <a:lnTo>
                    <a:pt x="3186" y="1776"/>
                  </a:lnTo>
                  <a:lnTo>
                    <a:pt x="3186" y="1776"/>
                  </a:lnTo>
                  <a:lnTo>
                    <a:pt x="3186" y="1774"/>
                  </a:lnTo>
                  <a:lnTo>
                    <a:pt x="3184" y="1772"/>
                  </a:lnTo>
                  <a:lnTo>
                    <a:pt x="3186" y="1768"/>
                  </a:lnTo>
                  <a:lnTo>
                    <a:pt x="3184" y="1768"/>
                  </a:lnTo>
                  <a:close/>
                  <a:moveTo>
                    <a:pt x="3283" y="1819"/>
                  </a:moveTo>
                  <a:lnTo>
                    <a:pt x="3283" y="1817"/>
                  </a:lnTo>
                  <a:lnTo>
                    <a:pt x="3283" y="1813"/>
                  </a:lnTo>
                  <a:lnTo>
                    <a:pt x="3281" y="1807"/>
                  </a:lnTo>
                  <a:lnTo>
                    <a:pt x="3281" y="1799"/>
                  </a:lnTo>
                  <a:lnTo>
                    <a:pt x="3279" y="1794"/>
                  </a:lnTo>
                  <a:lnTo>
                    <a:pt x="3279" y="1792"/>
                  </a:lnTo>
                  <a:lnTo>
                    <a:pt x="3277" y="1790"/>
                  </a:lnTo>
                  <a:lnTo>
                    <a:pt x="3277" y="1790"/>
                  </a:lnTo>
                  <a:lnTo>
                    <a:pt x="3275" y="1786"/>
                  </a:lnTo>
                  <a:lnTo>
                    <a:pt x="3272" y="1784"/>
                  </a:lnTo>
                  <a:lnTo>
                    <a:pt x="3272" y="1784"/>
                  </a:lnTo>
                  <a:lnTo>
                    <a:pt x="3272" y="1782"/>
                  </a:lnTo>
                  <a:lnTo>
                    <a:pt x="3270" y="1780"/>
                  </a:lnTo>
                  <a:lnTo>
                    <a:pt x="3270" y="1780"/>
                  </a:lnTo>
                  <a:lnTo>
                    <a:pt x="3268" y="1778"/>
                  </a:lnTo>
                  <a:lnTo>
                    <a:pt x="3268" y="1778"/>
                  </a:lnTo>
                  <a:lnTo>
                    <a:pt x="3268" y="1778"/>
                  </a:lnTo>
                  <a:lnTo>
                    <a:pt x="3266" y="1782"/>
                  </a:lnTo>
                  <a:lnTo>
                    <a:pt x="3264" y="1784"/>
                  </a:lnTo>
                  <a:lnTo>
                    <a:pt x="3264" y="1784"/>
                  </a:lnTo>
                  <a:lnTo>
                    <a:pt x="3262" y="1784"/>
                  </a:lnTo>
                  <a:lnTo>
                    <a:pt x="3262" y="1784"/>
                  </a:lnTo>
                  <a:lnTo>
                    <a:pt x="3262" y="1786"/>
                  </a:lnTo>
                  <a:lnTo>
                    <a:pt x="3264" y="1788"/>
                  </a:lnTo>
                  <a:lnTo>
                    <a:pt x="3264" y="1788"/>
                  </a:lnTo>
                  <a:lnTo>
                    <a:pt x="3264" y="1790"/>
                  </a:lnTo>
                  <a:lnTo>
                    <a:pt x="3262" y="1794"/>
                  </a:lnTo>
                  <a:lnTo>
                    <a:pt x="3260" y="1797"/>
                  </a:lnTo>
                  <a:lnTo>
                    <a:pt x="3258" y="1799"/>
                  </a:lnTo>
                  <a:lnTo>
                    <a:pt x="3256" y="1799"/>
                  </a:lnTo>
                  <a:lnTo>
                    <a:pt x="3256" y="1801"/>
                  </a:lnTo>
                  <a:lnTo>
                    <a:pt x="3254" y="1801"/>
                  </a:lnTo>
                  <a:lnTo>
                    <a:pt x="3254" y="1801"/>
                  </a:lnTo>
                  <a:lnTo>
                    <a:pt x="3252" y="1801"/>
                  </a:lnTo>
                  <a:lnTo>
                    <a:pt x="3252" y="1801"/>
                  </a:lnTo>
                  <a:lnTo>
                    <a:pt x="3250" y="1801"/>
                  </a:lnTo>
                  <a:lnTo>
                    <a:pt x="3250" y="1801"/>
                  </a:lnTo>
                  <a:lnTo>
                    <a:pt x="3250" y="1803"/>
                  </a:lnTo>
                  <a:lnTo>
                    <a:pt x="3250" y="1803"/>
                  </a:lnTo>
                  <a:lnTo>
                    <a:pt x="3250" y="1803"/>
                  </a:lnTo>
                  <a:lnTo>
                    <a:pt x="3250" y="1805"/>
                  </a:lnTo>
                  <a:lnTo>
                    <a:pt x="3250" y="1805"/>
                  </a:lnTo>
                  <a:lnTo>
                    <a:pt x="3250" y="1805"/>
                  </a:lnTo>
                  <a:lnTo>
                    <a:pt x="3250" y="1807"/>
                  </a:lnTo>
                  <a:lnTo>
                    <a:pt x="3248" y="1811"/>
                  </a:lnTo>
                  <a:lnTo>
                    <a:pt x="3248" y="1813"/>
                  </a:lnTo>
                  <a:lnTo>
                    <a:pt x="3250" y="1815"/>
                  </a:lnTo>
                  <a:lnTo>
                    <a:pt x="3250" y="1815"/>
                  </a:lnTo>
                  <a:lnTo>
                    <a:pt x="3248" y="1815"/>
                  </a:lnTo>
                  <a:lnTo>
                    <a:pt x="3246" y="1815"/>
                  </a:lnTo>
                  <a:lnTo>
                    <a:pt x="3246" y="1817"/>
                  </a:lnTo>
                  <a:lnTo>
                    <a:pt x="3246" y="1817"/>
                  </a:lnTo>
                  <a:lnTo>
                    <a:pt x="3244" y="1819"/>
                  </a:lnTo>
                  <a:lnTo>
                    <a:pt x="3244" y="1819"/>
                  </a:lnTo>
                  <a:lnTo>
                    <a:pt x="3242" y="1819"/>
                  </a:lnTo>
                  <a:lnTo>
                    <a:pt x="3244" y="1819"/>
                  </a:lnTo>
                  <a:lnTo>
                    <a:pt x="3244" y="1819"/>
                  </a:lnTo>
                  <a:lnTo>
                    <a:pt x="3244" y="1817"/>
                  </a:lnTo>
                  <a:lnTo>
                    <a:pt x="3244" y="1817"/>
                  </a:lnTo>
                  <a:lnTo>
                    <a:pt x="3244" y="1815"/>
                  </a:lnTo>
                  <a:lnTo>
                    <a:pt x="3244" y="1815"/>
                  </a:lnTo>
                  <a:lnTo>
                    <a:pt x="3242" y="1817"/>
                  </a:lnTo>
                  <a:lnTo>
                    <a:pt x="3242" y="1817"/>
                  </a:lnTo>
                  <a:lnTo>
                    <a:pt x="3240" y="1819"/>
                  </a:lnTo>
                  <a:lnTo>
                    <a:pt x="3240" y="1821"/>
                  </a:lnTo>
                  <a:lnTo>
                    <a:pt x="3237" y="1821"/>
                  </a:lnTo>
                  <a:lnTo>
                    <a:pt x="3237" y="1823"/>
                  </a:lnTo>
                  <a:lnTo>
                    <a:pt x="3237" y="1823"/>
                  </a:lnTo>
                  <a:lnTo>
                    <a:pt x="3237" y="1825"/>
                  </a:lnTo>
                  <a:lnTo>
                    <a:pt x="3237" y="1825"/>
                  </a:lnTo>
                  <a:lnTo>
                    <a:pt x="3237" y="1825"/>
                  </a:lnTo>
                  <a:lnTo>
                    <a:pt x="3237" y="1828"/>
                  </a:lnTo>
                  <a:lnTo>
                    <a:pt x="3237" y="1828"/>
                  </a:lnTo>
                  <a:lnTo>
                    <a:pt x="3237" y="1825"/>
                  </a:lnTo>
                  <a:lnTo>
                    <a:pt x="3235" y="1823"/>
                  </a:lnTo>
                  <a:lnTo>
                    <a:pt x="3235" y="1823"/>
                  </a:lnTo>
                  <a:lnTo>
                    <a:pt x="3235" y="1823"/>
                  </a:lnTo>
                  <a:lnTo>
                    <a:pt x="3231" y="1825"/>
                  </a:lnTo>
                  <a:lnTo>
                    <a:pt x="3229" y="1828"/>
                  </a:lnTo>
                  <a:lnTo>
                    <a:pt x="3227" y="1830"/>
                  </a:lnTo>
                  <a:lnTo>
                    <a:pt x="3227" y="1830"/>
                  </a:lnTo>
                  <a:lnTo>
                    <a:pt x="3227" y="1832"/>
                  </a:lnTo>
                  <a:lnTo>
                    <a:pt x="3227" y="1832"/>
                  </a:lnTo>
                  <a:lnTo>
                    <a:pt x="3229" y="1834"/>
                  </a:lnTo>
                  <a:lnTo>
                    <a:pt x="3227" y="1834"/>
                  </a:lnTo>
                  <a:lnTo>
                    <a:pt x="3227" y="1834"/>
                  </a:lnTo>
                  <a:lnTo>
                    <a:pt x="3227" y="1834"/>
                  </a:lnTo>
                  <a:lnTo>
                    <a:pt x="3225" y="1832"/>
                  </a:lnTo>
                  <a:lnTo>
                    <a:pt x="3225" y="1832"/>
                  </a:lnTo>
                  <a:lnTo>
                    <a:pt x="3223" y="1832"/>
                  </a:lnTo>
                  <a:lnTo>
                    <a:pt x="3221" y="1832"/>
                  </a:lnTo>
                  <a:lnTo>
                    <a:pt x="3219" y="1832"/>
                  </a:lnTo>
                  <a:lnTo>
                    <a:pt x="3217" y="1832"/>
                  </a:lnTo>
                  <a:lnTo>
                    <a:pt x="3217" y="1834"/>
                  </a:lnTo>
                  <a:lnTo>
                    <a:pt x="3217" y="1834"/>
                  </a:lnTo>
                  <a:lnTo>
                    <a:pt x="3217" y="1834"/>
                  </a:lnTo>
                  <a:lnTo>
                    <a:pt x="3215" y="1834"/>
                  </a:lnTo>
                  <a:lnTo>
                    <a:pt x="3215" y="1834"/>
                  </a:lnTo>
                  <a:lnTo>
                    <a:pt x="3213" y="1836"/>
                  </a:lnTo>
                  <a:lnTo>
                    <a:pt x="3213" y="1836"/>
                  </a:lnTo>
                  <a:lnTo>
                    <a:pt x="3213" y="1834"/>
                  </a:lnTo>
                  <a:lnTo>
                    <a:pt x="3211" y="1834"/>
                  </a:lnTo>
                  <a:lnTo>
                    <a:pt x="3211" y="1834"/>
                  </a:lnTo>
                  <a:lnTo>
                    <a:pt x="3209" y="1836"/>
                  </a:lnTo>
                  <a:lnTo>
                    <a:pt x="3207" y="1838"/>
                  </a:lnTo>
                  <a:lnTo>
                    <a:pt x="3207" y="1838"/>
                  </a:lnTo>
                  <a:lnTo>
                    <a:pt x="3202" y="1838"/>
                  </a:lnTo>
                  <a:lnTo>
                    <a:pt x="3200" y="1838"/>
                  </a:lnTo>
                  <a:lnTo>
                    <a:pt x="3200" y="1838"/>
                  </a:lnTo>
                  <a:lnTo>
                    <a:pt x="3200" y="1838"/>
                  </a:lnTo>
                  <a:lnTo>
                    <a:pt x="3200" y="1840"/>
                  </a:lnTo>
                  <a:lnTo>
                    <a:pt x="3200" y="1844"/>
                  </a:lnTo>
                  <a:lnTo>
                    <a:pt x="3200" y="1844"/>
                  </a:lnTo>
                  <a:lnTo>
                    <a:pt x="3194" y="1854"/>
                  </a:lnTo>
                  <a:lnTo>
                    <a:pt x="3192" y="1859"/>
                  </a:lnTo>
                  <a:lnTo>
                    <a:pt x="3194" y="1859"/>
                  </a:lnTo>
                  <a:lnTo>
                    <a:pt x="3194" y="1861"/>
                  </a:lnTo>
                  <a:lnTo>
                    <a:pt x="3194" y="1863"/>
                  </a:lnTo>
                  <a:lnTo>
                    <a:pt x="3194" y="1869"/>
                  </a:lnTo>
                  <a:lnTo>
                    <a:pt x="3196" y="1871"/>
                  </a:lnTo>
                  <a:lnTo>
                    <a:pt x="3196" y="1873"/>
                  </a:lnTo>
                  <a:lnTo>
                    <a:pt x="3196" y="1875"/>
                  </a:lnTo>
                  <a:lnTo>
                    <a:pt x="3196" y="1877"/>
                  </a:lnTo>
                  <a:lnTo>
                    <a:pt x="3196" y="1879"/>
                  </a:lnTo>
                  <a:lnTo>
                    <a:pt x="3196" y="1879"/>
                  </a:lnTo>
                  <a:lnTo>
                    <a:pt x="3198" y="1883"/>
                  </a:lnTo>
                  <a:lnTo>
                    <a:pt x="3200" y="1885"/>
                  </a:lnTo>
                  <a:lnTo>
                    <a:pt x="3200" y="1887"/>
                  </a:lnTo>
                  <a:lnTo>
                    <a:pt x="3200" y="1887"/>
                  </a:lnTo>
                  <a:lnTo>
                    <a:pt x="3200" y="1892"/>
                  </a:lnTo>
                  <a:lnTo>
                    <a:pt x="3198" y="1894"/>
                  </a:lnTo>
                  <a:lnTo>
                    <a:pt x="3198" y="1896"/>
                  </a:lnTo>
                  <a:lnTo>
                    <a:pt x="3196" y="1898"/>
                  </a:lnTo>
                  <a:lnTo>
                    <a:pt x="3196" y="1902"/>
                  </a:lnTo>
                  <a:lnTo>
                    <a:pt x="3194" y="1902"/>
                  </a:lnTo>
                  <a:lnTo>
                    <a:pt x="3192" y="1906"/>
                  </a:lnTo>
                  <a:lnTo>
                    <a:pt x="3192" y="1908"/>
                  </a:lnTo>
                  <a:lnTo>
                    <a:pt x="3190" y="1910"/>
                  </a:lnTo>
                  <a:lnTo>
                    <a:pt x="3190" y="1912"/>
                  </a:lnTo>
                  <a:lnTo>
                    <a:pt x="3188" y="1912"/>
                  </a:lnTo>
                  <a:lnTo>
                    <a:pt x="3186" y="1912"/>
                  </a:lnTo>
                  <a:lnTo>
                    <a:pt x="3186" y="1916"/>
                  </a:lnTo>
                  <a:lnTo>
                    <a:pt x="3186" y="1918"/>
                  </a:lnTo>
                  <a:lnTo>
                    <a:pt x="3184" y="1918"/>
                  </a:lnTo>
                  <a:lnTo>
                    <a:pt x="3184" y="1920"/>
                  </a:lnTo>
                  <a:lnTo>
                    <a:pt x="3184" y="1920"/>
                  </a:lnTo>
                  <a:lnTo>
                    <a:pt x="3184" y="1923"/>
                  </a:lnTo>
                  <a:lnTo>
                    <a:pt x="3184" y="1923"/>
                  </a:lnTo>
                  <a:lnTo>
                    <a:pt x="3184" y="1927"/>
                  </a:lnTo>
                  <a:lnTo>
                    <a:pt x="3184" y="1929"/>
                  </a:lnTo>
                  <a:lnTo>
                    <a:pt x="3184" y="1933"/>
                  </a:lnTo>
                  <a:lnTo>
                    <a:pt x="3184" y="1935"/>
                  </a:lnTo>
                  <a:lnTo>
                    <a:pt x="3186" y="1935"/>
                  </a:lnTo>
                  <a:lnTo>
                    <a:pt x="3188" y="1939"/>
                  </a:lnTo>
                  <a:lnTo>
                    <a:pt x="3188" y="1941"/>
                  </a:lnTo>
                  <a:lnTo>
                    <a:pt x="3188" y="1941"/>
                  </a:lnTo>
                  <a:lnTo>
                    <a:pt x="3190" y="1943"/>
                  </a:lnTo>
                  <a:lnTo>
                    <a:pt x="3190" y="1945"/>
                  </a:lnTo>
                  <a:lnTo>
                    <a:pt x="3188" y="1947"/>
                  </a:lnTo>
                  <a:lnTo>
                    <a:pt x="3188" y="1949"/>
                  </a:lnTo>
                  <a:lnTo>
                    <a:pt x="3188" y="1951"/>
                  </a:lnTo>
                  <a:lnTo>
                    <a:pt x="3188" y="1953"/>
                  </a:lnTo>
                  <a:lnTo>
                    <a:pt x="3188" y="1958"/>
                  </a:lnTo>
                  <a:lnTo>
                    <a:pt x="3190" y="1958"/>
                  </a:lnTo>
                  <a:lnTo>
                    <a:pt x="3192" y="1960"/>
                  </a:lnTo>
                  <a:lnTo>
                    <a:pt x="3192" y="1962"/>
                  </a:lnTo>
                  <a:lnTo>
                    <a:pt x="3192" y="1964"/>
                  </a:lnTo>
                  <a:lnTo>
                    <a:pt x="3194" y="1966"/>
                  </a:lnTo>
                  <a:lnTo>
                    <a:pt x="3194" y="1966"/>
                  </a:lnTo>
                  <a:lnTo>
                    <a:pt x="3194" y="1968"/>
                  </a:lnTo>
                  <a:lnTo>
                    <a:pt x="3194" y="1968"/>
                  </a:lnTo>
                  <a:lnTo>
                    <a:pt x="3198" y="1970"/>
                  </a:lnTo>
                  <a:lnTo>
                    <a:pt x="3198" y="1970"/>
                  </a:lnTo>
                  <a:lnTo>
                    <a:pt x="3200" y="1972"/>
                  </a:lnTo>
                  <a:lnTo>
                    <a:pt x="3200" y="1972"/>
                  </a:lnTo>
                  <a:lnTo>
                    <a:pt x="3204" y="1972"/>
                  </a:lnTo>
                  <a:lnTo>
                    <a:pt x="3204" y="1972"/>
                  </a:lnTo>
                  <a:lnTo>
                    <a:pt x="3209" y="1976"/>
                  </a:lnTo>
                  <a:lnTo>
                    <a:pt x="3211" y="1976"/>
                  </a:lnTo>
                  <a:lnTo>
                    <a:pt x="3215" y="1976"/>
                  </a:lnTo>
                  <a:lnTo>
                    <a:pt x="3217" y="1976"/>
                  </a:lnTo>
                  <a:lnTo>
                    <a:pt x="3217" y="1974"/>
                  </a:lnTo>
                  <a:lnTo>
                    <a:pt x="3221" y="1972"/>
                  </a:lnTo>
                  <a:lnTo>
                    <a:pt x="3225" y="1970"/>
                  </a:lnTo>
                  <a:lnTo>
                    <a:pt x="3227" y="1970"/>
                  </a:lnTo>
                  <a:lnTo>
                    <a:pt x="3231" y="1970"/>
                  </a:lnTo>
                  <a:lnTo>
                    <a:pt x="3233" y="1970"/>
                  </a:lnTo>
                  <a:lnTo>
                    <a:pt x="3235" y="1968"/>
                  </a:lnTo>
                  <a:lnTo>
                    <a:pt x="3237" y="1968"/>
                  </a:lnTo>
                  <a:lnTo>
                    <a:pt x="3240" y="1964"/>
                  </a:lnTo>
                  <a:lnTo>
                    <a:pt x="3240" y="1962"/>
                  </a:lnTo>
                  <a:lnTo>
                    <a:pt x="3242" y="1960"/>
                  </a:lnTo>
                  <a:lnTo>
                    <a:pt x="3242" y="1958"/>
                  </a:lnTo>
                  <a:lnTo>
                    <a:pt x="3242" y="1956"/>
                  </a:lnTo>
                  <a:lnTo>
                    <a:pt x="3242" y="1953"/>
                  </a:lnTo>
                  <a:lnTo>
                    <a:pt x="3244" y="1951"/>
                  </a:lnTo>
                  <a:lnTo>
                    <a:pt x="3246" y="1949"/>
                  </a:lnTo>
                  <a:lnTo>
                    <a:pt x="3246" y="1947"/>
                  </a:lnTo>
                  <a:lnTo>
                    <a:pt x="3248" y="1941"/>
                  </a:lnTo>
                  <a:lnTo>
                    <a:pt x="3248" y="1937"/>
                  </a:lnTo>
                  <a:lnTo>
                    <a:pt x="3248" y="1933"/>
                  </a:lnTo>
                  <a:lnTo>
                    <a:pt x="3250" y="1929"/>
                  </a:lnTo>
                  <a:lnTo>
                    <a:pt x="3250" y="1929"/>
                  </a:lnTo>
                  <a:lnTo>
                    <a:pt x="3254" y="1920"/>
                  </a:lnTo>
                  <a:lnTo>
                    <a:pt x="3256" y="1912"/>
                  </a:lnTo>
                  <a:lnTo>
                    <a:pt x="3258" y="1906"/>
                  </a:lnTo>
                  <a:lnTo>
                    <a:pt x="3260" y="1900"/>
                  </a:lnTo>
                  <a:lnTo>
                    <a:pt x="3260" y="1896"/>
                  </a:lnTo>
                  <a:lnTo>
                    <a:pt x="3262" y="1892"/>
                  </a:lnTo>
                  <a:lnTo>
                    <a:pt x="3264" y="1885"/>
                  </a:lnTo>
                  <a:lnTo>
                    <a:pt x="3266" y="1879"/>
                  </a:lnTo>
                  <a:lnTo>
                    <a:pt x="3268" y="1875"/>
                  </a:lnTo>
                  <a:lnTo>
                    <a:pt x="3268" y="1871"/>
                  </a:lnTo>
                  <a:lnTo>
                    <a:pt x="3270" y="1869"/>
                  </a:lnTo>
                  <a:lnTo>
                    <a:pt x="3272" y="1863"/>
                  </a:lnTo>
                  <a:lnTo>
                    <a:pt x="3272" y="1859"/>
                  </a:lnTo>
                  <a:lnTo>
                    <a:pt x="3270" y="1854"/>
                  </a:lnTo>
                  <a:lnTo>
                    <a:pt x="3270" y="1852"/>
                  </a:lnTo>
                  <a:lnTo>
                    <a:pt x="3272" y="1850"/>
                  </a:lnTo>
                  <a:lnTo>
                    <a:pt x="3272" y="1848"/>
                  </a:lnTo>
                  <a:lnTo>
                    <a:pt x="3275" y="1848"/>
                  </a:lnTo>
                  <a:lnTo>
                    <a:pt x="3275" y="1846"/>
                  </a:lnTo>
                  <a:lnTo>
                    <a:pt x="3277" y="1846"/>
                  </a:lnTo>
                  <a:lnTo>
                    <a:pt x="3275" y="1846"/>
                  </a:lnTo>
                  <a:lnTo>
                    <a:pt x="3275" y="1844"/>
                  </a:lnTo>
                  <a:lnTo>
                    <a:pt x="3277" y="1844"/>
                  </a:lnTo>
                  <a:lnTo>
                    <a:pt x="3277" y="1842"/>
                  </a:lnTo>
                  <a:lnTo>
                    <a:pt x="3277" y="1838"/>
                  </a:lnTo>
                  <a:lnTo>
                    <a:pt x="3277" y="1838"/>
                  </a:lnTo>
                  <a:lnTo>
                    <a:pt x="3275" y="1836"/>
                  </a:lnTo>
                  <a:lnTo>
                    <a:pt x="3275" y="1836"/>
                  </a:lnTo>
                  <a:lnTo>
                    <a:pt x="3275" y="1834"/>
                  </a:lnTo>
                  <a:lnTo>
                    <a:pt x="3275" y="1832"/>
                  </a:lnTo>
                  <a:lnTo>
                    <a:pt x="3275" y="1830"/>
                  </a:lnTo>
                  <a:lnTo>
                    <a:pt x="3275" y="1828"/>
                  </a:lnTo>
                  <a:lnTo>
                    <a:pt x="3275" y="1828"/>
                  </a:lnTo>
                  <a:lnTo>
                    <a:pt x="3275" y="1828"/>
                  </a:lnTo>
                  <a:lnTo>
                    <a:pt x="3277" y="1828"/>
                  </a:lnTo>
                  <a:lnTo>
                    <a:pt x="3279" y="1828"/>
                  </a:lnTo>
                  <a:lnTo>
                    <a:pt x="3279" y="1828"/>
                  </a:lnTo>
                  <a:lnTo>
                    <a:pt x="3279" y="1832"/>
                  </a:lnTo>
                  <a:lnTo>
                    <a:pt x="3281" y="1834"/>
                  </a:lnTo>
                  <a:lnTo>
                    <a:pt x="3283" y="1834"/>
                  </a:lnTo>
                  <a:lnTo>
                    <a:pt x="3283" y="1834"/>
                  </a:lnTo>
                  <a:lnTo>
                    <a:pt x="3283" y="1834"/>
                  </a:lnTo>
                  <a:lnTo>
                    <a:pt x="3283" y="1832"/>
                  </a:lnTo>
                  <a:lnTo>
                    <a:pt x="3285" y="1830"/>
                  </a:lnTo>
                  <a:lnTo>
                    <a:pt x="3287" y="1825"/>
                  </a:lnTo>
                  <a:lnTo>
                    <a:pt x="3285" y="1821"/>
                  </a:lnTo>
                  <a:lnTo>
                    <a:pt x="3283" y="1819"/>
                  </a:lnTo>
                  <a:close/>
                  <a:moveTo>
                    <a:pt x="3153" y="1636"/>
                  </a:moveTo>
                  <a:lnTo>
                    <a:pt x="3151" y="1636"/>
                  </a:lnTo>
                  <a:lnTo>
                    <a:pt x="3151" y="1638"/>
                  </a:lnTo>
                  <a:lnTo>
                    <a:pt x="3151" y="1638"/>
                  </a:lnTo>
                  <a:lnTo>
                    <a:pt x="3153" y="1636"/>
                  </a:lnTo>
                  <a:lnTo>
                    <a:pt x="3153" y="1636"/>
                  </a:lnTo>
                  <a:lnTo>
                    <a:pt x="3153" y="1636"/>
                  </a:lnTo>
                  <a:lnTo>
                    <a:pt x="3153" y="1636"/>
                  </a:lnTo>
                  <a:lnTo>
                    <a:pt x="3153" y="1636"/>
                  </a:lnTo>
                  <a:close/>
                  <a:moveTo>
                    <a:pt x="3277" y="1848"/>
                  </a:moveTo>
                  <a:lnTo>
                    <a:pt x="3277" y="1850"/>
                  </a:lnTo>
                  <a:lnTo>
                    <a:pt x="3279" y="1848"/>
                  </a:lnTo>
                  <a:lnTo>
                    <a:pt x="3279" y="1844"/>
                  </a:lnTo>
                  <a:lnTo>
                    <a:pt x="3279" y="1844"/>
                  </a:lnTo>
                  <a:lnTo>
                    <a:pt x="3277" y="1848"/>
                  </a:lnTo>
                  <a:close/>
                  <a:moveTo>
                    <a:pt x="3105" y="2321"/>
                  </a:moveTo>
                  <a:lnTo>
                    <a:pt x="3103" y="2321"/>
                  </a:lnTo>
                  <a:lnTo>
                    <a:pt x="3103" y="2321"/>
                  </a:lnTo>
                  <a:lnTo>
                    <a:pt x="3101" y="2323"/>
                  </a:lnTo>
                  <a:lnTo>
                    <a:pt x="3103" y="2323"/>
                  </a:lnTo>
                  <a:lnTo>
                    <a:pt x="3105" y="2323"/>
                  </a:lnTo>
                  <a:lnTo>
                    <a:pt x="3105" y="2323"/>
                  </a:lnTo>
                  <a:lnTo>
                    <a:pt x="3108" y="2323"/>
                  </a:lnTo>
                  <a:lnTo>
                    <a:pt x="3105" y="2323"/>
                  </a:lnTo>
                  <a:lnTo>
                    <a:pt x="3105" y="2321"/>
                  </a:lnTo>
                  <a:close/>
                  <a:moveTo>
                    <a:pt x="2691" y="1559"/>
                  </a:moveTo>
                  <a:lnTo>
                    <a:pt x="2691" y="1559"/>
                  </a:lnTo>
                  <a:lnTo>
                    <a:pt x="2693" y="1555"/>
                  </a:lnTo>
                  <a:lnTo>
                    <a:pt x="2693" y="1555"/>
                  </a:lnTo>
                  <a:lnTo>
                    <a:pt x="2693" y="1553"/>
                  </a:lnTo>
                  <a:lnTo>
                    <a:pt x="2691" y="1553"/>
                  </a:lnTo>
                  <a:lnTo>
                    <a:pt x="2691" y="1553"/>
                  </a:lnTo>
                  <a:lnTo>
                    <a:pt x="2691" y="1553"/>
                  </a:lnTo>
                  <a:lnTo>
                    <a:pt x="2689" y="1555"/>
                  </a:lnTo>
                  <a:lnTo>
                    <a:pt x="2689" y="1555"/>
                  </a:lnTo>
                  <a:lnTo>
                    <a:pt x="2689" y="1557"/>
                  </a:lnTo>
                  <a:lnTo>
                    <a:pt x="2689" y="1557"/>
                  </a:lnTo>
                  <a:lnTo>
                    <a:pt x="2687" y="1557"/>
                  </a:lnTo>
                  <a:lnTo>
                    <a:pt x="2687" y="1559"/>
                  </a:lnTo>
                  <a:lnTo>
                    <a:pt x="2687" y="1559"/>
                  </a:lnTo>
                  <a:lnTo>
                    <a:pt x="2687" y="1559"/>
                  </a:lnTo>
                  <a:lnTo>
                    <a:pt x="2687" y="1561"/>
                  </a:lnTo>
                  <a:lnTo>
                    <a:pt x="2689" y="1561"/>
                  </a:lnTo>
                  <a:lnTo>
                    <a:pt x="2691" y="1561"/>
                  </a:lnTo>
                  <a:lnTo>
                    <a:pt x="2691" y="1559"/>
                  </a:lnTo>
                  <a:close/>
                  <a:moveTo>
                    <a:pt x="3967" y="1419"/>
                  </a:moveTo>
                  <a:lnTo>
                    <a:pt x="3967" y="1419"/>
                  </a:lnTo>
                  <a:lnTo>
                    <a:pt x="3967" y="1419"/>
                  </a:lnTo>
                  <a:lnTo>
                    <a:pt x="3967" y="1421"/>
                  </a:lnTo>
                  <a:lnTo>
                    <a:pt x="3967" y="1421"/>
                  </a:lnTo>
                  <a:lnTo>
                    <a:pt x="3967" y="1423"/>
                  </a:lnTo>
                  <a:lnTo>
                    <a:pt x="3967" y="1421"/>
                  </a:lnTo>
                  <a:lnTo>
                    <a:pt x="3967" y="1419"/>
                  </a:lnTo>
                  <a:lnTo>
                    <a:pt x="3967" y="1419"/>
                  </a:lnTo>
                  <a:close/>
                  <a:moveTo>
                    <a:pt x="2670" y="1543"/>
                  </a:moveTo>
                  <a:lnTo>
                    <a:pt x="2668" y="1545"/>
                  </a:lnTo>
                  <a:lnTo>
                    <a:pt x="2668" y="1545"/>
                  </a:lnTo>
                  <a:lnTo>
                    <a:pt x="2670" y="1545"/>
                  </a:lnTo>
                  <a:lnTo>
                    <a:pt x="2670" y="1543"/>
                  </a:lnTo>
                  <a:lnTo>
                    <a:pt x="2670" y="1543"/>
                  </a:lnTo>
                  <a:lnTo>
                    <a:pt x="2670" y="1543"/>
                  </a:lnTo>
                  <a:close/>
                  <a:moveTo>
                    <a:pt x="2660" y="1600"/>
                  </a:moveTo>
                  <a:lnTo>
                    <a:pt x="2660" y="1602"/>
                  </a:lnTo>
                  <a:lnTo>
                    <a:pt x="2658" y="1602"/>
                  </a:lnTo>
                  <a:lnTo>
                    <a:pt x="2658" y="1602"/>
                  </a:lnTo>
                  <a:lnTo>
                    <a:pt x="2658" y="1605"/>
                  </a:lnTo>
                  <a:lnTo>
                    <a:pt x="2660" y="1607"/>
                  </a:lnTo>
                  <a:lnTo>
                    <a:pt x="2660" y="1607"/>
                  </a:lnTo>
                  <a:lnTo>
                    <a:pt x="2662" y="1605"/>
                  </a:lnTo>
                  <a:lnTo>
                    <a:pt x="2662" y="1602"/>
                  </a:lnTo>
                  <a:lnTo>
                    <a:pt x="2662" y="1602"/>
                  </a:lnTo>
                  <a:lnTo>
                    <a:pt x="2662" y="1600"/>
                  </a:lnTo>
                  <a:lnTo>
                    <a:pt x="2660" y="1600"/>
                  </a:lnTo>
                  <a:close/>
                  <a:moveTo>
                    <a:pt x="2672" y="1582"/>
                  </a:moveTo>
                  <a:lnTo>
                    <a:pt x="2672" y="1582"/>
                  </a:lnTo>
                  <a:lnTo>
                    <a:pt x="2672" y="1582"/>
                  </a:lnTo>
                  <a:lnTo>
                    <a:pt x="2670" y="1584"/>
                  </a:lnTo>
                  <a:lnTo>
                    <a:pt x="2670" y="1584"/>
                  </a:lnTo>
                  <a:lnTo>
                    <a:pt x="2672" y="1584"/>
                  </a:lnTo>
                  <a:lnTo>
                    <a:pt x="2672" y="1584"/>
                  </a:lnTo>
                  <a:lnTo>
                    <a:pt x="2672" y="1584"/>
                  </a:lnTo>
                  <a:lnTo>
                    <a:pt x="2672" y="1584"/>
                  </a:lnTo>
                  <a:lnTo>
                    <a:pt x="2672" y="1582"/>
                  </a:lnTo>
                  <a:close/>
                  <a:moveTo>
                    <a:pt x="2485" y="1834"/>
                  </a:moveTo>
                  <a:lnTo>
                    <a:pt x="2485" y="1834"/>
                  </a:lnTo>
                  <a:lnTo>
                    <a:pt x="2485" y="1834"/>
                  </a:lnTo>
                  <a:lnTo>
                    <a:pt x="2485" y="1834"/>
                  </a:lnTo>
                  <a:lnTo>
                    <a:pt x="2485" y="1834"/>
                  </a:lnTo>
                  <a:lnTo>
                    <a:pt x="2485" y="1834"/>
                  </a:lnTo>
                  <a:lnTo>
                    <a:pt x="2485" y="1834"/>
                  </a:lnTo>
                  <a:close/>
                  <a:moveTo>
                    <a:pt x="3990" y="1640"/>
                  </a:moveTo>
                  <a:lnTo>
                    <a:pt x="3988" y="1638"/>
                  </a:lnTo>
                  <a:lnTo>
                    <a:pt x="3988" y="1636"/>
                  </a:lnTo>
                  <a:lnTo>
                    <a:pt x="3986" y="1636"/>
                  </a:lnTo>
                  <a:lnTo>
                    <a:pt x="3986" y="1636"/>
                  </a:lnTo>
                  <a:lnTo>
                    <a:pt x="3986" y="1636"/>
                  </a:lnTo>
                  <a:lnTo>
                    <a:pt x="3986" y="1636"/>
                  </a:lnTo>
                  <a:lnTo>
                    <a:pt x="3986" y="1638"/>
                  </a:lnTo>
                  <a:lnTo>
                    <a:pt x="3986" y="1638"/>
                  </a:lnTo>
                  <a:lnTo>
                    <a:pt x="3988" y="1640"/>
                  </a:lnTo>
                  <a:lnTo>
                    <a:pt x="3990" y="1640"/>
                  </a:lnTo>
                  <a:lnTo>
                    <a:pt x="3990" y="1640"/>
                  </a:lnTo>
                  <a:lnTo>
                    <a:pt x="3990" y="1640"/>
                  </a:lnTo>
                  <a:close/>
                  <a:moveTo>
                    <a:pt x="3994" y="1644"/>
                  </a:moveTo>
                  <a:lnTo>
                    <a:pt x="3992" y="1642"/>
                  </a:lnTo>
                  <a:lnTo>
                    <a:pt x="3992" y="1642"/>
                  </a:lnTo>
                  <a:lnTo>
                    <a:pt x="3992" y="1644"/>
                  </a:lnTo>
                  <a:lnTo>
                    <a:pt x="3992" y="1644"/>
                  </a:lnTo>
                  <a:lnTo>
                    <a:pt x="3992" y="1644"/>
                  </a:lnTo>
                  <a:lnTo>
                    <a:pt x="3992" y="1646"/>
                  </a:lnTo>
                  <a:lnTo>
                    <a:pt x="3992" y="1646"/>
                  </a:lnTo>
                  <a:lnTo>
                    <a:pt x="3994" y="1646"/>
                  </a:lnTo>
                  <a:lnTo>
                    <a:pt x="3994" y="1646"/>
                  </a:lnTo>
                  <a:lnTo>
                    <a:pt x="3994" y="1644"/>
                  </a:lnTo>
                  <a:close/>
                  <a:moveTo>
                    <a:pt x="4023" y="1681"/>
                  </a:moveTo>
                  <a:lnTo>
                    <a:pt x="4023" y="1681"/>
                  </a:lnTo>
                  <a:lnTo>
                    <a:pt x="4023" y="1681"/>
                  </a:lnTo>
                  <a:lnTo>
                    <a:pt x="4023" y="1683"/>
                  </a:lnTo>
                  <a:lnTo>
                    <a:pt x="4025" y="1685"/>
                  </a:lnTo>
                  <a:lnTo>
                    <a:pt x="4025" y="1685"/>
                  </a:lnTo>
                  <a:lnTo>
                    <a:pt x="4027" y="1683"/>
                  </a:lnTo>
                  <a:lnTo>
                    <a:pt x="4025" y="1683"/>
                  </a:lnTo>
                  <a:lnTo>
                    <a:pt x="4023" y="1681"/>
                  </a:lnTo>
                  <a:close/>
                  <a:moveTo>
                    <a:pt x="3980" y="1629"/>
                  </a:moveTo>
                  <a:lnTo>
                    <a:pt x="3980" y="1627"/>
                  </a:lnTo>
                  <a:lnTo>
                    <a:pt x="3980" y="1627"/>
                  </a:lnTo>
                  <a:lnTo>
                    <a:pt x="3980" y="1625"/>
                  </a:lnTo>
                  <a:lnTo>
                    <a:pt x="3980" y="1625"/>
                  </a:lnTo>
                  <a:lnTo>
                    <a:pt x="3978" y="1623"/>
                  </a:lnTo>
                  <a:lnTo>
                    <a:pt x="3978" y="1621"/>
                  </a:lnTo>
                  <a:lnTo>
                    <a:pt x="3978" y="1619"/>
                  </a:lnTo>
                  <a:lnTo>
                    <a:pt x="3976" y="1619"/>
                  </a:lnTo>
                  <a:lnTo>
                    <a:pt x="3974" y="1621"/>
                  </a:lnTo>
                  <a:lnTo>
                    <a:pt x="3972" y="1623"/>
                  </a:lnTo>
                  <a:lnTo>
                    <a:pt x="3972" y="1625"/>
                  </a:lnTo>
                  <a:lnTo>
                    <a:pt x="3976" y="1627"/>
                  </a:lnTo>
                  <a:lnTo>
                    <a:pt x="3976" y="1629"/>
                  </a:lnTo>
                  <a:lnTo>
                    <a:pt x="3976" y="1629"/>
                  </a:lnTo>
                  <a:lnTo>
                    <a:pt x="3980" y="1631"/>
                  </a:lnTo>
                  <a:lnTo>
                    <a:pt x="3980" y="1631"/>
                  </a:lnTo>
                  <a:lnTo>
                    <a:pt x="3982" y="1631"/>
                  </a:lnTo>
                  <a:lnTo>
                    <a:pt x="3982" y="1629"/>
                  </a:lnTo>
                  <a:lnTo>
                    <a:pt x="3980" y="1629"/>
                  </a:lnTo>
                  <a:close/>
                  <a:moveTo>
                    <a:pt x="3860" y="1280"/>
                  </a:moveTo>
                  <a:lnTo>
                    <a:pt x="3860" y="1278"/>
                  </a:lnTo>
                  <a:lnTo>
                    <a:pt x="3858" y="1278"/>
                  </a:lnTo>
                  <a:lnTo>
                    <a:pt x="3858" y="1278"/>
                  </a:lnTo>
                  <a:lnTo>
                    <a:pt x="3856" y="1278"/>
                  </a:lnTo>
                  <a:lnTo>
                    <a:pt x="3856" y="1280"/>
                  </a:lnTo>
                  <a:lnTo>
                    <a:pt x="3858" y="1280"/>
                  </a:lnTo>
                  <a:lnTo>
                    <a:pt x="3858" y="1280"/>
                  </a:lnTo>
                  <a:lnTo>
                    <a:pt x="3858" y="1282"/>
                  </a:lnTo>
                  <a:lnTo>
                    <a:pt x="3858" y="1284"/>
                  </a:lnTo>
                  <a:lnTo>
                    <a:pt x="3860" y="1287"/>
                  </a:lnTo>
                  <a:lnTo>
                    <a:pt x="3856" y="1289"/>
                  </a:lnTo>
                  <a:lnTo>
                    <a:pt x="3858" y="1291"/>
                  </a:lnTo>
                  <a:lnTo>
                    <a:pt x="3860" y="1289"/>
                  </a:lnTo>
                  <a:lnTo>
                    <a:pt x="3862" y="1289"/>
                  </a:lnTo>
                  <a:lnTo>
                    <a:pt x="3862" y="1284"/>
                  </a:lnTo>
                  <a:lnTo>
                    <a:pt x="3862" y="1282"/>
                  </a:lnTo>
                  <a:lnTo>
                    <a:pt x="3860" y="1280"/>
                  </a:lnTo>
                  <a:lnTo>
                    <a:pt x="3860" y="1280"/>
                  </a:lnTo>
                  <a:close/>
                  <a:moveTo>
                    <a:pt x="3969" y="1607"/>
                  </a:moveTo>
                  <a:lnTo>
                    <a:pt x="3969" y="1607"/>
                  </a:lnTo>
                  <a:lnTo>
                    <a:pt x="3967" y="1607"/>
                  </a:lnTo>
                  <a:lnTo>
                    <a:pt x="3969" y="1611"/>
                  </a:lnTo>
                  <a:lnTo>
                    <a:pt x="3969" y="1611"/>
                  </a:lnTo>
                  <a:lnTo>
                    <a:pt x="3969" y="1613"/>
                  </a:lnTo>
                  <a:lnTo>
                    <a:pt x="3967" y="1613"/>
                  </a:lnTo>
                  <a:lnTo>
                    <a:pt x="3967" y="1615"/>
                  </a:lnTo>
                  <a:lnTo>
                    <a:pt x="3969" y="1615"/>
                  </a:lnTo>
                  <a:lnTo>
                    <a:pt x="3969" y="1615"/>
                  </a:lnTo>
                  <a:lnTo>
                    <a:pt x="3972" y="1613"/>
                  </a:lnTo>
                  <a:lnTo>
                    <a:pt x="3972" y="1611"/>
                  </a:lnTo>
                  <a:lnTo>
                    <a:pt x="3969" y="1609"/>
                  </a:lnTo>
                  <a:lnTo>
                    <a:pt x="3969" y="1607"/>
                  </a:lnTo>
                  <a:close/>
                  <a:moveTo>
                    <a:pt x="3961" y="1590"/>
                  </a:moveTo>
                  <a:lnTo>
                    <a:pt x="3959" y="1590"/>
                  </a:lnTo>
                  <a:lnTo>
                    <a:pt x="3957" y="1586"/>
                  </a:lnTo>
                  <a:lnTo>
                    <a:pt x="3955" y="1584"/>
                  </a:lnTo>
                  <a:lnTo>
                    <a:pt x="3955" y="1584"/>
                  </a:lnTo>
                  <a:lnTo>
                    <a:pt x="3953" y="1586"/>
                  </a:lnTo>
                  <a:lnTo>
                    <a:pt x="3953" y="1586"/>
                  </a:lnTo>
                  <a:lnTo>
                    <a:pt x="3951" y="1586"/>
                  </a:lnTo>
                  <a:lnTo>
                    <a:pt x="3953" y="1590"/>
                  </a:lnTo>
                  <a:lnTo>
                    <a:pt x="3955" y="1592"/>
                  </a:lnTo>
                  <a:lnTo>
                    <a:pt x="3955" y="1592"/>
                  </a:lnTo>
                  <a:lnTo>
                    <a:pt x="3955" y="1594"/>
                  </a:lnTo>
                  <a:lnTo>
                    <a:pt x="3957" y="1594"/>
                  </a:lnTo>
                  <a:lnTo>
                    <a:pt x="3959" y="1598"/>
                  </a:lnTo>
                  <a:lnTo>
                    <a:pt x="3959" y="1598"/>
                  </a:lnTo>
                  <a:lnTo>
                    <a:pt x="3961" y="1598"/>
                  </a:lnTo>
                  <a:lnTo>
                    <a:pt x="3961" y="1598"/>
                  </a:lnTo>
                  <a:lnTo>
                    <a:pt x="3961" y="1594"/>
                  </a:lnTo>
                  <a:lnTo>
                    <a:pt x="3963" y="1592"/>
                  </a:lnTo>
                  <a:lnTo>
                    <a:pt x="3961" y="1592"/>
                  </a:lnTo>
                  <a:lnTo>
                    <a:pt x="3961" y="1590"/>
                  </a:lnTo>
                  <a:close/>
                  <a:moveTo>
                    <a:pt x="3941" y="1571"/>
                  </a:moveTo>
                  <a:lnTo>
                    <a:pt x="3941" y="1571"/>
                  </a:lnTo>
                  <a:lnTo>
                    <a:pt x="3939" y="1569"/>
                  </a:lnTo>
                  <a:lnTo>
                    <a:pt x="3936" y="1567"/>
                  </a:lnTo>
                  <a:lnTo>
                    <a:pt x="3936" y="1567"/>
                  </a:lnTo>
                  <a:lnTo>
                    <a:pt x="3934" y="1567"/>
                  </a:lnTo>
                  <a:lnTo>
                    <a:pt x="3934" y="1565"/>
                  </a:lnTo>
                  <a:lnTo>
                    <a:pt x="3932" y="1565"/>
                  </a:lnTo>
                  <a:lnTo>
                    <a:pt x="3932" y="1565"/>
                  </a:lnTo>
                  <a:lnTo>
                    <a:pt x="3930" y="1567"/>
                  </a:lnTo>
                  <a:lnTo>
                    <a:pt x="3930" y="1567"/>
                  </a:lnTo>
                  <a:lnTo>
                    <a:pt x="3932" y="1569"/>
                  </a:lnTo>
                  <a:lnTo>
                    <a:pt x="3932" y="1569"/>
                  </a:lnTo>
                  <a:lnTo>
                    <a:pt x="3934" y="1569"/>
                  </a:lnTo>
                  <a:lnTo>
                    <a:pt x="3934" y="1569"/>
                  </a:lnTo>
                  <a:lnTo>
                    <a:pt x="3939" y="1571"/>
                  </a:lnTo>
                  <a:lnTo>
                    <a:pt x="3941" y="1574"/>
                  </a:lnTo>
                  <a:lnTo>
                    <a:pt x="3941" y="1574"/>
                  </a:lnTo>
                  <a:lnTo>
                    <a:pt x="3943" y="1574"/>
                  </a:lnTo>
                  <a:lnTo>
                    <a:pt x="3941" y="1571"/>
                  </a:lnTo>
                  <a:lnTo>
                    <a:pt x="3941" y="1571"/>
                  </a:lnTo>
                  <a:close/>
                  <a:moveTo>
                    <a:pt x="4068" y="1685"/>
                  </a:moveTo>
                  <a:lnTo>
                    <a:pt x="4068" y="1685"/>
                  </a:lnTo>
                  <a:lnTo>
                    <a:pt x="4071" y="1687"/>
                  </a:lnTo>
                  <a:lnTo>
                    <a:pt x="4071" y="1687"/>
                  </a:lnTo>
                  <a:lnTo>
                    <a:pt x="4073" y="1687"/>
                  </a:lnTo>
                  <a:lnTo>
                    <a:pt x="4073" y="1689"/>
                  </a:lnTo>
                  <a:lnTo>
                    <a:pt x="4073" y="1689"/>
                  </a:lnTo>
                  <a:lnTo>
                    <a:pt x="4075" y="1689"/>
                  </a:lnTo>
                  <a:lnTo>
                    <a:pt x="4075" y="1687"/>
                  </a:lnTo>
                  <a:lnTo>
                    <a:pt x="4075" y="1687"/>
                  </a:lnTo>
                  <a:lnTo>
                    <a:pt x="4077" y="1677"/>
                  </a:lnTo>
                  <a:lnTo>
                    <a:pt x="4077" y="1675"/>
                  </a:lnTo>
                  <a:lnTo>
                    <a:pt x="4077" y="1673"/>
                  </a:lnTo>
                  <a:lnTo>
                    <a:pt x="4077" y="1671"/>
                  </a:lnTo>
                  <a:lnTo>
                    <a:pt x="4075" y="1664"/>
                  </a:lnTo>
                  <a:lnTo>
                    <a:pt x="4075" y="1664"/>
                  </a:lnTo>
                  <a:lnTo>
                    <a:pt x="4077" y="1662"/>
                  </a:lnTo>
                  <a:lnTo>
                    <a:pt x="4077" y="1660"/>
                  </a:lnTo>
                  <a:lnTo>
                    <a:pt x="4077" y="1660"/>
                  </a:lnTo>
                  <a:lnTo>
                    <a:pt x="4075" y="1660"/>
                  </a:lnTo>
                  <a:lnTo>
                    <a:pt x="4075" y="1658"/>
                  </a:lnTo>
                  <a:lnTo>
                    <a:pt x="4077" y="1656"/>
                  </a:lnTo>
                  <a:lnTo>
                    <a:pt x="4077" y="1654"/>
                  </a:lnTo>
                  <a:lnTo>
                    <a:pt x="4079" y="1652"/>
                  </a:lnTo>
                  <a:lnTo>
                    <a:pt x="4079" y="1652"/>
                  </a:lnTo>
                  <a:lnTo>
                    <a:pt x="4079" y="1652"/>
                  </a:lnTo>
                  <a:lnTo>
                    <a:pt x="4079" y="1650"/>
                  </a:lnTo>
                  <a:lnTo>
                    <a:pt x="4077" y="1648"/>
                  </a:lnTo>
                  <a:lnTo>
                    <a:pt x="4073" y="1642"/>
                  </a:lnTo>
                  <a:lnTo>
                    <a:pt x="4071" y="1642"/>
                  </a:lnTo>
                  <a:lnTo>
                    <a:pt x="4068" y="1640"/>
                  </a:lnTo>
                  <a:lnTo>
                    <a:pt x="4068" y="1640"/>
                  </a:lnTo>
                  <a:lnTo>
                    <a:pt x="4064" y="1640"/>
                  </a:lnTo>
                  <a:lnTo>
                    <a:pt x="4062" y="1640"/>
                  </a:lnTo>
                  <a:lnTo>
                    <a:pt x="4062" y="1640"/>
                  </a:lnTo>
                  <a:lnTo>
                    <a:pt x="4062" y="1642"/>
                  </a:lnTo>
                  <a:lnTo>
                    <a:pt x="4060" y="1644"/>
                  </a:lnTo>
                  <a:lnTo>
                    <a:pt x="4058" y="1644"/>
                  </a:lnTo>
                  <a:lnTo>
                    <a:pt x="4058" y="1644"/>
                  </a:lnTo>
                  <a:lnTo>
                    <a:pt x="4058" y="1642"/>
                  </a:lnTo>
                  <a:lnTo>
                    <a:pt x="4058" y="1642"/>
                  </a:lnTo>
                  <a:lnTo>
                    <a:pt x="4058" y="1640"/>
                  </a:lnTo>
                  <a:lnTo>
                    <a:pt x="4060" y="1640"/>
                  </a:lnTo>
                  <a:lnTo>
                    <a:pt x="4060" y="1638"/>
                  </a:lnTo>
                  <a:lnTo>
                    <a:pt x="4060" y="1638"/>
                  </a:lnTo>
                  <a:lnTo>
                    <a:pt x="4060" y="1636"/>
                  </a:lnTo>
                  <a:lnTo>
                    <a:pt x="4060" y="1636"/>
                  </a:lnTo>
                  <a:lnTo>
                    <a:pt x="4058" y="1636"/>
                  </a:lnTo>
                  <a:lnTo>
                    <a:pt x="4058" y="1633"/>
                  </a:lnTo>
                  <a:lnTo>
                    <a:pt x="4056" y="1631"/>
                  </a:lnTo>
                  <a:lnTo>
                    <a:pt x="4056" y="1631"/>
                  </a:lnTo>
                  <a:lnTo>
                    <a:pt x="4056" y="1629"/>
                  </a:lnTo>
                  <a:lnTo>
                    <a:pt x="4056" y="1625"/>
                  </a:lnTo>
                  <a:lnTo>
                    <a:pt x="4056" y="1625"/>
                  </a:lnTo>
                  <a:lnTo>
                    <a:pt x="4054" y="1621"/>
                  </a:lnTo>
                  <a:lnTo>
                    <a:pt x="4054" y="1621"/>
                  </a:lnTo>
                  <a:lnTo>
                    <a:pt x="4052" y="1621"/>
                  </a:lnTo>
                  <a:lnTo>
                    <a:pt x="4052" y="1621"/>
                  </a:lnTo>
                  <a:lnTo>
                    <a:pt x="4050" y="1621"/>
                  </a:lnTo>
                  <a:lnTo>
                    <a:pt x="4048" y="1621"/>
                  </a:lnTo>
                  <a:lnTo>
                    <a:pt x="4046" y="1619"/>
                  </a:lnTo>
                  <a:lnTo>
                    <a:pt x="4044" y="1617"/>
                  </a:lnTo>
                  <a:lnTo>
                    <a:pt x="4042" y="1617"/>
                  </a:lnTo>
                  <a:lnTo>
                    <a:pt x="4042" y="1615"/>
                  </a:lnTo>
                  <a:lnTo>
                    <a:pt x="4042" y="1615"/>
                  </a:lnTo>
                  <a:lnTo>
                    <a:pt x="4042" y="1613"/>
                  </a:lnTo>
                  <a:lnTo>
                    <a:pt x="4042" y="1613"/>
                  </a:lnTo>
                  <a:lnTo>
                    <a:pt x="4042" y="1611"/>
                  </a:lnTo>
                  <a:lnTo>
                    <a:pt x="4042" y="1611"/>
                  </a:lnTo>
                  <a:lnTo>
                    <a:pt x="4042" y="1611"/>
                  </a:lnTo>
                  <a:lnTo>
                    <a:pt x="4042" y="1609"/>
                  </a:lnTo>
                  <a:lnTo>
                    <a:pt x="4044" y="1607"/>
                  </a:lnTo>
                  <a:lnTo>
                    <a:pt x="4046" y="1607"/>
                  </a:lnTo>
                  <a:lnTo>
                    <a:pt x="4046" y="1607"/>
                  </a:lnTo>
                  <a:lnTo>
                    <a:pt x="4046" y="1605"/>
                  </a:lnTo>
                  <a:lnTo>
                    <a:pt x="4044" y="1602"/>
                  </a:lnTo>
                  <a:lnTo>
                    <a:pt x="4044" y="1600"/>
                  </a:lnTo>
                  <a:lnTo>
                    <a:pt x="4042" y="1600"/>
                  </a:lnTo>
                  <a:lnTo>
                    <a:pt x="4042" y="1598"/>
                  </a:lnTo>
                  <a:lnTo>
                    <a:pt x="4040" y="1598"/>
                  </a:lnTo>
                  <a:lnTo>
                    <a:pt x="4040" y="1600"/>
                  </a:lnTo>
                  <a:lnTo>
                    <a:pt x="4035" y="1600"/>
                  </a:lnTo>
                  <a:lnTo>
                    <a:pt x="4035" y="1602"/>
                  </a:lnTo>
                  <a:lnTo>
                    <a:pt x="4033" y="1602"/>
                  </a:lnTo>
                  <a:lnTo>
                    <a:pt x="4031" y="1602"/>
                  </a:lnTo>
                  <a:lnTo>
                    <a:pt x="4029" y="1602"/>
                  </a:lnTo>
                  <a:lnTo>
                    <a:pt x="4031" y="1602"/>
                  </a:lnTo>
                  <a:lnTo>
                    <a:pt x="4035" y="1600"/>
                  </a:lnTo>
                  <a:lnTo>
                    <a:pt x="4035" y="1600"/>
                  </a:lnTo>
                  <a:lnTo>
                    <a:pt x="4035" y="1598"/>
                  </a:lnTo>
                  <a:lnTo>
                    <a:pt x="4033" y="1596"/>
                  </a:lnTo>
                  <a:lnTo>
                    <a:pt x="4033" y="1596"/>
                  </a:lnTo>
                  <a:lnTo>
                    <a:pt x="4029" y="1596"/>
                  </a:lnTo>
                  <a:lnTo>
                    <a:pt x="4027" y="1596"/>
                  </a:lnTo>
                  <a:lnTo>
                    <a:pt x="4025" y="1594"/>
                  </a:lnTo>
                  <a:lnTo>
                    <a:pt x="4023" y="1592"/>
                  </a:lnTo>
                  <a:lnTo>
                    <a:pt x="4023" y="1592"/>
                  </a:lnTo>
                  <a:lnTo>
                    <a:pt x="4023" y="1590"/>
                  </a:lnTo>
                  <a:lnTo>
                    <a:pt x="4023" y="1588"/>
                  </a:lnTo>
                  <a:lnTo>
                    <a:pt x="4021" y="1588"/>
                  </a:lnTo>
                  <a:lnTo>
                    <a:pt x="4021" y="1586"/>
                  </a:lnTo>
                  <a:lnTo>
                    <a:pt x="4017" y="1584"/>
                  </a:lnTo>
                  <a:lnTo>
                    <a:pt x="4017" y="1584"/>
                  </a:lnTo>
                  <a:lnTo>
                    <a:pt x="4015" y="1584"/>
                  </a:lnTo>
                  <a:lnTo>
                    <a:pt x="4013" y="1582"/>
                  </a:lnTo>
                  <a:lnTo>
                    <a:pt x="4013" y="1582"/>
                  </a:lnTo>
                  <a:lnTo>
                    <a:pt x="4011" y="1580"/>
                  </a:lnTo>
                  <a:lnTo>
                    <a:pt x="4011" y="1578"/>
                  </a:lnTo>
                  <a:lnTo>
                    <a:pt x="4009" y="1578"/>
                  </a:lnTo>
                  <a:lnTo>
                    <a:pt x="4007" y="1576"/>
                  </a:lnTo>
                  <a:lnTo>
                    <a:pt x="4005" y="1574"/>
                  </a:lnTo>
                  <a:lnTo>
                    <a:pt x="4005" y="1574"/>
                  </a:lnTo>
                  <a:lnTo>
                    <a:pt x="4005" y="1576"/>
                  </a:lnTo>
                  <a:lnTo>
                    <a:pt x="4005" y="1576"/>
                  </a:lnTo>
                  <a:lnTo>
                    <a:pt x="4005" y="1576"/>
                  </a:lnTo>
                  <a:lnTo>
                    <a:pt x="4005" y="1578"/>
                  </a:lnTo>
                  <a:lnTo>
                    <a:pt x="4005" y="1580"/>
                  </a:lnTo>
                  <a:lnTo>
                    <a:pt x="4005" y="1578"/>
                  </a:lnTo>
                  <a:lnTo>
                    <a:pt x="4002" y="1576"/>
                  </a:lnTo>
                  <a:lnTo>
                    <a:pt x="4000" y="1576"/>
                  </a:lnTo>
                  <a:lnTo>
                    <a:pt x="4000" y="1576"/>
                  </a:lnTo>
                  <a:lnTo>
                    <a:pt x="3998" y="1576"/>
                  </a:lnTo>
                  <a:lnTo>
                    <a:pt x="3998" y="1574"/>
                  </a:lnTo>
                  <a:lnTo>
                    <a:pt x="3996" y="1571"/>
                  </a:lnTo>
                  <a:lnTo>
                    <a:pt x="3996" y="1571"/>
                  </a:lnTo>
                  <a:lnTo>
                    <a:pt x="3994" y="1569"/>
                  </a:lnTo>
                  <a:lnTo>
                    <a:pt x="3992" y="1567"/>
                  </a:lnTo>
                  <a:lnTo>
                    <a:pt x="3992" y="1565"/>
                  </a:lnTo>
                  <a:lnTo>
                    <a:pt x="3990" y="1563"/>
                  </a:lnTo>
                  <a:lnTo>
                    <a:pt x="3988" y="1561"/>
                  </a:lnTo>
                  <a:lnTo>
                    <a:pt x="3986" y="1559"/>
                  </a:lnTo>
                  <a:lnTo>
                    <a:pt x="3980" y="1555"/>
                  </a:lnTo>
                  <a:lnTo>
                    <a:pt x="3976" y="1555"/>
                  </a:lnTo>
                  <a:lnTo>
                    <a:pt x="3976" y="1553"/>
                  </a:lnTo>
                  <a:lnTo>
                    <a:pt x="3974" y="1553"/>
                  </a:lnTo>
                  <a:lnTo>
                    <a:pt x="3974" y="1551"/>
                  </a:lnTo>
                  <a:lnTo>
                    <a:pt x="3974" y="1551"/>
                  </a:lnTo>
                  <a:lnTo>
                    <a:pt x="3972" y="1551"/>
                  </a:lnTo>
                  <a:lnTo>
                    <a:pt x="3967" y="1549"/>
                  </a:lnTo>
                  <a:lnTo>
                    <a:pt x="3967" y="1547"/>
                  </a:lnTo>
                  <a:lnTo>
                    <a:pt x="3967" y="1545"/>
                  </a:lnTo>
                  <a:lnTo>
                    <a:pt x="3967" y="1545"/>
                  </a:lnTo>
                  <a:lnTo>
                    <a:pt x="3963" y="1541"/>
                  </a:lnTo>
                  <a:lnTo>
                    <a:pt x="3963" y="1541"/>
                  </a:lnTo>
                  <a:lnTo>
                    <a:pt x="3963" y="1538"/>
                  </a:lnTo>
                  <a:lnTo>
                    <a:pt x="3961" y="1538"/>
                  </a:lnTo>
                  <a:lnTo>
                    <a:pt x="3959" y="1534"/>
                  </a:lnTo>
                  <a:lnTo>
                    <a:pt x="3957" y="1534"/>
                  </a:lnTo>
                  <a:lnTo>
                    <a:pt x="3957" y="1532"/>
                  </a:lnTo>
                  <a:lnTo>
                    <a:pt x="3957" y="1532"/>
                  </a:lnTo>
                  <a:lnTo>
                    <a:pt x="3955" y="1532"/>
                  </a:lnTo>
                  <a:lnTo>
                    <a:pt x="3953" y="1532"/>
                  </a:lnTo>
                  <a:lnTo>
                    <a:pt x="3951" y="1532"/>
                  </a:lnTo>
                  <a:lnTo>
                    <a:pt x="3949" y="1532"/>
                  </a:lnTo>
                  <a:lnTo>
                    <a:pt x="3947" y="1532"/>
                  </a:lnTo>
                  <a:lnTo>
                    <a:pt x="3945" y="1532"/>
                  </a:lnTo>
                  <a:lnTo>
                    <a:pt x="3943" y="1532"/>
                  </a:lnTo>
                  <a:lnTo>
                    <a:pt x="3939" y="1532"/>
                  </a:lnTo>
                  <a:lnTo>
                    <a:pt x="3936" y="1532"/>
                  </a:lnTo>
                  <a:lnTo>
                    <a:pt x="3934" y="1530"/>
                  </a:lnTo>
                  <a:lnTo>
                    <a:pt x="3932" y="1528"/>
                  </a:lnTo>
                  <a:lnTo>
                    <a:pt x="3930" y="1528"/>
                  </a:lnTo>
                  <a:lnTo>
                    <a:pt x="3930" y="1528"/>
                  </a:lnTo>
                  <a:lnTo>
                    <a:pt x="3928" y="1526"/>
                  </a:lnTo>
                  <a:lnTo>
                    <a:pt x="3926" y="1526"/>
                  </a:lnTo>
                  <a:lnTo>
                    <a:pt x="3924" y="1528"/>
                  </a:lnTo>
                  <a:lnTo>
                    <a:pt x="3924" y="1528"/>
                  </a:lnTo>
                  <a:lnTo>
                    <a:pt x="3924" y="1528"/>
                  </a:lnTo>
                  <a:lnTo>
                    <a:pt x="3924" y="1530"/>
                  </a:lnTo>
                  <a:lnTo>
                    <a:pt x="3924" y="1530"/>
                  </a:lnTo>
                  <a:lnTo>
                    <a:pt x="3924" y="1530"/>
                  </a:lnTo>
                  <a:lnTo>
                    <a:pt x="3924" y="1532"/>
                  </a:lnTo>
                  <a:lnTo>
                    <a:pt x="3926" y="1536"/>
                  </a:lnTo>
                  <a:lnTo>
                    <a:pt x="3926" y="1538"/>
                  </a:lnTo>
                  <a:lnTo>
                    <a:pt x="3928" y="1538"/>
                  </a:lnTo>
                  <a:lnTo>
                    <a:pt x="3928" y="1541"/>
                  </a:lnTo>
                  <a:lnTo>
                    <a:pt x="3934" y="1547"/>
                  </a:lnTo>
                  <a:lnTo>
                    <a:pt x="3939" y="1549"/>
                  </a:lnTo>
                  <a:lnTo>
                    <a:pt x="3939" y="1551"/>
                  </a:lnTo>
                  <a:lnTo>
                    <a:pt x="3941" y="1553"/>
                  </a:lnTo>
                  <a:lnTo>
                    <a:pt x="3943" y="1553"/>
                  </a:lnTo>
                  <a:lnTo>
                    <a:pt x="3947" y="1555"/>
                  </a:lnTo>
                  <a:lnTo>
                    <a:pt x="3947" y="1555"/>
                  </a:lnTo>
                  <a:lnTo>
                    <a:pt x="3949" y="1555"/>
                  </a:lnTo>
                  <a:lnTo>
                    <a:pt x="3953" y="1561"/>
                  </a:lnTo>
                  <a:lnTo>
                    <a:pt x="3953" y="1561"/>
                  </a:lnTo>
                  <a:lnTo>
                    <a:pt x="3953" y="1563"/>
                  </a:lnTo>
                  <a:lnTo>
                    <a:pt x="3955" y="1565"/>
                  </a:lnTo>
                  <a:lnTo>
                    <a:pt x="3957" y="1565"/>
                  </a:lnTo>
                  <a:lnTo>
                    <a:pt x="3957" y="1567"/>
                  </a:lnTo>
                  <a:lnTo>
                    <a:pt x="3959" y="1569"/>
                  </a:lnTo>
                  <a:lnTo>
                    <a:pt x="3959" y="1571"/>
                  </a:lnTo>
                  <a:lnTo>
                    <a:pt x="3959" y="1574"/>
                  </a:lnTo>
                  <a:lnTo>
                    <a:pt x="3961" y="1574"/>
                  </a:lnTo>
                  <a:lnTo>
                    <a:pt x="3963" y="1574"/>
                  </a:lnTo>
                  <a:lnTo>
                    <a:pt x="3963" y="1576"/>
                  </a:lnTo>
                  <a:lnTo>
                    <a:pt x="3965" y="1576"/>
                  </a:lnTo>
                  <a:lnTo>
                    <a:pt x="3972" y="1580"/>
                  </a:lnTo>
                  <a:lnTo>
                    <a:pt x="3972" y="1580"/>
                  </a:lnTo>
                  <a:lnTo>
                    <a:pt x="3974" y="1582"/>
                  </a:lnTo>
                  <a:lnTo>
                    <a:pt x="3976" y="1586"/>
                  </a:lnTo>
                  <a:lnTo>
                    <a:pt x="3978" y="1592"/>
                  </a:lnTo>
                  <a:lnTo>
                    <a:pt x="3978" y="1596"/>
                  </a:lnTo>
                  <a:lnTo>
                    <a:pt x="3980" y="1600"/>
                  </a:lnTo>
                  <a:lnTo>
                    <a:pt x="3980" y="1602"/>
                  </a:lnTo>
                  <a:lnTo>
                    <a:pt x="3982" y="1602"/>
                  </a:lnTo>
                  <a:lnTo>
                    <a:pt x="3982" y="1605"/>
                  </a:lnTo>
                  <a:lnTo>
                    <a:pt x="3986" y="1605"/>
                  </a:lnTo>
                  <a:lnTo>
                    <a:pt x="3988" y="1607"/>
                  </a:lnTo>
                  <a:lnTo>
                    <a:pt x="3988" y="1607"/>
                  </a:lnTo>
                  <a:lnTo>
                    <a:pt x="3990" y="1611"/>
                  </a:lnTo>
                  <a:lnTo>
                    <a:pt x="3990" y="1613"/>
                  </a:lnTo>
                  <a:lnTo>
                    <a:pt x="3992" y="1613"/>
                  </a:lnTo>
                  <a:lnTo>
                    <a:pt x="3994" y="1615"/>
                  </a:lnTo>
                  <a:lnTo>
                    <a:pt x="3996" y="1617"/>
                  </a:lnTo>
                  <a:lnTo>
                    <a:pt x="3996" y="1619"/>
                  </a:lnTo>
                  <a:lnTo>
                    <a:pt x="3998" y="1623"/>
                  </a:lnTo>
                  <a:lnTo>
                    <a:pt x="3998" y="1625"/>
                  </a:lnTo>
                  <a:lnTo>
                    <a:pt x="4005" y="1633"/>
                  </a:lnTo>
                  <a:lnTo>
                    <a:pt x="4005" y="1638"/>
                  </a:lnTo>
                  <a:lnTo>
                    <a:pt x="4005" y="1638"/>
                  </a:lnTo>
                  <a:lnTo>
                    <a:pt x="4005" y="1640"/>
                  </a:lnTo>
                  <a:lnTo>
                    <a:pt x="4009" y="1644"/>
                  </a:lnTo>
                  <a:lnTo>
                    <a:pt x="4009" y="1644"/>
                  </a:lnTo>
                  <a:lnTo>
                    <a:pt x="4011" y="1646"/>
                  </a:lnTo>
                  <a:lnTo>
                    <a:pt x="4011" y="1646"/>
                  </a:lnTo>
                  <a:lnTo>
                    <a:pt x="4013" y="1648"/>
                  </a:lnTo>
                  <a:lnTo>
                    <a:pt x="4015" y="1652"/>
                  </a:lnTo>
                  <a:lnTo>
                    <a:pt x="4015" y="1652"/>
                  </a:lnTo>
                  <a:lnTo>
                    <a:pt x="4019" y="1654"/>
                  </a:lnTo>
                  <a:lnTo>
                    <a:pt x="4023" y="1658"/>
                  </a:lnTo>
                  <a:lnTo>
                    <a:pt x="4023" y="1658"/>
                  </a:lnTo>
                  <a:lnTo>
                    <a:pt x="4025" y="1662"/>
                  </a:lnTo>
                  <a:lnTo>
                    <a:pt x="4029" y="1664"/>
                  </a:lnTo>
                  <a:lnTo>
                    <a:pt x="4033" y="1671"/>
                  </a:lnTo>
                  <a:lnTo>
                    <a:pt x="4038" y="1671"/>
                  </a:lnTo>
                  <a:lnTo>
                    <a:pt x="4038" y="1673"/>
                  </a:lnTo>
                  <a:lnTo>
                    <a:pt x="4040" y="1675"/>
                  </a:lnTo>
                  <a:lnTo>
                    <a:pt x="4042" y="1675"/>
                  </a:lnTo>
                  <a:lnTo>
                    <a:pt x="4046" y="1677"/>
                  </a:lnTo>
                  <a:lnTo>
                    <a:pt x="4046" y="1679"/>
                  </a:lnTo>
                  <a:lnTo>
                    <a:pt x="4050" y="1683"/>
                  </a:lnTo>
                  <a:lnTo>
                    <a:pt x="4052" y="1683"/>
                  </a:lnTo>
                  <a:lnTo>
                    <a:pt x="4052" y="1685"/>
                  </a:lnTo>
                  <a:lnTo>
                    <a:pt x="4054" y="1687"/>
                  </a:lnTo>
                  <a:lnTo>
                    <a:pt x="4056" y="1689"/>
                  </a:lnTo>
                  <a:lnTo>
                    <a:pt x="4058" y="1689"/>
                  </a:lnTo>
                  <a:lnTo>
                    <a:pt x="4058" y="1689"/>
                  </a:lnTo>
                  <a:lnTo>
                    <a:pt x="4058" y="1689"/>
                  </a:lnTo>
                  <a:lnTo>
                    <a:pt x="4058" y="1689"/>
                  </a:lnTo>
                  <a:lnTo>
                    <a:pt x="4058" y="1687"/>
                  </a:lnTo>
                  <a:lnTo>
                    <a:pt x="4058" y="1685"/>
                  </a:lnTo>
                  <a:lnTo>
                    <a:pt x="4058" y="1685"/>
                  </a:lnTo>
                  <a:lnTo>
                    <a:pt x="4062" y="1687"/>
                  </a:lnTo>
                  <a:lnTo>
                    <a:pt x="4064" y="1687"/>
                  </a:lnTo>
                  <a:lnTo>
                    <a:pt x="4064" y="1687"/>
                  </a:lnTo>
                  <a:lnTo>
                    <a:pt x="4064" y="1687"/>
                  </a:lnTo>
                  <a:lnTo>
                    <a:pt x="4068" y="1685"/>
                  </a:lnTo>
                  <a:close/>
                  <a:moveTo>
                    <a:pt x="3955" y="1578"/>
                  </a:moveTo>
                  <a:lnTo>
                    <a:pt x="3953" y="1576"/>
                  </a:lnTo>
                  <a:lnTo>
                    <a:pt x="3953" y="1576"/>
                  </a:lnTo>
                  <a:lnTo>
                    <a:pt x="3953" y="1576"/>
                  </a:lnTo>
                  <a:lnTo>
                    <a:pt x="3951" y="1576"/>
                  </a:lnTo>
                  <a:lnTo>
                    <a:pt x="3951" y="1576"/>
                  </a:lnTo>
                  <a:lnTo>
                    <a:pt x="3953" y="1576"/>
                  </a:lnTo>
                  <a:lnTo>
                    <a:pt x="3953" y="1578"/>
                  </a:lnTo>
                  <a:lnTo>
                    <a:pt x="3955" y="1578"/>
                  </a:lnTo>
                  <a:close/>
                  <a:moveTo>
                    <a:pt x="3972" y="1439"/>
                  </a:moveTo>
                  <a:lnTo>
                    <a:pt x="3969" y="1439"/>
                  </a:lnTo>
                  <a:lnTo>
                    <a:pt x="3969" y="1439"/>
                  </a:lnTo>
                  <a:lnTo>
                    <a:pt x="3969" y="1441"/>
                  </a:lnTo>
                  <a:lnTo>
                    <a:pt x="3969" y="1441"/>
                  </a:lnTo>
                  <a:lnTo>
                    <a:pt x="3969" y="1441"/>
                  </a:lnTo>
                  <a:lnTo>
                    <a:pt x="3972" y="1443"/>
                  </a:lnTo>
                  <a:lnTo>
                    <a:pt x="3972" y="1439"/>
                  </a:lnTo>
                  <a:lnTo>
                    <a:pt x="3972" y="1439"/>
                  </a:lnTo>
                  <a:close/>
                  <a:moveTo>
                    <a:pt x="3969" y="1427"/>
                  </a:moveTo>
                  <a:lnTo>
                    <a:pt x="3969" y="1427"/>
                  </a:lnTo>
                  <a:lnTo>
                    <a:pt x="3967" y="1427"/>
                  </a:lnTo>
                  <a:lnTo>
                    <a:pt x="3967" y="1427"/>
                  </a:lnTo>
                  <a:lnTo>
                    <a:pt x="3967" y="1429"/>
                  </a:lnTo>
                  <a:lnTo>
                    <a:pt x="3967" y="1431"/>
                  </a:lnTo>
                  <a:lnTo>
                    <a:pt x="3967" y="1431"/>
                  </a:lnTo>
                  <a:lnTo>
                    <a:pt x="3969" y="1431"/>
                  </a:lnTo>
                  <a:lnTo>
                    <a:pt x="3969" y="1429"/>
                  </a:lnTo>
                  <a:lnTo>
                    <a:pt x="3969" y="1427"/>
                  </a:lnTo>
                  <a:lnTo>
                    <a:pt x="3969" y="1427"/>
                  </a:lnTo>
                  <a:lnTo>
                    <a:pt x="3969" y="1427"/>
                  </a:lnTo>
                  <a:close/>
                  <a:moveTo>
                    <a:pt x="3972" y="1437"/>
                  </a:moveTo>
                  <a:lnTo>
                    <a:pt x="3972" y="1435"/>
                  </a:lnTo>
                  <a:lnTo>
                    <a:pt x="3969" y="1435"/>
                  </a:lnTo>
                  <a:lnTo>
                    <a:pt x="3969" y="1435"/>
                  </a:lnTo>
                  <a:lnTo>
                    <a:pt x="3969" y="1437"/>
                  </a:lnTo>
                  <a:lnTo>
                    <a:pt x="3972" y="1437"/>
                  </a:lnTo>
                  <a:lnTo>
                    <a:pt x="3972" y="1437"/>
                  </a:lnTo>
                  <a:lnTo>
                    <a:pt x="3972" y="1437"/>
                  </a:lnTo>
                  <a:close/>
                  <a:moveTo>
                    <a:pt x="3967" y="1479"/>
                  </a:moveTo>
                  <a:lnTo>
                    <a:pt x="3967" y="1477"/>
                  </a:lnTo>
                  <a:lnTo>
                    <a:pt x="3967" y="1477"/>
                  </a:lnTo>
                  <a:lnTo>
                    <a:pt x="3967" y="1479"/>
                  </a:lnTo>
                  <a:lnTo>
                    <a:pt x="3967" y="1479"/>
                  </a:lnTo>
                  <a:lnTo>
                    <a:pt x="3967" y="1479"/>
                  </a:lnTo>
                  <a:lnTo>
                    <a:pt x="3967" y="1479"/>
                  </a:lnTo>
                  <a:close/>
                  <a:moveTo>
                    <a:pt x="3967" y="1464"/>
                  </a:moveTo>
                  <a:lnTo>
                    <a:pt x="3967" y="1464"/>
                  </a:lnTo>
                  <a:lnTo>
                    <a:pt x="3965" y="1464"/>
                  </a:lnTo>
                  <a:lnTo>
                    <a:pt x="3965" y="1466"/>
                  </a:lnTo>
                  <a:lnTo>
                    <a:pt x="3965" y="1466"/>
                  </a:lnTo>
                  <a:lnTo>
                    <a:pt x="3965" y="1466"/>
                  </a:lnTo>
                  <a:lnTo>
                    <a:pt x="3967" y="1466"/>
                  </a:lnTo>
                  <a:lnTo>
                    <a:pt x="3967" y="1464"/>
                  </a:lnTo>
                  <a:lnTo>
                    <a:pt x="3967" y="1464"/>
                  </a:lnTo>
                  <a:close/>
                  <a:moveTo>
                    <a:pt x="3957" y="1375"/>
                  </a:moveTo>
                  <a:lnTo>
                    <a:pt x="3957" y="1373"/>
                  </a:lnTo>
                  <a:lnTo>
                    <a:pt x="3957" y="1371"/>
                  </a:lnTo>
                  <a:lnTo>
                    <a:pt x="3957" y="1371"/>
                  </a:lnTo>
                  <a:lnTo>
                    <a:pt x="3957" y="1371"/>
                  </a:lnTo>
                  <a:lnTo>
                    <a:pt x="3957" y="1371"/>
                  </a:lnTo>
                  <a:lnTo>
                    <a:pt x="3957" y="1371"/>
                  </a:lnTo>
                  <a:lnTo>
                    <a:pt x="3955" y="1371"/>
                  </a:lnTo>
                  <a:lnTo>
                    <a:pt x="3957" y="1373"/>
                  </a:lnTo>
                  <a:lnTo>
                    <a:pt x="3957" y="1375"/>
                  </a:lnTo>
                  <a:lnTo>
                    <a:pt x="3957" y="1375"/>
                  </a:lnTo>
                  <a:close/>
                  <a:moveTo>
                    <a:pt x="3965" y="1431"/>
                  </a:moveTo>
                  <a:lnTo>
                    <a:pt x="3965" y="1431"/>
                  </a:lnTo>
                  <a:lnTo>
                    <a:pt x="3965" y="1431"/>
                  </a:lnTo>
                  <a:lnTo>
                    <a:pt x="3965" y="1431"/>
                  </a:lnTo>
                  <a:lnTo>
                    <a:pt x="3963" y="1433"/>
                  </a:lnTo>
                  <a:lnTo>
                    <a:pt x="3965" y="1433"/>
                  </a:lnTo>
                  <a:lnTo>
                    <a:pt x="3965" y="1433"/>
                  </a:lnTo>
                  <a:lnTo>
                    <a:pt x="3965" y="1433"/>
                  </a:lnTo>
                  <a:lnTo>
                    <a:pt x="3965" y="1433"/>
                  </a:lnTo>
                  <a:lnTo>
                    <a:pt x="3965" y="1433"/>
                  </a:lnTo>
                  <a:lnTo>
                    <a:pt x="3965" y="1433"/>
                  </a:lnTo>
                  <a:lnTo>
                    <a:pt x="3965" y="1433"/>
                  </a:lnTo>
                  <a:lnTo>
                    <a:pt x="3965" y="1431"/>
                  </a:lnTo>
                  <a:close/>
                  <a:moveTo>
                    <a:pt x="3926" y="1524"/>
                  </a:moveTo>
                  <a:lnTo>
                    <a:pt x="3926" y="1524"/>
                  </a:lnTo>
                  <a:lnTo>
                    <a:pt x="3926" y="1524"/>
                  </a:lnTo>
                  <a:lnTo>
                    <a:pt x="3926" y="1524"/>
                  </a:lnTo>
                  <a:lnTo>
                    <a:pt x="3924" y="1524"/>
                  </a:lnTo>
                  <a:lnTo>
                    <a:pt x="3924" y="1522"/>
                  </a:lnTo>
                  <a:lnTo>
                    <a:pt x="3924" y="1524"/>
                  </a:lnTo>
                  <a:lnTo>
                    <a:pt x="3924" y="1524"/>
                  </a:lnTo>
                  <a:lnTo>
                    <a:pt x="3926" y="1524"/>
                  </a:lnTo>
                  <a:close/>
                  <a:moveTo>
                    <a:pt x="3918" y="1382"/>
                  </a:moveTo>
                  <a:lnTo>
                    <a:pt x="3918" y="1382"/>
                  </a:lnTo>
                  <a:lnTo>
                    <a:pt x="3918" y="1382"/>
                  </a:lnTo>
                  <a:lnTo>
                    <a:pt x="3918" y="1382"/>
                  </a:lnTo>
                  <a:lnTo>
                    <a:pt x="3918" y="1379"/>
                  </a:lnTo>
                  <a:lnTo>
                    <a:pt x="3918" y="1379"/>
                  </a:lnTo>
                  <a:lnTo>
                    <a:pt x="3918" y="1382"/>
                  </a:lnTo>
                  <a:close/>
                  <a:moveTo>
                    <a:pt x="3969" y="1450"/>
                  </a:moveTo>
                  <a:lnTo>
                    <a:pt x="3972" y="1452"/>
                  </a:lnTo>
                  <a:lnTo>
                    <a:pt x="3972" y="1452"/>
                  </a:lnTo>
                  <a:lnTo>
                    <a:pt x="3972" y="1452"/>
                  </a:lnTo>
                  <a:lnTo>
                    <a:pt x="3972" y="1450"/>
                  </a:lnTo>
                  <a:lnTo>
                    <a:pt x="3969" y="1450"/>
                  </a:lnTo>
                  <a:close/>
                  <a:moveTo>
                    <a:pt x="3998" y="1650"/>
                  </a:moveTo>
                  <a:lnTo>
                    <a:pt x="3998" y="1650"/>
                  </a:lnTo>
                  <a:lnTo>
                    <a:pt x="3998" y="1650"/>
                  </a:lnTo>
                  <a:lnTo>
                    <a:pt x="3996" y="1646"/>
                  </a:lnTo>
                  <a:lnTo>
                    <a:pt x="3994" y="1646"/>
                  </a:lnTo>
                  <a:lnTo>
                    <a:pt x="3994" y="1646"/>
                  </a:lnTo>
                  <a:lnTo>
                    <a:pt x="3994" y="1648"/>
                  </a:lnTo>
                  <a:lnTo>
                    <a:pt x="3996" y="1650"/>
                  </a:lnTo>
                  <a:lnTo>
                    <a:pt x="3996" y="1650"/>
                  </a:lnTo>
                  <a:lnTo>
                    <a:pt x="3996" y="1652"/>
                  </a:lnTo>
                  <a:lnTo>
                    <a:pt x="3996" y="1652"/>
                  </a:lnTo>
                  <a:lnTo>
                    <a:pt x="3998" y="1654"/>
                  </a:lnTo>
                  <a:lnTo>
                    <a:pt x="3998" y="1652"/>
                  </a:lnTo>
                  <a:lnTo>
                    <a:pt x="3998" y="1650"/>
                  </a:lnTo>
                  <a:lnTo>
                    <a:pt x="3998" y="1650"/>
                  </a:lnTo>
                  <a:close/>
                  <a:moveTo>
                    <a:pt x="3885" y="1452"/>
                  </a:moveTo>
                  <a:lnTo>
                    <a:pt x="3885" y="1452"/>
                  </a:lnTo>
                  <a:lnTo>
                    <a:pt x="3883" y="1454"/>
                  </a:lnTo>
                  <a:lnTo>
                    <a:pt x="3883" y="1454"/>
                  </a:lnTo>
                  <a:lnTo>
                    <a:pt x="3883" y="1456"/>
                  </a:lnTo>
                  <a:lnTo>
                    <a:pt x="3883" y="1456"/>
                  </a:lnTo>
                  <a:lnTo>
                    <a:pt x="3885" y="1458"/>
                  </a:lnTo>
                  <a:lnTo>
                    <a:pt x="3885" y="1456"/>
                  </a:lnTo>
                  <a:lnTo>
                    <a:pt x="3887" y="1454"/>
                  </a:lnTo>
                  <a:lnTo>
                    <a:pt x="3885" y="1454"/>
                  </a:lnTo>
                  <a:lnTo>
                    <a:pt x="3885" y="1452"/>
                  </a:lnTo>
                  <a:close/>
                  <a:moveTo>
                    <a:pt x="3887" y="1443"/>
                  </a:moveTo>
                  <a:lnTo>
                    <a:pt x="3887" y="1443"/>
                  </a:lnTo>
                  <a:lnTo>
                    <a:pt x="3887" y="1443"/>
                  </a:lnTo>
                  <a:lnTo>
                    <a:pt x="3887" y="1446"/>
                  </a:lnTo>
                  <a:lnTo>
                    <a:pt x="3887" y="1446"/>
                  </a:lnTo>
                  <a:lnTo>
                    <a:pt x="3887" y="1446"/>
                  </a:lnTo>
                  <a:lnTo>
                    <a:pt x="3887" y="1443"/>
                  </a:lnTo>
                  <a:lnTo>
                    <a:pt x="3887" y="1443"/>
                  </a:lnTo>
                  <a:close/>
                  <a:moveTo>
                    <a:pt x="3891" y="1429"/>
                  </a:moveTo>
                  <a:lnTo>
                    <a:pt x="3891" y="1425"/>
                  </a:lnTo>
                  <a:lnTo>
                    <a:pt x="3891" y="1423"/>
                  </a:lnTo>
                  <a:lnTo>
                    <a:pt x="3891" y="1423"/>
                  </a:lnTo>
                  <a:lnTo>
                    <a:pt x="3891" y="1421"/>
                  </a:lnTo>
                  <a:lnTo>
                    <a:pt x="3893" y="1421"/>
                  </a:lnTo>
                  <a:lnTo>
                    <a:pt x="3893" y="1419"/>
                  </a:lnTo>
                  <a:lnTo>
                    <a:pt x="3893" y="1419"/>
                  </a:lnTo>
                  <a:lnTo>
                    <a:pt x="3893" y="1419"/>
                  </a:lnTo>
                  <a:lnTo>
                    <a:pt x="3893" y="1417"/>
                  </a:lnTo>
                  <a:lnTo>
                    <a:pt x="3893" y="1417"/>
                  </a:lnTo>
                  <a:lnTo>
                    <a:pt x="3893" y="1415"/>
                  </a:lnTo>
                  <a:lnTo>
                    <a:pt x="3893" y="1415"/>
                  </a:lnTo>
                  <a:lnTo>
                    <a:pt x="3893" y="1415"/>
                  </a:lnTo>
                  <a:lnTo>
                    <a:pt x="3891" y="1415"/>
                  </a:lnTo>
                  <a:lnTo>
                    <a:pt x="3891" y="1417"/>
                  </a:lnTo>
                  <a:lnTo>
                    <a:pt x="3891" y="1419"/>
                  </a:lnTo>
                  <a:lnTo>
                    <a:pt x="3889" y="1421"/>
                  </a:lnTo>
                  <a:lnTo>
                    <a:pt x="3889" y="1421"/>
                  </a:lnTo>
                  <a:lnTo>
                    <a:pt x="3889" y="1423"/>
                  </a:lnTo>
                  <a:lnTo>
                    <a:pt x="3889" y="1425"/>
                  </a:lnTo>
                  <a:lnTo>
                    <a:pt x="3889" y="1425"/>
                  </a:lnTo>
                  <a:lnTo>
                    <a:pt x="3889" y="1427"/>
                  </a:lnTo>
                  <a:lnTo>
                    <a:pt x="3889" y="1427"/>
                  </a:lnTo>
                  <a:lnTo>
                    <a:pt x="3889" y="1429"/>
                  </a:lnTo>
                  <a:lnTo>
                    <a:pt x="3889" y="1431"/>
                  </a:lnTo>
                  <a:lnTo>
                    <a:pt x="3889" y="1431"/>
                  </a:lnTo>
                  <a:lnTo>
                    <a:pt x="3889" y="1431"/>
                  </a:lnTo>
                  <a:lnTo>
                    <a:pt x="3889" y="1433"/>
                  </a:lnTo>
                  <a:lnTo>
                    <a:pt x="3889" y="1433"/>
                  </a:lnTo>
                  <a:lnTo>
                    <a:pt x="3887" y="1433"/>
                  </a:lnTo>
                  <a:lnTo>
                    <a:pt x="3887" y="1433"/>
                  </a:lnTo>
                  <a:lnTo>
                    <a:pt x="3887" y="1435"/>
                  </a:lnTo>
                  <a:lnTo>
                    <a:pt x="3887" y="1435"/>
                  </a:lnTo>
                  <a:lnTo>
                    <a:pt x="3887" y="1437"/>
                  </a:lnTo>
                  <a:lnTo>
                    <a:pt x="3887" y="1437"/>
                  </a:lnTo>
                  <a:lnTo>
                    <a:pt x="3885" y="1437"/>
                  </a:lnTo>
                  <a:lnTo>
                    <a:pt x="3887" y="1439"/>
                  </a:lnTo>
                  <a:lnTo>
                    <a:pt x="3887" y="1439"/>
                  </a:lnTo>
                  <a:lnTo>
                    <a:pt x="3887" y="1443"/>
                  </a:lnTo>
                  <a:lnTo>
                    <a:pt x="3887" y="1443"/>
                  </a:lnTo>
                  <a:lnTo>
                    <a:pt x="3889" y="1443"/>
                  </a:lnTo>
                  <a:lnTo>
                    <a:pt x="3889" y="1441"/>
                  </a:lnTo>
                  <a:lnTo>
                    <a:pt x="3889" y="1439"/>
                  </a:lnTo>
                  <a:lnTo>
                    <a:pt x="3889" y="1437"/>
                  </a:lnTo>
                  <a:lnTo>
                    <a:pt x="3889" y="1437"/>
                  </a:lnTo>
                  <a:lnTo>
                    <a:pt x="3889" y="1437"/>
                  </a:lnTo>
                  <a:lnTo>
                    <a:pt x="3889" y="1435"/>
                  </a:lnTo>
                  <a:lnTo>
                    <a:pt x="3889" y="1435"/>
                  </a:lnTo>
                  <a:lnTo>
                    <a:pt x="3889" y="1435"/>
                  </a:lnTo>
                  <a:lnTo>
                    <a:pt x="3891" y="1433"/>
                  </a:lnTo>
                  <a:lnTo>
                    <a:pt x="3891" y="1433"/>
                  </a:lnTo>
                  <a:lnTo>
                    <a:pt x="3891" y="1429"/>
                  </a:lnTo>
                  <a:lnTo>
                    <a:pt x="3891" y="1429"/>
                  </a:lnTo>
                  <a:lnTo>
                    <a:pt x="3891" y="1429"/>
                  </a:lnTo>
                  <a:close/>
                  <a:moveTo>
                    <a:pt x="3877" y="1295"/>
                  </a:moveTo>
                  <a:lnTo>
                    <a:pt x="3877" y="1295"/>
                  </a:lnTo>
                  <a:lnTo>
                    <a:pt x="3877" y="1295"/>
                  </a:lnTo>
                  <a:lnTo>
                    <a:pt x="3877" y="1297"/>
                  </a:lnTo>
                  <a:lnTo>
                    <a:pt x="3877" y="1297"/>
                  </a:lnTo>
                  <a:lnTo>
                    <a:pt x="3877" y="1297"/>
                  </a:lnTo>
                  <a:lnTo>
                    <a:pt x="3877" y="1297"/>
                  </a:lnTo>
                  <a:lnTo>
                    <a:pt x="3877" y="1297"/>
                  </a:lnTo>
                  <a:lnTo>
                    <a:pt x="3877" y="1295"/>
                  </a:lnTo>
                  <a:lnTo>
                    <a:pt x="3877" y="1295"/>
                  </a:lnTo>
                  <a:close/>
                  <a:moveTo>
                    <a:pt x="3889" y="1474"/>
                  </a:moveTo>
                  <a:lnTo>
                    <a:pt x="3889" y="1477"/>
                  </a:lnTo>
                  <a:lnTo>
                    <a:pt x="3889" y="1477"/>
                  </a:lnTo>
                  <a:lnTo>
                    <a:pt x="3889" y="1477"/>
                  </a:lnTo>
                  <a:lnTo>
                    <a:pt x="3889" y="1477"/>
                  </a:lnTo>
                  <a:lnTo>
                    <a:pt x="3889" y="1477"/>
                  </a:lnTo>
                  <a:lnTo>
                    <a:pt x="3889" y="1477"/>
                  </a:lnTo>
                  <a:lnTo>
                    <a:pt x="3889" y="1477"/>
                  </a:lnTo>
                  <a:lnTo>
                    <a:pt x="3889" y="1474"/>
                  </a:lnTo>
                  <a:close/>
                  <a:moveTo>
                    <a:pt x="3864" y="1282"/>
                  </a:moveTo>
                  <a:lnTo>
                    <a:pt x="3864" y="1289"/>
                  </a:lnTo>
                  <a:lnTo>
                    <a:pt x="3866" y="1289"/>
                  </a:lnTo>
                  <a:lnTo>
                    <a:pt x="3866" y="1287"/>
                  </a:lnTo>
                  <a:lnTo>
                    <a:pt x="3866" y="1284"/>
                  </a:lnTo>
                  <a:lnTo>
                    <a:pt x="3864" y="1282"/>
                  </a:lnTo>
                  <a:close/>
                  <a:moveTo>
                    <a:pt x="3889" y="1423"/>
                  </a:moveTo>
                  <a:lnTo>
                    <a:pt x="3889" y="1423"/>
                  </a:lnTo>
                  <a:lnTo>
                    <a:pt x="3887" y="1423"/>
                  </a:lnTo>
                  <a:lnTo>
                    <a:pt x="3887" y="1423"/>
                  </a:lnTo>
                  <a:lnTo>
                    <a:pt x="3887" y="1425"/>
                  </a:lnTo>
                  <a:lnTo>
                    <a:pt x="3889" y="1423"/>
                  </a:lnTo>
                  <a:lnTo>
                    <a:pt x="3889" y="1423"/>
                  </a:lnTo>
                  <a:close/>
                  <a:moveTo>
                    <a:pt x="3858" y="1276"/>
                  </a:moveTo>
                  <a:lnTo>
                    <a:pt x="3858" y="1276"/>
                  </a:lnTo>
                  <a:lnTo>
                    <a:pt x="3858" y="1274"/>
                  </a:lnTo>
                  <a:lnTo>
                    <a:pt x="3858" y="1276"/>
                  </a:lnTo>
                  <a:lnTo>
                    <a:pt x="3858" y="1276"/>
                  </a:lnTo>
                  <a:lnTo>
                    <a:pt x="3858" y="1276"/>
                  </a:lnTo>
                  <a:lnTo>
                    <a:pt x="3858" y="1276"/>
                  </a:lnTo>
                  <a:close/>
                  <a:moveTo>
                    <a:pt x="3870" y="1282"/>
                  </a:moveTo>
                  <a:lnTo>
                    <a:pt x="3870" y="1282"/>
                  </a:lnTo>
                  <a:lnTo>
                    <a:pt x="3870" y="1280"/>
                  </a:lnTo>
                  <a:lnTo>
                    <a:pt x="3870" y="1282"/>
                  </a:lnTo>
                  <a:lnTo>
                    <a:pt x="3870" y="1282"/>
                  </a:lnTo>
                  <a:lnTo>
                    <a:pt x="3870" y="1284"/>
                  </a:lnTo>
                  <a:lnTo>
                    <a:pt x="3870" y="1284"/>
                  </a:lnTo>
                  <a:lnTo>
                    <a:pt x="3873" y="1284"/>
                  </a:lnTo>
                  <a:lnTo>
                    <a:pt x="3873" y="1284"/>
                  </a:lnTo>
                  <a:lnTo>
                    <a:pt x="3870" y="1282"/>
                  </a:lnTo>
                  <a:close/>
                  <a:moveTo>
                    <a:pt x="3914" y="1375"/>
                  </a:moveTo>
                  <a:lnTo>
                    <a:pt x="3914" y="1377"/>
                  </a:lnTo>
                  <a:lnTo>
                    <a:pt x="3912" y="1379"/>
                  </a:lnTo>
                  <a:lnTo>
                    <a:pt x="3912" y="1382"/>
                  </a:lnTo>
                  <a:lnTo>
                    <a:pt x="3914" y="1379"/>
                  </a:lnTo>
                  <a:lnTo>
                    <a:pt x="3914" y="1377"/>
                  </a:lnTo>
                  <a:lnTo>
                    <a:pt x="3916" y="1375"/>
                  </a:lnTo>
                  <a:lnTo>
                    <a:pt x="3916" y="1375"/>
                  </a:lnTo>
                  <a:lnTo>
                    <a:pt x="3914" y="1375"/>
                  </a:lnTo>
                  <a:close/>
                  <a:moveTo>
                    <a:pt x="3877" y="1293"/>
                  </a:moveTo>
                  <a:lnTo>
                    <a:pt x="3877" y="1291"/>
                  </a:lnTo>
                  <a:lnTo>
                    <a:pt x="3877" y="1291"/>
                  </a:lnTo>
                  <a:lnTo>
                    <a:pt x="3877" y="1293"/>
                  </a:lnTo>
                  <a:lnTo>
                    <a:pt x="3875" y="1293"/>
                  </a:lnTo>
                  <a:lnTo>
                    <a:pt x="3877" y="1295"/>
                  </a:lnTo>
                  <a:lnTo>
                    <a:pt x="3877" y="1293"/>
                  </a:lnTo>
                  <a:lnTo>
                    <a:pt x="3877" y="1293"/>
                  </a:lnTo>
                  <a:close/>
                  <a:moveTo>
                    <a:pt x="3901" y="1340"/>
                  </a:moveTo>
                  <a:lnTo>
                    <a:pt x="3903" y="1338"/>
                  </a:lnTo>
                  <a:lnTo>
                    <a:pt x="3903" y="1338"/>
                  </a:lnTo>
                  <a:lnTo>
                    <a:pt x="3903" y="1336"/>
                  </a:lnTo>
                  <a:lnTo>
                    <a:pt x="3901" y="1336"/>
                  </a:lnTo>
                  <a:lnTo>
                    <a:pt x="3899" y="1336"/>
                  </a:lnTo>
                  <a:lnTo>
                    <a:pt x="3899" y="1338"/>
                  </a:lnTo>
                  <a:lnTo>
                    <a:pt x="3901" y="1340"/>
                  </a:lnTo>
                  <a:lnTo>
                    <a:pt x="3901" y="1340"/>
                  </a:lnTo>
                  <a:close/>
                  <a:moveTo>
                    <a:pt x="3901" y="1501"/>
                  </a:moveTo>
                  <a:lnTo>
                    <a:pt x="3901" y="1501"/>
                  </a:lnTo>
                  <a:lnTo>
                    <a:pt x="3901" y="1501"/>
                  </a:lnTo>
                  <a:lnTo>
                    <a:pt x="3901" y="1503"/>
                  </a:lnTo>
                  <a:lnTo>
                    <a:pt x="3901" y="1503"/>
                  </a:lnTo>
                  <a:lnTo>
                    <a:pt x="3903" y="1503"/>
                  </a:lnTo>
                  <a:lnTo>
                    <a:pt x="3901" y="1501"/>
                  </a:lnTo>
                  <a:close/>
                  <a:moveTo>
                    <a:pt x="3899" y="1491"/>
                  </a:moveTo>
                  <a:lnTo>
                    <a:pt x="3899" y="1491"/>
                  </a:lnTo>
                  <a:lnTo>
                    <a:pt x="3899" y="1491"/>
                  </a:lnTo>
                  <a:lnTo>
                    <a:pt x="3899" y="1491"/>
                  </a:lnTo>
                  <a:lnTo>
                    <a:pt x="3899" y="1493"/>
                  </a:lnTo>
                  <a:lnTo>
                    <a:pt x="3899" y="1493"/>
                  </a:lnTo>
                  <a:lnTo>
                    <a:pt x="3899" y="1493"/>
                  </a:lnTo>
                  <a:lnTo>
                    <a:pt x="3899" y="1493"/>
                  </a:lnTo>
                  <a:lnTo>
                    <a:pt x="3899" y="1493"/>
                  </a:lnTo>
                  <a:lnTo>
                    <a:pt x="3899" y="1491"/>
                  </a:lnTo>
                  <a:lnTo>
                    <a:pt x="3899" y="1491"/>
                  </a:lnTo>
                  <a:close/>
                  <a:moveTo>
                    <a:pt x="3903" y="1503"/>
                  </a:moveTo>
                  <a:lnTo>
                    <a:pt x="3901" y="1505"/>
                  </a:lnTo>
                  <a:lnTo>
                    <a:pt x="3901" y="1505"/>
                  </a:lnTo>
                  <a:lnTo>
                    <a:pt x="3901" y="1507"/>
                  </a:lnTo>
                  <a:lnTo>
                    <a:pt x="3901" y="1507"/>
                  </a:lnTo>
                  <a:lnTo>
                    <a:pt x="3903" y="1512"/>
                  </a:lnTo>
                  <a:lnTo>
                    <a:pt x="3906" y="1510"/>
                  </a:lnTo>
                  <a:lnTo>
                    <a:pt x="3906" y="1507"/>
                  </a:lnTo>
                  <a:lnTo>
                    <a:pt x="3903" y="1505"/>
                  </a:lnTo>
                  <a:lnTo>
                    <a:pt x="3903" y="1503"/>
                  </a:lnTo>
                  <a:close/>
                  <a:moveTo>
                    <a:pt x="3893" y="1489"/>
                  </a:moveTo>
                  <a:lnTo>
                    <a:pt x="3893" y="1489"/>
                  </a:lnTo>
                  <a:lnTo>
                    <a:pt x="3893" y="1489"/>
                  </a:lnTo>
                  <a:lnTo>
                    <a:pt x="3893" y="1491"/>
                  </a:lnTo>
                  <a:lnTo>
                    <a:pt x="3895" y="1491"/>
                  </a:lnTo>
                  <a:lnTo>
                    <a:pt x="3895" y="1489"/>
                  </a:lnTo>
                  <a:lnTo>
                    <a:pt x="3893" y="1489"/>
                  </a:lnTo>
                  <a:close/>
                  <a:moveTo>
                    <a:pt x="3899" y="1324"/>
                  </a:moveTo>
                  <a:lnTo>
                    <a:pt x="3899" y="1322"/>
                  </a:lnTo>
                  <a:lnTo>
                    <a:pt x="3897" y="1322"/>
                  </a:lnTo>
                  <a:lnTo>
                    <a:pt x="3897" y="1322"/>
                  </a:lnTo>
                  <a:lnTo>
                    <a:pt x="3899" y="1324"/>
                  </a:lnTo>
                  <a:lnTo>
                    <a:pt x="3899" y="1324"/>
                  </a:lnTo>
                  <a:close/>
                  <a:moveTo>
                    <a:pt x="3893" y="1435"/>
                  </a:moveTo>
                  <a:lnTo>
                    <a:pt x="3891" y="1435"/>
                  </a:lnTo>
                  <a:lnTo>
                    <a:pt x="3891" y="1437"/>
                  </a:lnTo>
                  <a:lnTo>
                    <a:pt x="3893" y="1437"/>
                  </a:lnTo>
                  <a:lnTo>
                    <a:pt x="3893" y="1435"/>
                  </a:lnTo>
                  <a:lnTo>
                    <a:pt x="3893" y="1435"/>
                  </a:lnTo>
                  <a:close/>
                  <a:moveTo>
                    <a:pt x="3893" y="1322"/>
                  </a:moveTo>
                  <a:lnTo>
                    <a:pt x="3893" y="1322"/>
                  </a:lnTo>
                  <a:lnTo>
                    <a:pt x="3891" y="1320"/>
                  </a:lnTo>
                  <a:lnTo>
                    <a:pt x="3891" y="1320"/>
                  </a:lnTo>
                  <a:lnTo>
                    <a:pt x="3891" y="1320"/>
                  </a:lnTo>
                  <a:lnTo>
                    <a:pt x="3891" y="1322"/>
                  </a:lnTo>
                  <a:lnTo>
                    <a:pt x="3893" y="1322"/>
                  </a:lnTo>
                  <a:close/>
                  <a:moveTo>
                    <a:pt x="3897" y="1493"/>
                  </a:moveTo>
                  <a:lnTo>
                    <a:pt x="3897" y="1493"/>
                  </a:lnTo>
                  <a:lnTo>
                    <a:pt x="3897" y="1493"/>
                  </a:lnTo>
                  <a:lnTo>
                    <a:pt x="3897" y="1495"/>
                  </a:lnTo>
                  <a:lnTo>
                    <a:pt x="3897" y="1495"/>
                  </a:lnTo>
                  <a:lnTo>
                    <a:pt x="3899" y="1495"/>
                  </a:lnTo>
                  <a:lnTo>
                    <a:pt x="3899" y="1495"/>
                  </a:lnTo>
                  <a:lnTo>
                    <a:pt x="3899" y="1493"/>
                  </a:lnTo>
                  <a:lnTo>
                    <a:pt x="3897" y="1493"/>
                  </a:lnTo>
                  <a:close/>
                  <a:moveTo>
                    <a:pt x="3706" y="1470"/>
                  </a:moveTo>
                  <a:lnTo>
                    <a:pt x="3706" y="1468"/>
                  </a:lnTo>
                  <a:lnTo>
                    <a:pt x="3706" y="1468"/>
                  </a:lnTo>
                  <a:lnTo>
                    <a:pt x="3706" y="1468"/>
                  </a:lnTo>
                  <a:lnTo>
                    <a:pt x="3706" y="1468"/>
                  </a:lnTo>
                  <a:lnTo>
                    <a:pt x="3706" y="1468"/>
                  </a:lnTo>
                  <a:lnTo>
                    <a:pt x="3706" y="1468"/>
                  </a:lnTo>
                  <a:lnTo>
                    <a:pt x="3706" y="1470"/>
                  </a:lnTo>
                  <a:lnTo>
                    <a:pt x="3706" y="1470"/>
                  </a:lnTo>
                  <a:close/>
                  <a:moveTo>
                    <a:pt x="4417" y="1633"/>
                  </a:moveTo>
                  <a:lnTo>
                    <a:pt x="4419" y="1636"/>
                  </a:lnTo>
                  <a:lnTo>
                    <a:pt x="4421" y="1636"/>
                  </a:lnTo>
                  <a:lnTo>
                    <a:pt x="4421" y="1636"/>
                  </a:lnTo>
                  <a:lnTo>
                    <a:pt x="4423" y="1636"/>
                  </a:lnTo>
                  <a:lnTo>
                    <a:pt x="4423" y="1636"/>
                  </a:lnTo>
                  <a:lnTo>
                    <a:pt x="4425" y="1636"/>
                  </a:lnTo>
                  <a:lnTo>
                    <a:pt x="4425" y="1636"/>
                  </a:lnTo>
                  <a:lnTo>
                    <a:pt x="4425" y="1633"/>
                  </a:lnTo>
                  <a:lnTo>
                    <a:pt x="4425" y="1633"/>
                  </a:lnTo>
                  <a:lnTo>
                    <a:pt x="4425" y="1633"/>
                  </a:lnTo>
                  <a:lnTo>
                    <a:pt x="4425" y="1633"/>
                  </a:lnTo>
                  <a:lnTo>
                    <a:pt x="4425" y="1631"/>
                  </a:lnTo>
                  <a:lnTo>
                    <a:pt x="4425" y="1631"/>
                  </a:lnTo>
                  <a:lnTo>
                    <a:pt x="4425" y="1631"/>
                  </a:lnTo>
                  <a:lnTo>
                    <a:pt x="4425" y="1631"/>
                  </a:lnTo>
                  <a:lnTo>
                    <a:pt x="4423" y="1631"/>
                  </a:lnTo>
                  <a:lnTo>
                    <a:pt x="4421" y="1631"/>
                  </a:lnTo>
                  <a:lnTo>
                    <a:pt x="4419" y="1631"/>
                  </a:lnTo>
                  <a:lnTo>
                    <a:pt x="4417" y="1633"/>
                  </a:lnTo>
                  <a:lnTo>
                    <a:pt x="4417" y="1633"/>
                  </a:lnTo>
                  <a:close/>
                  <a:moveTo>
                    <a:pt x="4413" y="1609"/>
                  </a:moveTo>
                  <a:lnTo>
                    <a:pt x="4413" y="1609"/>
                  </a:lnTo>
                  <a:lnTo>
                    <a:pt x="4413" y="1609"/>
                  </a:lnTo>
                  <a:lnTo>
                    <a:pt x="4413" y="1609"/>
                  </a:lnTo>
                  <a:lnTo>
                    <a:pt x="4411" y="1607"/>
                  </a:lnTo>
                  <a:lnTo>
                    <a:pt x="4411" y="1607"/>
                  </a:lnTo>
                  <a:lnTo>
                    <a:pt x="4413" y="1609"/>
                  </a:lnTo>
                  <a:close/>
                  <a:moveTo>
                    <a:pt x="4419" y="1134"/>
                  </a:moveTo>
                  <a:lnTo>
                    <a:pt x="4419" y="1136"/>
                  </a:lnTo>
                  <a:lnTo>
                    <a:pt x="4421" y="1134"/>
                  </a:lnTo>
                  <a:lnTo>
                    <a:pt x="4423" y="1134"/>
                  </a:lnTo>
                  <a:lnTo>
                    <a:pt x="4423" y="1130"/>
                  </a:lnTo>
                  <a:lnTo>
                    <a:pt x="4423" y="1130"/>
                  </a:lnTo>
                  <a:lnTo>
                    <a:pt x="4419" y="1130"/>
                  </a:lnTo>
                  <a:lnTo>
                    <a:pt x="4421" y="1132"/>
                  </a:lnTo>
                  <a:lnTo>
                    <a:pt x="4419" y="1134"/>
                  </a:lnTo>
                  <a:lnTo>
                    <a:pt x="4419" y="1134"/>
                  </a:lnTo>
                  <a:lnTo>
                    <a:pt x="4421" y="1134"/>
                  </a:lnTo>
                  <a:lnTo>
                    <a:pt x="4419" y="1134"/>
                  </a:lnTo>
                  <a:lnTo>
                    <a:pt x="4419" y="1134"/>
                  </a:lnTo>
                  <a:close/>
                  <a:moveTo>
                    <a:pt x="4427" y="1165"/>
                  </a:moveTo>
                  <a:lnTo>
                    <a:pt x="4429" y="1165"/>
                  </a:lnTo>
                  <a:lnTo>
                    <a:pt x="4429" y="1165"/>
                  </a:lnTo>
                  <a:lnTo>
                    <a:pt x="4429" y="1163"/>
                  </a:lnTo>
                  <a:lnTo>
                    <a:pt x="4427" y="1163"/>
                  </a:lnTo>
                  <a:lnTo>
                    <a:pt x="4425" y="1163"/>
                  </a:lnTo>
                  <a:lnTo>
                    <a:pt x="4425" y="1165"/>
                  </a:lnTo>
                  <a:lnTo>
                    <a:pt x="4427" y="1165"/>
                  </a:lnTo>
                  <a:close/>
                  <a:moveTo>
                    <a:pt x="4423" y="1609"/>
                  </a:moveTo>
                  <a:lnTo>
                    <a:pt x="4423" y="1609"/>
                  </a:lnTo>
                  <a:lnTo>
                    <a:pt x="4423" y="1609"/>
                  </a:lnTo>
                  <a:lnTo>
                    <a:pt x="4425" y="1611"/>
                  </a:lnTo>
                  <a:lnTo>
                    <a:pt x="4427" y="1611"/>
                  </a:lnTo>
                  <a:lnTo>
                    <a:pt x="4427" y="1611"/>
                  </a:lnTo>
                  <a:lnTo>
                    <a:pt x="4427" y="1611"/>
                  </a:lnTo>
                  <a:lnTo>
                    <a:pt x="4429" y="1611"/>
                  </a:lnTo>
                  <a:lnTo>
                    <a:pt x="4429" y="1611"/>
                  </a:lnTo>
                  <a:lnTo>
                    <a:pt x="4429" y="1613"/>
                  </a:lnTo>
                  <a:lnTo>
                    <a:pt x="4431" y="1613"/>
                  </a:lnTo>
                  <a:lnTo>
                    <a:pt x="4433" y="1613"/>
                  </a:lnTo>
                  <a:lnTo>
                    <a:pt x="4433" y="1611"/>
                  </a:lnTo>
                  <a:lnTo>
                    <a:pt x="4431" y="1611"/>
                  </a:lnTo>
                  <a:lnTo>
                    <a:pt x="4431" y="1611"/>
                  </a:lnTo>
                  <a:lnTo>
                    <a:pt x="4431" y="1611"/>
                  </a:lnTo>
                  <a:lnTo>
                    <a:pt x="4429" y="1609"/>
                  </a:lnTo>
                  <a:lnTo>
                    <a:pt x="4429" y="1609"/>
                  </a:lnTo>
                  <a:lnTo>
                    <a:pt x="4429" y="1609"/>
                  </a:lnTo>
                  <a:lnTo>
                    <a:pt x="4429" y="1609"/>
                  </a:lnTo>
                  <a:lnTo>
                    <a:pt x="4431" y="1611"/>
                  </a:lnTo>
                  <a:lnTo>
                    <a:pt x="4433" y="1611"/>
                  </a:lnTo>
                  <a:lnTo>
                    <a:pt x="4433" y="1611"/>
                  </a:lnTo>
                  <a:lnTo>
                    <a:pt x="4433" y="1611"/>
                  </a:lnTo>
                  <a:lnTo>
                    <a:pt x="4436" y="1611"/>
                  </a:lnTo>
                  <a:lnTo>
                    <a:pt x="4438" y="1611"/>
                  </a:lnTo>
                  <a:lnTo>
                    <a:pt x="4438" y="1613"/>
                  </a:lnTo>
                  <a:lnTo>
                    <a:pt x="4438" y="1611"/>
                  </a:lnTo>
                  <a:lnTo>
                    <a:pt x="4440" y="1611"/>
                  </a:lnTo>
                  <a:lnTo>
                    <a:pt x="4438" y="1611"/>
                  </a:lnTo>
                  <a:lnTo>
                    <a:pt x="4438" y="1609"/>
                  </a:lnTo>
                  <a:lnTo>
                    <a:pt x="4438" y="1609"/>
                  </a:lnTo>
                  <a:lnTo>
                    <a:pt x="4433" y="1607"/>
                  </a:lnTo>
                  <a:lnTo>
                    <a:pt x="4433" y="1607"/>
                  </a:lnTo>
                  <a:lnTo>
                    <a:pt x="4431" y="1607"/>
                  </a:lnTo>
                  <a:lnTo>
                    <a:pt x="4429" y="1607"/>
                  </a:lnTo>
                  <a:lnTo>
                    <a:pt x="4427" y="1607"/>
                  </a:lnTo>
                  <a:lnTo>
                    <a:pt x="4427" y="1607"/>
                  </a:lnTo>
                  <a:lnTo>
                    <a:pt x="4427" y="1607"/>
                  </a:lnTo>
                  <a:lnTo>
                    <a:pt x="4425" y="1609"/>
                  </a:lnTo>
                  <a:lnTo>
                    <a:pt x="4425" y="1607"/>
                  </a:lnTo>
                  <a:lnTo>
                    <a:pt x="4423" y="1609"/>
                  </a:lnTo>
                  <a:close/>
                  <a:moveTo>
                    <a:pt x="4390" y="1650"/>
                  </a:moveTo>
                  <a:lnTo>
                    <a:pt x="4390" y="1650"/>
                  </a:lnTo>
                  <a:lnTo>
                    <a:pt x="4390" y="1648"/>
                  </a:lnTo>
                  <a:lnTo>
                    <a:pt x="4390" y="1648"/>
                  </a:lnTo>
                  <a:lnTo>
                    <a:pt x="4388" y="1650"/>
                  </a:lnTo>
                  <a:lnTo>
                    <a:pt x="4390" y="1650"/>
                  </a:lnTo>
                  <a:close/>
                  <a:moveTo>
                    <a:pt x="4433" y="1161"/>
                  </a:moveTo>
                  <a:lnTo>
                    <a:pt x="4436" y="1159"/>
                  </a:lnTo>
                  <a:lnTo>
                    <a:pt x="4436" y="1156"/>
                  </a:lnTo>
                  <a:lnTo>
                    <a:pt x="4436" y="1156"/>
                  </a:lnTo>
                  <a:lnTo>
                    <a:pt x="4436" y="1156"/>
                  </a:lnTo>
                  <a:lnTo>
                    <a:pt x="4433" y="1156"/>
                  </a:lnTo>
                  <a:lnTo>
                    <a:pt x="4433" y="1159"/>
                  </a:lnTo>
                  <a:lnTo>
                    <a:pt x="4433" y="1161"/>
                  </a:lnTo>
                  <a:lnTo>
                    <a:pt x="4431" y="1163"/>
                  </a:lnTo>
                  <a:lnTo>
                    <a:pt x="4431" y="1163"/>
                  </a:lnTo>
                  <a:lnTo>
                    <a:pt x="4433" y="1163"/>
                  </a:lnTo>
                  <a:lnTo>
                    <a:pt x="4433" y="1161"/>
                  </a:lnTo>
                  <a:close/>
                  <a:moveTo>
                    <a:pt x="4409" y="1198"/>
                  </a:moveTo>
                  <a:lnTo>
                    <a:pt x="4409" y="1198"/>
                  </a:lnTo>
                  <a:lnTo>
                    <a:pt x="4409" y="1198"/>
                  </a:lnTo>
                  <a:lnTo>
                    <a:pt x="4409" y="1198"/>
                  </a:lnTo>
                  <a:lnTo>
                    <a:pt x="4411" y="1200"/>
                  </a:lnTo>
                  <a:lnTo>
                    <a:pt x="4411" y="1198"/>
                  </a:lnTo>
                  <a:lnTo>
                    <a:pt x="4409" y="1198"/>
                  </a:lnTo>
                  <a:close/>
                  <a:moveTo>
                    <a:pt x="4384" y="1714"/>
                  </a:moveTo>
                  <a:lnTo>
                    <a:pt x="4384" y="1714"/>
                  </a:lnTo>
                  <a:lnTo>
                    <a:pt x="4384" y="1714"/>
                  </a:lnTo>
                  <a:lnTo>
                    <a:pt x="4384" y="1714"/>
                  </a:lnTo>
                  <a:lnTo>
                    <a:pt x="4382" y="1712"/>
                  </a:lnTo>
                  <a:lnTo>
                    <a:pt x="4382" y="1714"/>
                  </a:lnTo>
                  <a:lnTo>
                    <a:pt x="4382" y="1714"/>
                  </a:lnTo>
                  <a:lnTo>
                    <a:pt x="4384" y="1714"/>
                  </a:lnTo>
                  <a:close/>
                  <a:moveTo>
                    <a:pt x="4392" y="1724"/>
                  </a:moveTo>
                  <a:lnTo>
                    <a:pt x="4392" y="1722"/>
                  </a:lnTo>
                  <a:lnTo>
                    <a:pt x="4392" y="1722"/>
                  </a:lnTo>
                  <a:lnTo>
                    <a:pt x="4392" y="1722"/>
                  </a:lnTo>
                  <a:lnTo>
                    <a:pt x="4388" y="1722"/>
                  </a:lnTo>
                  <a:lnTo>
                    <a:pt x="4388" y="1722"/>
                  </a:lnTo>
                  <a:lnTo>
                    <a:pt x="4388" y="1722"/>
                  </a:lnTo>
                  <a:lnTo>
                    <a:pt x="4392" y="1724"/>
                  </a:lnTo>
                  <a:close/>
                  <a:moveTo>
                    <a:pt x="4429" y="1615"/>
                  </a:moveTo>
                  <a:lnTo>
                    <a:pt x="4429" y="1613"/>
                  </a:lnTo>
                  <a:lnTo>
                    <a:pt x="4429" y="1613"/>
                  </a:lnTo>
                  <a:lnTo>
                    <a:pt x="4429" y="1613"/>
                  </a:lnTo>
                  <a:lnTo>
                    <a:pt x="4429" y="1613"/>
                  </a:lnTo>
                  <a:lnTo>
                    <a:pt x="4427" y="1613"/>
                  </a:lnTo>
                  <a:lnTo>
                    <a:pt x="4427" y="1613"/>
                  </a:lnTo>
                  <a:lnTo>
                    <a:pt x="4427" y="1613"/>
                  </a:lnTo>
                  <a:lnTo>
                    <a:pt x="4427" y="1615"/>
                  </a:lnTo>
                  <a:lnTo>
                    <a:pt x="4429" y="1615"/>
                  </a:lnTo>
                  <a:close/>
                  <a:moveTo>
                    <a:pt x="4431" y="1724"/>
                  </a:moveTo>
                  <a:lnTo>
                    <a:pt x="4431" y="1724"/>
                  </a:lnTo>
                  <a:lnTo>
                    <a:pt x="4433" y="1724"/>
                  </a:lnTo>
                  <a:lnTo>
                    <a:pt x="4436" y="1722"/>
                  </a:lnTo>
                  <a:lnTo>
                    <a:pt x="4438" y="1722"/>
                  </a:lnTo>
                  <a:lnTo>
                    <a:pt x="4436" y="1722"/>
                  </a:lnTo>
                  <a:lnTo>
                    <a:pt x="4433" y="1720"/>
                  </a:lnTo>
                  <a:lnTo>
                    <a:pt x="4431" y="1724"/>
                  </a:lnTo>
                  <a:lnTo>
                    <a:pt x="4431" y="1724"/>
                  </a:lnTo>
                  <a:close/>
                  <a:moveTo>
                    <a:pt x="4433" y="1776"/>
                  </a:moveTo>
                  <a:lnTo>
                    <a:pt x="4438" y="1774"/>
                  </a:lnTo>
                  <a:lnTo>
                    <a:pt x="4440" y="1772"/>
                  </a:lnTo>
                  <a:lnTo>
                    <a:pt x="4440" y="1772"/>
                  </a:lnTo>
                  <a:lnTo>
                    <a:pt x="4442" y="1770"/>
                  </a:lnTo>
                  <a:lnTo>
                    <a:pt x="4442" y="1770"/>
                  </a:lnTo>
                  <a:lnTo>
                    <a:pt x="4442" y="1768"/>
                  </a:lnTo>
                  <a:lnTo>
                    <a:pt x="4442" y="1768"/>
                  </a:lnTo>
                  <a:lnTo>
                    <a:pt x="4440" y="1768"/>
                  </a:lnTo>
                  <a:lnTo>
                    <a:pt x="4440" y="1766"/>
                  </a:lnTo>
                  <a:lnTo>
                    <a:pt x="4438" y="1766"/>
                  </a:lnTo>
                  <a:lnTo>
                    <a:pt x="4438" y="1766"/>
                  </a:lnTo>
                  <a:lnTo>
                    <a:pt x="4436" y="1766"/>
                  </a:lnTo>
                  <a:lnTo>
                    <a:pt x="4433" y="1768"/>
                  </a:lnTo>
                  <a:lnTo>
                    <a:pt x="4433" y="1768"/>
                  </a:lnTo>
                  <a:lnTo>
                    <a:pt x="4433" y="1768"/>
                  </a:lnTo>
                  <a:lnTo>
                    <a:pt x="4431" y="1768"/>
                  </a:lnTo>
                  <a:lnTo>
                    <a:pt x="4429" y="1768"/>
                  </a:lnTo>
                  <a:lnTo>
                    <a:pt x="4427" y="1768"/>
                  </a:lnTo>
                  <a:lnTo>
                    <a:pt x="4427" y="1768"/>
                  </a:lnTo>
                  <a:lnTo>
                    <a:pt x="4425" y="1766"/>
                  </a:lnTo>
                  <a:lnTo>
                    <a:pt x="4425" y="1766"/>
                  </a:lnTo>
                  <a:lnTo>
                    <a:pt x="4425" y="1766"/>
                  </a:lnTo>
                  <a:lnTo>
                    <a:pt x="4425" y="1766"/>
                  </a:lnTo>
                  <a:lnTo>
                    <a:pt x="4425" y="1768"/>
                  </a:lnTo>
                  <a:lnTo>
                    <a:pt x="4425" y="1770"/>
                  </a:lnTo>
                  <a:lnTo>
                    <a:pt x="4427" y="1772"/>
                  </a:lnTo>
                  <a:lnTo>
                    <a:pt x="4429" y="1774"/>
                  </a:lnTo>
                  <a:lnTo>
                    <a:pt x="4433" y="1776"/>
                  </a:lnTo>
                  <a:close/>
                  <a:moveTo>
                    <a:pt x="4421" y="1774"/>
                  </a:moveTo>
                  <a:lnTo>
                    <a:pt x="4425" y="1774"/>
                  </a:lnTo>
                  <a:lnTo>
                    <a:pt x="4427" y="1774"/>
                  </a:lnTo>
                  <a:lnTo>
                    <a:pt x="4429" y="1774"/>
                  </a:lnTo>
                  <a:lnTo>
                    <a:pt x="4429" y="1774"/>
                  </a:lnTo>
                  <a:lnTo>
                    <a:pt x="4427" y="1774"/>
                  </a:lnTo>
                  <a:lnTo>
                    <a:pt x="4427" y="1772"/>
                  </a:lnTo>
                  <a:lnTo>
                    <a:pt x="4427" y="1772"/>
                  </a:lnTo>
                  <a:lnTo>
                    <a:pt x="4425" y="1772"/>
                  </a:lnTo>
                  <a:lnTo>
                    <a:pt x="4425" y="1770"/>
                  </a:lnTo>
                  <a:lnTo>
                    <a:pt x="4425" y="1768"/>
                  </a:lnTo>
                  <a:lnTo>
                    <a:pt x="4425" y="1768"/>
                  </a:lnTo>
                  <a:lnTo>
                    <a:pt x="4423" y="1768"/>
                  </a:lnTo>
                  <a:lnTo>
                    <a:pt x="4423" y="1768"/>
                  </a:lnTo>
                  <a:lnTo>
                    <a:pt x="4421" y="1770"/>
                  </a:lnTo>
                  <a:lnTo>
                    <a:pt x="4423" y="1770"/>
                  </a:lnTo>
                  <a:lnTo>
                    <a:pt x="4423" y="1772"/>
                  </a:lnTo>
                  <a:lnTo>
                    <a:pt x="4421" y="1772"/>
                  </a:lnTo>
                  <a:lnTo>
                    <a:pt x="4421" y="1772"/>
                  </a:lnTo>
                  <a:lnTo>
                    <a:pt x="4421" y="1774"/>
                  </a:lnTo>
                  <a:lnTo>
                    <a:pt x="4421" y="1774"/>
                  </a:lnTo>
                  <a:lnTo>
                    <a:pt x="4421" y="1774"/>
                  </a:lnTo>
                  <a:close/>
                  <a:moveTo>
                    <a:pt x="4448" y="1117"/>
                  </a:moveTo>
                  <a:lnTo>
                    <a:pt x="4450" y="1117"/>
                  </a:lnTo>
                  <a:lnTo>
                    <a:pt x="4452" y="1115"/>
                  </a:lnTo>
                  <a:lnTo>
                    <a:pt x="4454" y="1115"/>
                  </a:lnTo>
                  <a:lnTo>
                    <a:pt x="4454" y="1115"/>
                  </a:lnTo>
                  <a:lnTo>
                    <a:pt x="4454" y="1117"/>
                  </a:lnTo>
                  <a:lnTo>
                    <a:pt x="4454" y="1117"/>
                  </a:lnTo>
                  <a:lnTo>
                    <a:pt x="4456" y="1117"/>
                  </a:lnTo>
                  <a:lnTo>
                    <a:pt x="4456" y="1119"/>
                  </a:lnTo>
                  <a:lnTo>
                    <a:pt x="4456" y="1119"/>
                  </a:lnTo>
                  <a:lnTo>
                    <a:pt x="4456" y="1119"/>
                  </a:lnTo>
                  <a:lnTo>
                    <a:pt x="4456" y="1121"/>
                  </a:lnTo>
                  <a:lnTo>
                    <a:pt x="4454" y="1121"/>
                  </a:lnTo>
                  <a:lnTo>
                    <a:pt x="4456" y="1123"/>
                  </a:lnTo>
                  <a:lnTo>
                    <a:pt x="4456" y="1123"/>
                  </a:lnTo>
                  <a:lnTo>
                    <a:pt x="4456" y="1123"/>
                  </a:lnTo>
                  <a:lnTo>
                    <a:pt x="4458" y="1123"/>
                  </a:lnTo>
                  <a:lnTo>
                    <a:pt x="4458" y="1125"/>
                  </a:lnTo>
                  <a:lnTo>
                    <a:pt x="4458" y="1125"/>
                  </a:lnTo>
                  <a:lnTo>
                    <a:pt x="4460" y="1125"/>
                  </a:lnTo>
                  <a:lnTo>
                    <a:pt x="4460" y="1125"/>
                  </a:lnTo>
                  <a:lnTo>
                    <a:pt x="4462" y="1125"/>
                  </a:lnTo>
                  <a:lnTo>
                    <a:pt x="4462" y="1123"/>
                  </a:lnTo>
                  <a:lnTo>
                    <a:pt x="4462" y="1121"/>
                  </a:lnTo>
                  <a:lnTo>
                    <a:pt x="4464" y="1121"/>
                  </a:lnTo>
                  <a:lnTo>
                    <a:pt x="4464" y="1121"/>
                  </a:lnTo>
                  <a:lnTo>
                    <a:pt x="4466" y="1119"/>
                  </a:lnTo>
                  <a:lnTo>
                    <a:pt x="4466" y="1117"/>
                  </a:lnTo>
                  <a:lnTo>
                    <a:pt x="4471" y="1115"/>
                  </a:lnTo>
                  <a:lnTo>
                    <a:pt x="4473" y="1115"/>
                  </a:lnTo>
                  <a:lnTo>
                    <a:pt x="4475" y="1115"/>
                  </a:lnTo>
                  <a:lnTo>
                    <a:pt x="4477" y="1115"/>
                  </a:lnTo>
                  <a:lnTo>
                    <a:pt x="4479" y="1117"/>
                  </a:lnTo>
                  <a:lnTo>
                    <a:pt x="4479" y="1119"/>
                  </a:lnTo>
                  <a:lnTo>
                    <a:pt x="4479" y="1117"/>
                  </a:lnTo>
                  <a:lnTo>
                    <a:pt x="4481" y="1115"/>
                  </a:lnTo>
                  <a:lnTo>
                    <a:pt x="4481" y="1115"/>
                  </a:lnTo>
                  <a:lnTo>
                    <a:pt x="4483" y="1113"/>
                  </a:lnTo>
                  <a:lnTo>
                    <a:pt x="4485" y="1111"/>
                  </a:lnTo>
                  <a:lnTo>
                    <a:pt x="4487" y="1109"/>
                  </a:lnTo>
                  <a:lnTo>
                    <a:pt x="4487" y="1109"/>
                  </a:lnTo>
                  <a:lnTo>
                    <a:pt x="4487" y="1107"/>
                  </a:lnTo>
                  <a:lnTo>
                    <a:pt x="4487" y="1107"/>
                  </a:lnTo>
                  <a:lnTo>
                    <a:pt x="4485" y="1107"/>
                  </a:lnTo>
                  <a:lnTo>
                    <a:pt x="4485" y="1103"/>
                  </a:lnTo>
                  <a:lnTo>
                    <a:pt x="4483" y="1103"/>
                  </a:lnTo>
                  <a:lnTo>
                    <a:pt x="4483" y="1103"/>
                  </a:lnTo>
                  <a:lnTo>
                    <a:pt x="4481" y="1101"/>
                  </a:lnTo>
                  <a:lnTo>
                    <a:pt x="4479" y="1101"/>
                  </a:lnTo>
                  <a:lnTo>
                    <a:pt x="4477" y="1101"/>
                  </a:lnTo>
                  <a:lnTo>
                    <a:pt x="4475" y="1103"/>
                  </a:lnTo>
                  <a:lnTo>
                    <a:pt x="4473" y="1103"/>
                  </a:lnTo>
                  <a:lnTo>
                    <a:pt x="4473" y="1103"/>
                  </a:lnTo>
                  <a:lnTo>
                    <a:pt x="4471" y="1103"/>
                  </a:lnTo>
                  <a:lnTo>
                    <a:pt x="4473" y="1105"/>
                  </a:lnTo>
                  <a:lnTo>
                    <a:pt x="4471" y="1105"/>
                  </a:lnTo>
                  <a:lnTo>
                    <a:pt x="4471" y="1107"/>
                  </a:lnTo>
                  <a:lnTo>
                    <a:pt x="4468" y="1107"/>
                  </a:lnTo>
                  <a:lnTo>
                    <a:pt x="4468" y="1107"/>
                  </a:lnTo>
                  <a:lnTo>
                    <a:pt x="4466" y="1107"/>
                  </a:lnTo>
                  <a:lnTo>
                    <a:pt x="4464" y="1107"/>
                  </a:lnTo>
                  <a:lnTo>
                    <a:pt x="4464" y="1107"/>
                  </a:lnTo>
                  <a:lnTo>
                    <a:pt x="4462" y="1107"/>
                  </a:lnTo>
                  <a:lnTo>
                    <a:pt x="4462" y="1105"/>
                  </a:lnTo>
                  <a:lnTo>
                    <a:pt x="4462" y="1105"/>
                  </a:lnTo>
                  <a:lnTo>
                    <a:pt x="4460" y="1107"/>
                  </a:lnTo>
                  <a:lnTo>
                    <a:pt x="4460" y="1107"/>
                  </a:lnTo>
                  <a:lnTo>
                    <a:pt x="4458" y="1109"/>
                  </a:lnTo>
                  <a:lnTo>
                    <a:pt x="4458" y="1109"/>
                  </a:lnTo>
                  <a:lnTo>
                    <a:pt x="4458" y="1111"/>
                  </a:lnTo>
                  <a:lnTo>
                    <a:pt x="4458" y="1111"/>
                  </a:lnTo>
                  <a:lnTo>
                    <a:pt x="4456" y="1113"/>
                  </a:lnTo>
                  <a:lnTo>
                    <a:pt x="4454" y="1115"/>
                  </a:lnTo>
                  <a:lnTo>
                    <a:pt x="4452" y="1115"/>
                  </a:lnTo>
                  <a:lnTo>
                    <a:pt x="4450" y="1117"/>
                  </a:lnTo>
                  <a:lnTo>
                    <a:pt x="4448" y="1117"/>
                  </a:lnTo>
                  <a:close/>
                  <a:moveTo>
                    <a:pt x="4425" y="1619"/>
                  </a:moveTo>
                  <a:lnTo>
                    <a:pt x="4425" y="1619"/>
                  </a:lnTo>
                  <a:lnTo>
                    <a:pt x="4431" y="1619"/>
                  </a:lnTo>
                  <a:lnTo>
                    <a:pt x="4431" y="1619"/>
                  </a:lnTo>
                  <a:lnTo>
                    <a:pt x="4433" y="1617"/>
                  </a:lnTo>
                  <a:lnTo>
                    <a:pt x="4431" y="1617"/>
                  </a:lnTo>
                  <a:lnTo>
                    <a:pt x="4431" y="1619"/>
                  </a:lnTo>
                  <a:lnTo>
                    <a:pt x="4429" y="1619"/>
                  </a:lnTo>
                  <a:lnTo>
                    <a:pt x="4429" y="1619"/>
                  </a:lnTo>
                  <a:lnTo>
                    <a:pt x="4427" y="1619"/>
                  </a:lnTo>
                  <a:lnTo>
                    <a:pt x="4427" y="1619"/>
                  </a:lnTo>
                  <a:lnTo>
                    <a:pt x="4427" y="1619"/>
                  </a:lnTo>
                  <a:lnTo>
                    <a:pt x="4427" y="1619"/>
                  </a:lnTo>
                  <a:lnTo>
                    <a:pt x="4427" y="1619"/>
                  </a:lnTo>
                  <a:lnTo>
                    <a:pt x="4427" y="1619"/>
                  </a:lnTo>
                  <a:lnTo>
                    <a:pt x="4425" y="1619"/>
                  </a:lnTo>
                  <a:close/>
                  <a:moveTo>
                    <a:pt x="4438" y="1563"/>
                  </a:moveTo>
                  <a:lnTo>
                    <a:pt x="4438" y="1563"/>
                  </a:lnTo>
                  <a:lnTo>
                    <a:pt x="4436" y="1563"/>
                  </a:lnTo>
                  <a:lnTo>
                    <a:pt x="4436" y="1563"/>
                  </a:lnTo>
                  <a:lnTo>
                    <a:pt x="4436" y="1563"/>
                  </a:lnTo>
                  <a:lnTo>
                    <a:pt x="4436" y="1563"/>
                  </a:lnTo>
                  <a:lnTo>
                    <a:pt x="4436" y="1563"/>
                  </a:lnTo>
                  <a:lnTo>
                    <a:pt x="4436" y="1563"/>
                  </a:lnTo>
                  <a:lnTo>
                    <a:pt x="4438" y="1563"/>
                  </a:lnTo>
                  <a:close/>
                  <a:moveTo>
                    <a:pt x="4384" y="1607"/>
                  </a:moveTo>
                  <a:lnTo>
                    <a:pt x="4384" y="1605"/>
                  </a:lnTo>
                  <a:lnTo>
                    <a:pt x="4384" y="1605"/>
                  </a:lnTo>
                  <a:lnTo>
                    <a:pt x="4384" y="1605"/>
                  </a:lnTo>
                  <a:lnTo>
                    <a:pt x="4382" y="1607"/>
                  </a:lnTo>
                  <a:lnTo>
                    <a:pt x="4384" y="1607"/>
                  </a:lnTo>
                  <a:lnTo>
                    <a:pt x="4384" y="1607"/>
                  </a:lnTo>
                  <a:lnTo>
                    <a:pt x="4384" y="1607"/>
                  </a:lnTo>
                  <a:close/>
                  <a:moveTo>
                    <a:pt x="4429" y="1623"/>
                  </a:moveTo>
                  <a:lnTo>
                    <a:pt x="4429" y="1623"/>
                  </a:lnTo>
                  <a:lnTo>
                    <a:pt x="4431" y="1625"/>
                  </a:lnTo>
                  <a:lnTo>
                    <a:pt x="4431" y="1625"/>
                  </a:lnTo>
                  <a:lnTo>
                    <a:pt x="4433" y="1625"/>
                  </a:lnTo>
                  <a:lnTo>
                    <a:pt x="4433" y="1625"/>
                  </a:lnTo>
                  <a:lnTo>
                    <a:pt x="4436" y="1623"/>
                  </a:lnTo>
                  <a:lnTo>
                    <a:pt x="4436" y="1621"/>
                  </a:lnTo>
                  <a:lnTo>
                    <a:pt x="4436" y="1619"/>
                  </a:lnTo>
                  <a:lnTo>
                    <a:pt x="4433" y="1619"/>
                  </a:lnTo>
                  <a:lnTo>
                    <a:pt x="4433" y="1619"/>
                  </a:lnTo>
                  <a:lnTo>
                    <a:pt x="4429" y="1621"/>
                  </a:lnTo>
                  <a:lnTo>
                    <a:pt x="4429" y="1621"/>
                  </a:lnTo>
                  <a:lnTo>
                    <a:pt x="4429" y="1621"/>
                  </a:lnTo>
                  <a:lnTo>
                    <a:pt x="4429" y="1623"/>
                  </a:lnTo>
                  <a:close/>
                  <a:moveTo>
                    <a:pt x="4415" y="1142"/>
                  </a:moveTo>
                  <a:lnTo>
                    <a:pt x="4415" y="1144"/>
                  </a:lnTo>
                  <a:lnTo>
                    <a:pt x="4415" y="1144"/>
                  </a:lnTo>
                  <a:lnTo>
                    <a:pt x="4417" y="1142"/>
                  </a:lnTo>
                  <a:lnTo>
                    <a:pt x="4417" y="1142"/>
                  </a:lnTo>
                  <a:lnTo>
                    <a:pt x="4415" y="1142"/>
                  </a:lnTo>
                  <a:close/>
                  <a:moveTo>
                    <a:pt x="4318" y="1675"/>
                  </a:moveTo>
                  <a:lnTo>
                    <a:pt x="4318" y="1677"/>
                  </a:lnTo>
                  <a:lnTo>
                    <a:pt x="4318" y="1677"/>
                  </a:lnTo>
                  <a:lnTo>
                    <a:pt x="4318" y="1679"/>
                  </a:lnTo>
                  <a:lnTo>
                    <a:pt x="4316" y="1679"/>
                  </a:lnTo>
                  <a:lnTo>
                    <a:pt x="4316" y="1681"/>
                  </a:lnTo>
                  <a:lnTo>
                    <a:pt x="4316" y="1681"/>
                  </a:lnTo>
                  <a:lnTo>
                    <a:pt x="4316" y="1681"/>
                  </a:lnTo>
                  <a:lnTo>
                    <a:pt x="4316" y="1683"/>
                  </a:lnTo>
                  <a:lnTo>
                    <a:pt x="4316" y="1683"/>
                  </a:lnTo>
                  <a:lnTo>
                    <a:pt x="4314" y="1685"/>
                  </a:lnTo>
                  <a:lnTo>
                    <a:pt x="4314" y="1685"/>
                  </a:lnTo>
                  <a:lnTo>
                    <a:pt x="4316" y="1687"/>
                  </a:lnTo>
                  <a:lnTo>
                    <a:pt x="4316" y="1687"/>
                  </a:lnTo>
                  <a:lnTo>
                    <a:pt x="4316" y="1687"/>
                  </a:lnTo>
                  <a:lnTo>
                    <a:pt x="4318" y="1687"/>
                  </a:lnTo>
                  <a:lnTo>
                    <a:pt x="4318" y="1687"/>
                  </a:lnTo>
                  <a:lnTo>
                    <a:pt x="4318" y="1685"/>
                  </a:lnTo>
                  <a:lnTo>
                    <a:pt x="4318" y="1683"/>
                  </a:lnTo>
                  <a:lnTo>
                    <a:pt x="4320" y="1683"/>
                  </a:lnTo>
                  <a:lnTo>
                    <a:pt x="4320" y="1683"/>
                  </a:lnTo>
                  <a:lnTo>
                    <a:pt x="4320" y="1683"/>
                  </a:lnTo>
                  <a:lnTo>
                    <a:pt x="4320" y="1683"/>
                  </a:lnTo>
                  <a:lnTo>
                    <a:pt x="4322" y="1683"/>
                  </a:lnTo>
                  <a:lnTo>
                    <a:pt x="4322" y="1683"/>
                  </a:lnTo>
                  <a:lnTo>
                    <a:pt x="4322" y="1681"/>
                  </a:lnTo>
                  <a:lnTo>
                    <a:pt x="4322" y="1681"/>
                  </a:lnTo>
                  <a:lnTo>
                    <a:pt x="4320" y="1679"/>
                  </a:lnTo>
                  <a:lnTo>
                    <a:pt x="4320" y="1679"/>
                  </a:lnTo>
                  <a:lnTo>
                    <a:pt x="4320" y="1679"/>
                  </a:lnTo>
                  <a:lnTo>
                    <a:pt x="4320" y="1679"/>
                  </a:lnTo>
                  <a:lnTo>
                    <a:pt x="4320" y="1677"/>
                  </a:lnTo>
                  <a:lnTo>
                    <a:pt x="4320" y="1677"/>
                  </a:lnTo>
                  <a:lnTo>
                    <a:pt x="4320" y="1675"/>
                  </a:lnTo>
                  <a:lnTo>
                    <a:pt x="4320" y="1673"/>
                  </a:lnTo>
                  <a:lnTo>
                    <a:pt x="4322" y="1675"/>
                  </a:lnTo>
                  <a:lnTo>
                    <a:pt x="4322" y="1673"/>
                  </a:lnTo>
                  <a:lnTo>
                    <a:pt x="4322" y="1673"/>
                  </a:lnTo>
                  <a:lnTo>
                    <a:pt x="4322" y="1673"/>
                  </a:lnTo>
                  <a:lnTo>
                    <a:pt x="4322" y="1675"/>
                  </a:lnTo>
                  <a:lnTo>
                    <a:pt x="4322" y="1675"/>
                  </a:lnTo>
                  <a:lnTo>
                    <a:pt x="4322" y="1671"/>
                  </a:lnTo>
                  <a:lnTo>
                    <a:pt x="4320" y="1669"/>
                  </a:lnTo>
                  <a:lnTo>
                    <a:pt x="4320" y="1669"/>
                  </a:lnTo>
                  <a:lnTo>
                    <a:pt x="4320" y="1669"/>
                  </a:lnTo>
                  <a:lnTo>
                    <a:pt x="4320" y="1669"/>
                  </a:lnTo>
                  <a:lnTo>
                    <a:pt x="4318" y="1673"/>
                  </a:lnTo>
                  <a:lnTo>
                    <a:pt x="4318" y="1675"/>
                  </a:lnTo>
                  <a:close/>
                  <a:moveTo>
                    <a:pt x="4326" y="1751"/>
                  </a:moveTo>
                  <a:lnTo>
                    <a:pt x="4326" y="1751"/>
                  </a:lnTo>
                  <a:lnTo>
                    <a:pt x="4326" y="1751"/>
                  </a:lnTo>
                  <a:lnTo>
                    <a:pt x="4324" y="1751"/>
                  </a:lnTo>
                  <a:lnTo>
                    <a:pt x="4324" y="1753"/>
                  </a:lnTo>
                  <a:lnTo>
                    <a:pt x="4326" y="1753"/>
                  </a:lnTo>
                  <a:lnTo>
                    <a:pt x="4326" y="1751"/>
                  </a:lnTo>
                  <a:lnTo>
                    <a:pt x="4326" y="1751"/>
                  </a:lnTo>
                  <a:lnTo>
                    <a:pt x="4326" y="1751"/>
                  </a:lnTo>
                  <a:close/>
                  <a:moveTo>
                    <a:pt x="4332" y="1633"/>
                  </a:moveTo>
                  <a:lnTo>
                    <a:pt x="4330" y="1633"/>
                  </a:lnTo>
                  <a:lnTo>
                    <a:pt x="4330" y="1633"/>
                  </a:lnTo>
                  <a:lnTo>
                    <a:pt x="4332" y="1636"/>
                  </a:lnTo>
                  <a:lnTo>
                    <a:pt x="4332" y="1636"/>
                  </a:lnTo>
                  <a:lnTo>
                    <a:pt x="4332" y="1633"/>
                  </a:lnTo>
                  <a:close/>
                  <a:moveTo>
                    <a:pt x="4334" y="1691"/>
                  </a:moveTo>
                  <a:lnTo>
                    <a:pt x="4334" y="1689"/>
                  </a:lnTo>
                  <a:lnTo>
                    <a:pt x="4334" y="1689"/>
                  </a:lnTo>
                  <a:lnTo>
                    <a:pt x="4334" y="1691"/>
                  </a:lnTo>
                  <a:lnTo>
                    <a:pt x="4334" y="1691"/>
                  </a:lnTo>
                  <a:lnTo>
                    <a:pt x="4334" y="1691"/>
                  </a:lnTo>
                  <a:lnTo>
                    <a:pt x="4334" y="1691"/>
                  </a:lnTo>
                  <a:close/>
                  <a:moveTo>
                    <a:pt x="4332" y="1726"/>
                  </a:moveTo>
                  <a:lnTo>
                    <a:pt x="4334" y="1726"/>
                  </a:lnTo>
                  <a:lnTo>
                    <a:pt x="4334" y="1728"/>
                  </a:lnTo>
                  <a:lnTo>
                    <a:pt x="4337" y="1728"/>
                  </a:lnTo>
                  <a:lnTo>
                    <a:pt x="4337" y="1726"/>
                  </a:lnTo>
                  <a:lnTo>
                    <a:pt x="4337" y="1726"/>
                  </a:lnTo>
                  <a:lnTo>
                    <a:pt x="4339" y="1724"/>
                  </a:lnTo>
                  <a:lnTo>
                    <a:pt x="4339" y="1722"/>
                  </a:lnTo>
                  <a:lnTo>
                    <a:pt x="4339" y="1722"/>
                  </a:lnTo>
                  <a:lnTo>
                    <a:pt x="4339" y="1722"/>
                  </a:lnTo>
                  <a:lnTo>
                    <a:pt x="4339" y="1722"/>
                  </a:lnTo>
                  <a:lnTo>
                    <a:pt x="4337" y="1724"/>
                  </a:lnTo>
                  <a:lnTo>
                    <a:pt x="4337" y="1724"/>
                  </a:lnTo>
                  <a:lnTo>
                    <a:pt x="4334" y="1724"/>
                  </a:lnTo>
                  <a:lnTo>
                    <a:pt x="4334" y="1724"/>
                  </a:lnTo>
                  <a:lnTo>
                    <a:pt x="4334" y="1724"/>
                  </a:lnTo>
                  <a:lnTo>
                    <a:pt x="4332" y="1726"/>
                  </a:lnTo>
                  <a:close/>
                  <a:moveTo>
                    <a:pt x="4318" y="1761"/>
                  </a:moveTo>
                  <a:lnTo>
                    <a:pt x="4320" y="1761"/>
                  </a:lnTo>
                  <a:lnTo>
                    <a:pt x="4320" y="1761"/>
                  </a:lnTo>
                  <a:lnTo>
                    <a:pt x="4322" y="1759"/>
                  </a:lnTo>
                  <a:lnTo>
                    <a:pt x="4324" y="1757"/>
                  </a:lnTo>
                  <a:lnTo>
                    <a:pt x="4326" y="1757"/>
                  </a:lnTo>
                  <a:lnTo>
                    <a:pt x="4326" y="1757"/>
                  </a:lnTo>
                  <a:lnTo>
                    <a:pt x="4326" y="1757"/>
                  </a:lnTo>
                  <a:lnTo>
                    <a:pt x="4326" y="1755"/>
                  </a:lnTo>
                  <a:lnTo>
                    <a:pt x="4324" y="1755"/>
                  </a:lnTo>
                  <a:lnTo>
                    <a:pt x="4324" y="1755"/>
                  </a:lnTo>
                  <a:lnTo>
                    <a:pt x="4324" y="1755"/>
                  </a:lnTo>
                  <a:lnTo>
                    <a:pt x="4322" y="1757"/>
                  </a:lnTo>
                  <a:lnTo>
                    <a:pt x="4320" y="1757"/>
                  </a:lnTo>
                  <a:lnTo>
                    <a:pt x="4318" y="1759"/>
                  </a:lnTo>
                  <a:lnTo>
                    <a:pt x="4318" y="1759"/>
                  </a:lnTo>
                  <a:lnTo>
                    <a:pt x="4318" y="1761"/>
                  </a:lnTo>
                  <a:lnTo>
                    <a:pt x="4318" y="1761"/>
                  </a:lnTo>
                  <a:close/>
                  <a:moveTo>
                    <a:pt x="4320" y="1664"/>
                  </a:moveTo>
                  <a:lnTo>
                    <a:pt x="4320" y="1664"/>
                  </a:lnTo>
                  <a:lnTo>
                    <a:pt x="4320" y="1664"/>
                  </a:lnTo>
                  <a:lnTo>
                    <a:pt x="4322" y="1666"/>
                  </a:lnTo>
                  <a:lnTo>
                    <a:pt x="4322" y="1666"/>
                  </a:lnTo>
                  <a:lnTo>
                    <a:pt x="4324" y="1664"/>
                  </a:lnTo>
                  <a:lnTo>
                    <a:pt x="4324" y="1664"/>
                  </a:lnTo>
                  <a:lnTo>
                    <a:pt x="4322" y="1662"/>
                  </a:lnTo>
                  <a:lnTo>
                    <a:pt x="4320" y="1662"/>
                  </a:lnTo>
                  <a:lnTo>
                    <a:pt x="4320" y="1664"/>
                  </a:lnTo>
                  <a:close/>
                  <a:moveTo>
                    <a:pt x="4454" y="1109"/>
                  </a:moveTo>
                  <a:lnTo>
                    <a:pt x="4454" y="1109"/>
                  </a:lnTo>
                  <a:lnTo>
                    <a:pt x="4454" y="1109"/>
                  </a:lnTo>
                  <a:lnTo>
                    <a:pt x="4454" y="1107"/>
                  </a:lnTo>
                  <a:lnTo>
                    <a:pt x="4452" y="1109"/>
                  </a:lnTo>
                  <a:lnTo>
                    <a:pt x="4452" y="1107"/>
                  </a:lnTo>
                  <a:lnTo>
                    <a:pt x="4452" y="1107"/>
                  </a:lnTo>
                  <a:lnTo>
                    <a:pt x="4452" y="1107"/>
                  </a:lnTo>
                  <a:lnTo>
                    <a:pt x="4452" y="1109"/>
                  </a:lnTo>
                  <a:lnTo>
                    <a:pt x="4452" y="1109"/>
                  </a:lnTo>
                  <a:lnTo>
                    <a:pt x="4454" y="1109"/>
                  </a:lnTo>
                  <a:close/>
                  <a:moveTo>
                    <a:pt x="4384" y="1615"/>
                  </a:moveTo>
                  <a:lnTo>
                    <a:pt x="4384" y="1617"/>
                  </a:lnTo>
                  <a:lnTo>
                    <a:pt x="4384" y="1617"/>
                  </a:lnTo>
                  <a:lnTo>
                    <a:pt x="4384" y="1617"/>
                  </a:lnTo>
                  <a:lnTo>
                    <a:pt x="4386" y="1617"/>
                  </a:lnTo>
                  <a:lnTo>
                    <a:pt x="4386" y="1617"/>
                  </a:lnTo>
                  <a:lnTo>
                    <a:pt x="4386" y="1619"/>
                  </a:lnTo>
                  <a:lnTo>
                    <a:pt x="4388" y="1619"/>
                  </a:lnTo>
                  <a:lnTo>
                    <a:pt x="4388" y="1619"/>
                  </a:lnTo>
                  <a:lnTo>
                    <a:pt x="4390" y="1617"/>
                  </a:lnTo>
                  <a:lnTo>
                    <a:pt x="4390" y="1617"/>
                  </a:lnTo>
                  <a:lnTo>
                    <a:pt x="4388" y="1617"/>
                  </a:lnTo>
                  <a:lnTo>
                    <a:pt x="4388" y="1617"/>
                  </a:lnTo>
                  <a:lnTo>
                    <a:pt x="4386" y="1617"/>
                  </a:lnTo>
                  <a:lnTo>
                    <a:pt x="4386" y="1615"/>
                  </a:lnTo>
                  <a:lnTo>
                    <a:pt x="4386" y="1613"/>
                  </a:lnTo>
                  <a:lnTo>
                    <a:pt x="4386" y="1611"/>
                  </a:lnTo>
                  <a:lnTo>
                    <a:pt x="4384" y="1611"/>
                  </a:lnTo>
                  <a:lnTo>
                    <a:pt x="4384" y="1611"/>
                  </a:lnTo>
                  <a:lnTo>
                    <a:pt x="4384" y="1613"/>
                  </a:lnTo>
                  <a:lnTo>
                    <a:pt x="4382" y="1611"/>
                  </a:lnTo>
                  <a:lnTo>
                    <a:pt x="4382" y="1611"/>
                  </a:lnTo>
                  <a:lnTo>
                    <a:pt x="4382" y="1613"/>
                  </a:lnTo>
                  <a:lnTo>
                    <a:pt x="4382" y="1613"/>
                  </a:lnTo>
                  <a:lnTo>
                    <a:pt x="4382" y="1613"/>
                  </a:lnTo>
                  <a:lnTo>
                    <a:pt x="4382" y="1615"/>
                  </a:lnTo>
                  <a:lnTo>
                    <a:pt x="4384" y="1615"/>
                  </a:lnTo>
                  <a:close/>
                  <a:moveTo>
                    <a:pt x="4320" y="1726"/>
                  </a:moveTo>
                  <a:lnTo>
                    <a:pt x="4320" y="1726"/>
                  </a:lnTo>
                  <a:lnTo>
                    <a:pt x="4318" y="1728"/>
                  </a:lnTo>
                  <a:lnTo>
                    <a:pt x="4318" y="1728"/>
                  </a:lnTo>
                  <a:lnTo>
                    <a:pt x="4320" y="1728"/>
                  </a:lnTo>
                  <a:lnTo>
                    <a:pt x="4320" y="1728"/>
                  </a:lnTo>
                  <a:lnTo>
                    <a:pt x="4320" y="1726"/>
                  </a:lnTo>
                  <a:lnTo>
                    <a:pt x="4322" y="1726"/>
                  </a:lnTo>
                  <a:lnTo>
                    <a:pt x="4322" y="1726"/>
                  </a:lnTo>
                  <a:lnTo>
                    <a:pt x="4322" y="1726"/>
                  </a:lnTo>
                  <a:lnTo>
                    <a:pt x="4320" y="1726"/>
                  </a:lnTo>
                  <a:close/>
                  <a:moveTo>
                    <a:pt x="4322" y="1631"/>
                  </a:moveTo>
                  <a:lnTo>
                    <a:pt x="4322" y="1631"/>
                  </a:lnTo>
                  <a:lnTo>
                    <a:pt x="4322" y="1631"/>
                  </a:lnTo>
                  <a:lnTo>
                    <a:pt x="4320" y="1633"/>
                  </a:lnTo>
                  <a:lnTo>
                    <a:pt x="4322" y="1633"/>
                  </a:lnTo>
                  <a:lnTo>
                    <a:pt x="4322" y="1631"/>
                  </a:lnTo>
                  <a:lnTo>
                    <a:pt x="4322" y="1631"/>
                  </a:lnTo>
                  <a:close/>
                  <a:moveTo>
                    <a:pt x="4341" y="1726"/>
                  </a:moveTo>
                  <a:lnTo>
                    <a:pt x="4341" y="1726"/>
                  </a:lnTo>
                  <a:lnTo>
                    <a:pt x="4349" y="1724"/>
                  </a:lnTo>
                  <a:lnTo>
                    <a:pt x="4351" y="1724"/>
                  </a:lnTo>
                  <a:lnTo>
                    <a:pt x="4351" y="1722"/>
                  </a:lnTo>
                  <a:lnTo>
                    <a:pt x="4349" y="1722"/>
                  </a:lnTo>
                  <a:lnTo>
                    <a:pt x="4347" y="1722"/>
                  </a:lnTo>
                  <a:lnTo>
                    <a:pt x="4345" y="1722"/>
                  </a:lnTo>
                  <a:lnTo>
                    <a:pt x="4345" y="1722"/>
                  </a:lnTo>
                  <a:lnTo>
                    <a:pt x="4343" y="1722"/>
                  </a:lnTo>
                  <a:lnTo>
                    <a:pt x="4343" y="1722"/>
                  </a:lnTo>
                  <a:lnTo>
                    <a:pt x="4341" y="1722"/>
                  </a:lnTo>
                  <a:lnTo>
                    <a:pt x="4341" y="1722"/>
                  </a:lnTo>
                  <a:lnTo>
                    <a:pt x="4341" y="1724"/>
                  </a:lnTo>
                  <a:lnTo>
                    <a:pt x="4341" y="1724"/>
                  </a:lnTo>
                  <a:lnTo>
                    <a:pt x="4339" y="1726"/>
                  </a:lnTo>
                  <a:lnTo>
                    <a:pt x="4341" y="1726"/>
                  </a:lnTo>
                  <a:close/>
                  <a:moveTo>
                    <a:pt x="4355" y="1567"/>
                  </a:moveTo>
                  <a:lnTo>
                    <a:pt x="4353" y="1567"/>
                  </a:lnTo>
                  <a:lnTo>
                    <a:pt x="4355" y="1569"/>
                  </a:lnTo>
                  <a:lnTo>
                    <a:pt x="4355" y="1569"/>
                  </a:lnTo>
                  <a:lnTo>
                    <a:pt x="4355" y="1567"/>
                  </a:lnTo>
                  <a:lnTo>
                    <a:pt x="4355" y="1567"/>
                  </a:lnTo>
                  <a:lnTo>
                    <a:pt x="4355" y="1567"/>
                  </a:lnTo>
                  <a:lnTo>
                    <a:pt x="4355" y="1567"/>
                  </a:lnTo>
                  <a:close/>
                  <a:moveTo>
                    <a:pt x="4359" y="1718"/>
                  </a:moveTo>
                  <a:lnTo>
                    <a:pt x="4359" y="1720"/>
                  </a:lnTo>
                  <a:lnTo>
                    <a:pt x="4361" y="1720"/>
                  </a:lnTo>
                  <a:lnTo>
                    <a:pt x="4361" y="1718"/>
                  </a:lnTo>
                  <a:lnTo>
                    <a:pt x="4363" y="1718"/>
                  </a:lnTo>
                  <a:lnTo>
                    <a:pt x="4363" y="1718"/>
                  </a:lnTo>
                  <a:lnTo>
                    <a:pt x="4365" y="1718"/>
                  </a:lnTo>
                  <a:lnTo>
                    <a:pt x="4367" y="1718"/>
                  </a:lnTo>
                  <a:lnTo>
                    <a:pt x="4370" y="1720"/>
                  </a:lnTo>
                  <a:lnTo>
                    <a:pt x="4370" y="1718"/>
                  </a:lnTo>
                  <a:lnTo>
                    <a:pt x="4372" y="1718"/>
                  </a:lnTo>
                  <a:lnTo>
                    <a:pt x="4374" y="1716"/>
                  </a:lnTo>
                  <a:lnTo>
                    <a:pt x="4374" y="1716"/>
                  </a:lnTo>
                  <a:lnTo>
                    <a:pt x="4374" y="1716"/>
                  </a:lnTo>
                  <a:lnTo>
                    <a:pt x="4374" y="1716"/>
                  </a:lnTo>
                  <a:lnTo>
                    <a:pt x="4374" y="1716"/>
                  </a:lnTo>
                  <a:lnTo>
                    <a:pt x="4372" y="1714"/>
                  </a:lnTo>
                  <a:lnTo>
                    <a:pt x="4370" y="1714"/>
                  </a:lnTo>
                  <a:lnTo>
                    <a:pt x="4367" y="1716"/>
                  </a:lnTo>
                  <a:lnTo>
                    <a:pt x="4365" y="1716"/>
                  </a:lnTo>
                  <a:lnTo>
                    <a:pt x="4363" y="1716"/>
                  </a:lnTo>
                  <a:lnTo>
                    <a:pt x="4363" y="1716"/>
                  </a:lnTo>
                  <a:lnTo>
                    <a:pt x="4361" y="1718"/>
                  </a:lnTo>
                  <a:lnTo>
                    <a:pt x="4359" y="1718"/>
                  </a:lnTo>
                  <a:close/>
                  <a:moveTo>
                    <a:pt x="4355" y="1724"/>
                  </a:moveTo>
                  <a:lnTo>
                    <a:pt x="4357" y="1724"/>
                  </a:lnTo>
                  <a:lnTo>
                    <a:pt x="4357" y="1722"/>
                  </a:lnTo>
                  <a:lnTo>
                    <a:pt x="4357" y="1722"/>
                  </a:lnTo>
                  <a:lnTo>
                    <a:pt x="4357" y="1722"/>
                  </a:lnTo>
                  <a:lnTo>
                    <a:pt x="4355" y="1724"/>
                  </a:lnTo>
                  <a:close/>
                  <a:moveTo>
                    <a:pt x="4382" y="1617"/>
                  </a:moveTo>
                  <a:lnTo>
                    <a:pt x="4380" y="1615"/>
                  </a:lnTo>
                  <a:lnTo>
                    <a:pt x="4380" y="1615"/>
                  </a:lnTo>
                  <a:lnTo>
                    <a:pt x="4380" y="1617"/>
                  </a:lnTo>
                  <a:lnTo>
                    <a:pt x="4380" y="1617"/>
                  </a:lnTo>
                  <a:lnTo>
                    <a:pt x="4382" y="1617"/>
                  </a:lnTo>
                  <a:lnTo>
                    <a:pt x="4382" y="1617"/>
                  </a:lnTo>
                  <a:lnTo>
                    <a:pt x="4382" y="1617"/>
                  </a:lnTo>
                  <a:close/>
                  <a:moveTo>
                    <a:pt x="4357" y="1559"/>
                  </a:moveTo>
                  <a:lnTo>
                    <a:pt x="4357" y="1557"/>
                  </a:lnTo>
                  <a:lnTo>
                    <a:pt x="4357" y="1557"/>
                  </a:lnTo>
                  <a:lnTo>
                    <a:pt x="4357" y="1557"/>
                  </a:lnTo>
                  <a:lnTo>
                    <a:pt x="4357" y="1555"/>
                  </a:lnTo>
                  <a:lnTo>
                    <a:pt x="4355" y="1553"/>
                  </a:lnTo>
                  <a:lnTo>
                    <a:pt x="4355" y="1555"/>
                  </a:lnTo>
                  <a:lnTo>
                    <a:pt x="4355" y="1555"/>
                  </a:lnTo>
                  <a:lnTo>
                    <a:pt x="4355" y="1555"/>
                  </a:lnTo>
                  <a:lnTo>
                    <a:pt x="4355" y="1557"/>
                  </a:lnTo>
                  <a:lnTo>
                    <a:pt x="4355" y="1557"/>
                  </a:lnTo>
                  <a:lnTo>
                    <a:pt x="4357" y="1559"/>
                  </a:lnTo>
                  <a:close/>
                  <a:moveTo>
                    <a:pt x="4353" y="1633"/>
                  </a:moveTo>
                  <a:lnTo>
                    <a:pt x="4353" y="1631"/>
                  </a:lnTo>
                  <a:lnTo>
                    <a:pt x="4353" y="1631"/>
                  </a:lnTo>
                  <a:lnTo>
                    <a:pt x="4353" y="1631"/>
                  </a:lnTo>
                  <a:lnTo>
                    <a:pt x="4351" y="1631"/>
                  </a:lnTo>
                  <a:lnTo>
                    <a:pt x="4351" y="1631"/>
                  </a:lnTo>
                  <a:lnTo>
                    <a:pt x="4351" y="1631"/>
                  </a:lnTo>
                  <a:lnTo>
                    <a:pt x="4351" y="1631"/>
                  </a:lnTo>
                  <a:lnTo>
                    <a:pt x="4349" y="1631"/>
                  </a:lnTo>
                  <a:lnTo>
                    <a:pt x="4349" y="1631"/>
                  </a:lnTo>
                  <a:lnTo>
                    <a:pt x="4349" y="1631"/>
                  </a:lnTo>
                  <a:lnTo>
                    <a:pt x="4343" y="1629"/>
                  </a:lnTo>
                  <a:lnTo>
                    <a:pt x="4341" y="1629"/>
                  </a:lnTo>
                  <a:lnTo>
                    <a:pt x="4341" y="1629"/>
                  </a:lnTo>
                  <a:lnTo>
                    <a:pt x="4341" y="1631"/>
                  </a:lnTo>
                  <a:lnTo>
                    <a:pt x="4339" y="1633"/>
                  </a:lnTo>
                  <a:lnTo>
                    <a:pt x="4341" y="1636"/>
                  </a:lnTo>
                  <a:lnTo>
                    <a:pt x="4341" y="1636"/>
                  </a:lnTo>
                  <a:lnTo>
                    <a:pt x="4343" y="1636"/>
                  </a:lnTo>
                  <a:lnTo>
                    <a:pt x="4347" y="1633"/>
                  </a:lnTo>
                  <a:lnTo>
                    <a:pt x="4349" y="1633"/>
                  </a:lnTo>
                  <a:lnTo>
                    <a:pt x="4351" y="1633"/>
                  </a:lnTo>
                  <a:lnTo>
                    <a:pt x="4353" y="1633"/>
                  </a:lnTo>
                  <a:close/>
                  <a:moveTo>
                    <a:pt x="4353" y="1633"/>
                  </a:moveTo>
                  <a:lnTo>
                    <a:pt x="4355" y="1633"/>
                  </a:lnTo>
                  <a:lnTo>
                    <a:pt x="4355" y="1633"/>
                  </a:lnTo>
                  <a:lnTo>
                    <a:pt x="4355" y="1633"/>
                  </a:lnTo>
                  <a:lnTo>
                    <a:pt x="4361" y="1633"/>
                  </a:lnTo>
                  <a:lnTo>
                    <a:pt x="4361" y="1633"/>
                  </a:lnTo>
                  <a:lnTo>
                    <a:pt x="4367" y="1633"/>
                  </a:lnTo>
                  <a:lnTo>
                    <a:pt x="4367" y="1631"/>
                  </a:lnTo>
                  <a:lnTo>
                    <a:pt x="4363" y="1631"/>
                  </a:lnTo>
                  <a:lnTo>
                    <a:pt x="4359" y="1631"/>
                  </a:lnTo>
                  <a:lnTo>
                    <a:pt x="4355" y="1631"/>
                  </a:lnTo>
                  <a:lnTo>
                    <a:pt x="4355" y="1631"/>
                  </a:lnTo>
                  <a:lnTo>
                    <a:pt x="4353" y="1633"/>
                  </a:lnTo>
                  <a:close/>
                  <a:moveTo>
                    <a:pt x="4359" y="1507"/>
                  </a:moveTo>
                  <a:lnTo>
                    <a:pt x="4359" y="1505"/>
                  </a:lnTo>
                  <a:lnTo>
                    <a:pt x="4359" y="1505"/>
                  </a:lnTo>
                  <a:lnTo>
                    <a:pt x="4359" y="1505"/>
                  </a:lnTo>
                  <a:lnTo>
                    <a:pt x="4359" y="1507"/>
                  </a:lnTo>
                  <a:lnTo>
                    <a:pt x="4359" y="1510"/>
                  </a:lnTo>
                  <a:lnTo>
                    <a:pt x="4359" y="1507"/>
                  </a:lnTo>
                  <a:close/>
                  <a:moveTo>
                    <a:pt x="4363" y="1642"/>
                  </a:moveTo>
                  <a:lnTo>
                    <a:pt x="4363" y="1640"/>
                  </a:lnTo>
                  <a:lnTo>
                    <a:pt x="4363" y="1638"/>
                  </a:lnTo>
                  <a:lnTo>
                    <a:pt x="4363" y="1636"/>
                  </a:lnTo>
                  <a:lnTo>
                    <a:pt x="4361" y="1633"/>
                  </a:lnTo>
                  <a:lnTo>
                    <a:pt x="4361" y="1633"/>
                  </a:lnTo>
                  <a:lnTo>
                    <a:pt x="4361" y="1636"/>
                  </a:lnTo>
                  <a:lnTo>
                    <a:pt x="4361" y="1636"/>
                  </a:lnTo>
                  <a:lnTo>
                    <a:pt x="4361" y="1638"/>
                  </a:lnTo>
                  <a:lnTo>
                    <a:pt x="4361" y="1638"/>
                  </a:lnTo>
                  <a:lnTo>
                    <a:pt x="4363" y="1642"/>
                  </a:lnTo>
                  <a:lnTo>
                    <a:pt x="4363" y="1642"/>
                  </a:lnTo>
                  <a:lnTo>
                    <a:pt x="4363" y="1642"/>
                  </a:lnTo>
                  <a:close/>
                  <a:moveTo>
                    <a:pt x="4660" y="944"/>
                  </a:moveTo>
                  <a:lnTo>
                    <a:pt x="4656" y="944"/>
                  </a:lnTo>
                  <a:lnTo>
                    <a:pt x="4656" y="944"/>
                  </a:lnTo>
                  <a:lnTo>
                    <a:pt x="4656" y="946"/>
                  </a:lnTo>
                  <a:lnTo>
                    <a:pt x="4658" y="946"/>
                  </a:lnTo>
                  <a:lnTo>
                    <a:pt x="4658" y="946"/>
                  </a:lnTo>
                  <a:lnTo>
                    <a:pt x="4660" y="944"/>
                  </a:lnTo>
                  <a:lnTo>
                    <a:pt x="4660" y="944"/>
                  </a:lnTo>
                  <a:lnTo>
                    <a:pt x="4660" y="944"/>
                  </a:lnTo>
                  <a:close/>
                  <a:moveTo>
                    <a:pt x="4718" y="1743"/>
                  </a:moveTo>
                  <a:lnTo>
                    <a:pt x="4718" y="1743"/>
                  </a:lnTo>
                  <a:lnTo>
                    <a:pt x="4718" y="1743"/>
                  </a:lnTo>
                  <a:lnTo>
                    <a:pt x="4718" y="1741"/>
                  </a:lnTo>
                  <a:lnTo>
                    <a:pt x="4716" y="1741"/>
                  </a:lnTo>
                  <a:lnTo>
                    <a:pt x="4716" y="1741"/>
                  </a:lnTo>
                  <a:lnTo>
                    <a:pt x="4714" y="1741"/>
                  </a:lnTo>
                  <a:lnTo>
                    <a:pt x="4712" y="1739"/>
                  </a:lnTo>
                  <a:lnTo>
                    <a:pt x="4712" y="1739"/>
                  </a:lnTo>
                  <a:lnTo>
                    <a:pt x="4712" y="1739"/>
                  </a:lnTo>
                  <a:lnTo>
                    <a:pt x="4712" y="1739"/>
                  </a:lnTo>
                  <a:lnTo>
                    <a:pt x="4712" y="1741"/>
                  </a:lnTo>
                  <a:lnTo>
                    <a:pt x="4712" y="1741"/>
                  </a:lnTo>
                  <a:lnTo>
                    <a:pt x="4712" y="1743"/>
                  </a:lnTo>
                  <a:lnTo>
                    <a:pt x="4712" y="1743"/>
                  </a:lnTo>
                  <a:lnTo>
                    <a:pt x="4714" y="1743"/>
                  </a:lnTo>
                  <a:lnTo>
                    <a:pt x="4714" y="1743"/>
                  </a:lnTo>
                  <a:lnTo>
                    <a:pt x="4716" y="1743"/>
                  </a:lnTo>
                  <a:lnTo>
                    <a:pt x="4718" y="1743"/>
                  </a:lnTo>
                  <a:lnTo>
                    <a:pt x="4718" y="1745"/>
                  </a:lnTo>
                  <a:lnTo>
                    <a:pt x="4718" y="1743"/>
                  </a:lnTo>
                  <a:close/>
                  <a:moveTo>
                    <a:pt x="4710" y="1741"/>
                  </a:moveTo>
                  <a:lnTo>
                    <a:pt x="4710" y="1741"/>
                  </a:lnTo>
                  <a:lnTo>
                    <a:pt x="4710" y="1739"/>
                  </a:lnTo>
                  <a:lnTo>
                    <a:pt x="4710" y="1739"/>
                  </a:lnTo>
                  <a:lnTo>
                    <a:pt x="4710" y="1739"/>
                  </a:lnTo>
                  <a:lnTo>
                    <a:pt x="4708" y="1737"/>
                  </a:lnTo>
                  <a:lnTo>
                    <a:pt x="4708" y="1739"/>
                  </a:lnTo>
                  <a:lnTo>
                    <a:pt x="4706" y="1739"/>
                  </a:lnTo>
                  <a:lnTo>
                    <a:pt x="4710" y="1741"/>
                  </a:lnTo>
                  <a:lnTo>
                    <a:pt x="4710" y="1741"/>
                  </a:lnTo>
                  <a:close/>
                  <a:moveTo>
                    <a:pt x="4718" y="1757"/>
                  </a:moveTo>
                  <a:lnTo>
                    <a:pt x="4718" y="1757"/>
                  </a:lnTo>
                  <a:lnTo>
                    <a:pt x="4718" y="1755"/>
                  </a:lnTo>
                  <a:lnTo>
                    <a:pt x="4716" y="1755"/>
                  </a:lnTo>
                  <a:lnTo>
                    <a:pt x="4716" y="1757"/>
                  </a:lnTo>
                  <a:lnTo>
                    <a:pt x="4716" y="1757"/>
                  </a:lnTo>
                  <a:lnTo>
                    <a:pt x="4718" y="1757"/>
                  </a:lnTo>
                  <a:close/>
                  <a:moveTo>
                    <a:pt x="4324" y="1724"/>
                  </a:moveTo>
                  <a:lnTo>
                    <a:pt x="4324" y="1724"/>
                  </a:lnTo>
                  <a:lnTo>
                    <a:pt x="4322" y="1722"/>
                  </a:lnTo>
                  <a:lnTo>
                    <a:pt x="4322" y="1724"/>
                  </a:lnTo>
                  <a:lnTo>
                    <a:pt x="4322" y="1724"/>
                  </a:lnTo>
                  <a:lnTo>
                    <a:pt x="4320" y="1724"/>
                  </a:lnTo>
                  <a:lnTo>
                    <a:pt x="4320" y="1726"/>
                  </a:lnTo>
                  <a:lnTo>
                    <a:pt x="4324" y="1726"/>
                  </a:lnTo>
                  <a:lnTo>
                    <a:pt x="4324" y="1724"/>
                  </a:lnTo>
                  <a:close/>
                  <a:moveTo>
                    <a:pt x="4648" y="950"/>
                  </a:moveTo>
                  <a:lnTo>
                    <a:pt x="4646" y="950"/>
                  </a:lnTo>
                  <a:lnTo>
                    <a:pt x="4646" y="950"/>
                  </a:lnTo>
                  <a:lnTo>
                    <a:pt x="4646" y="950"/>
                  </a:lnTo>
                  <a:lnTo>
                    <a:pt x="4646" y="950"/>
                  </a:lnTo>
                  <a:lnTo>
                    <a:pt x="4646" y="950"/>
                  </a:lnTo>
                  <a:lnTo>
                    <a:pt x="4646" y="950"/>
                  </a:lnTo>
                  <a:lnTo>
                    <a:pt x="4646" y="950"/>
                  </a:lnTo>
                  <a:lnTo>
                    <a:pt x="4646" y="952"/>
                  </a:lnTo>
                  <a:lnTo>
                    <a:pt x="4646" y="952"/>
                  </a:lnTo>
                  <a:lnTo>
                    <a:pt x="4648" y="952"/>
                  </a:lnTo>
                  <a:lnTo>
                    <a:pt x="4648" y="952"/>
                  </a:lnTo>
                  <a:lnTo>
                    <a:pt x="4648" y="950"/>
                  </a:lnTo>
                  <a:lnTo>
                    <a:pt x="4648" y="950"/>
                  </a:lnTo>
                  <a:close/>
                  <a:moveTo>
                    <a:pt x="4652" y="948"/>
                  </a:moveTo>
                  <a:lnTo>
                    <a:pt x="4652" y="948"/>
                  </a:lnTo>
                  <a:lnTo>
                    <a:pt x="4652" y="948"/>
                  </a:lnTo>
                  <a:lnTo>
                    <a:pt x="4652" y="948"/>
                  </a:lnTo>
                  <a:lnTo>
                    <a:pt x="4652" y="948"/>
                  </a:lnTo>
                  <a:lnTo>
                    <a:pt x="4652" y="948"/>
                  </a:lnTo>
                  <a:lnTo>
                    <a:pt x="4652" y="948"/>
                  </a:lnTo>
                  <a:lnTo>
                    <a:pt x="4652" y="948"/>
                  </a:lnTo>
                  <a:lnTo>
                    <a:pt x="4652" y="948"/>
                  </a:lnTo>
                  <a:close/>
                  <a:moveTo>
                    <a:pt x="4664" y="1683"/>
                  </a:moveTo>
                  <a:lnTo>
                    <a:pt x="4664" y="1683"/>
                  </a:lnTo>
                  <a:lnTo>
                    <a:pt x="4664" y="1681"/>
                  </a:lnTo>
                  <a:lnTo>
                    <a:pt x="4664" y="1681"/>
                  </a:lnTo>
                  <a:lnTo>
                    <a:pt x="4662" y="1681"/>
                  </a:lnTo>
                  <a:lnTo>
                    <a:pt x="4662" y="1681"/>
                  </a:lnTo>
                  <a:lnTo>
                    <a:pt x="4662" y="1683"/>
                  </a:lnTo>
                  <a:lnTo>
                    <a:pt x="4664" y="1683"/>
                  </a:lnTo>
                  <a:lnTo>
                    <a:pt x="4664" y="1683"/>
                  </a:lnTo>
                  <a:close/>
                  <a:moveTo>
                    <a:pt x="4650" y="933"/>
                  </a:moveTo>
                  <a:lnTo>
                    <a:pt x="4650" y="933"/>
                  </a:lnTo>
                  <a:lnTo>
                    <a:pt x="4648" y="936"/>
                  </a:lnTo>
                  <a:lnTo>
                    <a:pt x="4646" y="938"/>
                  </a:lnTo>
                  <a:lnTo>
                    <a:pt x="4646" y="938"/>
                  </a:lnTo>
                  <a:lnTo>
                    <a:pt x="4644" y="940"/>
                  </a:lnTo>
                  <a:lnTo>
                    <a:pt x="4644" y="940"/>
                  </a:lnTo>
                  <a:lnTo>
                    <a:pt x="4644" y="942"/>
                  </a:lnTo>
                  <a:lnTo>
                    <a:pt x="4640" y="944"/>
                  </a:lnTo>
                  <a:lnTo>
                    <a:pt x="4640" y="944"/>
                  </a:lnTo>
                  <a:lnTo>
                    <a:pt x="4640" y="946"/>
                  </a:lnTo>
                  <a:lnTo>
                    <a:pt x="4642" y="948"/>
                  </a:lnTo>
                  <a:lnTo>
                    <a:pt x="4642" y="944"/>
                  </a:lnTo>
                  <a:lnTo>
                    <a:pt x="4644" y="942"/>
                  </a:lnTo>
                  <a:lnTo>
                    <a:pt x="4646" y="940"/>
                  </a:lnTo>
                  <a:lnTo>
                    <a:pt x="4646" y="940"/>
                  </a:lnTo>
                  <a:lnTo>
                    <a:pt x="4650" y="938"/>
                  </a:lnTo>
                  <a:lnTo>
                    <a:pt x="4650" y="936"/>
                  </a:lnTo>
                  <a:lnTo>
                    <a:pt x="4652" y="936"/>
                  </a:lnTo>
                  <a:lnTo>
                    <a:pt x="4654" y="936"/>
                  </a:lnTo>
                  <a:lnTo>
                    <a:pt x="4656" y="936"/>
                  </a:lnTo>
                  <a:lnTo>
                    <a:pt x="4656" y="933"/>
                  </a:lnTo>
                  <a:lnTo>
                    <a:pt x="4652" y="933"/>
                  </a:lnTo>
                  <a:lnTo>
                    <a:pt x="4650" y="933"/>
                  </a:lnTo>
                  <a:close/>
                  <a:moveTo>
                    <a:pt x="4673" y="1685"/>
                  </a:moveTo>
                  <a:lnTo>
                    <a:pt x="4673" y="1687"/>
                  </a:lnTo>
                  <a:lnTo>
                    <a:pt x="4675" y="1687"/>
                  </a:lnTo>
                  <a:lnTo>
                    <a:pt x="4677" y="1689"/>
                  </a:lnTo>
                  <a:lnTo>
                    <a:pt x="4677" y="1689"/>
                  </a:lnTo>
                  <a:lnTo>
                    <a:pt x="4677" y="1689"/>
                  </a:lnTo>
                  <a:lnTo>
                    <a:pt x="4677" y="1687"/>
                  </a:lnTo>
                  <a:lnTo>
                    <a:pt x="4677" y="1687"/>
                  </a:lnTo>
                  <a:lnTo>
                    <a:pt x="4677" y="1685"/>
                  </a:lnTo>
                  <a:lnTo>
                    <a:pt x="4675" y="1685"/>
                  </a:lnTo>
                  <a:lnTo>
                    <a:pt x="4673" y="1685"/>
                  </a:lnTo>
                  <a:lnTo>
                    <a:pt x="4673" y="1685"/>
                  </a:lnTo>
                  <a:close/>
                  <a:moveTo>
                    <a:pt x="4675" y="1638"/>
                  </a:moveTo>
                  <a:lnTo>
                    <a:pt x="4673" y="1640"/>
                  </a:lnTo>
                  <a:lnTo>
                    <a:pt x="4673" y="1640"/>
                  </a:lnTo>
                  <a:lnTo>
                    <a:pt x="4673" y="1640"/>
                  </a:lnTo>
                  <a:lnTo>
                    <a:pt x="4675" y="1640"/>
                  </a:lnTo>
                  <a:lnTo>
                    <a:pt x="4675" y="1640"/>
                  </a:lnTo>
                  <a:lnTo>
                    <a:pt x="4675" y="1638"/>
                  </a:lnTo>
                  <a:lnTo>
                    <a:pt x="4675" y="1638"/>
                  </a:lnTo>
                  <a:close/>
                  <a:moveTo>
                    <a:pt x="4720" y="1726"/>
                  </a:moveTo>
                  <a:lnTo>
                    <a:pt x="4720" y="1726"/>
                  </a:lnTo>
                  <a:lnTo>
                    <a:pt x="4720" y="1726"/>
                  </a:lnTo>
                  <a:lnTo>
                    <a:pt x="4720" y="1728"/>
                  </a:lnTo>
                  <a:lnTo>
                    <a:pt x="4720" y="1728"/>
                  </a:lnTo>
                  <a:lnTo>
                    <a:pt x="4720" y="1728"/>
                  </a:lnTo>
                  <a:lnTo>
                    <a:pt x="4720" y="1730"/>
                  </a:lnTo>
                  <a:lnTo>
                    <a:pt x="4720" y="1730"/>
                  </a:lnTo>
                  <a:lnTo>
                    <a:pt x="4720" y="1730"/>
                  </a:lnTo>
                  <a:lnTo>
                    <a:pt x="4722" y="1728"/>
                  </a:lnTo>
                  <a:lnTo>
                    <a:pt x="4720" y="1726"/>
                  </a:lnTo>
                  <a:lnTo>
                    <a:pt x="4720" y="1726"/>
                  </a:lnTo>
                  <a:lnTo>
                    <a:pt x="4720" y="1726"/>
                  </a:lnTo>
                  <a:close/>
                  <a:moveTo>
                    <a:pt x="4400" y="1090"/>
                  </a:moveTo>
                  <a:lnTo>
                    <a:pt x="4400" y="1092"/>
                  </a:lnTo>
                  <a:lnTo>
                    <a:pt x="4398" y="1092"/>
                  </a:lnTo>
                  <a:lnTo>
                    <a:pt x="4398" y="1095"/>
                  </a:lnTo>
                  <a:lnTo>
                    <a:pt x="4400" y="1095"/>
                  </a:lnTo>
                  <a:lnTo>
                    <a:pt x="4403" y="1095"/>
                  </a:lnTo>
                  <a:lnTo>
                    <a:pt x="4403" y="1090"/>
                  </a:lnTo>
                  <a:lnTo>
                    <a:pt x="4400" y="1090"/>
                  </a:lnTo>
                  <a:close/>
                  <a:moveTo>
                    <a:pt x="4382" y="1596"/>
                  </a:moveTo>
                  <a:lnTo>
                    <a:pt x="4382" y="1598"/>
                  </a:lnTo>
                  <a:lnTo>
                    <a:pt x="4382" y="1598"/>
                  </a:lnTo>
                  <a:lnTo>
                    <a:pt x="4384" y="1598"/>
                  </a:lnTo>
                  <a:lnTo>
                    <a:pt x="4384" y="1596"/>
                  </a:lnTo>
                  <a:lnTo>
                    <a:pt x="4384" y="1596"/>
                  </a:lnTo>
                  <a:lnTo>
                    <a:pt x="4384" y="1596"/>
                  </a:lnTo>
                  <a:lnTo>
                    <a:pt x="4382" y="1596"/>
                  </a:lnTo>
                  <a:lnTo>
                    <a:pt x="4382" y="1596"/>
                  </a:lnTo>
                  <a:close/>
                  <a:moveTo>
                    <a:pt x="4396" y="1571"/>
                  </a:moveTo>
                  <a:lnTo>
                    <a:pt x="4394" y="1574"/>
                  </a:lnTo>
                  <a:lnTo>
                    <a:pt x="4394" y="1578"/>
                  </a:lnTo>
                  <a:lnTo>
                    <a:pt x="4396" y="1578"/>
                  </a:lnTo>
                  <a:lnTo>
                    <a:pt x="4398" y="1578"/>
                  </a:lnTo>
                  <a:lnTo>
                    <a:pt x="4398" y="1578"/>
                  </a:lnTo>
                  <a:lnTo>
                    <a:pt x="4400" y="1576"/>
                  </a:lnTo>
                  <a:lnTo>
                    <a:pt x="4400" y="1571"/>
                  </a:lnTo>
                  <a:lnTo>
                    <a:pt x="4400" y="1569"/>
                  </a:lnTo>
                  <a:lnTo>
                    <a:pt x="4398" y="1569"/>
                  </a:lnTo>
                  <a:lnTo>
                    <a:pt x="4398" y="1569"/>
                  </a:lnTo>
                  <a:lnTo>
                    <a:pt x="4396" y="1571"/>
                  </a:lnTo>
                  <a:close/>
                  <a:moveTo>
                    <a:pt x="4382" y="1594"/>
                  </a:moveTo>
                  <a:lnTo>
                    <a:pt x="4382" y="1594"/>
                  </a:lnTo>
                  <a:lnTo>
                    <a:pt x="4382" y="1594"/>
                  </a:lnTo>
                  <a:lnTo>
                    <a:pt x="4382" y="1596"/>
                  </a:lnTo>
                  <a:lnTo>
                    <a:pt x="4382" y="1596"/>
                  </a:lnTo>
                  <a:lnTo>
                    <a:pt x="4382" y="1596"/>
                  </a:lnTo>
                  <a:lnTo>
                    <a:pt x="4382" y="1594"/>
                  </a:lnTo>
                  <a:lnTo>
                    <a:pt x="4382" y="1594"/>
                  </a:lnTo>
                  <a:close/>
                  <a:moveTo>
                    <a:pt x="4431" y="1049"/>
                  </a:moveTo>
                  <a:lnTo>
                    <a:pt x="4431" y="1051"/>
                  </a:lnTo>
                  <a:lnTo>
                    <a:pt x="4431" y="1051"/>
                  </a:lnTo>
                  <a:lnTo>
                    <a:pt x="4431" y="1051"/>
                  </a:lnTo>
                  <a:lnTo>
                    <a:pt x="4433" y="1051"/>
                  </a:lnTo>
                  <a:lnTo>
                    <a:pt x="4433" y="1049"/>
                  </a:lnTo>
                  <a:lnTo>
                    <a:pt x="4433" y="1049"/>
                  </a:lnTo>
                  <a:lnTo>
                    <a:pt x="4431" y="1049"/>
                  </a:lnTo>
                  <a:close/>
                  <a:moveTo>
                    <a:pt x="4425" y="1132"/>
                  </a:moveTo>
                  <a:lnTo>
                    <a:pt x="4425" y="1132"/>
                  </a:lnTo>
                  <a:lnTo>
                    <a:pt x="4427" y="1130"/>
                  </a:lnTo>
                  <a:lnTo>
                    <a:pt x="4425" y="1130"/>
                  </a:lnTo>
                  <a:lnTo>
                    <a:pt x="4423" y="1132"/>
                  </a:lnTo>
                  <a:lnTo>
                    <a:pt x="4423" y="1132"/>
                  </a:lnTo>
                  <a:lnTo>
                    <a:pt x="4423" y="1132"/>
                  </a:lnTo>
                  <a:lnTo>
                    <a:pt x="4425" y="1132"/>
                  </a:lnTo>
                  <a:close/>
                  <a:moveTo>
                    <a:pt x="4407" y="1121"/>
                  </a:moveTo>
                  <a:lnTo>
                    <a:pt x="4407" y="1121"/>
                  </a:lnTo>
                  <a:lnTo>
                    <a:pt x="4407" y="1123"/>
                  </a:lnTo>
                  <a:lnTo>
                    <a:pt x="4405" y="1123"/>
                  </a:lnTo>
                  <a:lnTo>
                    <a:pt x="4407" y="1123"/>
                  </a:lnTo>
                  <a:lnTo>
                    <a:pt x="4407" y="1125"/>
                  </a:lnTo>
                  <a:lnTo>
                    <a:pt x="4407" y="1125"/>
                  </a:lnTo>
                  <a:lnTo>
                    <a:pt x="4407" y="1123"/>
                  </a:lnTo>
                  <a:lnTo>
                    <a:pt x="4409" y="1123"/>
                  </a:lnTo>
                  <a:lnTo>
                    <a:pt x="4409" y="1123"/>
                  </a:lnTo>
                  <a:lnTo>
                    <a:pt x="4409" y="1123"/>
                  </a:lnTo>
                  <a:lnTo>
                    <a:pt x="4407" y="1121"/>
                  </a:lnTo>
                  <a:close/>
                  <a:moveTo>
                    <a:pt x="4403" y="1125"/>
                  </a:moveTo>
                  <a:lnTo>
                    <a:pt x="4403" y="1125"/>
                  </a:lnTo>
                  <a:lnTo>
                    <a:pt x="4403" y="1125"/>
                  </a:lnTo>
                  <a:lnTo>
                    <a:pt x="4400" y="1125"/>
                  </a:lnTo>
                  <a:lnTo>
                    <a:pt x="4400" y="1125"/>
                  </a:lnTo>
                  <a:lnTo>
                    <a:pt x="4400" y="1128"/>
                  </a:lnTo>
                  <a:lnTo>
                    <a:pt x="4400" y="1128"/>
                  </a:lnTo>
                  <a:lnTo>
                    <a:pt x="4400" y="1130"/>
                  </a:lnTo>
                  <a:lnTo>
                    <a:pt x="4403" y="1130"/>
                  </a:lnTo>
                  <a:lnTo>
                    <a:pt x="4403" y="1128"/>
                  </a:lnTo>
                  <a:lnTo>
                    <a:pt x="4403" y="1128"/>
                  </a:lnTo>
                  <a:lnTo>
                    <a:pt x="4405" y="1128"/>
                  </a:lnTo>
                  <a:lnTo>
                    <a:pt x="4405" y="1128"/>
                  </a:lnTo>
                  <a:lnTo>
                    <a:pt x="4403" y="1125"/>
                  </a:lnTo>
                  <a:close/>
                  <a:moveTo>
                    <a:pt x="4405" y="1202"/>
                  </a:moveTo>
                  <a:lnTo>
                    <a:pt x="4405" y="1202"/>
                  </a:lnTo>
                  <a:lnTo>
                    <a:pt x="4405" y="1202"/>
                  </a:lnTo>
                  <a:lnTo>
                    <a:pt x="4405" y="1204"/>
                  </a:lnTo>
                  <a:lnTo>
                    <a:pt x="4405" y="1204"/>
                  </a:lnTo>
                  <a:lnTo>
                    <a:pt x="4405" y="1204"/>
                  </a:lnTo>
                  <a:lnTo>
                    <a:pt x="4407" y="1204"/>
                  </a:lnTo>
                  <a:lnTo>
                    <a:pt x="4405" y="1204"/>
                  </a:lnTo>
                  <a:lnTo>
                    <a:pt x="4405" y="1202"/>
                  </a:lnTo>
                  <a:close/>
                  <a:moveTo>
                    <a:pt x="4648" y="952"/>
                  </a:moveTo>
                  <a:lnTo>
                    <a:pt x="4650" y="952"/>
                  </a:lnTo>
                  <a:lnTo>
                    <a:pt x="4650" y="950"/>
                  </a:lnTo>
                  <a:lnTo>
                    <a:pt x="4650" y="950"/>
                  </a:lnTo>
                  <a:lnTo>
                    <a:pt x="4648" y="950"/>
                  </a:lnTo>
                  <a:lnTo>
                    <a:pt x="4648" y="952"/>
                  </a:lnTo>
                  <a:lnTo>
                    <a:pt x="4648" y="952"/>
                  </a:lnTo>
                  <a:lnTo>
                    <a:pt x="4648" y="952"/>
                  </a:lnTo>
                  <a:lnTo>
                    <a:pt x="4648" y="952"/>
                  </a:lnTo>
                  <a:close/>
                  <a:moveTo>
                    <a:pt x="4506" y="1629"/>
                  </a:moveTo>
                  <a:lnTo>
                    <a:pt x="4504" y="1629"/>
                  </a:lnTo>
                  <a:lnTo>
                    <a:pt x="4497" y="1629"/>
                  </a:lnTo>
                  <a:lnTo>
                    <a:pt x="4497" y="1629"/>
                  </a:lnTo>
                  <a:lnTo>
                    <a:pt x="4497" y="1629"/>
                  </a:lnTo>
                  <a:lnTo>
                    <a:pt x="4504" y="1631"/>
                  </a:lnTo>
                  <a:lnTo>
                    <a:pt x="4506" y="1631"/>
                  </a:lnTo>
                  <a:lnTo>
                    <a:pt x="4508" y="1633"/>
                  </a:lnTo>
                  <a:lnTo>
                    <a:pt x="4508" y="1633"/>
                  </a:lnTo>
                  <a:lnTo>
                    <a:pt x="4510" y="1633"/>
                  </a:lnTo>
                  <a:lnTo>
                    <a:pt x="4512" y="1633"/>
                  </a:lnTo>
                  <a:lnTo>
                    <a:pt x="4514" y="1633"/>
                  </a:lnTo>
                  <a:lnTo>
                    <a:pt x="4516" y="1633"/>
                  </a:lnTo>
                  <a:lnTo>
                    <a:pt x="4518" y="1631"/>
                  </a:lnTo>
                  <a:lnTo>
                    <a:pt x="4518" y="1631"/>
                  </a:lnTo>
                  <a:lnTo>
                    <a:pt x="4516" y="1631"/>
                  </a:lnTo>
                  <a:lnTo>
                    <a:pt x="4512" y="1631"/>
                  </a:lnTo>
                  <a:lnTo>
                    <a:pt x="4508" y="1629"/>
                  </a:lnTo>
                  <a:lnTo>
                    <a:pt x="4506" y="1629"/>
                  </a:lnTo>
                  <a:close/>
                  <a:moveTo>
                    <a:pt x="4508" y="1621"/>
                  </a:moveTo>
                  <a:lnTo>
                    <a:pt x="4506" y="1619"/>
                  </a:lnTo>
                  <a:lnTo>
                    <a:pt x="4504" y="1617"/>
                  </a:lnTo>
                  <a:lnTo>
                    <a:pt x="4504" y="1617"/>
                  </a:lnTo>
                  <a:lnTo>
                    <a:pt x="4501" y="1617"/>
                  </a:lnTo>
                  <a:lnTo>
                    <a:pt x="4501" y="1617"/>
                  </a:lnTo>
                  <a:lnTo>
                    <a:pt x="4499" y="1617"/>
                  </a:lnTo>
                  <a:lnTo>
                    <a:pt x="4497" y="1615"/>
                  </a:lnTo>
                  <a:lnTo>
                    <a:pt x="4497" y="1617"/>
                  </a:lnTo>
                  <a:lnTo>
                    <a:pt x="4497" y="1617"/>
                  </a:lnTo>
                  <a:lnTo>
                    <a:pt x="4497" y="1617"/>
                  </a:lnTo>
                  <a:lnTo>
                    <a:pt x="4497" y="1617"/>
                  </a:lnTo>
                  <a:lnTo>
                    <a:pt x="4499" y="1617"/>
                  </a:lnTo>
                  <a:lnTo>
                    <a:pt x="4499" y="1619"/>
                  </a:lnTo>
                  <a:lnTo>
                    <a:pt x="4501" y="1619"/>
                  </a:lnTo>
                  <a:lnTo>
                    <a:pt x="4504" y="1621"/>
                  </a:lnTo>
                  <a:lnTo>
                    <a:pt x="4504" y="1623"/>
                  </a:lnTo>
                  <a:lnTo>
                    <a:pt x="4504" y="1623"/>
                  </a:lnTo>
                  <a:lnTo>
                    <a:pt x="4506" y="1623"/>
                  </a:lnTo>
                  <a:lnTo>
                    <a:pt x="4508" y="1623"/>
                  </a:lnTo>
                  <a:lnTo>
                    <a:pt x="4508" y="1623"/>
                  </a:lnTo>
                  <a:lnTo>
                    <a:pt x="4510" y="1623"/>
                  </a:lnTo>
                  <a:lnTo>
                    <a:pt x="4510" y="1621"/>
                  </a:lnTo>
                  <a:lnTo>
                    <a:pt x="4510" y="1621"/>
                  </a:lnTo>
                  <a:lnTo>
                    <a:pt x="4508" y="1621"/>
                  </a:lnTo>
                  <a:close/>
                  <a:moveTo>
                    <a:pt x="4555" y="1095"/>
                  </a:moveTo>
                  <a:lnTo>
                    <a:pt x="4555" y="1095"/>
                  </a:lnTo>
                  <a:lnTo>
                    <a:pt x="4553" y="1095"/>
                  </a:lnTo>
                  <a:lnTo>
                    <a:pt x="4553" y="1095"/>
                  </a:lnTo>
                  <a:lnTo>
                    <a:pt x="4553" y="1097"/>
                  </a:lnTo>
                  <a:lnTo>
                    <a:pt x="4555" y="1097"/>
                  </a:lnTo>
                  <a:lnTo>
                    <a:pt x="4555" y="1095"/>
                  </a:lnTo>
                  <a:close/>
                  <a:moveTo>
                    <a:pt x="4537" y="1472"/>
                  </a:moveTo>
                  <a:lnTo>
                    <a:pt x="4537" y="1470"/>
                  </a:lnTo>
                  <a:lnTo>
                    <a:pt x="4537" y="1470"/>
                  </a:lnTo>
                  <a:lnTo>
                    <a:pt x="4537" y="1470"/>
                  </a:lnTo>
                  <a:lnTo>
                    <a:pt x="4537" y="1470"/>
                  </a:lnTo>
                  <a:lnTo>
                    <a:pt x="4534" y="1472"/>
                  </a:lnTo>
                  <a:lnTo>
                    <a:pt x="4534" y="1472"/>
                  </a:lnTo>
                  <a:lnTo>
                    <a:pt x="4534" y="1472"/>
                  </a:lnTo>
                  <a:lnTo>
                    <a:pt x="4537" y="1472"/>
                  </a:lnTo>
                  <a:lnTo>
                    <a:pt x="4537" y="1472"/>
                  </a:lnTo>
                  <a:close/>
                  <a:moveTo>
                    <a:pt x="4481" y="1636"/>
                  </a:moveTo>
                  <a:lnTo>
                    <a:pt x="4481" y="1636"/>
                  </a:lnTo>
                  <a:lnTo>
                    <a:pt x="4481" y="1638"/>
                  </a:lnTo>
                  <a:lnTo>
                    <a:pt x="4483" y="1638"/>
                  </a:lnTo>
                  <a:lnTo>
                    <a:pt x="4483" y="1636"/>
                  </a:lnTo>
                  <a:lnTo>
                    <a:pt x="4483" y="1636"/>
                  </a:lnTo>
                  <a:lnTo>
                    <a:pt x="4483" y="1636"/>
                  </a:lnTo>
                  <a:lnTo>
                    <a:pt x="4481" y="1636"/>
                  </a:lnTo>
                  <a:close/>
                  <a:moveTo>
                    <a:pt x="4456" y="1105"/>
                  </a:moveTo>
                  <a:lnTo>
                    <a:pt x="4456" y="1105"/>
                  </a:lnTo>
                  <a:lnTo>
                    <a:pt x="4456" y="1105"/>
                  </a:lnTo>
                  <a:lnTo>
                    <a:pt x="4456" y="1105"/>
                  </a:lnTo>
                  <a:lnTo>
                    <a:pt x="4456" y="1105"/>
                  </a:lnTo>
                  <a:lnTo>
                    <a:pt x="4454" y="1105"/>
                  </a:lnTo>
                  <a:lnTo>
                    <a:pt x="4456" y="1105"/>
                  </a:lnTo>
                  <a:lnTo>
                    <a:pt x="4456" y="1105"/>
                  </a:lnTo>
                  <a:close/>
                  <a:moveTo>
                    <a:pt x="4481" y="1101"/>
                  </a:moveTo>
                  <a:lnTo>
                    <a:pt x="4481" y="1099"/>
                  </a:lnTo>
                  <a:lnTo>
                    <a:pt x="4481" y="1099"/>
                  </a:lnTo>
                  <a:lnTo>
                    <a:pt x="4481" y="1099"/>
                  </a:lnTo>
                  <a:lnTo>
                    <a:pt x="4483" y="1099"/>
                  </a:lnTo>
                  <a:lnTo>
                    <a:pt x="4481" y="1099"/>
                  </a:lnTo>
                  <a:lnTo>
                    <a:pt x="4479" y="1099"/>
                  </a:lnTo>
                  <a:lnTo>
                    <a:pt x="4479" y="1099"/>
                  </a:lnTo>
                  <a:lnTo>
                    <a:pt x="4481" y="1099"/>
                  </a:lnTo>
                  <a:lnTo>
                    <a:pt x="4481" y="1101"/>
                  </a:lnTo>
                  <a:close/>
                  <a:moveTo>
                    <a:pt x="4491" y="1099"/>
                  </a:moveTo>
                  <a:lnTo>
                    <a:pt x="4489" y="1099"/>
                  </a:lnTo>
                  <a:lnTo>
                    <a:pt x="4489" y="1099"/>
                  </a:lnTo>
                  <a:lnTo>
                    <a:pt x="4487" y="1101"/>
                  </a:lnTo>
                  <a:lnTo>
                    <a:pt x="4487" y="1103"/>
                  </a:lnTo>
                  <a:lnTo>
                    <a:pt x="4487" y="1103"/>
                  </a:lnTo>
                  <a:lnTo>
                    <a:pt x="4487" y="1103"/>
                  </a:lnTo>
                  <a:lnTo>
                    <a:pt x="4489" y="1103"/>
                  </a:lnTo>
                  <a:lnTo>
                    <a:pt x="4489" y="1103"/>
                  </a:lnTo>
                  <a:lnTo>
                    <a:pt x="4489" y="1101"/>
                  </a:lnTo>
                  <a:lnTo>
                    <a:pt x="4491" y="1099"/>
                  </a:lnTo>
                  <a:lnTo>
                    <a:pt x="4491" y="1099"/>
                  </a:lnTo>
                  <a:close/>
                  <a:moveTo>
                    <a:pt x="4489" y="1619"/>
                  </a:moveTo>
                  <a:lnTo>
                    <a:pt x="4489" y="1621"/>
                  </a:lnTo>
                  <a:lnTo>
                    <a:pt x="4489" y="1621"/>
                  </a:lnTo>
                  <a:lnTo>
                    <a:pt x="4489" y="1623"/>
                  </a:lnTo>
                  <a:lnTo>
                    <a:pt x="4489" y="1623"/>
                  </a:lnTo>
                  <a:lnTo>
                    <a:pt x="4491" y="1623"/>
                  </a:lnTo>
                  <a:lnTo>
                    <a:pt x="4491" y="1621"/>
                  </a:lnTo>
                  <a:lnTo>
                    <a:pt x="4491" y="1621"/>
                  </a:lnTo>
                  <a:lnTo>
                    <a:pt x="4491" y="1621"/>
                  </a:lnTo>
                  <a:lnTo>
                    <a:pt x="4489" y="1619"/>
                  </a:lnTo>
                  <a:close/>
                  <a:moveTo>
                    <a:pt x="4559" y="1121"/>
                  </a:moveTo>
                  <a:lnTo>
                    <a:pt x="4561" y="1121"/>
                  </a:lnTo>
                  <a:lnTo>
                    <a:pt x="4559" y="1121"/>
                  </a:lnTo>
                  <a:lnTo>
                    <a:pt x="4559" y="1121"/>
                  </a:lnTo>
                  <a:lnTo>
                    <a:pt x="4559" y="1121"/>
                  </a:lnTo>
                  <a:lnTo>
                    <a:pt x="4559" y="1121"/>
                  </a:lnTo>
                  <a:lnTo>
                    <a:pt x="4559" y="1121"/>
                  </a:lnTo>
                  <a:lnTo>
                    <a:pt x="4559" y="1121"/>
                  </a:lnTo>
                  <a:close/>
                  <a:moveTo>
                    <a:pt x="4485" y="1499"/>
                  </a:moveTo>
                  <a:lnTo>
                    <a:pt x="4485" y="1499"/>
                  </a:lnTo>
                  <a:lnTo>
                    <a:pt x="4485" y="1499"/>
                  </a:lnTo>
                  <a:lnTo>
                    <a:pt x="4485" y="1501"/>
                  </a:lnTo>
                  <a:lnTo>
                    <a:pt x="4485" y="1501"/>
                  </a:lnTo>
                  <a:lnTo>
                    <a:pt x="4485" y="1501"/>
                  </a:lnTo>
                  <a:lnTo>
                    <a:pt x="4485" y="1501"/>
                  </a:lnTo>
                  <a:lnTo>
                    <a:pt x="4485" y="1501"/>
                  </a:lnTo>
                  <a:lnTo>
                    <a:pt x="4487" y="1497"/>
                  </a:lnTo>
                  <a:lnTo>
                    <a:pt x="4487" y="1497"/>
                  </a:lnTo>
                  <a:lnTo>
                    <a:pt x="4485" y="1499"/>
                  </a:lnTo>
                  <a:lnTo>
                    <a:pt x="4485" y="1499"/>
                  </a:lnTo>
                  <a:close/>
                  <a:moveTo>
                    <a:pt x="4594" y="1220"/>
                  </a:moveTo>
                  <a:lnTo>
                    <a:pt x="4592" y="1220"/>
                  </a:lnTo>
                  <a:lnTo>
                    <a:pt x="4592" y="1220"/>
                  </a:lnTo>
                  <a:lnTo>
                    <a:pt x="4592" y="1220"/>
                  </a:lnTo>
                  <a:lnTo>
                    <a:pt x="4594" y="1220"/>
                  </a:lnTo>
                  <a:lnTo>
                    <a:pt x="4594" y="1220"/>
                  </a:lnTo>
                  <a:lnTo>
                    <a:pt x="4594" y="1220"/>
                  </a:lnTo>
                  <a:close/>
                  <a:moveTo>
                    <a:pt x="4646" y="1346"/>
                  </a:moveTo>
                  <a:lnTo>
                    <a:pt x="4646" y="1346"/>
                  </a:lnTo>
                  <a:lnTo>
                    <a:pt x="4644" y="1348"/>
                  </a:lnTo>
                  <a:lnTo>
                    <a:pt x="4644" y="1348"/>
                  </a:lnTo>
                  <a:lnTo>
                    <a:pt x="4646" y="1346"/>
                  </a:lnTo>
                  <a:lnTo>
                    <a:pt x="4646" y="1346"/>
                  </a:lnTo>
                  <a:close/>
                  <a:moveTo>
                    <a:pt x="4642" y="1392"/>
                  </a:moveTo>
                  <a:lnTo>
                    <a:pt x="4642" y="1394"/>
                  </a:lnTo>
                  <a:lnTo>
                    <a:pt x="4642" y="1394"/>
                  </a:lnTo>
                  <a:lnTo>
                    <a:pt x="4644" y="1394"/>
                  </a:lnTo>
                  <a:lnTo>
                    <a:pt x="4644" y="1392"/>
                  </a:lnTo>
                  <a:lnTo>
                    <a:pt x="4642" y="1392"/>
                  </a:lnTo>
                  <a:lnTo>
                    <a:pt x="4642" y="1392"/>
                  </a:lnTo>
                  <a:close/>
                  <a:moveTo>
                    <a:pt x="4648" y="1671"/>
                  </a:moveTo>
                  <a:lnTo>
                    <a:pt x="4646" y="1673"/>
                  </a:lnTo>
                  <a:lnTo>
                    <a:pt x="4646" y="1673"/>
                  </a:lnTo>
                  <a:lnTo>
                    <a:pt x="4646" y="1673"/>
                  </a:lnTo>
                  <a:lnTo>
                    <a:pt x="4648" y="1675"/>
                  </a:lnTo>
                  <a:lnTo>
                    <a:pt x="4648" y="1673"/>
                  </a:lnTo>
                  <a:lnTo>
                    <a:pt x="4648" y="1673"/>
                  </a:lnTo>
                  <a:lnTo>
                    <a:pt x="4648" y="1671"/>
                  </a:lnTo>
                  <a:lnTo>
                    <a:pt x="4648" y="1671"/>
                  </a:lnTo>
                  <a:lnTo>
                    <a:pt x="4648" y="1671"/>
                  </a:lnTo>
                  <a:close/>
                  <a:moveTo>
                    <a:pt x="4644" y="1392"/>
                  </a:moveTo>
                  <a:lnTo>
                    <a:pt x="4644" y="1392"/>
                  </a:lnTo>
                  <a:lnTo>
                    <a:pt x="4644" y="1392"/>
                  </a:lnTo>
                  <a:lnTo>
                    <a:pt x="4644" y="1392"/>
                  </a:lnTo>
                  <a:lnTo>
                    <a:pt x="4646" y="1390"/>
                  </a:lnTo>
                  <a:lnTo>
                    <a:pt x="4646" y="1390"/>
                  </a:lnTo>
                  <a:lnTo>
                    <a:pt x="4646" y="1390"/>
                  </a:lnTo>
                  <a:lnTo>
                    <a:pt x="4646" y="1390"/>
                  </a:lnTo>
                  <a:lnTo>
                    <a:pt x="4644" y="1390"/>
                  </a:lnTo>
                  <a:lnTo>
                    <a:pt x="4644" y="1392"/>
                  </a:lnTo>
                  <a:close/>
                  <a:moveTo>
                    <a:pt x="4638" y="1406"/>
                  </a:moveTo>
                  <a:lnTo>
                    <a:pt x="4638" y="1404"/>
                  </a:lnTo>
                  <a:lnTo>
                    <a:pt x="4638" y="1404"/>
                  </a:lnTo>
                  <a:lnTo>
                    <a:pt x="4638" y="1404"/>
                  </a:lnTo>
                  <a:lnTo>
                    <a:pt x="4636" y="1404"/>
                  </a:lnTo>
                  <a:lnTo>
                    <a:pt x="4636" y="1406"/>
                  </a:lnTo>
                  <a:lnTo>
                    <a:pt x="4636" y="1406"/>
                  </a:lnTo>
                  <a:lnTo>
                    <a:pt x="4638" y="1406"/>
                  </a:lnTo>
                  <a:close/>
                  <a:moveTo>
                    <a:pt x="4629" y="1419"/>
                  </a:moveTo>
                  <a:lnTo>
                    <a:pt x="4629" y="1419"/>
                  </a:lnTo>
                  <a:lnTo>
                    <a:pt x="4631" y="1417"/>
                  </a:lnTo>
                  <a:lnTo>
                    <a:pt x="4633" y="1412"/>
                  </a:lnTo>
                  <a:lnTo>
                    <a:pt x="4631" y="1412"/>
                  </a:lnTo>
                  <a:lnTo>
                    <a:pt x="4631" y="1412"/>
                  </a:lnTo>
                  <a:lnTo>
                    <a:pt x="4631" y="1412"/>
                  </a:lnTo>
                  <a:lnTo>
                    <a:pt x="4631" y="1415"/>
                  </a:lnTo>
                  <a:lnTo>
                    <a:pt x="4629" y="1415"/>
                  </a:lnTo>
                  <a:lnTo>
                    <a:pt x="4629" y="1417"/>
                  </a:lnTo>
                  <a:lnTo>
                    <a:pt x="4629" y="1417"/>
                  </a:lnTo>
                  <a:lnTo>
                    <a:pt x="4629" y="1419"/>
                  </a:lnTo>
                  <a:close/>
                  <a:moveTo>
                    <a:pt x="4642" y="1373"/>
                  </a:moveTo>
                  <a:lnTo>
                    <a:pt x="4644" y="1373"/>
                  </a:lnTo>
                  <a:lnTo>
                    <a:pt x="4644" y="1373"/>
                  </a:lnTo>
                  <a:lnTo>
                    <a:pt x="4644" y="1373"/>
                  </a:lnTo>
                  <a:lnTo>
                    <a:pt x="4644" y="1373"/>
                  </a:lnTo>
                  <a:lnTo>
                    <a:pt x="4644" y="1373"/>
                  </a:lnTo>
                  <a:lnTo>
                    <a:pt x="4642" y="1373"/>
                  </a:lnTo>
                  <a:lnTo>
                    <a:pt x="4642" y="1373"/>
                  </a:lnTo>
                  <a:close/>
                  <a:moveTo>
                    <a:pt x="4644" y="1338"/>
                  </a:moveTo>
                  <a:lnTo>
                    <a:pt x="4644" y="1338"/>
                  </a:lnTo>
                  <a:lnTo>
                    <a:pt x="4644" y="1338"/>
                  </a:lnTo>
                  <a:lnTo>
                    <a:pt x="4644" y="1338"/>
                  </a:lnTo>
                  <a:lnTo>
                    <a:pt x="4644" y="1338"/>
                  </a:lnTo>
                  <a:lnTo>
                    <a:pt x="4644" y="1338"/>
                  </a:lnTo>
                  <a:lnTo>
                    <a:pt x="4644" y="1338"/>
                  </a:lnTo>
                  <a:close/>
                  <a:moveTo>
                    <a:pt x="4322" y="1623"/>
                  </a:moveTo>
                  <a:lnTo>
                    <a:pt x="4322" y="1623"/>
                  </a:lnTo>
                  <a:lnTo>
                    <a:pt x="4320" y="1623"/>
                  </a:lnTo>
                  <a:lnTo>
                    <a:pt x="4318" y="1623"/>
                  </a:lnTo>
                  <a:lnTo>
                    <a:pt x="4318" y="1625"/>
                  </a:lnTo>
                  <a:lnTo>
                    <a:pt x="4318" y="1627"/>
                  </a:lnTo>
                  <a:lnTo>
                    <a:pt x="4318" y="1629"/>
                  </a:lnTo>
                  <a:lnTo>
                    <a:pt x="4318" y="1629"/>
                  </a:lnTo>
                  <a:lnTo>
                    <a:pt x="4320" y="1627"/>
                  </a:lnTo>
                  <a:lnTo>
                    <a:pt x="4322" y="1625"/>
                  </a:lnTo>
                  <a:lnTo>
                    <a:pt x="4322" y="1625"/>
                  </a:lnTo>
                  <a:lnTo>
                    <a:pt x="4322" y="1627"/>
                  </a:lnTo>
                  <a:lnTo>
                    <a:pt x="4322" y="1629"/>
                  </a:lnTo>
                  <a:lnTo>
                    <a:pt x="4322" y="1629"/>
                  </a:lnTo>
                  <a:lnTo>
                    <a:pt x="4322" y="1629"/>
                  </a:lnTo>
                  <a:lnTo>
                    <a:pt x="4324" y="1629"/>
                  </a:lnTo>
                  <a:lnTo>
                    <a:pt x="4324" y="1629"/>
                  </a:lnTo>
                  <a:lnTo>
                    <a:pt x="4324" y="1627"/>
                  </a:lnTo>
                  <a:lnTo>
                    <a:pt x="4324" y="1627"/>
                  </a:lnTo>
                  <a:lnTo>
                    <a:pt x="4326" y="1627"/>
                  </a:lnTo>
                  <a:lnTo>
                    <a:pt x="4326" y="1627"/>
                  </a:lnTo>
                  <a:lnTo>
                    <a:pt x="4328" y="1627"/>
                  </a:lnTo>
                  <a:lnTo>
                    <a:pt x="4328" y="1625"/>
                  </a:lnTo>
                  <a:lnTo>
                    <a:pt x="4328" y="1625"/>
                  </a:lnTo>
                  <a:lnTo>
                    <a:pt x="4326" y="1625"/>
                  </a:lnTo>
                  <a:lnTo>
                    <a:pt x="4326" y="1623"/>
                  </a:lnTo>
                  <a:lnTo>
                    <a:pt x="4324" y="1625"/>
                  </a:lnTo>
                  <a:lnTo>
                    <a:pt x="4324" y="1625"/>
                  </a:lnTo>
                  <a:lnTo>
                    <a:pt x="4322" y="1625"/>
                  </a:lnTo>
                  <a:lnTo>
                    <a:pt x="4324" y="1623"/>
                  </a:lnTo>
                  <a:lnTo>
                    <a:pt x="4322" y="1623"/>
                  </a:lnTo>
                  <a:close/>
                  <a:moveTo>
                    <a:pt x="4712" y="1927"/>
                  </a:moveTo>
                  <a:lnTo>
                    <a:pt x="4712" y="1927"/>
                  </a:lnTo>
                  <a:lnTo>
                    <a:pt x="4712" y="1927"/>
                  </a:lnTo>
                  <a:lnTo>
                    <a:pt x="4712" y="1927"/>
                  </a:lnTo>
                  <a:lnTo>
                    <a:pt x="4712" y="1927"/>
                  </a:lnTo>
                  <a:lnTo>
                    <a:pt x="4712" y="1927"/>
                  </a:lnTo>
                  <a:lnTo>
                    <a:pt x="4712" y="1927"/>
                  </a:lnTo>
                  <a:lnTo>
                    <a:pt x="4712" y="1927"/>
                  </a:lnTo>
                  <a:close/>
                  <a:moveTo>
                    <a:pt x="4704" y="1925"/>
                  </a:moveTo>
                  <a:lnTo>
                    <a:pt x="4704" y="1927"/>
                  </a:lnTo>
                  <a:lnTo>
                    <a:pt x="4704" y="1925"/>
                  </a:lnTo>
                  <a:lnTo>
                    <a:pt x="4704" y="1925"/>
                  </a:lnTo>
                  <a:lnTo>
                    <a:pt x="4704" y="1923"/>
                  </a:lnTo>
                  <a:lnTo>
                    <a:pt x="4704" y="1925"/>
                  </a:lnTo>
                  <a:lnTo>
                    <a:pt x="4704" y="1925"/>
                  </a:lnTo>
                  <a:close/>
                  <a:moveTo>
                    <a:pt x="4609" y="1726"/>
                  </a:moveTo>
                  <a:lnTo>
                    <a:pt x="4609" y="1726"/>
                  </a:lnTo>
                  <a:lnTo>
                    <a:pt x="4611" y="1726"/>
                  </a:lnTo>
                  <a:lnTo>
                    <a:pt x="4611" y="1728"/>
                  </a:lnTo>
                  <a:lnTo>
                    <a:pt x="4613" y="1730"/>
                  </a:lnTo>
                  <a:lnTo>
                    <a:pt x="4613" y="1728"/>
                  </a:lnTo>
                  <a:lnTo>
                    <a:pt x="4611" y="1726"/>
                  </a:lnTo>
                  <a:lnTo>
                    <a:pt x="4609" y="1726"/>
                  </a:lnTo>
                  <a:lnTo>
                    <a:pt x="4609" y="1726"/>
                  </a:lnTo>
                  <a:close/>
                  <a:moveTo>
                    <a:pt x="2326" y="1128"/>
                  </a:moveTo>
                  <a:lnTo>
                    <a:pt x="2328" y="1128"/>
                  </a:lnTo>
                  <a:lnTo>
                    <a:pt x="2328" y="1125"/>
                  </a:lnTo>
                  <a:lnTo>
                    <a:pt x="2328" y="1125"/>
                  </a:lnTo>
                  <a:lnTo>
                    <a:pt x="2324" y="1125"/>
                  </a:lnTo>
                  <a:lnTo>
                    <a:pt x="2324" y="1125"/>
                  </a:lnTo>
                  <a:lnTo>
                    <a:pt x="2322" y="1125"/>
                  </a:lnTo>
                  <a:lnTo>
                    <a:pt x="2320" y="1125"/>
                  </a:lnTo>
                  <a:lnTo>
                    <a:pt x="2320" y="1125"/>
                  </a:lnTo>
                  <a:lnTo>
                    <a:pt x="2322" y="1128"/>
                  </a:lnTo>
                  <a:lnTo>
                    <a:pt x="2324" y="1128"/>
                  </a:lnTo>
                  <a:lnTo>
                    <a:pt x="2326" y="1128"/>
                  </a:lnTo>
                  <a:close/>
                  <a:moveTo>
                    <a:pt x="4689" y="1894"/>
                  </a:moveTo>
                  <a:lnTo>
                    <a:pt x="4689" y="1894"/>
                  </a:lnTo>
                  <a:lnTo>
                    <a:pt x="4689" y="1896"/>
                  </a:lnTo>
                  <a:lnTo>
                    <a:pt x="4689" y="1896"/>
                  </a:lnTo>
                  <a:lnTo>
                    <a:pt x="4689" y="1896"/>
                  </a:lnTo>
                  <a:lnTo>
                    <a:pt x="4689" y="1896"/>
                  </a:lnTo>
                  <a:lnTo>
                    <a:pt x="4691" y="1894"/>
                  </a:lnTo>
                  <a:lnTo>
                    <a:pt x="4689" y="1894"/>
                  </a:lnTo>
                  <a:close/>
                  <a:moveTo>
                    <a:pt x="4691" y="1898"/>
                  </a:moveTo>
                  <a:lnTo>
                    <a:pt x="4691" y="1898"/>
                  </a:lnTo>
                  <a:lnTo>
                    <a:pt x="4691" y="1898"/>
                  </a:lnTo>
                  <a:lnTo>
                    <a:pt x="4691" y="1896"/>
                  </a:lnTo>
                  <a:lnTo>
                    <a:pt x="4691" y="1896"/>
                  </a:lnTo>
                  <a:lnTo>
                    <a:pt x="4689" y="1898"/>
                  </a:lnTo>
                  <a:lnTo>
                    <a:pt x="4691" y="1898"/>
                  </a:lnTo>
                  <a:lnTo>
                    <a:pt x="4691" y="1898"/>
                  </a:lnTo>
                  <a:close/>
                  <a:moveTo>
                    <a:pt x="4518" y="1830"/>
                  </a:moveTo>
                  <a:lnTo>
                    <a:pt x="4518" y="1830"/>
                  </a:lnTo>
                  <a:lnTo>
                    <a:pt x="4518" y="1830"/>
                  </a:lnTo>
                  <a:lnTo>
                    <a:pt x="4518" y="1828"/>
                  </a:lnTo>
                  <a:lnTo>
                    <a:pt x="4518" y="1828"/>
                  </a:lnTo>
                  <a:lnTo>
                    <a:pt x="4518" y="1830"/>
                  </a:lnTo>
                  <a:close/>
                  <a:moveTo>
                    <a:pt x="4747" y="1737"/>
                  </a:moveTo>
                  <a:lnTo>
                    <a:pt x="4747" y="1735"/>
                  </a:lnTo>
                  <a:lnTo>
                    <a:pt x="4747" y="1735"/>
                  </a:lnTo>
                  <a:lnTo>
                    <a:pt x="4747" y="1735"/>
                  </a:lnTo>
                  <a:lnTo>
                    <a:pt x="4745" y="1735"/>
                  </a:lnTo>
                  <a:lnTo>
                    <a:pt x="4745" y="1735"/>
                  </a:lnTo>
                  <a:lnTo>
                    <a:pt x="4743" y="1735"/>
                  </a:lnTo>
                  <a:lnTo>
                    <a:pt x="4743" y="1733"/>
                  </a:lnTo>
                  <a:lnTo>
                    <a:pt x="4741" y="1735"/>
                  </a:lnTo>
                  <a:lnTo>
                    <a:pt x="4741" y="1735"/>
                  </a:lnTo>
                  <a:lnTo>
                    <a:pt x="4743" y="1735"/>
                  </a:lnTo>
                  <a:lnTo>
                    <a:pt x="4743" y="1737"/>
                  </a:lnTo>
                  <a:lnTo>
                    <a:pt x="4743" y="1737"/>
                  </a:lnTo>
                  <a:lnTo>
                    <a:pt x="4745" y="1737"/>
                  </a:lnTo>
                  <a:lnTo>
                    <a:pt x="4745" y="1737"/>
                  </a:lnTo>
                  <a:lnTo>
                    <a:pt x="4747" y="1737"/>
                  </a:lnTo>
                  <a:lnTo>
                    <a:pt x="4747" y="1737"/>
                  </a:lnTo>
                  <a:lnTo>
                    <a:pt x="4747" y="1737"/>
                  </a:lnTo>
                  <a:lnTo>
                    <a:pt x="4747" y="1737"/>
                  </a:lnTo>
                  <a:lnTo>
                    <a:pt x="4747" y="1737"/>
                  </a:lnTo>
                  <a:close/>
                  <a:moveTo>
                    <a:pt x="4722" y="1747"/>
                  </a:moveTo>
                  <a:lnTo>
                    <a:pt x="4722" y="1747"/>
                  </a:lnTo>
                  <a:lnTo>
                    <a:pt x="4720" y="1749"/>
                  </a:lnTo>
                  <a:lnTo>
                    <a:pt x="4720" y="1749"/>
                  </a:lnTo>
                  <a:lnTo>
                    <a:pt x="4720" y="1749"/>
                  </a:lnTo>
                  <a:lnTo>
                    <a:pt x="4720" y="1747"/>
                  </a:lnTo>
                  <a:lnTo>
                    <a:pt x="4718" y="1745"/>
                  </a:lnTo>
                  <a:lnTo>
                    <a:pt x="4716" y="1745"/>
                  </a:lnTo>
                  <a:lnTo>
                    <a:pt x="4716" y="1745"/>
                  </a:lnTo>
                  <a:lnTo>
                    <a:pt x="4716" y="1745"/>
                  </a:lnTo>
                  <a:lnTo>
                    <a:pt x="4718" y="1747"/>
                  </a:lnTo>
                  <a:lnTo>
                    <a:pt x="4718" y="1747"/>
                  </a:lnTo>
                  <a:lnTo>
                    <a:pt x="4718" y="1749"/>
                  </a:lnTo>
                  <a:lnTo>
                    <a:pt x="4718" y="1749"/>
                  </a:lnTo>
                  <a:lnTo>
                    <a:pt x="4722" y="1751"/>
                  </a:lnTo>
                  <a:lnTo>
                    <a:pt x="4722" y="1751"/>
                  </a:lnTo>
                  <a:lnTo>
                    <a:pt x="4724" y="1747"/>
                  </a:lnTo>
                  <a:lnTo>
                    <a:pt x="4722" y="1747"/>
                  </a:lnTo>
                  <a:close/>
                  <a:moveTo>
                    <a:pt x="4714" y="1753"/>
                  </a:moveTo>
                  <a:lnTo>
                    <a:pt x="4714" y="1753"/>
                  </a:lnTo>
                  <a:lnTo>
                    <a:pt x="4718" y="1751"/>
                  </a:lnTo>
                  <a:lnTo>
                    <a:pt x="4714" y="1751"/>
                  </a:lnTo>
                  <a:lnTo>
                    <a:pt x="4712" y="1751"/>
                  </a:lnTo>
                  <a:lnTo>
                    <a:pt x="4710" y="1751"/>
                  </a:lnTo>
                  <a:lnTo>
                    <a:pt x="4710" y="1751"/>
                  </a:lnTo>
                  <a:lnTo>
                    <a:pt x="4708" y="1751"/>
                  </a:lnTo>
                  <a:lnTo>
                    <a:pt x="4706" y="1749"/>
                  </a:lnTo>
                  <a:lnTo>
                    <a:pt x="4704" y="1749"/>
                  </a:lnTo>
                  <a:lnTo>
                    <a:pt x="4704" y="1749"/>
                  </a:lnTo>
                  <a:lnTo>
                    <a:pt x="4704" y="1749"/>
                  </a:lnTo>
                  <a:lnTo>
                    <a:pt x="4702" y="1747"/>
                  </a:lnTo>
                  <a:lnTo>
                    <a:pt x="4702" y="1747"/>
                  </a:lnTo>
                  <a:lnTo>
                    <a:pt x="4702" y="1745"/>
                  </a:lnTo>
                  <a:lnTo>
                    <a:pt x="4704" y="1745"/>
                  </a:lnTo>
                  <a:lnTo>
                    <a:pt x="4704" y="1745"/>
                  </a:lnTo>
                  <a:lnTo>
                    <a:pt x="4706" y="1745"/>
                  </a:lnTo>
                  <a:lnTo>
                    <a:pt x="4706" y="1743"/>
                  </a:lnTo>
                  <a:lnTo>
                    <a:pt x="4704" y="1743"/>
                  </a:lnTo>
                  <a:lnTo>
                    <a:pt x="4704" y="1743"/>
                  </a:lnTo>
                  <a:lnTo>
                    <a:pt x="4702" y="1743"/>
                  </a:lnTo>
                  <a:lnTo>
                    <a:pt x="4697" y="1743"/>
                  </a:lnTo>
                  <a:lnTo>
                    <a:pt x="4697" y="1743"/>
                  </a:lnTo>
                  <a:lnTo>
                    <a:pt x="4695" y="1741"/>
                  </a:lnTo>
                  <a:lnTo>
                    <a:pt x="4693" y="1741"/>
                  </a:lnTo>
                  <a:lnTo>
                    <a:pt x="4693" y="1739"/>
                  </a:lnTo>
                  <a:lnTo>
                    <a:pt x="4695" y="1737"/>
                  </a:lnTo>
                  <a:lnTo>
                    <a:pt x="4693" y="1735"/>
                  </a:lnTo>
                  <a:lnTo>
                    <a:pt x="4693" y="1735"/>
                  </a:lnTo>
                  <a:lnTo>
                    <a:pt x="4693" y="1735"/>
                  </a:lnTo>
                  <a:lnTo>
                    <a:pt x="4691" y="1735"/>
                  </a:lnTo>
                  <a:lnTo>
                    <a:pt x="4687" y="1735"/>
                  </a:lnTo>
                  <a:lnTo>
                    <a:pt x="4687" y="1735"/>
                  </a:lnTo>
                  <a:lnTo>
                    <a:pt x="4685" y="1735"/>
                  </a:lnTo>
                  <a:lnTo>
                    <a:pt x="4683" y="1733"/>
                  </a:lnTo>
                  <a:lnTo>
                    <a:pt x="4683" y="1730"/>
                  </a:lnTo>
                  <a:lnTo>
                    <a:pt x="4683" y="1728"/>
                  </a:lnTo>
                  <a:lnTo>
                    <a:pt x="4681" y="1728"/>
                  </a:lnTo>
                  <a:lnTo>
                    <a:pt x="4679" y="1726"/>
                  </a:lnTo>
                  <a:lnTo>
                    <a:pt x="4679" y="1726"/>
                  </a:lnTo>
                  <a:lnTo>
                    <a:pt x="4679" y="1724"/>
                  </a:lnTo>
                  <a:lnTo>
                    <a:pt x="4679" y="1722"/>
                  </a:lnTo>
                  <a:lnTo>
                    <a:pt x="4679" y="1722"/>
                  </a:lnTo>
                  <a:lnTo>
                    <a:pt x="4675" y="1720"/>
                  </a:lnTo>
                  <a:lnTo>
                    <a:pt x="4675" y="1718"/>
                  </a:lnTo>
                  <a:lnTo>
                    <a:pt x="4673" y="1718"/>
                  </a:lnTo>
                  <a:lnTo>
                    <a:pt x="4671" y="1716"/>
                  </a:lnTo>
                  <a:lnTo>
                    <a:pt x="4669" y="1714"/>
                  </a:lnTo>
                  <a:lnTo>
                    <a:pt x="4666" y="1714"/>
                  </a:lnTo>
                  <a:lnTo>
                    <a:pt x="4666" y="1712"/>
                  </a:lnTo>
                  <a:lnTo>
                    <a:pt x="4664" y="1712"/>
                  </a:lnTo>
                  <a:lnTo>
                    <a:pt x="4664" y="1708"/>
                  </a:lnTo>
                  <a:lnTo>
                    <a:pt x="4662" y="1704"/>
                  </a:lnTo>
                  <a:lnTo>
                    <a:pt x="4662" y="1704"/>
                  </a:lnTo>
                  <a:lnTo>
                    <a:pt x="4662" y="1704"/>
                  </a:lnTo>
                  <a:lnTo>
                    <a:pt x="4664" y="1702"/>
                  </a:lnTo>
                  <a:lnTo>
                    <a:pt x="4666" y="1702"/>
                  </a:lnTo>
                  <a:lnTo>
                    <a:pt x="4673" y="1702"/>
                  </a:lnTo>
                  <a:lnTo>
                    <a:pt x="4675" y="1702"/>
                  </a:lnTo>
                  <a:lnTo>
                    <a:pt x="4675" y="1702"/>
                  </a:lnTo>
                  <a:lnTo>
                    <a:pt x="4675" y="1700"/>
                  </a:lnTo>
                  <a:lnTo>
                    <a:pt x="4675" y="1697"/>
                  </a:lnTo>
                  <a:lnTo>
                    <a:pt x="4673" y="1695"/>
                  </a:lnTo>
                  <a:lnTo>
                    <a:pt x="4673" y="1695"/>
                  </a:lnTo>
                  <a:lnTo>
                    <a:pt x="4673" y="1695"/>
                  </a:lnTo>
                  <a:lnTo>
                    <a:pt x="4671" y="1693"/>
                  </a:lnTo>
                  <a:lnTo>
                    <a:pt x="4671" y="1691"/>
                  </a:lnTo>
                  <a:lnTo>
                    <a:pt x="4671" y="1691"/>
                  </a:lnTo>
                  <a:lnTo>
                    <a:pt x="4669" y="1691"/>
                  </a:lnTo>
                  <a:lnTo>
                    <a:pt x="4669" y="1691"/>
                  </a:lnTo>
                  <a:lnTo>
                    <a:pt x="4666" y="1691"/>
                  </a:lnTo>
                  <a:lnTo>
                    <a:pt x="4664" y="1691"/>
                  </a:lnTo>
                  <a:lnTo>
                    <a:pt x="4662" y="1691"/>
                  </a:lnTo>
                  <a:lnTo>
                    <a:pt x="4654" y="1685"/>
                  </a:lnTo>
                  <a:lnTo>
                    <a:pt x="4650" y="1685"/>
                  </a:lnTo>
                  <a:lnTo>
                    <a:pt x="4648" y="1685"/>
                  </a:lnTo>
                  <a:lnTo>
                    <a:pt x="4646" y="1683"/>
                  </a:lnTo>
                  <a:lnTo>
                    <a:pt x="4644" y="1683"/>
                  </a:lnTo>
                  <a:lnTo>
                    <a:pt x="4646" y="1679"/>
                  </a:lnTo>
                  <a:lnTo>
                    <a:pt x="4646" y="1675"/>
                  </a:lnTo>
                  <a:lnTo>
                    <a:pt x="4644" y="1675"/>
                  </a:lnTo>
                  <a:lnTo>
                    <a:pt x="4638" y="1669"/>
                  </a:lnTo>
                  <a:lnTo>
                    <a:pt x="4638" y="1669"/>
                  </a:lnTo>
                  <a:lnTo>
                    <a:pt x="4636" y="1669"/>
                  </a:lnTo>
                  <a:lnTo>
                    <a:pt x="4633" y="1666"/>
                  </a:lnTo>
                  <a:lnTo>
                    <a:pt x="4633" y="1666"/>
                  </a:lnTo>
                  <a:lnTo>
                    <a:pt x="4631" y="1664"/>
                  </a:lnTo>
                  <a:lnTo>
                    <a:pt x="4629" y="1664"/>
                  </a:lnTo>
                  <a:lnTo>
                    <a:pt x="4629" y="1662"/>
                  </a:lnTo>
                  <a:lnTo>
                    <a:pt x="4627" y="1662"/>
                  </a:lnTo>
                  <a:lnTo>
                    <a:pt x="4627" y="1660"/>
                  </a:lnTo>
                  <a:lnTo>
                    <a:pt x="4625" y="1660"/>
                  </a:lnTo>
                  <a:lnTo>
                    <a:pt x="4625" y="1660"/>
                  </a:lnTo>
                  <a:lnTo>
                    <a:pt x="4625" y="1660"/>
                  </a:lnTo>
                  <a:lnTo>
                    <a:pt x="4623" y="1660"/>
                  </a:lnTo>
                  <a:lnTo>
                    <a:pt x="4621" y="1660"/>
                  </a:lnTo>
                  <a:lnTo>
                    <a:pt x="4621" y="1660"/>
                  </a:lnTo>
                  <a:lnTo>
                    <a:pt x="4619" y="1660"/>
                  </a:lnTo>
                  <a:lnTo>
                    <a:pt x="4617" y="1658"/>
                  </a:lnTo>
                  <a:lnTo>
                    <a:pt x="4617" y="1658"/>
                  </a:lnTo>
                  <a:lnTo>
                    <a:pt x="4615" y="1656"/>
                  </a:lnTo>
                  <a:lnTo>
                    <a:pt x="4613" y="1654"/>
                  </a:lnTo>
                  <a:lnTo>
                    <a:pt x="4611" y="1654"/>
                  </a:lnTo>
                  <a:lnTo>
                    <a:pt x="4607" y="1654"/>
                  </a:lnTo>
                  <a:lnTo>
                    <a:pt x="4605" y="1654"/>
                  </a:lnTo>
                  <a:lnTo>
                    <a:pt x="4605" y="1654"/>
                  </a:lnTo>
                  <a:lnTo>
                    <a:pt x="4598" y="1652"/>
                  </a:lnTo>
                  <a:lnTo>
                    <a:pt x="4594" y="1650"/>
                  </a:lnTo>
                  <a:lnTo>
                    <a:pt x="4590" y="1648"/>
                  </a:lnTo>
                  <a:lnTo>
                    <a:pt x="4590" y="1648"/>
                  </a:lnTo>
                  <a:lnTo>
                    <a:pt x="4590" y="1648"/>
                  </a:lnTo>
                  <a:lnTo>
                    <a:pt x="4588" y="1648"/>
                  </a:lnTo>
                  <a:lnTo>
                    <a:pt x="4586" y="1646"/>
                  </a:lnTo>
                  <a:lnTo>
                    <a:pt x="4580" y="1644"/>
                  </a:lnTo>
                  <a:lnTo>
                    <a:pt x="4578" y="1644"/>
                  </a:lnTo>
                  <a:lnTo>
                    <a:pt x="4574" y="1644"/>
                  </a:lnTo>
                  <a:lnTo>
                    <a:pt x="4574" y="1642"/>
                  </a:lnTo>
                  <a:lnTo>
                    <a:pt x="4572" y="1642"/>
                  </a:lnTo>
                  <a:lnTo>
                    <a:pt x="4572" y="1642"/>
                  </a:lnTo>
                  <a:lnTo>
                    <a:pt x="4567" y="1642"/>
                  </a:lnTo>
                  <a:lnTo>
                    <a:pt x="4565" y="1640"/>
                  </a:lnTo>
                  <a:lnTo>
                    <a:pt x="4565" y="1640"/>
                  </a:lnTo>
                  <a:lnTo>
                    <a:pt x="4565" y="1640"/>
                  </a:lnTo>
                  <a:lnTo>
                    <a:pt x="4561" y="1640"/>
                  </a:lnTo>
                  <a:lnTo>
                    <a:pt x="4559" y="1640"/>
                  </a:lnTo>
                  <a:lnTo>
                    <a:pt x="4555" y="1638"/>
                  </a:lnTo>
                  <a:lnTo>
                    <a:pt x="4551" y="1636"/>
                  </a:lnTo>
                  <a:lnTo>
                    <a:pt x="4551" y="1636"/>
                  </a:lnTo>
                  <a:lnTo>
                    <a:pt x="4549" y="1636"/>
                  </a:lnTo>
                  <a:lnTo>
                    <a:pt x="4547" y="1633"/>
                  </a:lnTo>
                  <a:lnTo>
                    <a:pt x="4545" y="1633"/>
                  </a:lnTo>
                  <a:lnTo>
                    <a:pt x="4545" y="1633"/>
                  </a:lnTo>
                  <a:lnTo>
                    <a:pt x="4543" y="1631"/>
                  </a:lnTo>
                  <a:lnTo>
                    <a:pt x="4534" y="1629"/>
                  </a:lnTo>
                  <a:lnTo>
                    <a:pt x="4534" y="1629"/>
                  </a:lnTo>
                  <a:lnTo>
                    <a:pt x="4532" y="1627"/>
                  </a:lnTo>
                  <a:lnTo>
                    <a:pt x="4530" y="1627"/>
                  </a:lnTo>
                  <a:lnTo>
                    <a:pt x="4528" y="1629"/>
                  </a:lnTo>
                  <a:lnTo>
                    <a:pt x="4524" y="1631"/>
                  </a:lnTo>
                  <a:lnTo>
                    <a:pt x="4522" y="1631"/>
                  </a:lnTo>
                  <a:lnTo>
                    <a:pt x="4522" y="1633"/>
                  </a:lnTo>
                  <a:lnTo>
                    <a:pt x="4522" y="1633"/>
                  </a:lnTo>
                  <a:lnTo>
                    <a:pt x="4522" y="1633"/>
                  </a:lnTo>
                  <a:lnTo>
                    <a:pt x="4522" y="1636"/>
                  </a:lnTo>
                  <a:lnTo>
                    <a:pt x="4520" y="1636"/>
                  </a:lnTo>
                  <a:lnTo>
                    <a:pt x="4518" y="1638"/>
                  </a:lnTo>
                  <a:lnTo>
                    <a:pt x="4514" y="1638"/>
                  </a:lnTo>
                  <a:lnTo>
                    <a:pt x="4512" y="1640"/>
                  </a:lnTo>
                  <a:lnTo>
                    <a:pt x="4510" y="1640"/>
                  </a:lnTo>
                  <a:lnTo>
                    <a:pt x="4510" y="1642"/>
                  </a:lnTo>
                  <a:lnTo>
                    <a:pt x="4510" y="1642"/>
                  </a:lnTo>
                  <a:lnTo>
                    <a:pt x="4510" y="1644"/>
                  </a:lnTo>
                  <a:lnTo>
                    <a:pt x="4506" y="1646"/>
                  </a:lnTo>
                  <a:lnTo>
                    <a:pt x="4506" y="1646"/>
                  </a:lnTo>
                  <a:lnTo>
                    <a:pt x="4504" y="1648"/>
                  </a:lnTo>
                  <a:lnTo>
                    <a:pt x="4504" y="1648"/>
                  </a:lnTo>
                  <a:lnTo>
                    <a:pt x="4499" y="1652"/>
                  </a:lnTo>
                  <a:lnTo>
                    <a:pt x="4499" y="1652"/>
                  </a:lnTo>
                  <a:lnTo>
                    <a:pt x="4497" y="1654"/>
                  </a:lnTo>
                  <a:lnTo>
                    <a:pt x="4497" y="1654"/>
                  </a:lnTo>
                  <a:lnTo>
                    <a:pt x="4495" y="1654"/>
                  </a:lnTo>
                  <a:lnTo>
                    <a:pt x="4493" y="1654"/>
                  </a:lnTo>
                  <a:lnTo>
                    <a:pt x="4491" y="1654"/>
                  </a:lnTo>
                  <a:lnTo>
                    <a:pt x="4489" y="1652"/>
                  </a:lnTo>
                  <a:lnTo>
                    <a:pt x="4489" y="1652"/>
                  </a:lnTo>
                  <a:lnTo>
                    <a:pt x="4489" y="1650"/>
                  </a:lnTo>
                  <a:lnTo>
                    <a:pt x="4489" y="1648"/>
                  </a:lnTo>
                  <a:lnTo>
                    <a:pt x="4489" y="1648"/>
                  </a:lnTo>
                  <a:lnTo>
                    <a:pt x="4487" y="1648"/>
                  </a:lnTo>
                  <a:lnTo>
                    <a:pt x="4487" y="1648"/>
                  </a:lnTo>
                  <a:lnTo>
                    <a:pt x="4487" y="1644"/>
                  </a:lnTo>
                  <a:lnTo>
                    <a:pt x="4485" y="1644"/>
                  </a:lnTo>
                  <a:lnTo>
                    <a:pt x="4485" y="1642"/>
                  </a:lnTo>
                  <a:lnTo>
                    <a:pt x="4485" y="1642"/>
                  </a:lnTo>
                  <a:lnTo>
                    <a:pt x="4485" y="1642"/>
                  </a:lnTo>
                  <a:lnTo>
                    <a:pt x="4483" y="1644"/>
                  </a:lnTo>
                  <a:lnTo>
                    <a:pt x="4483" y="1646"/>
                  </a:lnTo>
                  <a:lnTo>
                    <a:pt x="4483" y="1646"/>
                  </a:lnTo>
                  <a:lnTo>
                    <a:pt x="4483" y="1644"/>
                  </a:lnTo>
                  <a:lnTo>
                    <a:pt x="4479" y="1640"/>
                  </a:lnTo>
                  <a:lnTo>
                    <a:pt x="4479" y="1638"/>
                  </a:lnTo>
                  <a:lnTo>
                    <a:pt x="4479" y="1636"/>
                  </a:lnTo>
                  <a:lnTo>
                    <a:pt x="4479" y="1633"/>
                  </a:lnTo>
                  <a:lnTo>
                    <a:pt x="4479" y="1633"/>
                  </a:lnTo>
                  <a:lnTo>
                    <a:pt x="4479" y="1631"/>
                  </a:lnTo>
                  <a:lnTo>
                    <a:pt x="4479" y="1629"/>
                  </a:lnTo>
                  <a:lnTo>
                    <a:pt x="4481" y="1627"/>
                  </a:lnTo>
                  <a:lnTo>
                    <a:pt x="4481" y="1627"/>
                  </a:lnTo>
                  <a:lnTo>
                    <a:pt x="4481" y="1625"/>
                  </a:lnTo>
                  <a:lnTo>
                    <a:pt x="4481" y="1625"/>
                  </a:lnTo>
                  <a:lnTo>
                    <a:pt x="4479" y="1623"/>
                  </a:lnTo>
                  <a:lnTo>
                    <a:pt x="4479" y="1623"/>
                  </a:lnTo>
                  <a:lnTo>
                    <a:pt x="4479" y="1621"/>
                  </a:lnTo>
                  <a:lnTo>
                    <a:pt x="4479" y="1619"/>
                  </a:lnTo>
                  <a:lnTo>
                    <a:pt x="4479" y="1619"/>
                  </a:lnTo>
                  <a:lnTo>
                    <a:pt x="4477" y="1617"/>
                  </a:lnTo>
                  <a:lnTo>
                    <a:pt x="4477" y="1617"/>
                  </a:lnTo>
                  <a:lnTo>
                    <a:pt x="4475" y="1617"/>
                  </a:lnTo>
                  <a:lnTo>
                    <a:pt x="4473" y="1617"/>
                  </a:lnTo>
                  <a:lnTo>
                    <a:pt x="4468" y="1617"/>
                  </a:lnTo>
                  <a:lnTo>
                    <a:pt x="4466" y="1615"/>
                  </a:lnTo>
                  <a:lnTo>
                    <a:pt x="4464" y="1613"/>
                  </a:lnTo>
                  <a:lnTo>
                    <a:pt x="4460" y="1613"/>
                  </a:lnTo>
                  <a:lnTo>
                    <a:pt x="4458" y="1611"/>
                  </a:lnTo>
                  <a:lnTo>
                    <a:pt x="4456" y="1611"/>
                  </a:lnTo>
                  <a:lnTo>
                    <a:pt x="4454" y="1611"/>
                  </a:lnTo>
                  <a:lnTo>
                    <a:pt x="4450" y="1613"/>
                  </a:lnTo>
                  <a:lnTo>
                    <a:pt x="4450" y="1613"/>
                  </a:lnTo>
                  <a:lnTo>
                    <a:pt x="4450" y="1615"/>
                  </a:lnTo>
                  <a:lnTo>
                    <a:pt x="4448" y="1615"/>
                  </a:lnTo>
                  <a:lnTo>
                    <a:pt x="4446" y="1615"/>
                  </a:lnTo>
                  <a:lnTo>
                    <a:pt x="4446" y="1617"/>
                  </a:lnTo>
                  <a:lnTo>
                    <a:pt x="4440" y="1617"/>
                  </a:lnTo>
                  <a:lnTo>
                    <a:pt x="4438" y="1619"/>
                  </a:lnTo>
                  <a:lnTo>
                    <a:pt x="4438" y="1619"/>
                  </a:lnTo>
                  <a:lnTo>
                    <a:pt x="4438" y="1619"/>
                  </a:lnTo>
                  <a:lnTo>
                    <a:pt x="4438" y="1619"/>
                  </a:lnTo>
                  <a:lnTo>
                    <a:pt x="4438" y="1621"/>
                  </a:lnTo>
                  <a:lnTo>
                    <a:pt x="4438" y="1623"/>
                  </a:lnTo>
                  <a:lnTo>
                    <a:pt x="4436" y="1623"/>
                  </a:lnTo>
                  <a:lnTo>
                    <a:pt x="4436" y="1625"/>
                  </a:lnTo>
                  <a:lnTo>
                    <a:pt x="4436" y="1625"/>
                  </a:lnTo>
                  <a:lnTo>
                    <a:pt x="4433" y="1625"/>
                  </a:lnTo>
                  <a:lnTo>
                    <a:pt x="4433" y="1627"/>
                  </a:lnTo>
                  <a:lnTo>
                    <a:pt x="4436" y="1627"/>
                  </a:lnTo>
                  <a:lnTo>
                    <a:pt x="4436" y="1627"/>
                  </a:lnTo>
                  <a:lnTo>
                    <a:pt x="4438" y="1627"/>
                  </a:lnTo>
                  <a:lnTo>
                    <a:pt x="4438" y="1627"/>
                  </a:lnTo>
                  <a:lnTo>
                    <a:pt x="4438" y="1627"/>
                  </a:lnTo>
                  <a:lnTo>
                    <a:pt x="4444" y="1629"/>
                  </a:lnTo>
                  <a:lnTo>
                    <a:pt x="4446" y="1629"/>
                  </a:lnTo>
                  <a:lnTo>
                    <a:pt x="4448" y="1629"/>
                  </a:lnTo>
                  <a:lnTo>
                    <a:pt x="4448" y="1631"/>
                  </a:lnTo>
                  <a:lnTo>
                    <a:pt x="4448" y="1633"/>
                  </a:lnTo>
                  <a:lnTo>
                    <a:pt x="4448" y="1636"/>
                  </a:lnTo>
                  <a:lnTo>
                    <a:pt x="4450" y="1636"/>
                  </a:lnTo>
                  <a:lnTo>
                    <a:pt x="4450" y="1636"/>
                  </a:lnTo>
                  <a:lnTo>
                    <a:pt x="4452" y="1638"/>
                  </a:lnTo>
                  <a:lnTo>
                    <a:pt x="4452" y="1638"/>
                  </a:lnTo>
                  <a:lnTo>
                    <a:pt x="4454" y="1638"/>
                  </a:lnTo>
                  <a:lnTo>
                    <a:pt x="4456" y="1638"/>
                  </a:lnTo>
                  <a:lnTo>
                    <a:pt x="4458" y="1638"/>
                  </a:lnTo>
                  <a:lnTo>
                    <a:pt x="4460" y="1640"/>
                  </a:lnTo>
                  <a:lnTo>
                    <a:pt x="4462" y="1640"/>
                  </a:lnTo>
                  <a:lnTo>
                    <a:pt x="4466" y="1638"/>
                  </a:lnTo>
                  <a:lnTo>
                    <a:pt x="4468" y="1638"/>
                  </a:lnTo>
                  <a:lnTo>
                    <a:pt x="4468" y="1638"/>
                  </a:lnTo>
                  <a:lnTo>
                    <a:pt x="4473" y="1638"/>
                  </a:lnTo>
                  <a:lnTo>
                    <a:pt x="4475" y="1636"/>
                  </a:lnTo>
                  <a:lnTo>
                    <a:pt x="4475" y="1638"/>
                  </a:lnTo>
                  <a:lnTo>
                    <a:pt x="4475" y="1638"/>
                  </a:lnTo>
                  <a:lnTo>
                    <a:pt x="4475" y="1638"/>
                  </a:lnTo>
                  <a:lnTo>
                    <a:pt x="4475" y="1640"/>
                  </a:lnTo>
                  <a:lnTo>
                    <a:pt x="4475" y="1640"/>
                  </a:lnTo>
                  <a:lnTo>
                    <a:pt x="4475" y="1640"/>
                  </a:lnTo>
                  <a:lnTo>
                    <a:pt x="4475" y="1642"/>
                  </a:lnTo>
                  <a:lnTo>
                    <a:pt x="4475" y="1642"/>
                  </a:lnTo>
                  <a:lnTo>
                    <a:pt x="4473" y="1642"/>
                  </a:lnTo>
                  <a:lnTo>
                    <a:pt x="4473" y="1642"/>
                  </a:lnTo>
                  <a:lnTo>
                    <a:pt x="4473" y="1644"/>
                  </a:lnTo>
                  <a:lnTo>
                    <a:pt x="4473" y="1644"/>
                  </a:lnTo>
                  <a:lnTo>
                    <a:pt x="4471" y="1642"/>
                  </a:lnTo>
                  <a:lnTo>
                    <a:pt x="4471" y="1642"/>
                  </a:lnTo>
                  <a:lnTo>
                    <a:pt x="4468" y="1642"/>
                  </a:lnTo>
                  <a:lnTo>
                    <a:pt x="4466" y="1642"/>
                  </a:lnTo>
                  <a:lnTo>
                    <a:pt x="4464" y="1642"/>
                  </a:lnTo>
                  <a:lnTo>
                    <a:pt x="4464" y="1642"/>
                  </a:lnTo>
                  <a:lnTo>
                    <a:pt x="4462" y="1642"/>
                  </a:lnTo>
                  <a:lnTo>
                    <a:pt x="4460" y="1644"/>
                  </a:lnTo>
                  <a:lnTo>
                    <a:pt x="4458" y="1646"/>
                  </a:lnTo>
                  <a:lnTo>
                    <a:pt x="4458" y="1646"/>
                  </a:lnTo>
                  <a:lnTo>
                    <a:pt x="4456" y="1646"/>
                  </a:lnTo>
                  <a:lnTo>
                    <a:pt x="4452" y="1644"/>
                  </a:lnTo>
                  <a:lnTo>
                    <a:pt x="4452" y="1644"/>
                  </a:lnTo>
                  <a:lnTo>
                    <a:pt x="4450" y="1646"/>
                  </a:lnTo>
                  <a:lnTo>
                    <a:pt x="4448" y="1646"/>
                  </a:lnTo>
                  <a:lnTo>
                    <a:pt x="4448" y="1648"/>
                  </a:lnTo>
                  <a:lnTo>
                    <a:pt x="4450" y="1648"/>
                  </a:lnTo>
                  <a:lnTo>
                    <a:pt x="4450" y="1648"/>
                  </a:lnTo>
                  <a:lnTo>
                    <a:pt x="4452" y="1648"/>
                  </a:lnTo>
                  <a:lnTo>
                    <a:pt x="4454" y="1648"/>
                  </a:lnTo>
                  <a:lnTo>
                    <a:pt x="4456" y="1650"/>
                  </a:lnTo>
                  <a:lnTo>
                    <a:pt x="4458" y="1654"/>
                  </a:lnTo>
                  <a:lnTo>
                    <a:pt x="4460" y="1654"/>
                  </a:lnTo>
                  <a:lnTo>
                    <a:pt x="4460" y="1656"/>
                  </a:lnTo>
                  <a:lnTo>
                    <a:pt x="4458" y="1658"/>
                  </a:lnTo>
                  <a:lnTo>
                    <a:pt x="4460" y="1660"/>
                  </a:lnTo>
                  <a:lnTo>
                    <a:pt x="4460" y="1662"/>
                  </a:lnTo>
                  <a:lnTo>
                    <a:pt x="4460" y="1662"/>
                  </a:lnTo>
                  <a:lnTo>
                    <a:pt x="4462" y="1664"/>
                  </a:lnTo>
                  <a:lnTo>
                    <a:pt x="4462" y="1664"/>
                  </a:lnTo>
                  <a:lnTo>
                    <a:pt x="4464" y="1664"/>
                  </a:lnTo>
                  <a:lnTo>
                    <a:pt x="4464" y="1664"/>
                  </a:lnTo>
                  <a:lnTo>
                    <a:pt x="4466" y="1664"/>
                  </a:lnTo>
                  <a:lnTo>
                    <a:pt x="4468" y="1662"/>
                  </a:lnTo>
                  <a:lnTo>
                    <a:pt x="4468" y="1660"/>
                  </a:lnTo>
                  <a:lnTo>
                    <a:pt x="4468" y="1660"/>
                  </a:lnTo>
                  <a:lnTo>
                    <a:pt x="4468" y="1660"/>
                  </a:lnTo>
                  <a:lnTo>
                    <a:pt x="4471" y="1658"/>
                  </a:lnTo>
                  <a:lnTo>
                    <a:pt x="4471" y="1656"/>
                  </a:lnTo>
                  <a:lnTo>
                    <a:pt x="4471" y="1654"/>
                  </a:lnTo>
                  <a:lnTo>
                    <a:pt x="4471" y="1654"/>
                  </a:lnTo>
                  <a:lnTo>
                    <a:pt x="4473" y="1654"/>
                  </a:lnTo>
                  <a:lnTo>
                    <a:pt x="4473" y="1652"/>
                  </a:lnTo>
                  <a:lnTo>
                    <a:pt x="4473" y="1650"/>
                  </a:lnTo>
                  <a:lnTo>
                    <a:pt x="4473" y="1650"/>
                  </a:lnTo>
                  <a:lnTo>
                    <a:pt x="4473" y="1650"/>
                  </a:lnTo>
                  <a:lnTo>
                    <a:pt x="4475" y="1650"/>
                  </a:lnTo>
                  <a:lnTo>
                    <a:pt x="4475" y="1652"/>
                  </a:lnTo>
                  <a:lnTo>
                    <a:pt x="4473" y="1652"/>
                  </a:lnTo>
                  <a:lnTo>
                    <a:pt x="4473" y="1654"/>
                  </a:lnTo>
                  <a:lnTo>
                    <a:pt x="4473" y="1656"/>
                  </a:lnTo>
                  <a:lnTo>
                    <a:pt x="4473" y="1656"/>
                  </a:lnTo>
                  <a:lnTo>
                    <a:pt x="4475" y="1658"/>
                  </a:lnTo>
                  <a:lnTo>
                    <a:pt x="4475" y="1658"/>
                  </a:lnTo>
                  <a:lnTo>
                    <a:pt x="4475" y="1658"/>
                  </a:lnTo>
                  <a:lnTo>
                    <a:pt x="4477" y="1660"/>
                  </a:lnTo>
                  <a:lnTo>
                    <a:pt x="4477" y="1660"/>
                  </a:lnTo>
                  <a:lnTo>
                    <a:pt x="4477" y="1660"/>
                  </a:lnTo>
                  <a:lnTo>
                    <a:pt x="4479" y="1660"/>
                  </a:lnTo>
                  <a:lnTo>
                    <a:pt x="4479" y="1660"/>
                  </a:lnTo>
                  <a:lnTo>
                    <a:pt x="4479" y="1660"/>
                  </a:lnTo>
                  <a:lnTo>
                    <a:pt x="4479" y="1662"/>
                  </a:lnTo>
                  <a:lnTo>
                    <a:pt x="4481" y="1662"/>
                  </a:lnTo>
                  <a:lnTo>
                    <a:pt x="4483" y="1662"/>
                  </a:lnTo>
                  <a:lnTo>
                    <a:pt x="4483" y="1662"/>
                  </a:lnTo>
                  <a:lnTo>
                    <a:pt x="4485" y="1662"/>
                  </a:lnTo>
                  <a:lnTo>
                    <a:pt x="4485" y="1662"/>
                  </a:lnTo>
                  <a:lnTo>
                    <a:pt x="4487" y="1662"/>
                  </a:lnTo>
                  <a:lnTo>
                    <a:pt x="4487" y="1662"/>
                  </a:lnTo>
                  <a:lnTo>
                    <a:pt x="4489" y="1662"/>
                  </a:lnTo>
                  <a:lnTo>
                    <a:pt x="4487" y="1662"/>
                  </a:lnTo>
                  <a:lnTo>
                    <a:pt x="4487" y="1662"/>
                  </a:lnTo>
                  <a:lnTo>
                    <a:pt x="4487" y="1664"/>
                  </a:lnTo>
                  <a:lnTo>
                    <a:pt x="4487" y="1666"/>
                  </a:lnTo>
                  <a:lnTo>
                    <a:pt x="4493" y="1669"/>
                  </a:lnTo>
                  <a:lnTo>
                    <a:pt x="4495" y="1669"/>
                  </a:lnTo>
                  <a:lnTo>
                    <a:pt x="4495" y="1669"/>
                  </a:lnTo>
                  <a:lnTo>
                    <a:pt x="4497" y="1669"/>
                  </a:lnTo>
                  <a:lnTo>
                    <a:pt x="4501" y="1671"/>
                  </a:lnTo>
                  <a:lnTo>
                    <a:pt x="4506" y="1671"/>
                  </a:lnTo>
                  <a:lnTo>
                    <a:pt x="4508" y="1671"/>
                  </a:lnTo>
                  <a:lnTo>
                    <a:pt x="4508" y="1673"/>
                  </a:lnTo>
                  <a:lnTo>
                    <a:pt x="4512" y="1673"/>
                  </a:lnTo>
                  <a:lnTo>
                    <a:pt x="4514" y="1675"/>
                  </a:lnTo>
                  <a:lnTo>
                    <a:pt x="4518" y="1675"/>
                  </a:lnTo>
                  <a:lnTo>
                    <a:pt x="4518" y="1677"/>
                  </a:lnTo>
                  <a:lnTo>
                    <a:pt x="4520" y="1677"/>
                  </a:lnTo>
                  <a:lnTo>
                    <a:pt x="4520" y="1677"/>
                  </a:lnTo>
                  <a:lnTo>
                    <a:pt x="4520" y="1677"/>
                  </a:lnTo>
                  <a:lnTo>
                    <a:pt x="4522" y="1677"/>
                  </a:lnTo>
                  <a:lnTo>
                    <a:pt x="4522" y="1677"/>
                  </a:lnTo>
                  <a:lnTo>
                    <a:pt x="4522" y="1677"/>
                  </a:lnTo>
                  <a:lnTo>
                    <a:pt x="4524" y="1677"/>
                  </a:lnTo>
                  <a:lnTo>
                    <a:pt x="4524" y="1677"/>
                  </a:lnTo>
                  <a:lnTo>
                    <a:pt x="4530" y="1681"/>
                  </a:lnTo>
                  <a:lnTo>
                    <a:pt x="4530" y="1681"/>
                  </a:lnTo>
                  <a:lnTo>
                    <a:pt x="4532" y="1683"/>
                  </a:lnTo>
                  <a:lnTo>
                    <a:pt x="4532" y="1683"/>
                  </a:lnTo>
                  <a:lnTo>
                    <a:pt x="4532" y="1683"/>
                  </a:lnTo>
                  <a:lnTo>
                    <a:pt x="4534" y="1683"/>
                  </a:lnTo>
                  <a:lnTo>
                    <a:pt x="4534" y="1683"/>
                  </a:lnTo>
                  <a:lnTo>
                    <a:pt x="4534" y="1685"/>
                  </a:lnTo>
                  <a:lnTo>
                    <a:pt x="4534" y="1687"/>
                  </a:lnTo>
                  <a:lnTo>
                    <a:pt x="4534" y="1687"/>
                  </a:lnTo>
                  <a:lnTo>
                    <a:pt x="4534" y="1687"/>
                  </a:lnTo>
                  <a:lnTo>
                    <a:pt x="4537" y="1687"/>
                  </a:lnTo>
                  <a:lnTo>
                    <a:pt x="4537" y="1687"/>
                  </a:lnTo>
                  <a:lnTo>
                    <a:pt x="4537" y="1687"/>
                  </a:lnTo>
                  <a:lnTo>
                    <a:pt x="4539" y="1687"/>
                  </a:lnTo>
                  <a:lnTo>
                    <a:pt x="4537" y="1687"/>
                  </a:lnTo>
                  <a:lnTo>
                    <a:pt x="4537" y="1689"/>
                  </a:lnTo>
                  <a:lnTo>
                    <a:pt x="4539" y="1689"/>
                  </a:lnTo>
                  <a:lnTo>
                    <a:pt x="4539" y="1689"/>
                  </a:lnTo>
                  <a:lnTo>
                    <a:pt x="4539" y="1689"/>
                  </a:lnTo>
                  <a:lnTo>
                    <a:pt x="4539" y="1691"/>
                  </a:lnTo>
                  <a:lnTo>
                    <a:pt x="4539" y="1693"/>
                  </a:lnTo>
                  <a:lnTo>
                    <a:pt x="4541" y="1695"/>
                  </a:lnTo>
                  <a:lnTo>
                    <a:pt x="4541" y="1697"/>
                  </a:lnTo>
                  <a:lnTo>
                    <a:pt x="4543" y="1700"/>
                  </a:lnTo>
                  <a:lnTo>
                    <a:pt x="4545" y="1700"/>
                  </a:lnTo>
                  <a:lnTo>
                    <a:pt x="4545" y="1702"/>
                  </a:lnTo>
                  <a:lnTo>
                    <a:pt x="4545" y="1704"/>
                  </a:lnTo>
                  <a:lnTo>
                    <a:pt x="4547" y="1704"/>
                  </a:lnTo>
                  <a:lnTo>
                    <a:pt x="4543" y="1704"/>
                  </a:lnTo>
                  <a:lnTo>
                    <a:pt x="4543" y="1704"/>
                  </a:lnTo>
                  <a:lnTo>
                    <a:pt x="4543" y="1706"/>
                  </a:lnTo>
                  <a:lnTo>
                    <a:pt x="4545" y="1706"/>
                  </a:lnTo>
                  <a:lnTo>
                    <a:pt x="4547" y="1708"/>
                  </a:lnTo>
                  <a:lnTo>
                    <a:pt x="4549" y="1708"/>
                  </a:lnTo>
                  <a:lnTo>
                    <a:pt x="4549" y="1708"/>
                  </a:lnTo>
                  <a:lnTo>
                    <a:pt x="4551" y="1708"/>
                  </a:lnTo>
                  <a:lnTo>
                    <a:pt x="4549" y="1710"/>
                  </a:lnTo>
                  <a:lnTo>
                    <a:pt x="4549" y="1710"/>
                  </a:lnTo>
                  <a:lnTo>
                    <a:pt x="4547" y="1708"/>
                  </a:lnTo>
                  <a:lnTo>
                    <a:pt x="4547" y="1708"/>
                  </a:lnTo>
                  <a:lnTo>
                    <a:pt x="4545" y="1708"/>
                  </a:lnTo>
                  <a:lnTo>
                    <a:pt x="4545" y="1710"/>
                  </a:lnTo>
                  <a:lnTo>
                    <a:pt x="4545" y="1710"/>
                  </a:lnTo>
                  <a:lnTo>
                    <a:pt x="4547" y="1710"/>
                  </a:lnTo>
                  <a:lnTo>
                    <a:pt x="4547" y="1712"/>
                  </a:lnTo>
                  <a:lnTo>
                    <a:pt x="4547" y="1712"/>
                  </a:lnTo>
                  <a:lnTo>
                    <a:pt x="4547" y="1712"/>
                  </a:lnTo>
                  <a:lnTo>
                    <a:pt x="4549" y="1714"/>
                  </a:lnTo>
                  <a:lnTo>
                    <a:pt x="4549" y="1714"/>
                  </a:lnTo>
                  <a:lnTo>
                    <a:pt x="4549" y="1714"/>
                  </a:lnTo>
                  <a:lnTo>
                    <a:pt x="4549" y="1716"/>
                  </a:lnTo>
                  <a:lnTo>
                    <a:pt x="4549" y="1718"/>
                  </a:lnTo>
                  <a:lnTo>
                    <a:pt x="4547" y="1718"/>
                  </a:lnTo>
                  <a:lnTo>
                    <a:pt x="4547" y="1720"/>
                  </a:lnTo>
                  <a:lnTo>
                    <a:pt x="4547" y="1720"/>
                  </a:lnTo>
                  <a:lnTo>
                    <a:pt x="4547" y="1722"/>
                  </a:lnTo>
                  <a:lnTo>
                    <a:pt x="4547" y="1722"/>
                  </a:lnTo>
                  <a:lnTo>
                    <a:pt x="4547" y="1722"/>
                  </a:lnTo>
                  <a:lnTo>
                    <a:pt x="4547" y="1724"/>
                  </a:lnTo>
                  <a:lnTo>
                    <a:pt x="4549" y="1722"/>
                  </a:lnTo>
                  <a:lnTo>
                    <a:pt x="4551" y="1720"/>
                  </a:lnTo>
                  <a:lnTo>
                    <a:pt x="4551" y="1720"/>
                  </a:lnTo>
                  <a:lnTo>
                    <a:pt x="4551" y="1720"/>
                  </a:lnTo>
                  <a:lnTo>
                    <a:pt x="4553" y="1722"/>
                  </a:lnTo>
                  <a:lnTo>
                    <a:pt x="4553" y="1722"/>
                  </a:lnTo>
                  <a:lnTo>
                    <a:pt x="4553" y="1722"/>
                  </a:lnTo>
                  <a:lnTo>
                    <a:pt x="4555" y="1722"/>
                  </a:lnTo>
                  <a:lnTo>
                    <a:pt x="4557" y="1722"/>
                  </a:lnTo>
                  <a:lnTo>
                    <a:pt x="4559" y="1722"/>
                  </a:lnTo>
                  <a:lnTo>
                    <a:pt x="4561" y="1722"/>
                  </a:lnTo>
                  <a:lnTo>
                    <a:pt x="4563" y="1720"/>
                  </a:lnTo>
                  <a:lnTo>
                    <a:pt x="4563" y="1718"/>
                  </a:lnTo>
                  <a:lnTo>
                    <a:pt x="4563" y="1720"/>
                  </a:lnTo>
                  <a:lnTo>
                    <a:pt x="4561" y="1722"/>
                  </a:lnTo>
                  <a:lnTo>
                    <a:pt x="4561" y="1722"/>
                  </a:lnTo>
                  <a:lnTo>
                    <a:pt x="4563" y="1722"/>
                  </a:lnTo>
                  <a:lnTo>
                    <a:pt x="4563" y="1724"/>
                  </a:lnTo>
                  <a:lnTo>
                    <a:pt x="4570" y="1728"/>
                  </a:lnTo>
                  <a:lnTo>
                    <a:pt x="4572" y="1730"/>
                  </a:lnTo>
                  <a:lnTo>
                    <a:pt x="4572" y="1733"/>
                  </a:lnTo>
                  <a:lnTo>
                    <a:pt x="4574" y="1735"/>
                  </a:lnTo>
                  <a:lnTo>
                    <a:pt x="4576" y="1735"/>
                  </a:lnTo>
                  <a:lnTo>
                    <a:pt x="4578" y="1737"/>
                  </a:lnTo>
                  <a:lnTo>
                    <a:pt x="4580" y="1737"/>
                  </a:lnTo>
                  <a:lnTo>
                    <a:pt x="4580" y="1737"/>
                  </a:lnTo>
                  <a:lnTo>
                    <a:pt x="4582" y="1737"/>
                  </a:lnTo>
                  <a:lnTo>
                    <a:pt x="4584" y="1737"/>
                  </a:lnTo>
                  <a:lnTo>
                    <a:pt x="4586" y="1737"/>
                  </a:lnTo>
                  <a:lnTo>
                    <a:pt x="4586" y="1737"/>
                  </a:lnTo>
                  <a:lnTo>
                    <a:pt x="4590" y="1737"/>
                  </a:lnTo>
                  <a:lnTo>
                    <a:pt x="4594" y="1737"/>
                  </a:lnTo>
                  <a:lnTo>
                    <a:pt x="4594" y="1737"/>
                  </a:lnTo>
                  <a:lnTo>
                    <a:pt x="4596" y="1737"/>
                  </a:lnTo>
                  <a:lnTo>
                    <a:pt x="4596" y="1737"/>
                  </a:lnTo>
                  <a:lnTo>
                    <a:pt x="4598" y="1739"/>
                  </a:lnTo>
                  <a:lnTo>
                    <a:pt x="4600" y="1739"/>
                  </a:lnTo>
                  <a:lnTo>
                    <a:pt x="4603" y="1737"/>
                  </a:lnTo>
                  <a:lnTo>
                    <a:pt x="4607" y="1735"/>
                  </a:lnTo>
                  <a:lnTo>
                    <a:pt x="4609" y="1735"/>
                  </a:lnTo>
                  <a:lnTo>
                    <a:pt x="4611" y="1733"/>
                  </a:lnTo>
                  <a:lnTo>
                    <a:pt x="4611" y="1733"/>
                  </a:lnTo>
                  <a:lnTo>
                    <a:pt x="4611" y="1730"/>
                  </a:lnTo>
                  <a:lnTo>
                    <a:pt x="4611" y="1730"/>
                  </a:lnTo>
                  <a:lnTo>
                    <a:pt x="4609" y="1728"/>
                  </a:lnTo>
                  <a:lnTo>
                    <a:pt x="4609" y="1728"/>
                  </a:lnTo>
                  <a:lnTo>
                    <a:pt x="4607" y="1726"/>
                  </a:lnTo>
                  <a:lnTo>
                    <a:pt x="4607" y="1726"/>
                  </a:lnTo>
                  <a:lnTo>
                    <a:pt x="4605" y="1726"/>
                  </a:lnTo>
                  <a:lnTo>
                    <a:pt x="4603" y="1724"/>
                  </a:lnTo>
                  <a:lnTo>
                    <a:pt x="4598" y="1724"/>
                  </a:lnTo>
                  <a:lnTo>
                    <a:pt x="4598" y="1724"/>
                  </a:lnTo>
                  <a:lnTo>
                    <a:pt x="4596" y="1724"/>
                  </a:lnTo>
                  <a:lnTo>
                    <a:pt x="4596" y="1724"/>
                  </a:lnTo>
                  <a:lnTo>
                    <a:pt x="4596" y="1722"/>
                  </a:lnTo>
                  <a:lnTo>
                    <a:pt x="4594" y="1722"/>
                  </a:lnTo>
                  <a:lnTo>
                    <a:pt x="4594" y="1722"/>
                  </a:lnTo>
                  <a:lnTo>
                    <a:pt x="4596" y="1722"/>
                  </a:lnTo>
                  <a:lnTo>
                    <a:pt x="4596" y="1722"/>
                  </a:lnTo>
                  <a:lnTo>
                    <a:pt x="4596" y="1724"/>
                  </a:lnTo>
                  <a:lnTo>
                    <a:pt x="4596" y="1724"/>
                  </a:lnTo>
                  <a:lnTo>
                    <a:pt x="4598" y="1724"/>
                  </a:lnTo>
                  <a:lnTo>
                    <a:pt x="4600" y="1724"/>
                  </a:lnTo>
                  <a:lnTo>
                    <a:pt x="4600" y="1724"/>
                  </a:lnTo>
                  <a:lnTo>
                    <a:pt x="4603" y="1724"/>
                  </a:lnTo>
                  <a:lnTo>
                    <a:pt x="4605" y="1724"/>
                  </a:lnTo>
                  <a:lnTo>
                    <a:pt x="4607" y="1724"/>
                  </a:lnTo>
                  <a:lnTo>
                    <a:pt x="4609" y="1724"/>
                  </a:lnTo>
                  <a:lnTo>
                    <a:pt x="4611" y="1724"/>
                  </a:lnTo>
                  <a:lnTo>
                    <a:pt x="4615" y="1722"/>
                  </a:lnTo>
                  <a:lnTo>
                    <a:pt x="4613" y="1722"/>
                  </a:lnTo>
                  <a:lnTo>
                    <a:pt x="4613" y="1720"/>
                  </a:lnTo>
                  <a:lnTo>
                    <a:pt x="4613" y="1720"/>
                  </a:lnTo>
                  <a:lnTo>
                    <a:pt x="4613" y="1720"/>
                  </a:lnTo>
                  <a:lnTo>
                    <a:pt x="4615" y="1720"/>
                  </a:lnTo>
                  <a:lnTo>
                    <a:pt x="4617" y="1720"/>
                  </a:lnTo>
                  <a:lnTo>
                    <a:pt x="4617" y="1720"/>
                  </a:lnTo>
                  <a:lnTo>
                    <a:pt x="4617" y="1720"/>
                  </a:lnTo>
                  <a:lnTo>
                    <a:pt x="4617" y="1718"/>
                  </a:lnTo>
                  <a:lnTo>
                    <a:pt x="4617" y="1720"/>
                  </a:lnTo>
                  <a:lnTo>
                    <a:pt x="4619" y="1718"/>
                  </a:lnTo>
                  <a:lnTo>
                    <a:pt x="4615" y="1714"/>
                  </a:lnTo>
                  <a:lnTo>
                    <a:pt x="4615" y="1712"/>
                  </a:lnTo>
                  <a:lnTo>
                    <a:pt x="4615" y="1712"/>
                  </a:lnTo>
                  <a:lnTo>
                    <a:pt x="4617" y="1714"/>
                  </a:lnTo>
                  <a:lnTo>
                    <a:pt x="4617" y="1714"/>
                  </a:lnTo>
                  <a:lnTo>
                    <a:pt x="4617" y="1716"/>
                  </a:lnTo>
                  <a:lnTo>
                    <a:pt x="4619" y="1716"/>
                  </a:lnTo>
                  <a:lnTo>
                    <a:pt x="4621" y="1716"/>
                  </a:lnTo>
                  <a:lnTo>
                    <a:pt x="4623" y="1716"/>
                  </a:lnTo>
                  <a:lnTo>
                    <a:pt x="4623" y="1716"/>
                  </a:lnTo>
                  <a:lnTo>
                    <a:pt x="4623" y="1716"/>
                  </a:lnTo>
                  <a:lnTo>
                    <a:pt x="4625" y="1716"/>
                  </a:lnTo>
                  <a:lnTo>
                    <a:pt x="4625" y="1716"/>
                  </a:lnTo>
                  <a:lnTo>
                    <a:pt x="4625" y="1716"/>
                  </a:lnTo>
                  <a:lnTo>
                    <a:pt x="4625" y="1714"/>
                  </a:lnTo>
                  <a:lnTo>
                    <a:pt x="4627" y="1714"/>
                  </a:lnTo>
                  <a:lnTo>
                    <a:pt x="4627" y="1714"/>
                  </a:lnTo>
                  <a:lnTo>
                    <a:pt x="4629" y="1714"/>
                  </a:lnTo>
                  <a:lnTo>
                    <a:pt x="4631" y="1714"/>
                  </a:lnTo>
                  <a:lnTo>
                    <a:pt x="4631" y="1714"/>
                  </a:lnTo>
                  <a:lnTo>
                    <a:pt x="4631" y="1716"/>
                  </a:lnTo>
                  <a:lnTo>
                    <a:pt x="4633" y="1716"/>
                  </a:lnTo>
                  <a:lnTo>
                    <a:pt x="4633" y="1716"/>
                  </a:lnTo>
                  <a:lnTo>
                    <a:pt x="4636" y="1718"/>
                  </a:lnTo>
                  <a:lnTo>
                    <a:pt x="4636" y="1718"/>
                  </a:lnTo>
                  <a:lnTo>
                    <a:pt x="4638" y="1718"/>
                  </a:lnTo>
                  <a:lnTo>
                    <a:pt x="4640" y="1718"/>
                  </a:lnTo>
                  <a:lnTo>
                    <a:pt x="4642" y="1718"/>
                  </a:lnTo>
                  <a:lnTo>
                    <a:pt x="4644" y="1720"/>
                  </a:lnTo>
                  <a:lnTo>
                    <a:pt x="4644" y="1720"/>
                  </a:lnTo>
                  <a:lnTo>
                    <a:pt x="4646" y="1720"/>
                  </a:lnTo>
                  <a:lnTo>
                    <a:pt x="4648" y="1720"/>
                  </a:lnTo>
                  <a:lnTo>
                    <a:pt x="4650" y="1722"/>
                  </a:lnTo>
                  <a:lnTo>
                    <a:pt x="4650" y="1722"/>
                  </a:lnTo>
                  <a:lnTo>
                    <a:pt x="4650" y="1722"/>
                  </a:lnTo>
                  <a:lnTo>
                    <a:pt x="4650" y="1724"/>
                  </a:lnTo>
                  <a:lnTo>
                    <a:pt x="4652" y="1724"/>
                  </a:lnTo>
                  <a:lnTo>
                    <a:pt x="4652" y="1726"/>
                  </a:lnTo>
                  <a:lnTo>
                    <a:pt x="4654" y="1728"/>
                  </a:lnTo>
                  <a:lnTo>
                    <a:pt x="4656" y="1730"/>
                  </a:lnTo>
                  <a:lnTo>
                    <a:pt x="4656" y="1733"/>
                  </a:lnTo>
                  <a:lnTo>
                    <a:pt x="4658" y="1735"/>
                  </a:lnTo>
                  <a:lnTo>
                    <a:pt x="4660" y="1735"/>
                  </a:lnTo>
                  <a:lnTo>
                    <a:pt x="4660" y="1735"/>
                  </a:lnTo>
                  <a:lnTo>
                    <a:pt x="4662" y="1735"/>
                  </a:lnTo>
                  <a:lnTo>
                    <a:pt x="4660" y="1737"/>
                  </a:lnTo>
                  <a:lnTo>
                    <a:pt x="4660" y="1737"/>
                  </a:lnTo>
                  <a:lnTo>
                    <a:pt x="4662" y="1739"/>
                  </a:lnTo>
                  <a:lnTo>
                    <a:pt x="4662" y="1741"/>
                  </a:lnTo>
                  <a:lnTo>
                    <a:pt x="4666" y="1743"/>
                  </a:lnTo>
                  <a:lnTo>
                    <a:pt x="4669" y="1743"/>
                  </a:lnTo>
                  <a:lnTo>
                    <a:pt x="4669" y="1745"/>
                  </a:lnTo>
                  <a:lnTo>
                    <a:pt x="4671" y="1747"/>
                  </a:lnTo>
                  <a:lnTo>
                    <a:pt x="4671" y="1747"/>
                  </a:lnTo>
                  <a:lnTo>
                    <a:pt x="4673" y="1749"/>
                  </a:lnTo>
                  <a:lnTo>
                    <a:pt x="4673" y="1749"/>
                  </a:lnTo>
                  <a:lnTo>
                    <a:pt x="4675" y="1749"/>
                  </a:lnTo>
                  <a:lnTo>
                    <a:pt x="4677" y="1751"/>
                  </a:lnTo>
                  <a:lnTo>
                    <a:pt x="4679" y="1751"/>
                  </a:lnTo>
                  <a:lnTo>
                    <a:pt x="4679" y="1749"/>
                  </a:lnTo>
                  <a:lnTo>
                    <a:pt x="4681" y="1751"/>
                  </a:lnTo>
                  <a:lnTo>
                    <a:pt x="4681" y="1751"/>
                  </a:lnTo>
                  <a:lnTo>
                    <a:pt x="4683" y="1751"/>
                  </a:lnTo>
                  <a:lnTo>
                    <a:pt x="4685" y="1751"/>
                  </a:lnTo>
                  <a:lnTo>
                    <a:pt x="4685" y="1751"/>
                  </a:lnTo>
                  <a:lnTo>
                    <a:pt x="4687" y="1751"/>
                  </a:lnTo>
                  <a:lnTo>
                    <a:pt x="4689" y="1751"/>
                  </a:lnTo>
                  <a:lnTo>
                    <a:pt x="4689" y="1751"/>
                  </a:lnTo>
                  <a:lnTo>
                    <a:pt x="4695" y="1753"/>
                  </a:lnTo>
                  <a:lnTo>
                    <a:pt x="4699" y="1753"/>
                  </a:lnTo>
                  <a:lnTo>
                    <a:pt x="4699" y="1753"/>
                  </a:lnTo>
                  <a:lnTo>
                    <a:pt x="4702" y="1753"/>
                  </a:lnTo>
                  <a:lnTo>
                    <a:pt x="4704" y="1753"/>
                  </a:lnTo>
                  <a:lnTo>
                    <a:pt x="4704" y="1755"/>
                  </a:lnTo>
                  <a:lnTo>
                    <a:pt x="4706" y="1755"/>
                  </a:lnTo>
                  <a:lnTo>
                    <a:pt x="4706" y="1757"/>
                  </a:lnTo>
                  <a:lnTo>
                    <a:pt x="4708" y="1757"/>
                  </a:lnTo>
                  <a:lnTo>
                    <a:pt x="4710" y="1757"/>
                  </a:lnTo>
                  <a:lnTo>
                    <a:pt x="4712" y="1757"/>
                  </a:lnTo>
                  <a:lnTo>
                    <a:pt x="4712" y="1757"/>
                  </a:lnTo>
                  <a:lnTo>
                    <a:pt x="4714" y="1757"/>
                  </a:lnTo>
                  <a:lnTo>
                    <a:pt x="4714" y="1755"/>
                  </a:lnTo>
                  <a:lnTo>
                    <a:pt x="4714" y="1755"/>
                  </a:lnTo>
                  <a:lnTo>
                    <a:pt x="4712" y="1755"/>
                  </a:lnTo>
                  <a:lnTo>
                    <a:pt x="4712" y="1753"/>
                  </a:lnTo>
                  <a:lnTo>
                    <a:pt x="4712" y="1753"/>
                  </a:lnTo>
                  <a:lnTo>
                    <a:pt x="4714" y="1753"/>
                  </a:lnTo>
                  <a:close/>
                  <a:moveTo>
                    <a:pt x="4613" y="1726"/>
                  </a:moveTo>
                  <a:lnTo>
                    <a:pt x="4613" y="1726"/>
                  </a:lnTo>
                  <a:lnTo>
                    <a:pt x="4613" y="1726"/>
                  </a:lnTo>
                  <a:lnTo>
                    <a:pt x="4613" y="1724"/>
                  </a:lnTo>
                  <a:lnTo>
                    <a:pt x="4609" y="1724"/>
                  </a:lnTo>
                  <a:lnTo>
                    <a:pt x="4611" y="1726"/>
                  </a:lnTo>
                  <a:lnTo>
                    <a:pt x="4613" y="1726"/>
                  </a:lnTo>
                  <a:lnTo>
                    <a:pt x="4613" y="1726"/>
                  </a:lnTo>
                  <a:close/>
                  <a:moveTo>
                    <a:pt x="4555" y="1850"/>
                  </a:moveTo>
                  <a:lnTo>
                    <a:pt x="4553" y="1850"/>
                  </a:lnTo>
                  <a:lnTo>
                    <a:pt x="4555" y="1850"/>
                  </a:lnTo>
                  <a:lnTo>
                    <a:pt x="4555" y="1850"/>
                  </a:lnTo>
                  <a:lnTo>
                    <a:pt x="4557" y="1850"/>
                  </a:lnTo>
                  <a:lnTo>
                    <a:pt x="4555" y="1850"/>
                  </a:lnTo>
                  <a:lnTo>
                    <a:pt x="4555" y="1848"/>
                  </a:lnTo>
                  <a:lnTo>
                    <a:pt x="4555" y="1850"/>
                  </a:lnTo>
                  <a:close/>
                  <a:moveTo>
                    <a:pt x="4543" y="1724"/>
                  </a:moveTo>
                  <a:lnTo>
                    <a:pt x="4547" y="1726"/>
                  </a:lnTo>
                  <a:lnTo>
                    <a:pt x="4547" y="1726"/>
                  </a:lnTo>
                  <a:lnTo>
                    <a:pt x="4547" y="1724"/>
                  </a:lnTo>
                  <a:lnTo>
                    <a:pt x="4545" y="1722"/>
                  </a:lnTo>
                  <a:lnTo>
                    <a:pt x="4545" y="1722"/>
                  </a:lnTo>
                  <a:lnTo>
                    <a:pt x="4543" y="1722"/>
                  </a:lnTo>
                  <a:lnTo>
                    <a:pt x="4543" y="1724"/>
                  </a:lnTo>
                  <a:lnTo>
                    <a:pt x="4543" y="1724"/>
                  </a:lnTo>
                  <a:lnTo>
                    <a:pt x="4543" y="1724"/>
                  </a:lnTo>
                  <a:lnTo>
                    <a:pt x="4543" y="1724"/>
                  </a:lnTo>
                  <a:close/>
                  <a:moveTo>
                    <a:pt x="4547" y="1718"/>
                  </a:moveTo>
                  <a:lnTo>
                    <a:pt x="4549" y="1716"/>
                  </a:lnTo>
                  <a:lnTo>
                    <a:pt x="4547" y="1714"/>
                  </a:lnTo>
                  <a:lnTo>
                    <a:pt x="4547" y="1712"/>
                  </a:lnTo>
                  <a:lnTo>
                    <a:pt x="4545" y="1712"/>
                  </a:lnTo>
                  <a:lnTo>
                    <a:pt x="4545" y="1712"/>
                  </a:lnTo>
                  <a:lnTo>
                    <a:pt x="4541" y="1712"/>
                  </a:lnTo>
                  <a:lnTo>
                    <a:pt x="4539" y="1712"/>
                  </a:lnTo>
                  <a:lnTo>
                    <a:pt x="4537" y="1712"/>
                  </a:lnTo>
                  <a:lnTo>
                    <a:pt x="4534" y="1714"/>
                  </a:lnTo>
                  <a:lnTo>
                    <a:pt x="4534" y="1714"/>
                  </a:lnTo>
                  <a:lnTo>
                    <a:pt x="4532" y="1718"/>
                  </a:lnTo>
                  <a:lnTo>
                    <a:pt x="4530" y="1724"/>
                  </a:lnTo>
                  <a:lnTo>
                    <a:pt x="4528" y="1726"/>
                  </a:lnTo>
                  <a:lnTo>
                    <a:pt x="4530" y="1726"/>
                  </a:lnTo>
                  <a:lnTo>
                    <a:pt x="4532" y="1724"/>
                  </a:lnTo>
                  <a:lnTo>
                    <a:pt x="4534" y="1724"/>
                  </a:lnTo>
                  <a:lnTo>
                    <a:pt x="4539" y="1726"/>
                  </a:lnTo>
                  <a:lnTo>
                    <a:pt x="4541" y="1724"/>
                  </a:lnTo>
                  <a:lnTo>
                    <a:pt x="4543" y="1722"/>
                  </a:lnTo>
                  <a:lnTo>
                    <a:pt x="4545" y="1720"/>
                  </a:lnTo>
                  <a:lnTo>
                    <a:pt x="4547" y="1718"/>
                  </a:lnTo>
                  <a:close/>
                  <a:moveTo>
                    <a:pt x="4518" y="1809"/>
                  </a:moveTo>
                  <a:lnTo>
                    <a:pt x="4518" y="1809"/>
                  </a:lnTo>
                  <a:lnTo>
                    <a:pt x="4518" y="1809"/>
                  </a:lnTo>
                  <a:lnTo>
                    <a:pt x="4518" y="1809"/>
                  </a:lnTo>
                  <a:lnTo>
                    <a:pt x="4516" y="1809"/>
                  </a:lnTo>
                  <a:lnTo>
                    <a:pt x="4516" y="1807"/>
                  </a:lnTo>
                  <a:lnTo>
                    <a:pt x="4516" y="1807"/>
                  </a:lnTo>
                  <a:lnTo>
                    <a:pt x="4516" y="1805"/>
                  </a:lnTo>
                  <a:lnTo>
                    <a:pt x="4518" y="1805"/>
                  </a:lnTo>
                  <a:lnTo>
                    <a:pt x="4518" y="1805"/>
                  </a:lnTo>
                  <a:lnTo>
                    <a:pt x="4518" y="1803"/>
                  </a:lnTo>
                  <a:lnTo>
                    <a:pt x="4518" y="1803"/>
                  </a:lnTo>
                  <a:lnTo>
                    <a:pt x="4518" y="1803"/>
                  </a:lnTo>
                  <a:lnTo>
                    <a:pt x="4518" y="1803"/>
                  </a:lnTo>
                  <a:lnTo>
                    <a:pt x="4516" y="1803"/>
                  </a:lnTo>
                  <a:lnTo>
                    <a:pt x="4516" y="1803"/>
                  </a:lnTo>
                  <a:lnTo>
                    <a:pt x="4516" y="1803"/>
                  </a:lnTo>
                  <a:lnTo>
                    <a:pt x="4516" y="1803"/>
                  </a:lnTo>
                  <a:lnTo>
                    <a:pt x="4516" y="1801"/>
                  </a:lnTo>
                  <a:lnTo>
                    <a:pt x="4514" y="1801"/>
                  </a:lnTo>
                  <a:lnTo>
                    <a:pt x="4514" y="1801"/>
                  </a:lnTo>
                  <a:lnTo>
                    <a:pt x="4514" y="1803"/>
                  </a:lnTo>
                  <a:lnTo>
                    <a:pt x="4512" y="1803"/>
                  </a:lnTo>
                  <a:lnTo>
                    <a:pt x="4512" y="1807"/>
                  </a:lnTo>
                  <a:lnTo>
                    <a:pt x="4512" y="1807"/>
                  </a:lnTo>
                  <a:lnTo>
                    <a:pt x="4512" y="1809"/>
                  </a:lnTo>
                  <a:lnTo>
                    <a:pt x="4510" y="1809"/>
                  </a:lnTo>
                  <a:lnTo>
                    <a:pt x="4510" y="1809"/>
                  </a:lnTo>
                  <a:lnTo>
                    <a:pt x="4512" y="1809"/>
                  </a:lnTo>
                  <a:lnTo>
                    <a:pt x="4514" y="1809"/>
                  </a:lnTo>
                  <a:lnTo>
                    <a:pt x="4516" y="1809"/>
                  </a:lnTo>
                  <a:lnTo>
                    <a:pt x="4518" y="1809"/>
                  </a:lnTo>
                  <a:lnTo>
                    <a:pt x="4518" y="1809"/>
                  </a:lnTo>
                  <a:close/>
                  <a:moveTo>
                    <a:pt x="4751" y="1968"/>
                  </a:moveTo>
                  <a:lnTo>
                    <a:pt x="4749" y="1970"/>
                  </a:lnTo>
                  <a:lnTo>
                    <a:pt x="4749" y="1972"/>
                  </a:lnTo>
                  <a:lnTo>
                    <a:pt x="4749" y="1972"/>
                  </a:lnTo>
                  <a:lnTo>
                    <a:pt x="4747" y="1974"/>
                  </a:lnTo>
                  <a:lnTo>
                    <a:pt x="4747" y="1976"/>
                  </a:lnTo>
                  <a:lnTo>
                    <a:pt x="4747" y="1978"/>
                  </a:lnTo>
                  <a:lnTo>
                    <a:pt x="4749" y="1978"/>
                  </a:lnTo>
                  <a:lnTo>
                    <a:pt x="4749" y="1978"/>
                  </a:lnTo>
                  <a:lnTo>
                    <a:pt x="4749" y="1978"/>
                  </a:lnTo>
                  <a:lnTo>
                    <a:pt x="4749" y="1974"/>
                  </a:lnTo>
                  <a:lnTo>
                    <a:pt x="4753" y="1968"/>
                  </a:lnTo>
                  <a:lnTo>
                    <a:pt x="4753" y="1968"/>
                  </a:lnTo>
                  <a:lnTo>
                    <a:pt x="4751" y="1966"/>
                  </a:lnTo>
                  <a:lnTo>
                    <a:pt x="4751" y="1964"/>
                  </a:lnTo>
                  <a:lnTo>
                    <a:pt x="4751" y="1964"/>
                  </a:lnTo>
                  <a:lnTo>
                    <a:pt x="4751" y="1964"/>
                  </a:lnTo>
                  <a:lnTo>
                    <a:pt x="4751" y="1964"/>
                  </a:lnTo>
                  <a:lnTo>
                    <a:pt x="4749" y="1964"/>
                  </a:lnTo>
                  <a:lnTo>
                    <a:pt x="4751" y="1964"/>
                  </a:lnTo>
                  <a:lnTo>
                    <a:pt x="4751" y="1966"/>
                  </a:lnTo>
                  <a:lnTo>
                    <a:pt x="4751" y="1968"/>
                  </a:lnTo>
                  <a:lnTo>
                    <a:pt x="4751" y="1968"/>
                  </a:lnTo>
                  <a:close/>
                  <a:moveTo>
                    <a:pt x="4557" y="1840"/>
                  </a:moveTo>
                  <a:lnTo>
                    <a:pt x="4557" y="1840"/>
                  </a:lnTo>
                  <a:lnTo>
                    <a:pt x="4555" y="1842"/>
                  </a:lnTo>
                  <a:lnTo>
                    <a:pt x="4553" y="1842"/>
                  </a:lnTo>
                  <a:lnTo>
                    <a:pt x="4551" y="1842"/>
                  </a:lnTo>
                  <a:lnTo>
                    <a:pt x="4551" y="1844"/>
                  </a:lnTo>
                  <a:lnTo>
                    <a:pt x="4551" y="1844"/>
                  </a:lnTo>
                  <a:lnTo>
                    <a:pt x="4551" y="1846"/>
                  </a:lnTo>
                  <a:lnTo>
                    <a:pt x="4551" y="1844"/>
                  </a:lnTo>
                  <a:lnTo>
                    <a:pt x="4553" y="1844"/>
                  </a:lnTo>
                  <a:lnTo>
                    <a:pt x="4553" y="1844"/>
                  </a:lnTo>
                  <a:lnTo>
                    <a:pt x="4553" y="1844"/>
                  </a:lnTo>
                  <a:lnTo>
                    <a:pt x="4555" y="1844"/>
                  </a:lnTo>
                  <a:lnTo>
                    <a:pt x="4555" y="1842"/>
                  </a:lnTo>
                  <a:lnTo>
                    <a:pt x="4555" y="1842"/>
                  </a:lnTo>
                  <a:lnTo>
                    <a:pt x="4557" y="1842"/>
                  </a:lnTo>
                  <a:lnTo>
                    <a:pt x="4557" y="1840"/>
                  </a:lnTo>
                  <a:close/>
                  <a:moveTo>
                    <a:pt x="4594" y="1751"/>
                  </a:moveTo>
                  <a:lnTo>
                    <a:pt x="4594" y="1749"/>
                  </a:lnTo>
                  <a:lnTo>
                    <a:pt x="4592" y="1749"/>
                  </a:lnTo>
                  <a:lnTo>
                    <a:pt x="4592" y="1749"/>
                  </a:lnTo>
                  <a:lnTo>
                    <a:pt x="4592" y="1751"/>
                  </a:lnTo>
                  <a:lnTo>
                    <a:pt x="4594" y="1751"/>
                  </a:lnTo>
                  <a:close/>
                  <a:moveTo>
                    <a:pt x="4594" y="1759"/>
                  </a:moveTo>
                  <a:lnTo>
                    <a:pt x="4594" y="1759"/>
                  </a:lnTo>
                  <a:lnTo>
                    <a:pt x="4594" y="1757"/>
                  </a:lnTo>
                  <a:lnTo>
                    <a:pt x="4592" y="1757"/>
                  </a:lnTo>
                  <a:lnTo>
                    <a:pt x="4592" y="1757"/>
                  </a:lnTo>
                  <a:lnTo>
                    <a:pt x="4592" y="1759"/>
                  </a:lnTo>
                  <a:lnTo>
                    <a:pt x="4594" y="1759"/>
                  </a:lnTo>
                  <a:close/>
                  <a:moveTo>
                    <a:pt x="4596" y="1751"/>
                  </a:moveTo>
                  <a:lnTo>
                    <a:pt x="4594" y="1751"/>
                  </a:lnTo>
                  <a:lnTo>
                    <a:pt x="4594" y="1751"/>
                  </a:lnTo>
                  <a:lnTo>
                    <a:pt x="4594" y="1751"/>
                  </a:lnTo>
                  <a:lnTo>
                    <a:pt x="4594" y="1751"/>
                  </a:lnTo>
                  <a:lnTo>
                    <a:pt x="4594" y="1751"/>
                  </a:lnTo>
                  <a:lnTo>
                    <a:pt x="4596" y="1751"/>
                  </a:lnTo>
                  <a:close/>
                  <a:moveTo>
                    <a:pt x="4722" y="1945"/>
                  </a:moveTo>
                  <a:lnTo>
                    <a:pt x="4722" y="1945"/>
                  </a:lnTo>
                  <a:lnTo>
                    <a:pt x="4722" y="1945"/>
                  </a:lnTo>
                  <a:lnTo>
                    <a:pt x="4720" y="1945"/>
                  </a:lnTo>
                  <a:lnTo>
                    <a:pt x="4720" y="1945"/>
                  </a:lnTo>
                  <a:lnTo>
                    <a:pt x="4722" y="1949"/>
                  </a:lnTo>
                  <a:lnTo>
                    <a:pt x="4722" y="1949"/>
                  </a:lnTo>
                  <a:lnTo>
                    <a:pt x="4722" y="1949"/>
                  </a:lnTo>
                  <a:lnTo>
                    <a:pt x="4724" y="1947"/>
                  </a:lnTo>
                  <a:lnTo>
                    <a:pt x="4722" y="1947"/>
                  </a:lnTo>
                  <a:lnTo>
                    <a:pt x="4722" y="1947"/>
                  </a:lnTo>
                  <a:lnTo>
                    <a:pt x="4722" y="1945"/>
                  </a:lnTo>
                  <a:lnTo>
                    <a:pt x="4722" y="1945"/>
                  </a:lnTo>
                  <a:close/>
                  <a:moveTo>
                    <a:pt x="4671" y="923"/>
                  </a:moveTo>
                  <a:lnTo>
                    <a:pt x="4671" y="923"/>
                  </a:lnTo>
                  <a:lnTo>
                    <a:pt x="4669" y="925"/>
                  </a:lnTo>
                  <a:lnTo>
                    <a:pt x="4666" y="927"/>
                  </a:lnTo>
                  <a:lnTo>
                    <a:pt x="4664" y="927"/>
                  </a:lnTo>
                  <a:lnTo>
                    <a:pt x="4664" y="929"/>
                  </a:lnTo>
                  <a:lnTo>
                    <a:pt x="4662" y="931"/>
                  </a:lnTo>
                  <a:lnTo>
                    <a:pt x="4660" y="931"/>
                  </a:lnTo>
                  <a:lnTo>
                    <a:pt x="4660" y="933"/>
                  </a:lnTo>
                  <a:lnTo>
                    <a:pt x="4664" y="931"/>
                  </a:lnTo>
                  <a:lnTo>
                    <a:pt x="4664" y="931"/>
                  </a:lnTo>
                  <a:lnTo>
                    <a:pt x="4666" y="929"/>
                  </a:lnTo>
                  <a:lnTo>
                    <a:pt x="4671" y="927"/>
                  </a:lnTo>
                  <a:lnTo>
                    <a:pt x="4671" y="925"/>
                  </a:lnTo>
                  <a:lnTo>
                    <a:pt x="4671" y="925"/>
                  </a:lnTo>
                  <a:lnTo>
                    <a:pt x="4671" y="925"/>
                  </a:lnTo>
                  <a:lnTo>
                    <a:pt x="4673" y="925"/>
                  </a:lnTo>
                  <a:lnTo>
                    <a:pt x="4675" y="923"/>
                  </a:lnTo>
                  <a:lnTo>
                    <a:pt x="4677" y="923"/>
                  </a:lnTo>
                  <a:lnTo>
                    <a:pt x="4681" y="919"/>
                  </a:lnTo>
                  <a:lnTo>
                    <a:pt x="4683" y="919"/>
                  </a:lnTo>
                  <a:lnTo>
                    <a:pt x="4685" y="919"/>
                  </a:lnTo>
                  <a:lnTo>
                    <a:pt x="4687" y="919"/>
                  </a:lnTo>
                  <a:lnTo>
                    <a:pt x="4689" y="917"/>
                  </a:lnTo>
                  <a:lnTo>
                    <a:pt x="4687" y="917"/>
                  </a:lnTo>
                  <a:lnTo>
                    <a:pt x="4689" y="915"/>
                  </a:lnTo>
                  <a:lnTo>
                    <a:pt x="4689" y="915"/>
                  </a:lnTo>
                  <a:lnTo>
                    <a:pt x="4687" y="915"/>
                  </a:lnTo>
                  <a:lnTo>
                    <a:pt x="4687" y="915"/>
                  </a:lnTo>
                  <a:lnTo>
                    <a:pt x="4687" y="915"/>
                  </a:lnTo>
                  <a:lnTo>
                    <a:pt x="4685" y="915"/>
                  </a:lnTo>
                  <a:lnTo>
                    <a:pt x="4681" y="919"/>
                  </a:lnTo>
                  <a:lnTo>
                    <a:pt x="4679" y="919"/>
                  </a:lnTo>
                  <a:lnTo>
                    <a:pt x="4677" y="919"/>
                  </a:lnTo>
                  <a:lnTo>
                    <a:pt x="4677" y="917"/>
                  </a:lnTo>
                  <a:lnTo>
                    <a:pt x="4675" y="917"/>
                  </a:lnTo>
                  <a:lnTo>
                    <a:pt x="4675" y="919"/>
                  </a:lnTo>
                  <a:lnTo>
                    <a:pt x="4675" y="919"/>
                  </a:lnTo>
                  <a:lnTo>
                    <a:pt x="4673" y="921"/>
                  </a:lnTo>
                  <a:lnTo>
                    <a:pt x="4671" y="923"/>
                  </a:lnTo>
                  <a:close/>
                  <a:moveTo>
                    <a:pt x="4588" y="787"/>
                  </a:moveTo>
                  <a:lnTo>
                    <a:pt x="4588" y="789"/>
                  </a:lnTo>
                  <a:lnTo>
                    <a:pt x="4586" y="789"/>
                  </a:lnTo>
                  <a:lnTo>
                    <a:pt x="4586" y="791"/>
                  </a:lnTo>
                  <a:lnTo>
                    <a:pt x="4586" y="797"/>
                  </a:lnTo>
                  <a:lnTo>
                    <a:pt x="4586" y="799"/>
                  </a:lnTo>
                  <a:lnTo>
                    <a:pt x="4588" y="801"/>
                  </a:lnTo>
                  <a:lnTo>
                    <a:pt x="4588" y="801"/>
                  </a:lnTo>
                  <a:lnTo>
                    <a:pt x="4586" y="801"/>
                  </a:lnTo>
                  <a:lnTo>
                    <a:pt x="4588" y="803"/>
                  </a:lnTo>
                  <a:lnTo>
                    <a:pt x="4588" y="803"/>
                  </a:lnTo>
                  <a:lnTo>
                    <a:pt x="4590" y="805"/>
                  </a:lnTo>
                  <a:lnTo>
                    <a:pt x="4592" y="808"/>
                  </a:lnTo>
                  <a:lnTo>
                    <a:pt x="4594" y="812"/>
                  </a:lnTo>
                  <a:lnTo>
                    <a:pt x="4594" y="816"/>
                  </a:lnTo>
                  <a:lnTo>
                    <a:pt x="4592" y="818"/>
                  </a:lnTo>
                  <a:lnTo>
                    <a:pt x="4592" y="820"/>
                  </a:lnTo>
                  <a:lnTo>
                    <a:pt x="4592" y="822"/>
                  </a:lnTo>
                  <a:lnTo>
                    <a:pt x="4592" y="824"/>
                  </a:lnTo>
                  <a:lnTo>
                    <a:pt x="4592" y="828"/>
                  </a:lnTo>
                  <a:lnTo>
                    <a:pt x="4592" y="830"/>
                  </a:lnTo>
                  <a:lnTo>
                    <a:pt x="4592" y="843"/>
                  </a:lnTo>
                  <a:lnTo>
                    <a:pt x="4592" y="845"/>
                  </a:lnTo>
                  <a:lnTo>
                    <a:pt x="4592" y="847"/>
                  </a:lnTo>
                  <a:lnTo>
                    <a:pt x="4590" y="851"/>
                  </a:lnTo>
                  <a:lnTo>
                    <a:pt x="4590" y="853"/>
                  </a:lnTo>
                  <a:lnTo>
                    <a:pt x="4588" y="857"/>
                  </a:lnTo>
                  <a:lnTo>
                    <a:pt x="4588" y="857"/>
                  </a:lnTo>
                  <a:lnTo>
                    <a:pt x="4590" y="859"/>
                  </a:lnTo>
                  <a:lnTo>
                    <a:pt x="4592" y="861"/>
                  </a:lnTo>
                  <a:lnTo>
                    <a:pt x="4592" y="865"/>
                  </a:lnTo>
                  <a:lnTo>
                    <a:pt x="4594" y="869"/>
                  </a:lnTo>
                  <a:lnTo>
                    <a:pt x="4592" y="872"/>
                  </a:lnTo>
                  <a:lnTo>
                    <a:pt x="4592" y="874"/>
                  </a:lnTo>
                  <a:lnTo>
                    <a:pt x="4590" y="876"/>
                  </a:lnTo>
                  <a:lnTo>
                    <a:pt x="4590" y="878"/>
                  </a:lnTo>
                  <a:lnTo>
                    <a:pt x="4590" y="880"/>
                  </a:lnTo>
                  <a:lnTo>
                    <a:pt x="4590" y="882"/>
                  </a:lnTo>
                  <a:lnTo>
                    <a:pt x="4590" y="884"/>
                  </a:lnTo>
                  <a:lnTo>
                    <a:pt x="4592" y="886"/>
                  </a:lnTo>
                  <a:lnTo>
                    <a:pt x="4590" y="888"/>
                  </a:lnTo>
                  <a:lnTo>
                    <a:pt x="4588" y="894"/>
                  </a:lnTo>
                  <a:lnTo>
                    <a:pt x="4588" y="898"/>
                  </a:lnTo>
                  <a:lnTo>
                    <a:pt x="4590" y="902"/>
                  </a:lnTo>
                  <a:lnTo>
                    <a:pt x="4590" y="905"/>
                  </a:lnTo>
                  <a:lnTo>
                    <a:pt x="4590" y="907"/>
                  </a:lnTo>
                  <a:lnTo>
                    <a:pt x="4590" y="907"/>
                  </a:lnTo>
                  <a:lnTo>
                    <a:pt x="4592" y="909"/>
                  </a:lnTo>
                  <a:lnTo>
                    <a:pt x="4592" y="907"/>
                  </a:lnTo>
                  <a:lnTo>
                    <a:pt x="4594" y="905"/>
                  </a:lnTo>
                  <a:lnTo>
                    <a:pt x="4594" y="900"/>
                  </a:lnTo>
                  <a:lnTo>
                    <a:pt x="4596" y="898"/>
                  </a:lnTo>
                  <a:lnTo>
                    <a:pt x="4596" y="896"/>
                  </a:lnTo>
                  <a:lnTo>
                    <a:pt x="4598" y="894"/>
                  </a:lnTo>
                  <a:lnTo>
                    <a:pt x="4598" y="894"/>
                  </a:lnTo>
                  <a:lnTo>
                    <a:pt x="4600" y="894"/>
                  </a:lnTo>
                  <a:lnTo>
                    <a:pt x="4600" y="894"/>
                  </a:lnTo>
                  <a:lnTo>
                    <a:pt x="4603" y="894"/>
                  </a:lnTo>
                  <a:lnTo>
                    <a:pt x="4603" y="894"/>
                  </a:lnTo>
                  <a:lnTo>
                    <a:pt x="4603" y="896"/>
                  </a:lnTo>
                  <a:lnTo>
                    <a:pt x="4607" y="896"/>
                  </a:lnTo>
                  <a:lnTo>
                    <a:pt x="4609" y="896"/>
                  </a:lnTo>
                  <a:lnTo>
                    <a:pt x="4611" y="898"/>
                  </a:lnTo>
                  <a:lnTo>
                    <a:pt x="4611" y="900"/>
                  </a:lnTo>
                  <a:lnTo>
                    <a:pt x="4611" y="902"/>
                  </a:lnTo>
                  <a:lnTo>
                    <a:pt x="4611" y="907"/>
                  </a:lnTo>
                  <a:lnTo>
                    <a:pt x="4611" y="905"/>
                  </a:lnTo>
                  <a:lnTo>
                    <a:pt x="4613" y="905"/>
                  </a:lnTo>
                  <a:lnTo>
                    <a:pt x="4613" y="902"/>
                  </a:lnTo>
                  <a:lnTo>
                    <a:pt x="4613" y="902"/>
                  </a:lnTo>
                  <a:lnTo>
                    <a:pt x="4613" y="900"/>
                  </a:lnTo>
                  <a:lnTo>
                    <a:pt x="4613" y="898"/>
                  </a:lnTo>
                  <a:lnTo>
                    <a:pt x="4613" y="896"/>
                  </a:lnTo>
                  <a:lnTo>
                    <a:pt x="4613" y="892"/>
                  </a:lnTo>
                  <a:lnTo>
                    <a:pt x="4611" y="892"/>
                  </a:lnTo>
                  <a:lnTo>
                    <a:pt x="4611" y="892"/>
                  </a:lnTo>
                  <a:lnTo>
                    <a:pt x="4609" y="892"/>
                  </a:lnTo>
                  <a:lnTo>
                    <a:pt x="4609" y="892"/>
                  </a:lnTo>
                  <a:lnTo>
                    <a:pt x="4607" y="892"/>
                  </a:lnTo>
                  <a:lnTo>
                    <a:pt x="4607" y="888"/>
                  </a:lnTo>
                  <a:lnTo>
                    <a:pt x="4605" y="884"/>
                  </a:lnTo>
                  <a:lnTo>
                    <a:pt x="4605" y="882"/>
                  </a:lnTo>
                  <a:lnTo>
                    <a:pt x="4605" y="882"/>
                  </a:lnTo>
                  <a:lnTo>
                    <a:pt x="4603" y="882"/>
                  </a:lnTo>
                  <a:lnTo>
                    <a:pt x="4603" y="882"/>
                  </a:lnTo>
                  <a:lnTo>
                    <a:pt x="4603" y="880"/>
                  </a:lnTo>
                  <a:lnTo>
                    <a:pt x="4600" y="880"/>
                  </a:lnTo>
                  <a:lnTo>
                    <a:pt x="4598" y="876"/>
                  </a:lnTo>
                  <a:lnTo>
                    <a:pt x="4598" y="876"/>
                  </a:lnTo>
                  <a:lnTo>
                    <a:pt x="4598" y="874"/>
                  </a:lnTo>
                  <a:lnTo>
                    <a:pt x="4598" y="869"/>
                  </a:lnTo>
                  <a:lnTo>
                    <a:pt x="4600" y="865"/>
                  </a:lnTo>
                  <a:lnTo>
                    <a:pt x="4605" y="853"/>
                  </a:lnTo>
                  <a:lnTo>
                    <a:pt x="4605" y="851"/>
                  </a:lnTo>
                  <a:lnTo>
                    <a:pt x="4607" y="849"/>
                  </a:lnTo>
                  <a:lnTo>
                    <a:pt x="4609" y="847"/>
                  </a:lnTo>
                  <a:lnTo>
                    <a:pt x="4611" y="847"/>
                  </a:lnTo>
                  <a:lnTo>
                    <a:pt x="4615" y="847"/>
                  </a:lnTo>
                  <a:lnTo>
                    <a:pt x="4617" y="847"/>
                  </a:lnTo>
                  <a:lnTo>
                    <a:pt x="4619" y="847"/>
                  </a:lnTo>
                  <a:lnTo>
                    <a:pt x="4621" y="849"/>
                  </a:lnTo>
                  <a:lnTo>
                    <a:pt x="4621" y="849"/>
                  </a:lnTo>
                  <a:lnTo>
                    <a:pt x="4623" y="851"/>
                  </a:lnTo>
                  <a:lnTo>
                    <a:pt x="4625" y="853"/>
                  </a:lnTo>
                  <a:lnTo>
                    <a:pt x="4627" y="855"/>
                  </a:lnTo>
                  <a:lnTo>
                    <a:pt x="4627" y="855"/>
                  </a:lnTo>
                  <a:lnTo>
                    <a:pt x="4629" y="859"/>
                  </a:lnTo>
                  <a:lnTo>
                    <a:pt x="4629" y="859"/>
                  </a:lnTo>
                  <a:lnTo>
                    <a:pt x="4629" y="855"/>
                  </a:lnTo>
                  <a:lnTo>
                    <a:pt x="4629" y="855"/>
                  </a:lnTo>
                  <a:lnTo>
                    <a:pt x="4627" y="853"/>
                  </a:lnTo>
                  <a:lnTo>
                    <a:pt x="4625" y="851"/>
                  </a:lnTo>
                  <a:lnTo>
                    <a:pt x="4625" y="849"/>
                  </a:lnTo>
                  <a:lnTo>
                    <a:pt x="4623" y="847"/>
                  </a:lnTo>
                  <a:lnTo>
                    <a:pt x="4623" y="845"/>
                  </a:lnTo>
                  <a:lnTo>
                    <a:pt x="4623" y="843"/>
                  </a:lnTo>
                  <a:lnTo>
                    <a:pt x="4621" y="841"/>
                  </a:lnTo>
                  <a:lnTo>
                    <a:pt x="4621" y="836"/>
                  </a:lnTo>
                  <a:lnTo>
                    <a:pt x="4617" y="828"/>
                  </a:lnTo>
                  <a:lnTo>
                    <a:pt x="4615" y="824"/>
                  </a:lnTo>
                  <a:lnTo>
                    <a:pt x="4613" y="812"/>
                  </a:lnTo>
                  <a:lnTo>
                    <a:pt x="4613" y="810"/>
                  </a:lnTo>
                  <a:lnTo>
                    <a:pt x="4613" y="810"/>
                  </a:lnTo>
                  <a:lnTo>
                    <a:pt x="4611" y="808"/>
                  </a:lnTo>
                  <a:lnTo>
                    <a:pt x="4611" y="808"/>
                  </a:lnTo>
                  <a:lnTo>
                    <a:pt x="4611" y="805"/>
                  </a:lnTo>
                  <a:lnTo>
                    <a:pt x="4609" y="805"/>
                  </a:lnTo>
                  <a:lnTo>
                    <a:pt x="4609" y="803"/>
                  </a:lnTo>
                  <a:lnTo>
                    <a:pt x="4609" y="801"/>
                  </a:lnTo>
                  <a:lnTo>
                    <a:pt x="4609" y="799"/>
                  </a:lnTo>
                  <a:lnTo>
                    <a:pt x="4609" y="797"/>
                  </a:lnTo>
                  <a:lnTo>
                    <a:pt x="4607" y="795"/>
                  </a:lnTo>
                  <a:lnTo>
                    <a:pt x="4607" y="791"/>
                  </a:lnTo>
                  <a:lnTo>
                    <a:pt x="4609" y="789"/>
                  </a:lnTo>
                  <a:lnTo>
                    <a:pt x="4609" y="787"/>
                  </a:lnTo>
                  <a:lnTo>
                    <a:pt x="4609" y="787"/>
                  </a:lnTo>
                  <a:lnTo>
                    <a:pt x="4611" y="785"/>
                  </a:lnTo>
                  <a:lnTo>
                    <a:pt x="4611" y="783"/>
                  </a:lnTo>
                  <a:lnTo>
                    <a:pt x="4611" y="779"/>
                  </a:lnTo>
                  <a:lnTo>
                    <a:pt x="4609" y="774"/>
                  </a:lnTo>
                  <a:lnTo>
                    <a:pt x="4609" y="774"/>
                  </a:lnTo>
                  <a:lnTo>
                    <a:pt x="4609" y="772"/>
                  </a:lnTo>
                  <a:lnTo>
                    <a:pt x="4607" y="768"/>
                  </a:lnTo>
                  <a:lnTo>
                    <a:pt x="4605" y="762"/>
                  </a:lnTo>
                  <a:lnTo>
                    <a:pt x="4605" y="762"/>
                  </a:lnTo>
                  <a:lnTo>
                    <a:pt x="4605" y="760"/>
                  </a:lnTo>
                  <a:lnTo>
                    <a:pt x="4605" y="760"/>
                  </a:lnTo>
                  <a:lnTo>
                    <a:pt x="4605" y="758"/>
                  </a:lnTo>
                  <a:lnTo>
                    <a:pt x="4605" y="756"/>
                  </a:lnTo>
                  <a:lnTo>
                    <a:pt x="4605" y="756"/>
                  </a:lnTo>
                  <a:lnTo>
                    <a:pt x="4603" y="752"/>
                  </a:lnTo>
                  <a:lnTo>
                    <a:pt x="4600" y="750"/>
                  </a:lnTo>
                  <a:lnTo>
                    <a:pt x="4600" y="752"/>
                  </a:lnTo>
                  <a:lnTo>
                    <a:pt x="4600" y="752"/>
                  </a:lnTo>
                  <a:lnTo>
                    <a:pt x="4598" y="754"/>
                  </a:lnTo>
                  <a:lnTo>
                    <a:pt x="4596" y="754"/>
                  </a:lnTo>
                  <a:lnTo>
                    <a:pt x="4598" y="756"/>
                  </a:lnTo>
                  <a:lnTo>
                    <a:pt x="4600" y="760"/>
                  </a:lnTo>
                  <a:lnTo>
                    <a:pt x="4600" y="760"/>
                  </a:lnTo>
                  <a:lnTo>
                    <a:pt x="4600" y="762"/>
                  </a:lnTo>
                  <a:lnTo>
                    <a:pt x="4600" y="764"/>
                  </a:lnTo>
                  <a:lnTo>
                    <a:pt x="4600" y="764"/>
                  </a:lnTo>
                  <a:lnTo>
                    <a:pt x="4600" y="764"/>
                  </a:lnTo>
                  <a:lnTo>
                    <a:pt x="4598" y="764"/>
                  </a:lnTo>
                  <a:lnTo>
                    <a:pt x="4598" y="766"/>
                  </a:lnTo>
                  <a:lnTo>
                    <a:pt x="4598" y="768"/>
                  </a:lnTo>
                  <a:lnTo>
                    <a:pt x="4598" y="768"/>
                  </a:lnTo>
                  <a:lnTo>
                    <a:pt x="4596" y="770"/>
                  </a:lnTo>
                  <a:lnTo>
                    <a:pt x="4596" y="770"/>
                  </a:lnTo>
                  <a:lnTo>
                    <a:pt x="4596" y="770"/>
                  </a:lnTo>
                  <a:lnTo>
                    <a:pt x="4594" y="768"/>
                  </a:lnTo>
                  <a:lnTo>
                    <a:pt x="4592" y="768"/>
                  </a:lnTo>
                  <a:lnTo>
                    <a:pt x="4590" y="768"/>
                  </a:lnTo>
                  <a:lnTo>
                    <a:pt x="4588" y="770"/>
                  </a:lnTo>
                  <a:lnTo>
                    <a:pt x="4588" y="770"/>
                  </a:lnTo>
                  <a:lnTo>
                    <a:pt x="4588" y="774"/>
                  </a:lnTo>
                  <a:lnTo>
                    <a:pt x="4588" y="777"/>
                  </a:lnTo>
                  <a:lnTo>
                    <a:pt x="4588" y="781"/>
                  </a:lnTo>
                  <a:lnTo>
                    <a:pt x="4588" y="787"/>
                  </a:lnTo>
                  <a:close/>
                  <a:moveTo>
                    <a:pt x="4656" y="1638"/>
                  </a:moveTo>
                  <a:lnTo>
                    <a:pt x="4656" y="1638"/>
                  </a:lnTo>
                  <a:lnTo>
                    <a:pt x="4656" y="1638"/>
                  </a:lnTo>
                  <a:lnTo>
                    <a:pt x="4656" y="1638"/>
                  </a:lnTo>
                  <a:lnTo>
                    <a:pt x="4658" y="1638"/>
                  </a:lnTo>
                  <a:lnTo>
                    <a:pt x="4658" y="1638"/>
                  </a:lnTo>
                  <a:lnTo>
                    <a:pt x="4660" y="1638"/>
                  </a:lnTo>
                  <a:lnTo>
                    <a:pt x="4662" y="1638"/>
                  </a:lnTo>
                  <a:lnTo>
                    <a:pt x="4664" y="1638"/>
                  </a:lnTo>
                  <a:lnTo>
                    <a:pt x="4664" y="1638"/>
                  </a:lnTo>
                  <a:lnTo>
                    <a:pt x="4666" y="1636"/>
                  </a:lnTo>
                  <a:lnTo>
                    <a:pt x="4666" y="1636"/>
                  </a:lnTo>
                  <a:lnTo>
                    <a:pt x="4669" y="1636"/>
                  </a:lnTo>
                  <a:lnTo>
                    <a:pt x="4669" y="1636"/>
                  </a:lnTo>
                  <a:lnTo>
                    <a:pt x="4669" y="1636"/>
                  </a:lnTo>
                  <a:lnTo>
                    <a:pt x="4669" y="1636"/>
                  </a:lnTo>
                  <a:lnTo>
                    <a:pt x="4669" y="1636"/>
                  </a:lnTo>
                  <a:lnTo>
                    <a:pt x="4669" y="1636"/>
                  </a:lnTo>
                  <a:lnTo>
                    <a:pt x="4669" y="1636"/>
                  </a:lnTo>
                  <a:lnTo>
                    <a:pt x="4662" y="1633"/>
                  </a:lnTo>
                  <a:lnTo>
                    <a:pt x="4660" y="1633"/>
                  </a:lnTo>
                  <a:lnTo>
                    <a:pt x="4658" y="1636"/>
                  </a:lnTo>
                  <a:lnTo>
                    <a:pt x="4658" y="1633"/>
                  </a:lnTo>
                  <a:lnTo>
                    <a:pt x="4656" y="1636"/>
                  </a:lnTo>
                  <a:lnTo>
                    <a:pt x="4656" y="1636"/>
                  </a:lnTo>
                  <a:lnTo>
                    <a:pt x="4656" y="1638"/>
                  </a:lnTo>
                  <a:lnTo>
                    <a:pt x="4656" y="1638"/>
                  </a:lnTo>
                  <a:close/>
                  <a:moveTo>
                    <a:pt x="4714" y="657"/>
                  </a:moveTo>
                  <a:lnTo>
                    <a:pt x="4716" y="657"/>
                  </a:lnTo>
                  <a:lnTo>
                    <a:pt x="4716" y="655"/>
                  </a:lnTo>
                  <a:lnTo>
                    <a:pt x="4714" y="655"/>
                  </a:lnTo>
                  <a:lnTo>
                    <a:pt x="4714" y="657"/>
                  </a:lnTo>
                  <a:lnTo>
                    <a:pt x="4712" y="657"/>
                  </a:lnTo>
                  <a:lnTo>
                    <a:pt x="4712" y="657"/>
                  </a:lnTo>
                  <a:lnTo>
                    <a:pt x="4712" y="659"/>
                  </a:lnTo>
                  <a:lnTo>
                    <a:pt x="4714" y="657"/>
                  </a:lnTo>
                  <a:close/>
                  <a:moveTo>
                    <a:pt x="4708" y="1640"/>
                  </a:moveTo>
                  <a:lnTo>
                    <a:pt x="4706" y="1640"/>
                  </a:lnTo>
                  <a:lnTo>
                    <a:pt x="4704" y="1642"/>
                  </a:lnTo>
                  <a:lnTo>
                    <a:pt x="4706" y="1642"/>
                  </a:lnTo>
                  <a:lnTo>
                    <a:pt x="4706" y="1642"/>
                  </a:lnTo>
                  <a:lnTo>
                    <a:pt x="4706" y="1644"/>
                  </a:lnTo>
                  <a:lnTo>
                    <a:pt x="4708" y="1644"/>
                  </a:lnTo>
                  <a:lnTo>
                    <a:pt x="4708" y="1644"/>
                  </a:lnTo>
                  <a:lnTo>
                    <a:pt x="4712" y="1644"/>
                  </a:lnTo>
                  <a:lnTo>
                    <a:pt x="4712" y="1644"/>
                  </a:lnTo>
                  <a:lnTo>
                    <a:pt x="4712" y="1642"/>
                  </a:lnTo>
                  <a:lnTo>
                    <a:pt x="4712" y="1642"/>
                  </a:lnTo>
                  <a:lnTo>
                    <a:pt x="4712" y="1642"/>
                  </a:lnTo>
                  <a:lnTo>
                    <a:pt x="4708" y="1640"/>
                  </a:lnTo>
                  <a:close/>
                  <a:moveTo>
                    <a:pt x="4710" y="902"/>
                  </a:moveTo>
                  <a:lnTo>
                    <a:pt x="4704" y="907"/>
                  </a:lnTo>
                  <a:lnTo>
                    <a:pt x="4702" y="909"/>
                  </a:lnTo>
                  <a:lnTo>
                    <a:pt x="4699" y="909"/>
                  </a:lnTo>
                  <a:lnTo>
                    <a:pt x="4697" y="913"/>
                  </a:lnTo>
                  <a:lnTo>
                    <a:pt x="4697" y="913"/>
                  </a:lnTo>
                  <a:lnTo>
                    <a:pt x="4702" y="913"/>
                  </a:lnTo>
                  <a:lnTo>
                    <a:pt x="4704" y="911"/>
                  </a:lnTo>
                  <a:lnTo>
                    <a:pt x="4704" y="909"/>
                  </a:lnTo>
                  <a:lnTo>
                    <a:pt x="4706" y="909"/>
                  </a:lnTo>
                  <a:lnTo>
                    <a:pt x="4708" y="907"/>
                  </a:lnTo>
                  <a:lnTo>
                    <a:pt x="4708" y="907"/>
                  </a:lnTo>
                  <a:lnTo>
                    <a:pt x="4712" y="902"/>
                  </a:lnTo>
                  <a:lnTo>
                    <a:pt x="4710" y="902"/>
                  </a:lnTo>
                  <a:lnTo>
                    <a:pt x="4710" y="902"/>
                  </a:lnTo>
                  <a:close/>
                  <a:moveTo>
                    <a:pt x="4567" y="960"/>
                  </a:moveTo>
                  <a:lnTo>
                    <a:pt x="4565" y="962"/>
                  </a:lnTo>
                  <a:lnTo>
                    <a:pt x="4563" y="962"/>
                  </a:lnTo>
                  <a:lnTo>
                    <a:pt x="4563" y="964"/>
                  </a:lnTo>
                  <a:lnTo>
                    <a:pt x="4561" y="964"/>
                  </a:lnTo>
                  <a:lnTo>
                    <a:pt x="4561" y="964"/>
                  </a:lnTo>
                  <a:lnTo>
                    <a:pt x="4561" y="966"/>
                  </a:lnTo>
                  <a:lnTo>
                    <a:pt x="4559" y="969"/>
                  </a:lnTo>
                  <a:lnTo>
                    <a:pt x="4559" y="969"/>
                  </a:lnTo>
                  <a:lnTo>
                    <a:pt x="4559" y="971"/>
                  </a:lnTo>
                  <a:lnTo>
                    <a:pt x="4561" y="973"/>
                  </a:lnTo>
                  <a:lnTo>
                    <a:pt x="4563" y="975"/>
                  </a:lnTo>
                  <a:lnTo>
                    <a:pt x="4563" y="975"/>
                  </a:lnTo>
                  <a:lnTo>
                    <a:pt x="4563" y="977"/>
                  </a:lnTo>
                  <a:lnTo>
                    <a:pt x="4563" y="979"/>
                  </a:lnTo>
                  <a:lnTo>
                    <a:pt x="4563" y="981"/>
                  </a:lnTo>
                  <a:lnTo>
                    <a:pt x="4561" y="983"/>
                  </a:lnTo>
                  <a:lnTo>
                    <a:pt x="4563" y="983"/>
                  </a:lnTo>
                  <a:lnTo>
                    <a:pt x="4563" y="985"/>
                  </a:lnTo>
                  <a:lnTo>
                    <a:pt x="4563" y="985"/>
                  </a:lnTo>
                  <a:lnTo>
                    <a:pt x="4565" y="985"/>
                  </a:lnTo>
                  <a:lnTo>
                    <a:pt x="4565" y="985"/>
                  </a:lnTo>
                  <a:lnTo>
                    <a:pt x="4567" y="983"/>
                  </a:lnTo>
                  <a:lnTo>
                    <a:pt x="4570" y="983"/>
                  </a:lnTo>
                  <a:lnTo>
                    <a:pt x="4570" y="981"/>
                  </a:lnTo>
                  <a:lnTo>
                    <a:pt x="4572" y="979"/>
                  </a:lnTo>
                  <a:lnTo>
                    <a:pt x="4572" y="979"/>
                  </a:lnTo>
                  <a:lnTo>
                    <a:pt x="4574" y="979"/>
                  </a:lnTo>
                  <a:lnTo>
                    <a:pt x="4576" y="979"/>
                  </a:lnTo>
                  <a:lnTo>
                    <a:pt x="4576" y="979"/>
                  </a:lnTo>
                  <a:lnTo>
                    <a:pt x="4578" y="979"/>
                  </a:lnTo>
                  <a:lnTo>
                    <a:pt x="4578" y="979"/>
                  </a:lnTo>
                  <a:lnTo>
                    <a:pt x="4578" y="979"/>
                  </a:lnTo>
                  <a:lnTo>
                    <a:pt x="4576" y="977"/>
                  </a:lnTo>
                  <a:lnTo>
                    <a:pt x="4574" y="973"/>
                  </a:lnTo>
                  <a:lnTo>
                    <a:pt x="4572" y="973"/>
                  </a:lnTo>
                  <a:lnTo>
                    <a:pt x="4572" y="973"/>
                  </a:lnTo>
                  <a:lnTo>
                    <a:pt x="4570" y="973"/>
                  </a:lnTo>
                  <a:lnTo>
                    <a:pt x="4567" y="973"/>
                  </a:lnTo>
                  <a:lnTo>
                    <a:pt x="4567" y="971"/>
                  </a:lnTo>
                  <a:lnTo>
                    <a:pt x="4567" y="971"/>
                  </a:lnTo>
                  <a:lnTo>
                    <a:pt x="4567" y="969"/>
                  </a:lnTo>
                  <a:lnTo>
                    <a:pt x="4567" y="969"/>
                  </a:lnTo>
                  <a:lnTo>
                    <a:pt x="4567" y="966"/>
                  </a:lnTo>
                  <a:lnTo>
                    <a:pt x="4570" y="966"/>
                  </a:lnTo>
                  <a:lnTo>
                    <a:pt x="4570" y="966"/>
                  </a:lnTo>
                  <a:lnTo>
                    <a:pt x="4572" y="966"/>
                  </a:lnTo>
                  <a:lnTo>
                    <a:pt x="4572" y="966"/>
                  </a:lnTo>
                  <a:lnTo>
                    <a:pt x="4574" y="966"/>
                  </a:lnTo>
                  <a:lnTo>
                    <a:pt x="4576" y="969"/>
                  </a:lnTo>
                  <a:lnTo>
                    <a:pt x="4576" y="971"/>
                  </a:lnTo>
                  <a:lnTo>
                    <a:pt x="4582" y="966"/>
                  </a:lnTo>
                  <a:lnTo>
                    <a:pt x="4588" y="966"/>
                  </a:lnTo>
                  <a:lnTo>
                    <a:pt x="4592" y="966"/>
                  </a:lnTo>
                  <a:lnTo>
                    <a:pt x="4598" y="971"/>
                  </a:lnTo>
                  <a:lnTo>
                    <a:pt x="4605" y="973"/>
                  </a:lnTo>
                  <a:lnTo>
                    <a:pt x="4607" y="975"/>
                  </a:lnTo>
                  <a:lnTo>
                    <a:pt x="4609" y="975"/>
                  </a:lnTo>
                  <a:lnTo>
                    <a:pt x="4609" y="975"/>
                  </a:lnTo>
                  <a:lnTo>
                    <a:pt x="4609" y="975"/>
                  </a:lnTo>
                  <a:lnTo>
                    <a:pt x="4611" y="973"/>
                  </a:lnTo>
                  <a:lnTo>
                    <a:pt x="4611" y="973"/>
                  </a:lnTo>
                  <a:lnTo>
                    <a:pt x="4611" y="971"/>
                  </a:lnTo>
                  <a:lnTo>
                    <a:pt x="4611" y="969"/>
                  </a:lnTo>
                  <a:lnTo>
                    <a:pt x="4613" y="964"/>
                  </a:lnTo>
                  <a:lnTo>
                    <a:pt x="4617" y="962"/>
                  </a:lnTo>
                  <a:lnTo>
                    <a:pt x="4619" y="960"/>
                  </a:lnTo>
                  <a:lnTo>
                    <a:pt x="4623" y="958"/>
                  </a:lnTo>
                  <a:lnTo>
                    <a:pt x="4623" y="958"/>
                  </a:lnTo>
                  <a:lnTo>
                    <a:pt x="4627" y="960"/>
                  </a:lnTo>
                  <a:lnTo>
                    <a:pt x="4629" y="960"/>
                  </a:lnTo>
                  <a:lnTo>
                    <a:pt x="4631" y="958"/>
                  </a:lnTo>
                  <a:lnTo>
                    <a:pt x="4633" y="958"/>
                  </a:lnTo>
                  <a:lnTo>
                    <a:pt x="4633" y="958"/>
                  </a:lnTo>
                  <a:lnTo>
                    <a:pt x="4636" y="956"/>
                  </a:lnTo>
                  <a:lnTo>
                    <a:pt x="4638" y="956"/>
                  </a:lnTo>
                  <a:lnTo>
                    <a:pt x="4638" y="956"/>
                  </a:lnTo>
                  <a:lnTo>
                    <a:pt x="4640" y="956"/>
                  </a:lnTo>
                  <a:lnTo>
                    <a:pt x="4642" y="956"/>
                  </a:lnTo>
                  <a:lnTo>
                    <a:pt x="4642" y="954"/>
                  </a:lnTo>
                  <a:lnTo>
                    <a:pt x="4642" y="954"/>
                  </a:lnTo>
                  <a:lnTo>
                    <a:pt x="4644" y="952"/>
                  </a:lnTo>
                  <a:lnTo>
                    <a:pt x="4646" y="952"/>
                  </a:lnTo>
                  <a:lnTo>
                    <a:pt x="4644" y="952"/>
                  </a:lnTo>
                  <a:lnTo>
                    <a:pt x="4644" y="952"/>
                  </a:lnTo>
                  <a:lnTo>
                    <a:pt x="4642" y="952"/>
                  </a:lnTo>
                  <a:lnTo>
                    <a:pt x="4640" y="954"/>
                  </a:lnTo>
                  <a:lnTo>
                    <a:pt x="4640" y="954"/>
                  </a:lnTo>
                  <a:lnTo>
                    <a:pt x="4638" y="954"/>
                  </a:lnTo>
                  <a:lnTo>
                    <a:pt x="4638" y="950"/>
                  </a:lnTo>
                  <a:lnTo>
                    <a:pt x="4638" y="948"/>
                  </a:lnTo>
                  <a:lnTo>
                    <a:pt x="4636" y="948"/>
                  </a:lnTo>
                  <a:lnTo>
                    <a:pt x="4636" y="946"/>
                  </a:lnTo>
                  <a:lnTo>
                    <a:pt x="4636" y="944"/>
                  </a:lnTo>
                  <a:lnTo>
                    <a:pt x="4638" y="940"/>
                  </a:lnTo>
                  <a:lnTo>
                    <a:pt x="4640" y="938"/>
                  </a:lnTo>
                  <a:lnTo>
                    <a:pt x="4640" y="936"/>
                  </a:lnTo>
                  <a:lnTo>
                    <a:pt x="4640" y="936"/>
                  </a:lnTo>
                  <a:lnTo>
                    <a:pt x="4638" y="936"/>
                  </a:lnTo>
                  <a:lnTo>
                    <a:pt x="4636" y="938"/>
                  </a:lnTo>
                  <a:lnTo>
                    <a:pt x="4631" y="942"/>
                  </a:lnTo>
                  <a:lnTo>
                    <a:pt x="4631" y="942"/>
                  </a:lnTo>
                  <a:lnTo>
                    <a:pt x="4629" y="942"/>
                  </a:lnTo>
                  <a:lnTo>
                    <a:pt x="4627" y="942"/>
                  </a:lnTo>
                  <a:lnTo>
                    <a:pt x="4627" y="942"/>
                  </a:lnTo>
                  <a:lnTo>
                    <a:pt x="4621" y="940"/>
                  </a:lnTo>
                  <a:lnTo>
                    <a:pt x="4619" y="940"/>
                  </a:lnTo>
                  <a:lnTo>
                    <a:pt x="4619" y="940"/>
                  </a:lnTo>
                  <a:lnTo>
                    <a:pt x="4617" y="940"/>
                  </a:lnTo>
                  <a:lnTo>
                    <a:pt x="4617" y="940"/>
                  </a:lnTo>
                  <a:lnTo>
                    <a:pt x="4615" y="938"/>
                  </a:lnTo>
                  <a:lnTo>
                    <a:pt x="4613" y="936"/>
                  </a:lnTo>
                  <a:lnTo>
                    <a:pt x="4609" y="933"/>
                  </a:lnTo>
                  <a:lnTo>
                    <a:pt x="4607" y="931"/>
                  </a:lnTo>
                  <a:lnTo>
                    <a:pt x="4603" y="929"/>
                  </a:lnTo>
                  <a:lnTo>
                    <a:pt x="4600" y="927"/>
                  </a:lnTo>
                  <a:lnTo>
                    <a:pt x="4596" y="921"/>
                  </a:lnTo>
                  <a:lnTo>
                    <a:pt x="4594" y="919"/>
                  </a:lnTo>
                  <a:lnTo>
                    <a:pt x="4590" y="917"/>
                  </a:lnTo>
                  <a:lnTo>
                    <a:pt x="4590" y="915"/>
                  </a:lnTo>
                  <a:lnTo>
                    <a:pt x="4590" y="915"/>
                  </a:lnTo>
                  <a:lnTo>
                    <a:pt x="4590" y="915"/>
                  </a:lnTo>
                  <a:lnTo>
                    <a:pt x="4588" y="917"/>
                  </a:lnTo>
                  <a:lnTo>
                    <a:pt x="4588" y="917"/>
                  </a:lnTo>
                  <a:lnTo>
                    <a:pt x="4586" y="917"/>
                  </a:lnTo>
                  <a:lnTo>
                    <a:pt x="4586" y="917"/>
                  </a:lnTo>
                  <a:lnTo>
                    <a:pt x="4586" y="917"/>
                  </a:lnTo>
                  <a:lnTo>
                    <a:pt x="4586" y="919"/>
                  </a:lnTo>
                  <a:lnTo>
                    <a:pt x="4584" y="921"/>
                  </a:lnTo>
                  <a:lnTo>
                    <a:pt x="4586" y="923"/>
                  </a:lnTo>
                  <a:lnTo>
                    <a:pt x="4586" y="925"/>
                  </a:lnTo>
                  <a:lnTo>
                    <a:pt x="4588" y="929"/>
                  </a:lnTo>
                  <a:lnTo>
                    <a:pt x="4588" y="933"/>
                  </a:lnTo>
                  <a:lnTo>
                    <a:pt x="4586" y="936"/>
                  </a:lnTo>
                  <a:lnTo>
                    <a:pt x="4586" y="938"/>
                  </a:lnTo>
                  <a:lnTo>
                    <a:pt x="4586" y="942"/>
                  </a:lnTo>
                  <a:lnTo>
                    <a:pt x="4586" y="942"/>
                  </a:lnTo>
                  <a:lnTo>
                    <a:pt x="4584" y="946"/>
                  </a:lnTo>
                  <a:lnTo>
                    <a:pt x="4582" y="948"/>
                  </a:lnTo>
                  <a:lnTo>
                    <a:pt x="4582" y="950"/>
                  </a:lnTo>
                  <a:lnTo>
                    <a:pt x="4582" y="952"/>
                  </a:lnTo>
                  <a:lnTo>
                    <a:pt x="4582" y="954"/>
                  </a:lnTo>
                  <a:lnTo>
                    <a:pt x="4580" y="954"/>
                  </a:lnTo>
                  <a:lnTo>
                    <a:pt x="4580" y="956"/>
                  </a:lnTo>
                  <a:lnTo>
                    <a:pt x="4578" y="956"/>
                  </a:lnTo>
                  <a:lnTo>
                    <a:pt x="4576" y="954"/>
                  </a:lnTo>
                  <a:lnTo>
                    <a:pt x="4574" y="954"/>
                  </a:lnTo>
                  <a:lnTo>
                    <a:pt x="4574" y="954"/>
                  </a:lnTo>
                  <a:lnTo>
                    <a:pt x="4572" y="952"/>
                  </a:lnTo>
                  <a:lnTo>
                    <a:pt x="4570" y="952"/>
                  </a:lnTo>
                  <a:lnTo>
                    <a:pt x="4567" y="954"/>
                  </a:lnTo>
                  <a:lnTo>
                    <a:pt x="4567" y="954"/>
                  </a:lnTo>
                  <a:lnTo>
                    <a:pt x="4567" y="956"/>
                  </a:lnTo>
                  <a:lnTo>
                    <a:pt x="4570" y="958"/>
                  </a:lnTo>
                  <a:lnTo>
                    <a:pt x="4570" y="958"/>
                  </a:lnTo>
                  <a:lnTo>
                    <a:pt x="4567" y="960"/>
                  </a:lnTo>
                  <a:close/>
                  <a:moveTo>
                    <a:pt x="4555" y="975"/>
                  </a:moveTo>
                  <a:lnTo>
                    <a:pt x="4555" y="975"/>
                  </a:lnTo>
                  <a:lnTo>
                    <a:pt x="4555" y="971"/>
                  </a:lnTo>
                  <a:lnTo>
                    <a:pt x="4555" y="971"/>
                  </a:lnTo>
                  <a:lnTo>
                    <a:pt x="4555" y="973"/>
                  </a:lnTo>
                  <a:lnTo>
                    <a:pt x="4553" y="973"/>
                  </a:lnTo>
                  <a:lnTo>
                    <a:pt x="4555" y="975"/>
                  </a:lnTo>
                  <a:lnTo>
                    <a:pt x="4555" y="975"/>
                  </a:lnTo>
                  <a:lnTo>
                    <a:pt x="4555" y="975"/>
                  </a:lnTo>
                  <a:close/>
                  <a:moveTo>
                    <a:pt x="4578" y="917"/>
                  </a:moveTo>
                  <a:lnTo>
                    <a:pt x="4578" y="917"/>
                  </a:lnTo>
                  <a:lnTo>
                    <a:pt x="4578" y="917"/>
                  </a:lnTo>
                  <a:lnTo>
                    <a:pt x="4576" y="915"/>
                  </a:lnTo>
                  <a:lnTo>
                    <a:pt x="4576" y="915"/>
                  </a:lnTo>
                  <a:lnTo>
                    <a:pt x="4576" y="917"/>
                  </a:lnTo>
                  <a:lnTo>
                    <a:pt x="4578" y="919"/>
                  </a:lnTo>
                  <a:lnTo>
                    <a:pt x="4578" y="917"/>
                  </a:lnTo>
                  <a:close/>
                  <a:moveTo>
                    <a:pt x="4749" y="876"/>
                  </a:moveTo>
                  <a:lnTo>
                    <a:pt x="4749" y="874"/>
                  </a:lnTo>
                  <a:lnTo>
                    <a:pt x="4749" y="874"/>
                  </a:lnTo>
                  <a:lnTo>
                    <a:pt x="4747" y="876"/>
                  </a:lnTo>
                  <a:lnTo>
                    <a:pt x="4747" y="876"/>
                  </a:lnTo>
                  <a:lnTo>
                    <a:pt x="4749" y="876"/>
                  </a:lnTo>
                  <a:lnTo>
                    <a:pt x="4749" y="876"/>
                  </a:lnTo>
                  <a:close/>
                  <a:moveTo>
                    <a:pt x="4580" y="921"/>
                  </a:moveTo>
                  <a:lnTo>
                    <a:pt x="4580" y="921"/>
                  </a:lnTo>
                  <a:lnTo>
                    <a:pt x="4582" y="921"/>
                  </a:lnTo>
                  <a:lnTo>
                    <a:pt x="4582" y="921"/>
                  </a:lnTo>
                  <a:lnTo>
                    <a:pt x="4580" y="919"/>
                  </a:lnTo>
                  <a:lnTo>
                    <a:pt x="4580" y="919"/>
                  </a:lnTo>
                  <a:lnTo>
                    <a:pt x="4578" y="921"/>
                  </a:lnTo>
                  <a:lnTo>
                    <a:pt x="4578" y="921"/>
                  </a:lnTo>
                  <a:lnTo>
                    <a:pt x="4580" y="921"/>
                  </a:lnTo>
                  <a:close/>
                  <a:moveTo>
                    <a:pt x="4735" y="1646"/>
                  </a:moveTo>
                  <a:lnTo>
                    <a:pt x="4732" y="1646"/>
                  </a:lnTo>
                  <a:lnTo>
                    <a:pt x="4732" y="1646"/>
                  </a:lnTo>
                  <a:lnTo>
                    <a:pt x="4732" y="1646"/>
                  </a:lnTo>
                  <a:lnTo>
                    <a:pt x="4732" y="1646"/>
                  </a:lnTo>
                  <a:lnTo>
                    <a:pt x="4735" y="1646"/>
                  </a:lnTo>
                  <a:lnTo>
                    <a:pt x="4735" y="1646"/>
                  </a:lnTo>
                  <a:close/>
                  <a:moveTo>
                    <a:pt x="4737" y="886"/>
                  </a:moveTo>
                  <a:lnTo>
                    <a:pt x="4737" y="886"/>
                  </a:lnTo>
                  <a:lnTo>
                    <a:pt x="4735" y="888"/>
                  </a:lnTo>
                  <a:lnTo>
                    <a:pt x="4732" y="890"/>
                  </a:lnTo>
                  <a:lnTo>
                    <a:pt x="4730" y="890"/>
                  </a:lnTo>
                  <a:lnTo>
                    <a:pt x="4730" y="892"/>
                  </a:lnTo>
                  <a:lnTo>
                    <a:pt x="4730" y="892"/>
                  </a:lnTo>
                  <a:lnTo>
                    <a:pt x="4730" y="892"/>
                  </a:lnTo>
                  <a:lnTo>
                    <a:pt x="4735" y="890"/>
                  </a:lnTo>
                  <a:lnTo>
                    <a:pt x="4737" y="886"/>
                  </a:lnTo>
                  <a:lnTo>
                    <a:pt x="4737" y="886"/>
                  </a:lnTo>
                  <a:close/>
                  <a:moveTo>
                    <a:pt x="4732" y="1501"/>
                  </a:moveTo>
                  <a:lnTo>
                    <a:pt x="4732" y="1501"/>
                  </a:lnTo>
                  <a:lnTo>
                    <a:pt x="4732" y="1501"/>
                  </a:lnTo>
                  <a:lnTo>
                    <a:pt x="4732" y="1501"/>
                  </a:lnTo>
                  <a:lnTo>
                    <a:pt x="4732" y="1501"/>
                  </a:lnTo>
                  <a:lnTo>
                    <a:pt x="4732" y="1501"/>
                  </a:lnTo>
                  <a:lnTo>
                    <a:pt x="4732" y="1501"/>
                  </a:lnTo>
                  <a:lnTo>
                    <a:pt x="4732" y="1501"/>
                  </a:lnTo>
                  <a:lnTo>
                    <a:pt x="4732" y="1501"/>
                  </a:lnTo>
                  <a:close/>
                  <a:moveTo>
                    <a:pt x="4743" y="1650"/>
                  </a:moveTo>
                  <a:lnTo>
                    <a:pt x="4743" y="1650"/>
                  </a:lnTo>
                  <a:lnTo>
                    <a:pt x="4741" y="1650"/>
                  </a:lnTo>
                  <a:lnTo>
                    <a:pt x="4741" y="1650"/>
                  </a:lnTo>
                  <a:lnTo>
                    <a:pt x="4743" y="1652"/>
                  </a:lnTo>
                  <a:lnTo>
                    <a:pt x="4743" y="1652"/>
                  </a:lnTo>
                  <a:lnTo>
                    <a:pt x="4743" y="1650"/>
                  </a:lnTo>
                  <a:close/>
                  <a:moveTo>
                    <a:pt x="4699" y="1625"/>
                  </a:moveTo>
                  <a:lnTo>
                    <a:pt x="4699" y="1627"/>
                  </a:lnTo>
                  <a:lnTo>
                    <a:pt x="4699" y="1627"/>
                  </a:lnTo>
                  <a:lnTo>
                    <a:pt x="4699" y="1629"/>
                  </a:lnTo>
                  <a:lnTo>
                    <a:pt x="4702" y="1629"/>
                  </a:lnTo>
                  <a:lnTo>
                    <a:pt x="4702" y="1629"/>
                  </a:lnTo>
                  <a:lnTo>
                    <a:pt x="4702" y="1629"/>
                  </a:lnTo>
                  <a:lnTo>
                    <a:pt x="4702" y="1627"/>
                  </a:lnTo>
                  <a:lnTo>
                    <a:pt x="4699" y="1625"/>
                  </a:lnTo>
                  <a:lnTo>
                    <a:pt x="4699" y="1625"/>
                  </a:lnTo>
                  <a:close/>
                  <a:moveTo>
                    <a:pt x="4716" y="1646"/>
                  </a:moveTo>
                  <a:lnTo>
                    <a:pt x="4718" y="1646"/>
                  </a:lnTo>
                  <a:lnTo>
                    <a:pt x="4718" y="1646"/>
                  </a:lnTo>
                  <a:lnTo>
                    <a:pt x="4720" y="1646"/>
                  </a:lnTo>
                  <a:lnTo>
                    <a:pt x="4724" y="1650"/>
                  </a:lnTo>
                  <a:lnTo>
                    <a:pt x="4726" y="1650"/>
                  </a:lnTo>
                  <a:lnTo>
                    <a:pt x="4728" y="1652"/>
                  </a:lnTo>
                  <a:lnTo>
                    <a:pt x="4730" y="1654"/>
                  </a:lnTo>
                  <a:lnTo>
                    <a:pt x="4732" y="1654"/>
                  </a:lnTo>
                  <a:lnTo>
                    <a:pt x="4732" y="1656"/>
                  </a:lnTo>
                  <a:lnTo>
                    <a:pt x="4735" y="1656"/>
                  </a:lnTo>
                  <a:lnTo>
                    <a:pt x="4735" y="1656"/>
                  </a:lnTo>
                  <a:lnTo>
                    <a:pt x="4737" y="1656"/>
                  </a:lnTo>
                  <a:lnTo>
                    <a:pt x="4737" y="1656"/>
                  </a:lnTo>
                  <a:lnTo>
                    <a:pt x="4739" y="1658"/>
                  </a:lnTo>
                  <a:lnTo>
                    <a:pt x="4743" y="1662"/>
                  </a:lnTo>
                  <a:lnTo>
                    <a:pt x="4743" y="1664"/>
                  </a:lnTo>
                  <a:lnTo>
                    <a:pt x="4743" y="1666"/>
                  </a:lnTo>
                  <a:lnTo>
                    <a:pt x="4743" y="1669"/>
                  </a:lnTo>
                  <a:lnTo>
                    <a:pt x="4743" y="1669"/>
                  </a:lnTo>
                  <a:lnTo>
                    <a:pt x="4743" y="1671"/>
                  </a:lnTo>
                  <a:lnTo>
                    <a:pt x="4745" y="1673"/>
                  </a:lnTo>
                  <a:lnTo>
                    <a:pt x="4745" y="1673"/>
                  </a:lnTo>
                  <a:lnTo>
                    <a:pt x="4745" y="1675"/>
                  </a:lnTo>
                  <a:lnTo>
                    <a:pt x="4747" y="1675"/>
                  </a:lnTo>
                  <a:lnTo>
                    <a:pt x="4747" y="1675"/>
                  </a:lnTo>
                  <a:lnTo>
                    <a:pt x="4749" y="1673"/>
                  </a:lnTo>
                  <a:lnTo>
                    <a:pt x="4749" y="1671"/>
                  </a:lnTo>
                  <a:lnTo>
                    <a:pt x="4749" y="1671"/>
                  </a:lnTo>
                  <a:lnTo>
                    <a:pt x="4749" y="1669"/>
                  </a:lnTo>
                  <a:lnTo>
                    <a:pt x="4749" y="1669"/>
                  </a:lnTo>
                  <a:lnTo>
                    <a:pt x="4749" y="1666"/>
                  </a:lnTo>
                  <a:lnTo>
                    <a:pt x="4749" y="1664"/>
                  </a:lnTo>
                  <a:lnTo>
                    <a:pt x="4739" y="1656"/>
                  </a:lnTo>
                  <a:lnTo>
                    <a:pt x="4739" y="1656"/>
                  </a:lnTo>
                  <a:lnTo>
                    <a:pt x="4737" y="1654"/>
                  </a:lnTo>
                  <a:lnTo>
                    <a:pt x="4735" y="1652"/>
                  </a:lnTo>
                  <a:lnTo>
                    <a:pt x="4735" y="1652"/>
                  </a:lnTo>
                  <a:lnTo>
                    <a:pt x="4730" y="1652"/>
                  </a:lnTo>
                  <a:lnTo>
                    <a:pt x="4728" y="1650"/>
                  </a:lnTo>
                  <a:lnTo>
                    <a:pt x="4728" y="1650"/>
                  </a:lnTo>
                  <a:lnTo>
                    <a:pt x="4726" y="1648"/>
                  </a:lnTo>
                  <a:lnTo>
                    <a:pt x="4724" y="1648"/>
                  </a:lnTo>
                  <a:lnTo>
                    <a:pt x="4722" y="1648"/>
                  </a:lnTo>
                  <a:lnTo>
                    <a:pt x="4722" y="1646"/>
                  </a:lnTo>
                  <a:lnTo>
                    <a:pt x="4720" y="1644"/>
                  </a:lnTo>
                  <a:lnTo>
                    <a:pt x="4716" y="1644"/>
                  </a:lnTo>
                  <a:lnTo>
                    <a:pt x="4716" y="1644"/>
                  </a:lnTo>
                  <a:lnTo>
                    <a:pt x="4716" y="1646"/>
                  </a:lnTo>
                  <a:lnTo>
                    <a:pt x="4716" y="1646"/>
                  </a:lnTo>
                  <a:close/>
                  <a:moveTo>
                    <a:pt x="4693" y="1685"/>
                  </a:moveTo>
                  <a:lnTo>
                    <a:pt x="4693" y="1685"/>
                  </a:lnTo>
                  <a:lnTo>
                    <a:pt x="4691" y="1685"/>
                  </a:lnTo>
                  <a:lnTo>
                    <a:pt x="4687" y="1685"/>
                  </a:lnTo>
                  <a:lnTo>
                    <a:pt x="4687" y="1685"/>
                  </a:lnTo>
                  <a:lnTo>
                    <a:pt x="4685" y="1685"/>
                  </a:lnTo>
                  <a:lnTo>
                    <a:pt x="4685" y="1685"/>
                  </a:lnTo>
                  <a:lnTo>
                    <a:pt x="4685" y="1685"/>
                  </a:lnTo>
                  <a:lnTo>
                    <a:pt x="4683" y="1683"/>
                  </a:lnTo>
                  <a:lnTo>
                    <a:pt x="4681" y="1685"/>
                  </a:lnTo>
                  <a:lnTo>
                    <a:pt x="4681" y="1687"/>
                  </a:lnTo>
                  <a:lnTo>
                    <a:pt x="4683" y="1687"/>
                  </a:lnTo>
                  <a:lnTo>
                    <a:pt x="4683" y="1689"/>
                  </a:lnTo>
                  <a:lnTo>
                    <a:pt x="4685" y="1689"/>
                  </a:lnTo>
                  <a:lnTo>
                    <a:pt x="4687" y="1689"/>
                  </a:lnTo>
                  <a:lnTo>
                    <a:pt x="4687" y="1691"/>
                  </a:lnTo>
                  <a:lnTo>
                    <a:pt x="4691" y="1693"/>
                  </a:lnTo>
                  <a:lnTo>
                    <a:pt x="4693" y="1693"/>
                  </a:lnTo>
                  <a:lnTo>
                    <a:pt x="4695" y="1693"/>
                  </a:lnTo>
                  <a:lnTo>
                    <a:pt x="4695" y="1693"/>
                  </a:lnTo>
                  <a:lnTo>
                    <a:pt x="4697" y="1693"/>
                  </a:lnTo>
                  <a:lnTo>
                    <a:pt x="4699" y="1695"/>
                  </a:lnTo>
                  <a:lnTo>
                    <a:pt x="4699" y="1695"/>
                  </a:lnTo>
                  <a:lnTo>
                    <a:pt x="4702" y="1695"/>
                  </a:lnTo>
                  <a:lnTo>
                    <a:pt x="4704" y="1695"/>
                  </a:lnTo>
                  <a:lnTo>
                    <a:pt x="4708" y="1695"/>
                  </a:lnTo>
                  <a:lnTo>
                    <a:pt x="4712" y="1695"/>
                  </a:lnTo>
                  <a:lnTo>
                    <a:pt x="4712" y="1695"/>
                  </a:lnTo>
                  <a:lnTo>
                    <a:pt x="4714" y="1693"/>
                  </a:lnTo>
                  <a:lnTo>
                    <a:pt x="4716" y="1693"/>
                  </a:lnTo>
                  <a:lnTo>
                    <a:pt x="4716" y="1693"/>
                  </a:lnTo>
                  <a:lnTo>
                    <a:pt x="4716" y="1693"/>
                  </a:lnTo>
                  <a:lnTo>
                    <a:pt x="4718" y="1691"/>
                  </a:lnTo>
                  <a:lnTo>
                    <a:pt x="4720" y="1691"/>
                  </a:lnTo>
                  <a:lnTo>
                    <a:pt x="4720" y="1691"/>
                  </a:lnTo>
                  <a:lnTo>
                    <a:pt x="4722" y="1691"/>
                  </a:lnTo>
                  <a:lnTo>
                    <a:pt x="4724" y="1689"/>
                  </a:lnTo>
                  <a:lnTo>
                    <a:pt x="4726" y="1687"/>
                  </a:lnTo>
                  <a:lnTo>
                    <a:pt x="4726" y="1687"/>
                  </a:lnTo>
                  <a:lnTo>
                    <a:pt x="4726" y="1687"/>
                  </a:lnTo>
                  <a:lnTo>
                    <a:pt x="4726" y="1685"/>
                  </a:lnTo>
                  <a:lnTo>
                    <a:pt x="4726" y="1685"/>
                  </a:lnTo>
                  <a:lnTo>
                    <a:pt x="4728" y="1685"/>
                  </a:lnTo>
                  <a:lnTo>
                    <a:pt x="4732" y="1685"/>
                  </a:lnTo>
                  <a:lnTo>
                    <a:pt x="4732" y="1685"/>
                  </a:lnTo>
                  <a:lnTo>
                    <a:pt x="4735" y="1683"/>
                  </a:lnTo>
                  <a:lnTo>
                    <a:pt x="4735" y="1683"/>
                  </a:lnTo>
                  <a:lnTo>
                    <a:pt x="4735" y="1681"/>
                  </a:lnTo>
                  <a:lnTo>
                    <a:pt x="4732" y="1679"/>
                  </a:lnTo>
                  <a:lnTo>
                    <a:pt x="4732" y="1679"/>
                  </a:lnTo>
                  <a:lnTo>
                    <a:pt x="4735" y="1677"/>
                  </a:lnTo>
                  <a:lnTo>
                    <a:pt x="4737" y="1677"/>
                  </a:lnTo>
                  <a:lnTo>
                    <a:pt x="4737" y="1677"/>
                  </a:lnTo>
                  <a:lnTo>
                    <a:pt x="4737" y="1677"/>
                  </a:lnTo>
                  <a:lnTo>
                    <a:pt x="4739" y="1675"/>
                  </a:lnTo>
                  <a:lnTo>
                    <a:pt x="4739" y="1673"/>
                  </a:lnTo>
                  <a:lnTo>
                    <a:pt x="4739" y="1673"/>
                  </a:lnTo>
                  <a:lnTo>
                    <a:pt x="4739" y="1671"/>
                  </a:lnTo>
                  <a:lnTo>
                    <a:pt x="4739" y="1671"/>
                  </a:lnTo>
                  <a:lnTo>
                    <a:pt x="4739" y="1669"/>
                  </a:lnTo>
                  <a:lnTo>
                    <a:pt x="4739" y="1669"/>
                  </a:lnTo>
                  <a:lnTo>
                    <a:pt x="4737" y="1666"/>
                  </a:lnTo>
                  <a:lnTo>
                    <a:pt x="4735" y="1666"/>
                  </a:lnTo>
                  <a:lnTo>
                    <a:pt x="4732" y="1669"/>
                  </a:lnTo>
                  <a:lnTo>
                    <a:pt x="4732" y="1666"/>
                  </a:lnTo>
                  <a:lnTo>
                    <a:pt x="4732" y="1666"/>
                  </a:lnTo>
                  <a:lnTo>
                    <a:pt x="4730" y="1666"/>
                  </a:lnTo>
                  <a:lnTo>
                    <a:pt x="4728" y="1666"/>
                  </a:lnTo>
                  <a:lnTo>
                    <a:pt x="4728" y="1666"/>
                  </a:lnTo>
                  <a:lnTo>
                    <a:pt x="4726" y="1666"/>
                  </a:lnTo>
                  <a:lnTo>
                    <a:pt x="4726" y="1666"/>
                  </a:lnTo>
                  <a:lnTo>
                    <a:pt x="4726" y="1669"/>
                  </a:lnTo>
                  <a:lnTo>
                    <a:pt x="4728" y="1673"/>
                  </a:lnTo>
                  <a:lnTo>
                    <a:pt x="4728" y="1675"/>
                  </a:lnTo>
                  <a:lnTo>
                    <a:pt x="4728" y="1675"/>
                  </a:lnTo>
                  <a:lnTo>
                    <a:pt x="4728" y="1677"/>
                  </a:lnTo>
                  <a:lnTo>
                    <a:pt x="4726" y="1677"/>
                  </a:lnTo>
                  <a:lnTo>
                    <a:pt x="4724" y="1677"/>
                  </a:lnTo>
                  <a:lnTo>
                    <a:pt x="4724" y="1677"/>
                  </a:lnTo>
                  <a:lnTo>
                    <a:pt x="4722" y="1679"/>
                  </a:lnTo>
                  <a:lnTo>
                    <a:pt x="4720" y="1681"/>
                  </a:lnTo>
                  <a:lnTo>
                    <a:pt x="4720" y="1681"/>
                  </a:lnTo>
                  <a:lnTo>
                    <a:pt x="4718" y="1683"/>
                  </a:lnTo>
                  <a:lnTo>
                    <a:pt x="4718" y="1683"/>
                  </a:lnTo>
                  <a:lnTo>
                    <a:pt x="4716" y="1683"/>
                  </a:lnTo>
                  <a:lnTo>
                    <a:pt x="4716" y="1683"/>
                  </a:lnTo>
                  <a:lnTo>
                    <a:pt x="4716" y="1685"/>
                  </a:lnTo>
                  <a:lnTo>
                    <a:pt x="4714" y="1685"/>
                  </a:lnTo>
                  <a:lnTo>
                    <a:pt x="4712" y="1683"/>
                  </a:lnTo>
                  <a:lnTo>
                    <a:pt x="4710" y="1683"/>
                  </a:lnTo>
                  <a:lnTo>
                    <a:pt x="4710" y="1685"/>
                  </a:lnTo>
                  <a:lnTo>
                    <a:pt x="4708" y="1685"/>
                  </a:lnTo>
                  <a:lnTo>
                    <a:pt x="4706" y="1683"/>
                  </a:lnTo>
                  <a:lnTo>
                    <a:pt x="4706" y="1681"/>
                  </a:lnTo>
                  <a:lnTo>
                    <a:pt x="4706" y="1681"/>
                  </a:lnTo>
                  <a:lnTo>
                    <a:pt x="4706" y="1679"/>
                  </a:lnTo>
                  <a:lnTo>
                    <a:pt x="4708" y="1679"/>
                  </a:lnTo>
                  <a:lnTo>
                    <a:pt x="4708" y="1677"/>
                  </a:lnTo>
                  <a:lnTo>
                    <a:pt x="4706" y="1677"/>
                  </a:lnTo>
                  <a:lnTo>
                    <a:pt x="4706" y="1677"/>
                  </a:lnTo>
                  <a:lnTo>
                    <a:pt x="4706" y="1679"/>
                  </a:lnTo>
                  <a:lnTo>
                    <a:pt x="4704" y="1683"/>
                  </a:lnTo>
                  <a:lnTo>
                    <a:pt x="4704" y="1685"/>
                  </a:lnTo>
                  <a:lnTo>
                    <a:pt x="4699" y="1685"/>
                  </a:lnTo>
                  <a:lnTo>
                    <a:pt x="4699" y="1685"/>
                  </a:lnTo>
                  <a:lnTo>
                    <a:pt x="4697" y="1685"/>
                  </a:lnTo>
                  <a:lnTo>
                    <a:pt x="4695" y="1685"/>
                  </a:lnTo>
                  <a:lnTo>
                    <a:pt x="4693" y="1685"/>
                  </a:lnTo>
                  <a:close/>
                  <a:moveTo>
                    <a:pt x="4728" y="1503"/>
                  </a:moveTo>
                  <a:lnTo>
                    <a:pt x="4728" y="1503"/>
                  </a:lnTo>
                  <a:lnTo>
                    <a:pt x="4728" y="1503"/>
                  </a:lnTo>
                  <a:lnTo>
                    <a:pt x="4728" y="1503"/>
                  </a:lnTo>
                  <a:lnTo>
                    <a:pt x="4728" y="1503"/>
                  </a:lnTo>
                  <a:lnTo>
                    <a:pt x="4728" y="1501"/>
                  </a:lnTo>
                  <a:lnTo>
                    <a:pt x="4728" y="1501"/>
                  </a:lnTo>
                  <a:lnTo>
                    <a:pt x="4728" y="1501"/>
                  </a:lnTo>
                  <a:lnTo>
                    <a:pt x="4728" y="1501"/>
                  </a:lnTo>
                  <a:lnTo>
                    <a:pt x="4728" y="1501"/>
                  </a:lnTo>
                  <a:lnTo>
                    <a:pt x="4728" y="1501"/>
                  </a:lnTo>
                  <a:lnTo>
                    <a:pt x="4728" y="1503"/>
                  </a:lnTo>
                  <a:lnTo>
                    <a:pt x="4728" y="1503"/>
                  </a:lnTo>
                  <a:close/>
                  <a:moveTo>
                    <a:pt x="4735" y="1648"/>
                  </a:moveTo>
                  <a:lnTo>
                    <a:pt x="4735" y="1648"/>
                  </a:lnTo>
                  <a:lnTo>
                    <a:pt x="4735" y="1648"/>
                  </a:lnTo>
                  <a:lnTo>
                    <a:pt x="4735" y="1648"/>
                  </a:lnTo>
                  <a:lnTo>
                    <a:pt x="4732" y="1646"/>
                  </a:lnTo>
                  <a:lnTo>
                    <a:pt x="4732" y="1648"/>
                  </a:lnTo>
                  <a:lnTo>
                    <a:pt x="4732" y="1648"/>
                  </a:lnTo>
                  <a:lnTo>
                    <a:pt x="4735" y="1648"/>
                  </a:lnTo>
                  <a:close/>
                  <a:moveTo>
                    <a:pt x="4487" y="1700"/>
                  </a:moveTo>
                  <a:lnTo>
                    <a:pt x="4487" y="1697"/>
                  </a:lnTo>
                  <a:lnTo>
                    <a:pt x="4485" y="1697"/>
                  </a:lnTo>
                  <a:lnTo>
                    <a:pt x="4487" y="1700"/>
                  </a:lnTo>
                  <a:lnTo>
                    <a:pt x="4487" y="1700"/>
                  </a:lnTo>
                  <a:lnTo>
                    <a:pt x="4487" y="1700"/>
                  </a:lnTo>
                  <a:close/>
                  <a:moveTo>
                    <a:pt x="4308" y="1730"/>
                  </a:moveTo>
                  <a:lnTo>
                    <a:pt x="4310" y="1730"/>
                  </a:lnTo>
                  <a:lnTo>
                    <a:pt x="4312" y="1730"/>
                  </a:lnTo>
                  <a:lnTo>
                    <a:pt x="4312" y="1730"/>
                  </a:lnTo>
                  <a:lnTo>
                    <a:pt x="4314" y="1730"/>
                  </a:lnTo>
                  <a:lnTo>
                    <a:pt x="4316" y="1728"/>
                  </a:lnTo>
                  <a:lnTo>
                    <a:pt x="4316" y="1728"/>
                  </a:lnTo>
                  <a:lnTo>
                    <a:pt x="4318" y="1728"/>
                  </a:lnTo>
                  <a:lnTo>
                    <a:pt x="4318" y="1728"/>
                  </a:lnTo>
                  <a:lnTo>
                    <a:pt x="4318" y="1726"/>
                  </a:lnTo>
                  <a:lnTo>
                    <a:pt x="4318" y="1726"/>
                  </a:lnTo>
                  <a:lnTo>
                    <a:pt x="4318" y="1724"/>
                  </a:lnTo>
                  <a:lnTo>
                    <a:pt x="4320" y="1724"/>
                  </a:lnTo>
                  <a:lnTo>
                    <a:pt x="4320" y="1724"/>
                  </a:lnTo>
                  <a:lnTo>
                    <a:pt x="4320" y="1722"/>
                  </a:lnTo>
                  <a:lnTo>
                    <a:pt x="4318" y="1722"/>
                  </a:lnTo>
                  <a:lnTo>
                    <a:pt x="4318" y="1720"/>
                  </a:lnTo>
                  <a:lnTo>
                    <a:pt x="4318" y="1722"/>
                  </a:lnTo>
                  <a:lnTo>
                    <a:pt x="4316" y="1722"/>
                  </a:lnTo>
                  <a:lnTo>
                    <a:pt x="4318" y="1722"/>
                  </a:lnTo>
                  <a:lnTo>
                    <a:pt x="4318" y="1724"/>
                  </a:lnTo>
                  <a:lnTo>
                    <a:pt x="4316" y="1724"/>
                  </a:lnTo>
                  <a:lnTo>
                    <a:pt x="4314" y="1726"/>
                  </a:lnTo>
                  <a:lnTo>
                    <a:pt x="4314" y="1726"/>
                  </a:lnTo>
                  <a:lnTo>
                    <a:pt x="4314" y="1726"/>
                  </a:lnTo>
                  <a:lnTo>
                    <a:pt x="4312" y="1726"/>
                  </a:lnTo>
                  <a:lnTo>
                    <a:pt x="4312" y="1728"/>
                  </a:lnTo>
                  <a:lnTo>
                    <a:pt x="4312" y="1728"/>
                  </a:lnTo>
                  <a:lnTo>
                    <a:pt x="4310" y="1728"/>
                  </a:lnTo>
                  <a:lnTo>
                    <a:pt x="4310" y="1728"/>
                  </a:lnTo>
                  <a:lnTo>
                    <a:pt x="4308" y="1726"/>
                  </a:lnTo>
                  <a:lnTo>
                    <a:pt x="4306" y="1726"/>
                  </a:lnTo>
                  <a:lnTo>
                    <a:pt x="4306" y="1726"/>
                  </a:lnTo>
                  <a:lnTo>
                    <a:pt x="4304" y="1726"/>
                  </a:lnTo>
                  <a:lnTo>
                    <a:pt x="4304" y="1726"/>
                  </a:lnTo>
                  <a:lnTo>
                    <a:pt x="4301" y="1726"/>
                  </a:lnTo>
                  <a:lnTo>
                    <a:pt x="4301" y="1726"/>
                  </a:lnTo>
                  <a:lnTo>
                    <a:pt x="4299" y="1726"/>
                  </a:lnTo>
                  <a:lnTo>
                    <a:pt x="4299" y="1728"/>
                  </a:lnTo>
                  <a:lnTo>
                    <a:pt x="4299" y="1728"/>
                  </a:lnTo>
                  <a:lnTo>
                    <a:pt x="4297" y="1728"/>
                  </a:lnTo>
                  <a:lnTo>
                    <a:pt x="4297" y="1728"/>
                  </a:lnTo>
                  <a:lnTo>
                    <a:pt x="4295" y="1726"/>
                  </a:lnTo>
                  <a:lnTo>
                    <a:pt x="4293" y="1726"/>
                  </a:lnTo>
                  <a:lnTo>
                    <a:pt x="4291" y="1724"/>
                  </a:lnTo>
                  <a:lnTo>
                    <a:pt x="4289" y="1724"/>
                  </a:lnTo>
                  <a:lnTo>
                    <a:pt x="4287" y="1724"/>
                  </a:lnTo>
                  <a:lnTo>
                    <a:pt x="4287" y="1724"/>
                  </a:lnTo>
                  <a:lnTo>
                    <a:pt x="4285" y="1724"/>
                  </a:lnTo>
                  <a:lnTo>
                    <a:pt x="4285" y="1724"/>
                  </a:lnTo>
                  <a:lnTo>
                    <a:pt x="4285" y="1724"/>
                  </a:lnTo>
                  <a:lnTo>
                    <a:pt x="4283" y="1724"/>
                  </a:lnTo>
                  <a:lnTo>
                    <a:pt x="4283" y="1724"/>
                  </a:lnTo>
                  <a:lnTo>
                    <a:pt x="4281" y="1724"/>
                  </a:lnTo>
                  <a:lnTo>
                    <a:pt x="4279" y="1724"/>
                  </a:lnTo>
                  <a:lnTo>
                    <a:pt x="4277" y="1726"/>
                  </a:lnTo>
                  <a:lnTo>
                    <a:pt x="4277" y="1726"/>
                  </a:lnTo>
                  <a:lnTo>
                    <a:pt x="4275" y="1726"/>
                  </a:lnTo>
                  <a:lnTo>
                    <a:pt x="4275" y="1726"/>
                  </a:lnTo>
                  <a:lnTo>
                    <a:pt x="4275" y="1726"/>
                  </a:lnTo>
                  <a:lnTo>
                    <a:pt x="4275" y="1728"/>
                  </a:lnTo>
                  <a:lnTo>
                    <a:pt x="4275" y="1728"/>
                  </a:lnTo>
                  <a:lnTo>
                    <a:pt x="4275" y="1730"/>
                  </a:lnTo>
                  <a:lnTo>
                    <a:pt x="4275" y="1730"/>
                  </a:lnTo>
                  <a:lnTo>
                    <a:pt x="4275" y="1730"/>
                  </a:lnTo>
                  <a:lnTo>
                    <a:pt x="4277" y="1733"/>
                  </a:lnTo>
                  <a:lnTo>
                    <a:pt x="4277" y="1730"/>
                  </a:lnTo>
                  <a:lnTo>
                    <a:pt x="4279" y="1730"/>
                  </a:lnTo>
                  <a:lnTo>
                    <a:pt x="4281" y="1733"/>
                  </a:lnTo>
                  <a:lnTo>
                    <a:pt x="4285" y="1730"/>
                  </a:lnTo>
                  <a:lnTo>
                    <a:pt x="4289" y="1733"/>
                  </a:lnTo>
                  <a:lnTo>
                    <a:pt x="4291" y="1733"/>
                  </a:lnTo>
                  <a:lnTo>
                    <a:pt x="4291" y="1733"/>
                  </a:lnTo>
                  <a:lnTo>
                    <a:pt x="4293" y="1733"/>
                  </a:lnTo>
                  <a:lnTo>
                    <a:pt x="4293" y="1733"/>
                  </a:lnTo>
                  <a:lnTo>
                    <a:pt x="4293" y="1733"/>
                  </a:lnTo>
                  <a:lnTo>
                    <a:pt x="4295" y="1733"/>
                  </a:lnTo>
                  <a:lnTo>
                    <a:pt x="4297" y="1730"/>
                  </a:lnTo>
                  <a:lnTo>
                    <a:pt x="4299" y="1730"/>
                  </a:lnTo>
                  <a:lnTo>
                    <a:pt x="4299" y="1733"/>
                  </a:lnTo>
                  <a:lnTo>
                    <a:pt x="4299" y="1733"/>
                  </a:lnTo>
                  <a:lnTo>
                    <a:pt x="4301" y="1733"/>
                  </a:lnTo>
                  <a:lnTo>
                    <a:pt x="4301" y="1733"/>
                  </a:lnTo>
                  <a:lnTo>
                    <a:pt x="4304" y="1733"/>
                  </a:lnTo>
                  <a:lnTo>
                    <a:pt x="4308" y="1730"/>
                  </a:lnTo>
                  <a:lnTo>
                    <a:pt x="4308" y="1730"/>
                  </a:lnTo>
                  <a:close/>
                  <a:moveTo>
                    <a:pt x="4343" y="1823"/>
                  </a:moveTo>
                  <a:lnTo>
                    <a:pt x="4341" y="1823"/>
                  </a:lnTo>
                  <a:lnTo>
                    <a:pt x="4341" y="1823"/>
                  </a:lnTo>
                  <a:lnTo>
                    <a:pt x="4341" y="1825"/>
                  </a:lnTo>
                  <a:lnTo>
                    <a:pt x="4343" y="1825"/>
                  </a:lnTo>
                  <a:lnTo>
                    <a:pt x="4343" y="1825"/>
                  </a:lnTo>
                  <a:lnTo>
                    <a:pt x="4343" y="1825"/>
                  </a:lnTo>
                  <a:lnTo>
                    <a:pt x="4343" y="1825"/>
                  </a:lnTo>
                  <a:lnTo>
                    <a:pt x="4343" y="1825"/>
                  </a:lnTo>
                  <a:lnTo>
                    <a:pt x="4343" y="1825"/>
                  </a:lnTo>
                  <a:lnTo>
                    <a:pt x="4343" y="1823"/>
                  </a:lnTo>
                  <a:close/>
                  <a:moveTo>
                    <a:pt x="4328" y="1726"/>
                  </a:moveTo>
                  <a:lnTo>
                    <a:pt x="4330" y="1726"/>
                  </a:lnTo>
                  <a:lnTo>
                    <a:pt x="4330" y="1724"/>
                  </a:lnTo>
                  <a:lnTo>
                    <a:pt x="4332" y="1724"/>
                  </a:lnTo>
                  <a:lnTo>
                    <a:pt x="4332" y="1722"/>
                  </a:lnTo>
                  <a:lnTo>
                    <a:pt x="4332" y="1722"/>
                  </a:lnTo>
                  <a:lnTo>
                    <a:pt x="4330" y="1722"/>
                  </a:lnTo>
                  <a:lnTo>
                    <a:pt x="4328" y="1724"/>
                  </a:lnTo>
                  <a:lnTo>
                    <a:pt x="4328" y="1724"/>
                  </a:lnTo>
                  <a:lnTo>
                    <a:pt x="4328" y="1724"/>
                  </a:lnTo>
                  <a:lnTo>
                    <a:pt x="4326" y="1724"/>
                  </a:lnTo>
                  <a:lnTo>
                    <a:pt x="4326" y="1724"/>
                  </a:lnTo>
                  <a:lnTo>
                    <a:pt x="4326" y="1724"/>
                  </a:lnTo>
                  <a:lnTo>
                    <a:pt x="4326" y="1724"/>
                  </a:lnTo>
                  <a:lnTo>
                    <a:pt x="4326" y="1724"/>
                  </a:lnTo>
                  <a:lnTo>
                    <a:pt x="4326" y="1724"/>
                  </a:lnTo>
                  <a:lnTo>
                    <a:pt x="4324" y="1726"/>
                  </a:lnTo>
                  <a:lnTo>
                    <a:pt x="4324" y="1728"/>
                  </a:lnTo>
                  <a:lnTo>
                    <a:pt x="4324" y="1728"/>
                  </a:lnTo>
                  <a:lnTo>
                    <a:pt x="4324" y="1728"/>
                  </a:lnTo>
                  <a:lnTo>
                    <a:pt x="4326" y="1728"/>
                  </a:lnTo>
                  <a:lnTo>
                    <a:pt x="4326" y="1728"/>
                  </a:lnTo>
                  <a:lnTo>
                    <a:pt x="4326" y="1728"/>
                  </a:lnTo>
                  <a:lnTo>
                    <a:pt x="4328" y="1728"/>
                  </a:lnTo>
                  <a:lnTo>
                    <a:pt x="4328" y="1728"/>
                  </a:lnTo>
                  <a:lnTo>
                    <a:pt x="4328" y="1726"/>
                  </a:lnTo>
                  <a:lnTo>
                    <a:pt x="4328" y="1726"/>
                  </a:lnTo>
                  <a:lnTo>
                    <a:pt x="4328" y="1726"/>
                  </a:lnTo>
                  <a:lnTo>
                    <a:pt x="4328" y="1726"/>
                  </a:lnTo>
                  <a:close/>
                  <a:moveTo>
                    <a:pt x="4242" y="1724"/>
                  </a:moveTo>
                  <a:lnTo>
                    <a:pt x="4242" y="1724"/>
                  </a:lnTo>
                  <a:lnTo>
                    <a:pt x="4244" y="1722"/>
                  </a:lnTo>
                  <a:lnTo>
                    <a:pt x="4244" y="1722"/>
                  </a:lnTo>
                  <a:lnTo>
                    <a:pt x="4242" y="1722"/>
                  </a:lnTo>
                  <a:lnTo>
                    <a:pt x="4242" y="1722"/>
                  </a:lnTo>
                  <a:lnTo>
                    <a:pt x="4242" y="1722"/>
                  </a:lnTo>
                  <a:lnTo>
                    <a:pt x="4242" y="1724"/>
                  </a:lnTo>
                  <a:lnTo>
                    <a:pt x="4242" y="1724"/>
                  </a:lnTo>
                  <a:lnTo>
                    <a:pt x="4242" y="1724"/>
                  </a:lnTo>
                  <a:close/>
                  <a:moveTo>
                    <a:pt x="4262" y="1730"/>
                  </a:moveTo>
                  <a:lnTo>
                    <a:pt x="4262" y="1730"/>
                  </a:lnTo>
                  <a:lnTo>
                    <a:pt x="4262" y="1730"/>
                  </a:lnTo>
                  <a:lnTo>
                    <a:pt x="4262" y="1730"/>
                  </a:lnTo>
                  <a:lnTo>
                    <a:pt x="4264" y="1730"/>
                  </a:lnTo>
                  <a:lnTo>
                    <a:pt x="4264" y="1730"/>
                  </a:lnTo>
                  <a:lnTo>
                    <a:pt x="4264" y="1728"/>
                  </a:lnTo>
                  <a:lnTo>
                    <a:pt x="4264" y="1728"/>
                  </a:lnTo>
                  <a:lnTo>
                    <a:pt x="4264" y="1728"/>
                  </a:lnTo>
                  <a:lnTo>
                    <a:pt x="4264" y="1728"/>
                  </a:lnTo>
                  <a:lnTo>
                    <a:pt x="4264" y="1726"/>
                  </a:lnTo>
                  <a:lnTo>
                    <a:pt x="4262" y="1724"/>
                  </a:lnTo>
                  <a:lnTo>
                    <a:pt x="4262" y="1724"/>
                  </a:lnTo>
                  <a:lnTo>
                    <a:pt x="4260" y="1724"/>
                  </a:lnTo>
                  <a:lnTo>
                    <a:pt x="4260" y="1724"/>
                  </a:lnTo>
                  <a:lnTo>
                    <a:pt x="4260" y="1724"/>
                  </a:lnTo>
                  <a:lnTo>
                    <a:pt x="4258" y="1726"/>
                  </a:lnTo>
                  <a:lnTo>
                    <a:pt x="4258" y="1726"/>
                  </a:lnTo>
                  <a:lnTo>
                    <a:pt x="4258" y="1724"/>
                  </a:lnTo>
                  <a:lnTo>
                    <a:pt x="4258" y="1724"/>
                  </a:lnTo>
                  <a:lnTo>
                    <a:pt x="4256" y="1724"/>
                  </a:lnTo>
                  <a:lnTo>
                    <a:pt x="4256" y="1724"/>
                  </a:lnTo>
                  <a:lnTo>
                    <a:pt x="4254" y="1724"/>
                  </a:lnTo>
                  <a:lnTo>
                    <a:pt x="4254" y="1724"/>
                  </a:lnTo>
                  <a:lnTo>
                    <a:pt x="4252" y="1724"/>
                  </a:lnTo>
                  <a:lnTo>
                    <a:pt x="4252" y="1724"/>
                  </a:lnTo>
                  <a:lnTo>
                    <a:pt x="4252" y="1724"/>
                  </a:lnTo>
                  <a:lnTo>
                    <a:pt x="4250" y="1722"/>
                  </a:lnTo>
                  <a:lnTo>
                    <a:pt x="4250" y="1722"/>
                  </a:lnTo>
                  <a:lnTo>
                    <a:pt x="4248" y="1720"/>
                  </a:lnTo>
                  <a:lnTo>
                    <a:pt x="4248" y="1722"/>
                  </a:lnTo>
                  <a:lnTo>
                    <a:pt x="4246" y="1722"/>
                  </a:lnTo>
                  <a:lnTo>
                    <a:pt x="4246" y="1722"/>
                  </a:lnTo>
                  <a:lnTo>
                    <a:pt x="4246" y="1724"/>
                  </a:lnTo>
                  <a:lnTo>
                    <a:pt x="4246" y="1724"/>
                  </a:lnTo>
                  <a:lnTo>
                    <a:pt x="4248" y="1726"/>
                  </a:lnTo>
                  <a:lnTo>
                    <a:pt x="4250" y="1726"/>
                  </a:lnTo>
                  <a:lnTo>
                    <a:pt x="4250" y="1726"/>
                  </a:lnTo>
                  <a:lnTo>
                    <a:pt x="4250" y="1726"/>
                  </a:lnTo>
                  <a:lnTo>
                    <a:pt x="4252" y="1726"/>
                  </a:lnTo>
                  <a:lnTo>
                    <a:pt x="4252" y="1728"/>
                  </a:lnTo>
                  <a:lnTo>
                    <a:pt x="4252" y="1728"/>
                  </a:lnTo>
                  <a:lnTo>
                    <a:pt x="4250" y="1728"/>
                  </a:lnTo>
                  <a:lnTo>
                    <a:pt x="4248" y="1730"/>
                  </a:lnTo>
                  <a:lnTo>
                    <a:pt x="4248" y="1730"/>
                  </a:lnTo>
                  <a:lnTo>
                    <a:pt x="4246" y="1730"/>
                  </a:lnTo>
                  <a:lnTo>
                    <a:pt x="4244" y="1728"/>
                  </a:lnTo>
                  <a:lnTo>
                    <a:pt x="4244" y="1728"/>
                  </a:lnTo>
                  <a:lnTo>
                    <a:pt x="4244" y="1728"/>
                  </a:lnTo>
                  <a:lnTo>
                    <a:pt x="4244" y="1726"/>
                  </a:lnTo>
                  <a:lnTo>
                    <a:pt x="4242" y="1726"/>
                  </a:lnTo>
                  <a:lnTo>
                    <a:pt x="4242" y="1726"/>
                  </a:lnTo>
                  <a:lnTo>
                    <a:pt x="4240" y="1726"/>
                  </a:lnTo>
                  <a:lnTo>
                    <a:pt x="4238" y="1724"/>
                  </a:lnTo>
                  <a:lnTo>
                    <a:pt x="4238" y="1724"/>
                  </a:lnTo>
                  <a:lnTo>
                    <a:pt x="4235" y="1726"/>
                  </a:lnTo>
                  <a:lnTo>
                    <a:pt x="4233" y="1726"/>
                  </a:lnTo>
                  <a:lnTo>
                    <a:pt x="4233" y="1726"/>
                  </a:lnTo>
                  <a:lnTo>
                    <a:pt x="4231" y="1728"/>
                  </a:lnTo>
                  <a:lnTo>
                    <a:pt x="4231" y="1728"/>
                  </a:lnTo>
                  <a:lnTo>
                    <a:pt x="4231" y="1728"/>
                  </a:lnTo>
                  <a:lnTo>
                    <a:pt x="4231" y="1730"/>
                  </a:lnTo>
                  <a:lnTo>
                    <a:pt x="4231" y="1733"/>
                  </a:lnTo>
                  <a:lnTo>
                    <a:pt x="4231" y="1733"/>
                  </a:lnTo>
                  <a:lnTo>
                    <a:pt x="4231" y="1735"/>
                  </a:lnTo>
                  <a:lnTo>
                    <a:pt x="4233" y="1735"/>
                  </a:lnTo>
                  <a:lnTo>
                    <a:pt x="4233" y="1735"/>
                  </a:lnTo>
                  <a:lnTo>
                    <a:pt x="4235" y="1735"/>
                  </a:lnTo>
                  <a:lnTo>
                    <a:pt x="4238" y="1735"/>
                  </a:lnTo>
                  <a:lnTo>
                    <a:pt x="4238" y="1735"/>
                  </a:lnTo>
                  <a:lnTo>
                    <a:pt x="4238" y="1735"/>
                  </a:lnTo>
                  <a:lnTo>
                    <a:pt x="4240" y="1735"/>
                  </a:lnTo>
                  <a:lnTo>
                    <a:pt x="4240" y="1735"/>
                  </a:lnTo>
                  <a:lnTo>
                    <a:pt x="4242" y="1735"/>
                  </a:lnTo>
                  <a:lnTo>
                    <a:pt x="4246" y="1733"/>
                  </a:lnTo>
                  <a:lnTo>
                    <a:pt x="4246" y="1733"/>
                  </a:lnTo>
                  <a:lnTo>
                    <a:pt x="4246" y="1733"/>
                  </a:lnTo>
                  <a:lnTo>
                    <a:pt x="4250" y="1733"/>
                  </a:lnTo>
                  <a:lnTo>
                    <a:pt x="4250" y="1733"/>
                  </a:lnTo>
                  <a:lnTo>
                    <a:pt x="4252" y="1733"/>
                  </a:lnTo>
                  <a:lnTo>
                    <a:pt x="4252" y="1730"/>
                  </a:lnTo>
                  <a:lnTo>
                    <a:pt x="4254" y="1728"/>
                  </a:lnTo>
                  <a:lnTo>
                    <a:pt x="4254" y="1730"/>
                  </a:lnTo>
                  <a:lnTo>
                    <a:pt x="4254" y="1730"/>
                  </a:lnTo>
                  <a:lnTo>
                    <a:pt x="4254" y="1733"/>
                  </a:lnTo>
                  <a:lnTo>
                    <a:pt x="4256" y="1733"/>
                  </a:lnTo>
                  <a:lnTo>
                    <a:pt x="4258" y="1730"/>
                  </a:lnTo>
                  <a:lnTo>
                    <a:pt x="4258" y="1730"/>
                  </a:lnTo>
                  <a:lnTo>
                    <a:pt x="4260" y="1733"/>
                  </a:lnTo>
                  <a:lnTo>
                    <a:pt x="4260" y="1733"/>
                  </a:lnTo>
                  <a:lnTo>
                    <a:pt x="4260" y="1730"/>
                  </a:lnTo>
                  <a:lnTo>
                    <a:pt x="4260" y="1730"/>
                  </a:lnTo>
                  <a:lnTo>
                    <a:pt x="4260" y="1730"/>
                  </a:lnTo>
                  <a:lnTo>
                    <a:pt x="4260" y="1730"/>
                  </a:lnTo>
                  <a:lnTo>
                    <a:pt x="4260" y="1730"/>
                  </a:lnTo>
                  <a:lnTo>
                    <a:pt x="4262" y="1730"/>
                  </a:lnTo>
                  <a:close/>
                  <a:moveTo>
                    <a:pt x="4512" y="1830"/>
                  </a:moveTo>
                  <a:lnTo>
                    <a:pt x="4512" y="1830"/>
                  </a:lnTo>
                  <a:lnTo>
                    <a:pt x="4514" y="1830"/>
                  </a:lnTo>
                  <a:lnTo>
                    <a:pt x="4514" y="1830"/>
                  </a:lnTo>
                  <a:lnTo>
                    <a:pt x="4514" y="1828"/>
                  </a:lnTo>
                  <a:lnTo>
                    <a:pt x="4514" y="1828"/>
                  </a:lnTo>
                  <a:lnTo>
                    <a:pt x="4512" y="1828"/>
                  </a:lnTo>
                  <a:lnTo>
                    <a:pt x="4512" y="1830"/>
                  </a:lnTo>
                  <a:close/>
                  <a:moveTo>
                    <a:pt x="4384" y="1652"/>
                  </a:moveTo>
                  <a:lnTo>
                    <a:pt x="4384" y="1652"/>
                  </a:lnTo>
                  <a:lnTo>
                    <a:pt x="4384" y="1654"/>
                  </a:lnTo>
                  <a:lnTo>
                    <a:pt x="4386" y="1654"/>
                  </a:lnTo>
                  <a:lnTo>
                    <a:pt x="4386" y="1654"/>
                  </a:lnTo>
                  <a:lnTo>
                    <a:pt x="4384" y="1652"/>
                  </a:lnTo>
                  <a:lnTo>
                    <a:pt x="4384" y="1652"/>
                  </a:lnTo>
                  <a:close/>
                  <a:moveTo>
                    <a:pt x="4390" y="1629"/>
                  </a:moveTo>
                  <a:lnTo>
                    <a:pt x="4392" y="1631"/>
                  </a:lnTo>
                  <a:lnTo>
                    <a:pt x="4392" y="1631"/>
                  </a:lnTo>
                  <a:lnTo>
                    <a:pt x="4394" y="1629"/>
                  </a:lnTo>
                  <a:lnTo>
                    <a:pt x="4394" y="1629"/>
                  </a:lnTo>
                  <a:lnTo>
                    <a:pt x="4392" y="1627"/>
                  </a:lnTo>
                  <a:lnTo>
                    <a:pt x="4390" y="1627"/>
                  </a:lnTo>
                  <a:lnTo>
                    <a:pt x="4388" y="1625"/>
                  </a:lnTo>
                  <a:lnTo>
                    <a:pt x="4386" y="1625"/>
                  </a:lnTo>
                  <a:lnTo>
                    <a:pt x="4386" y="1625"/>
                  </a:lnTo>
                  <a:lnTo>
                    <a:pt x="4384" y="1627"/>
                  </a:lnTo>
                  <a:lnTo>
                    <a:pt x="4382" y="1629"/>
                  </a:lnTo>
                  <a:lnTo>
                    <a:pt x="4382" y="1629"/>
                  </a:lnTo>
                  <a:lnTo>
                    <a:pt x="4384" y="1631"/>
                  </a:lnTo>
                  <a:lnTo>
                    <a:pt x="4386" y="1631"/>
                  </a:lnTo>
                  <a:lnTo>
                    <a:pt x="4388" y="1631"/>
                  </a:lnTo>
                  <a:lnTo>
                    <a:pt x="4390" y="1629"/>
                  </a:lnTo>
                  <a:close/>
                  <a:moveTo>
                    <a:pt x="4355" y="1739"/>
                  </a:moveTo>
                  <a:lnTo>
                    <a:pt x="4359" y="1737"/>
                  </a:lnTo>
                  <a:lnTo>
                    <a:pt x="4361" y="1737"/>
                  </a:lnTo>
                  <a:lnTo>
                    <a:pt x="4361" y="1737"/>
                  </a:lnTo>
                  <a:lnTo>
                    <a:pt x="4361" y="1737"/>
                  </a:lnTo>
                  <a:lnTo>
                    <a:pt x="4363" y="1735"/>
                  </a:lnTo>
                  <a:lnTo>
                    <a:pt x="4365" y="1735"/>
                  </a:lnTo>
                  <a:lnTo>
                    <a:pt x="4367" y="1735"/>
                  </a:lnTo>
                  <a:lnTo>
                    <a:pt x="4367" y="1733"/>
                  </a:lnTo>
                  <a:lnTo>
                    <a:pt x="4370" y="1733"/>
                  </a:lnTo>
                  <a:lnTo>
                    <a:pt x="4372" y="1733"/>
                  </a:lnTo>
                  <a:lnTo>
                    <a:pt x="4372" y="1730"/>
                  </a:lnTo>
                  <a:lnTo>
                    <a:pt x="4374" y="1730"/>
                  </a:lnTo>
                  <a:lnTo>
                    <a:pt x="4376" y="1730"/>
                  </a:lnTo>
                  <a:lnTo>
                    <a:pt x="4378" y="1728"/>
                  </a:lnTo>
                  <a:lnTo>
                    <a:pt x="4382" y="1726"/>
                  </a:lnTo>
                  <a:lnTo>
                    <a:pt x="4380" y="1726"/>
                  </a:lnTo>
                  <a:lnTo>
                    <a:pt x="4380" y="1724"/>
                  </a:lnTo>
                  <a:lnTo>
                    <a:pt x="4378" y="1724"/>
                  </a:lnTo>
                  <a:lnTo>
                    <a:pt x="4376" y="1724"/>
                  </a:lnTo>
                  <a:lnTo>
                    <a:pt x="4376" y="1724"/>
                  </a:lnTo>
                  <a:lnTo>
                    <a:pt x="4376" y="1724"/>
                  </a:lnTo>
                  <a:lnTo>
                    <a:pt x="4374" y="1726"/>
                  </a:lnTo>
                  <a:lnTo>
                    <a:pt x="4372" y="1726"/>
                  </a:lnTo>
                  <a:lnTo>
                    <a:pt x="4370" y="1726"/>
                  </a:lnTo>
                  <a:lnTo>
                    <a:pt x="4365" y="1726"/>
                  </a:lnTo>
                  <a:lnTo>
                    <a:pt x="4361" y="1726"/>
                  </a:lnTo>
                  <a:lnTo>
                    <a:pt x="4359" y="1726"/>
                  </a:lnTo>
                  <a:lnTo>
                    <a:pt x="4353" y="1728"/>
                  </a:lnTo>
                  <a:lnTo>
                    <a:pt x="4353" y="1728"/>
                  </a:lnTo>
                  <a:lnTo>
                    <a:pt x="4351" y="1728"/>
                  </a:lnTo>
                  <a:lnTo>
                    <a:pt x="4351" y="1730"/>
                  </a:lnTo>
                  <a:lnTo>
                    <a:pt x="4349" y="1733"/>
                  </a:lnTo>
                  <a:lnTo>
                    <a:pt x="4347" y="1735"/>
                  </a:lnTo>
                  <a:lnTo>
                    <a:pt x="4345" y="1735"/>
                  </a:lnTo>
                  <a:lnTo>
                    <a:pt x="4343" y="1737"/>
                  </a:lnTo>
                  <a:lnTo>
                    <a:pt x="4343" y="1737"/>
                  </a:lnTo>
                  <a:lnTo>
                    <a:pt x="4337" y="1739"/>
                  </a:lnTo>
                  <a:lnTo>
                    <a:pt x="4334" y="1739"/>
                  </a:lnTo>
                  <a:lnTo>
                    <a:pt x="4332" y="1741"/>
                  </a:lnTo>
                  <a:lnTo>
                    <a:pt x="4330" y="1743"/>
                  </a:lnTo>
                  <a:lnTo>
                    <a:pt x="4330" y="1745"/>
                  </a:lnTo>
                  <a:lnTo>
                    <a:pt x="4328" y="1747"/>
                  </a:lnTo>
                  <a:lnTo>
                    <a:pt x="4328" y="1747"/>
                  </a:lnTo>
                  <a:lnTo>
                    <a:pt x="4328" y="1749"/>
                  </a:lnTo>
                  <a:lnTo>
                    <a:pt x="4330" y="1749"/>
                  </a:lnTo>
                  <a:lnTo>
                    <a:pt x="4330" y="1751"/>
                  </a:lnTo>
                  <a:lnTo>
                    <a:pt x="4328" y="1751"/>
                  </a:lnTo>
                  <a:lnTo>
                    <a:pt x="4328" y="1751"/>
                  </a:lnTo>
                  <a:lnTo>
                    <a:pt x="4328" y="1753"/>
                  </a:lnTo>
                  <a:lnTo>
                    <a:pt x="4328" y="1753"/>
                  </a:lnTo>
                  <a:lnTo>
                    <a:pt x="4330" y="1753"/>
                  </a:lnTo>
                  <a:lnTo>
                    <a:pt x="4332" y="1753"/>
                  </a:lnTo>
                  <a:lnTo>
                    <a:pt x="4334" y="1753"/>
                  </a:lnTo>
                  <a:lnTo>
                    <a:pt x="4337" y="1751"/>
                  </a:lnTo>
                  <a:lnTo>
                    <a:pt x="4339" y="1751"/>
                  </a:lnTo>
                  <a:lnTo>
                    <a:pt x="4341" y="1751"/>
                  </a:lnTo>
                  <a:lnTo>
                    <a:pt x="4341" y="1749"/>
                  </a:lnTo>
                  <a:lnTo>
                    <a:pt x="4343" y="1749"/>
                  </a:lnTo>
                  <a:lnTo>
                    <a:pt x="4345" y="1747"/>
                  </a:lnTo>
                  <a:lnTo>
                    <a:pt x="4347" y="1745"/>
                  </a:lnTo>
                  <a:lnTo>
                    <a:pt x="4349" y="1743"/>
                  </a:lnTo>
                  <a:lnTo>
                    <a:pt x="4349" y="1743"/>
                  </a:lnTo>
                  <a:lnTo>
                    <a:pt x="4351" y="1741"/>
                  </a:lnTo>
                  <a:lnTo>
                    <a:pt x="4355" y="1739"/>
                  </a:lnTo>
                  <a:close/>
                  <a:moveTo>
                    <a:pt x="4351" y="1813"/>
                  </a:moveTo>
                  <a:lnTo>
                    <a:pt x="4351" y="1813"/>
                  </a:lnTo>
                  <a:lnTo>
                    <a:pt x="4349" y="1815"/>
                  </a:lnTo>
                  <a:lnTo>
                    <a:pt x="4351" y="1815"/>
                  </a:lnTo>
                  <a:lnTo>
                    <a:pt x="4351" y="1813"/>
                  </a:lnTo>
                  <a:lnTo>
                    <a:pt x="4351" y="1813"/>
                  </a:lnTo>
                  <a:lnTo>
                    <a:pt x="4351" y="1813"/>
                  </a:lnTo>
                  <a:lnTo>
                    <a:pt x="4351" y="1813"/>
                  </a:lnTo>
                  <a:close/>
                  <a:moveTo>
                    <a:pt x="4264" y="1722"/>
                  </a:moveTo>
                  <a:lnTo>
                    <a:pt x="4264" y="1722"/>
                  </a:lnTo>
                  <a:lnTo>
                    <a:pt x="4264" y="1722"/>
                  </a:lnTo>
                  <a:lnTo>
                    <a:pt x="4264" y="1722"/>
                  </a:lnTo>
                  <a:lnTo>
                    <a:pt x="4264" y="1722"/>
                  </a:lnTo>
                  <a:lnTo>
                    <a:pt x="4264" y="1722"/>
                  </a:lnTo>
                  <a:lnTo>
                    <a:pt x="4262" y="1722"/>
                  </a:lnTo>
                  <a:lnTo>
                    <a:pt x="4264" y="1724"/>
                  </a:lnTo>
                  <a:lnTo>
                    <a:pt x="4264" y="1722"/>
                  </a:lnTo>
                  <a:lnTo>
                    <a:pt x="4264" y="1722"/>
                  </a:lnTo>
                  <a:close/>
                  <a:moveTo>
                    <a:pt x="4310" y="1681"/>
                  </a:moveTo>
                  <a:lnTo>
                    <a:pt x="4310" y="1683"/>
                  </a:lnTo>
                  <a:lnTo>
                    <a:pt x="4312" y="1683"/>
                  </a:lnTo>
                  <a:lnTo>
                    <a:pt x="4312" y="1683"/>
                  </a:lnTo>
                  <a:lnTo>
                    <a:pt x="4312" y="1683"/>
                  </a:lnTo>
                  <a:lnTo>
                    <a:pt x="4314" y="1683"/>
                  </a:lnTo>
                  <a:lnTo>
                    <a:pt x="4314" y="1683"/>
                  </a:lnTo>
                  <a:lnTo>
                    <a:pt x="4314" y="1683"/>
                  </a:lnTo>
                  <a:lnTo>
                    <a:pt x="4316" y="1681"/>
                  </a:lnTo>
                  <a:lnTo>
                    <a:pt x="4314" y="1679"/>
                  </a:lnTo>
                  <a:lnTo>
                    <a:pt x="4316" y="1677"/>
                  </a:lnTo>
                  <a:lnTo>
                    <a:pt x="4316" y="1673"/>
                  </a:lnTo>
                  <a:lnTo>
                    <a:pt x="4316" y="1673"/>
                  </a:lnTo>
                  <a:lnTo>
                    <a:pt x="4316" y="1673"/>
                  </a:lnTo>
                  <a:lnTo>
                    <a:pt x="4314" y="1673"/>
                  </a:lnTo>
                  <a:lnTo>
                    <a:pt x="4312" y="1675"/>
                  </a:lnTo>
                  <a:lnTo>
                    <a:pt x="4310" y="1675"/>
                  </a:lnTo>
                  <a:lnTo>
                    <a:pt x="4312" y="1677"/>
                  </a:lnTo>
                  <a:lnTo>
                    <a:pt x="4312" y="1679"/>
                  </a:lnTo>
                  <a:lnTo>
                    <a:pt x="4310" y="1679"/>
                  </a:lnTo>
                  <a:lnTo>
                    <a:pt x="4310" y="1681"/>
                  </a:lnTo>
                  <a:close/>
                  <a:moveTo>
                    <a:pt x="4539" y="1045"/>
                  </a:moveTo>
                  <a:lnTo>
                    <a:pt x="4537" y="1045"/>
                  </a:lnTo>
                  <a:lnTo>
                    <a:pt x="4537" y="1045"/>
                  </a:lnTo>
                  <a:lnTo>
                    <a:pt x="4539" y="1045"/>
                  </a:lnTo>
                  <a:lnTo>
                    <a:pt x="4541" y="1043"/>
                  </a:lnTo>
                  <a:lnTo>
                    <a:pt x="4543" y="1041"/>
                  </a:lnTo>
                  <a:lnTo>
                    <a:pt x="4541" y="1041"/>
                  </a:lnTo>
                  <a:lnTo>
                    <a:pt x="4541" y="1041"/>
                  </a:lnTo>
                  <a:lnTo>
                    <a:pt x="4541" y="1039"/>
                  </a:lnTo>
                  <a:lnTo>
                    <a:pt x="4541" y="1037"/>
                  </a:lnTo>
                  <a:lnTo>
                    <a:pt x="4541" y="1037"/>
                  </a:lnTo>
                  <a:lnTo>
                    <a:pt x="4539" y="1039"/>
                  </a:lnTo>
                  <a:lnTo>
                    <a:pt x="4537" y="1041"/>
                  </a:lnTo>
                  <a:lnTo>
                    <a:pt x="4537" y="1043"/>
                  </a:lnTo>
                  <a:lnTo>
                    <a:pt x="4539" y="1043"/>
                  </a:lnTo>
                  <a:lnTo>
                    <a:pt x="4539" y="1043"/>
                  </a:lnTo>
                  <a:lnTo>
                    <a:pt x="4539" y="1043"/>
                  </a:lnTo>
                  <a:lnTo>
                    <a:pt x="4539" y="1045"/>
                  </a:lnTo>
                  <a:close/>
                  <a:moveTo>
                    <a:pt x="4304" y="1681"/>
                  </a:moveTo>
                  <a:lnTo>
                    <a:pt x="4304" y="1681"/>
                  </a:lnTo>
                  <a:lnTo>
                    <a:pt x="4304" y="1683"/>
                  </a:lnTo>
                  <a:lnTo>
                    <a:pt x="4306" y="1683"/>
                  </a:lnTo>
                  <a:lnTo>
                    <a:pt x="4306" y="1683"/>
                  </a:lnTo>
                  <a:lnTo>
                    <a:pt x="4306" y="1681"/>
                  </a:lnTo>
                  <a:lnTo>
                    <a:pt x="4306" y="1679"/>
                  </a:lnTo>
                  <a:lnTo>
                    <a:pt x="4306" y="1679"/>
                  </a:lnTo>
                  <a:lnTo>
                    <a:pt x="4306" y="1679"/>
                  </a:lnTo>
                  <a:lnTo>
                    <a:pt x="4304" y="1679"/>
                  </a:lnTo>
                  <a:lnTo>
                    <a:pt x="4304" y="1679"/>
                  </a:lnTo>
                  <a:lnTo>
                    <a:pt x="4304" y="1679"/>
                  </a:lnTo>
                  <a:lnTo>
                    <a:pt x="4304" y="1679"/>
                  </a:lnTo>
                  <a:lnTo>
                    <a:pt x="4304" y="1681"/>
                  </a:lnTo>
                  <a:close/>
                  <a:moveTo>
                    <a:pt x="4328" y="1629"/>
                  </a:moveTo>
                  <a:lnTo>
                    <a:pt x="4328" y="1627"/>
                  </a:lnTo>
                  <a:lnTo>
                    <a:pt x="4328" y="1627"/>
                  </a:lnTo>
                  <a:lnTo>
                    <a:pt x="4326" y="1627"/>
                  </a:lnTo>
                  <a:lnTo>
                    <a:pt x="4326" y="1629"/>
                  </a:lnTo>
                  <a:lnTo>
                    <a:pt x="4328" y="1631"/>
                  </a:lnTo>
                  <a:lnTo>
                    <a:pt x="4328" y="1631"/>
                  </a:lnTo>
                  <a:lnTo>
                    <a:pt x="4328" y="1629"/>
                  </a:lnTo>
                  <a:lnTo>
                    <a:pt x="4328" y="1629"/>
                  </a:lnTo>
                  <a:lnTo>
                    <a:pt x="4328" y="1629"/>
                  </a:lnTo>
                  <a:close/>
                  <a:moveTo>
                    <a:pt x="4262" y="1743"/>
                  </a:moveTo>
                  <a:lnTo>
                    <a:pt x="4264" y="1743"/>
                  </a:lnTo>
                  <a:lnTo>
                    <a:pt x="4264" y="1745"/>
                  </a:lnTo>
                  <a:lnTo>
                    <a:pt x="4268" y="1745"/>
                  </a:lnTo>
                  <a:lnTo>
                    <a:pt x="4268" y="1745"/>
                  </a:lnTo>
                  <a:lnTo>
                    <a:pt x="4271" y="1745"/>
                  </a:lnTo>
                  <a:lnTo>
                    <a:pt x="4271" y="1745"/>
                  </a:lnTo>
                  <a:lnTo>
                    <a:pt x="4275" y="1747"/>
                  </a:lnTo>
                  <a:lnTo>
                    <a:pt x="4277" y="1747"/>
                  </a:lnTo>
                  <a:lnTo>
                    <a:pt x="4277" y="1749"/>
                  </a:lnTo>
                  <a:lnTo>
                    <a:pt x="4279" y="1751"/>
                  </a:lnTo>
                  <a:lnTo>
                    <a:pt x="4279" y="1751"/>
                  </a:lnTo>
                  <a:lnTo>
                    <a:pt x="4281" y="1751"/>
                  </a:lnTo>
                  <a:lnTo>
                    <a:pt x="4283" y="1751"/>
                  </a:lnTo>
                  <a:lnTo>
                    <a:pt x="4283" y="1753"/>
                  </a:lnTo>
                  <a:lnTo>
                    <a:pt x="4285" y="1751"/>
                  </a:lnTo>
                  <a:lnTo>
                    <a:pt x="4287" y="1751"/>
                  </a:lnTo>
                  <a:lnTo>
                    <a:pt x="4287" y="1751"/>
                  </a:lnTo>
                  <a:lnTo>
                    <a:pt x="4289" y="1749"/>
                  </a:lnTo>
                  <a:lnTo>
                    <a:pt x="4289" y="1749"/>
                  </a:lnTo>
                  <a:lnTo>
                    <a:pt x="4289" y="1747"/>
                  </a:lnTo>
                  <a:lnTo>
                    <a:pt x="4287" y="1747"/>
                  </a:lnTo>
                  <a:lnTo>
                    <a:pt x="4287" y="1745"/>
                  </a:lnTo>
                  <a:lnTo>
                    <a:pt x="4285" y="1745"/>
                  </a:lnTo>
                  <a:lnTo>
                    <a:pt x="4285" y="1743"/>
                  </a:lnTo>
                  <a:lnTo>
                    <a:pt x="4283" y="1743"/>
                  </a:lnTo>
                  <a:lnTo>
                    <a:pt x="4283" y="1743"/>
                  </a:lnTo>
                  <a:lnTo>
                    <a:pt x="4281" y="1743"/>
                  </a:lnTo>
                  <a:lnTo>
                    <a:pt x="4281" y="1743"/>
                  </a:lnTo>
                  <a:lnTo>
                    <a:pt x="4281" y="1741"/>
                  </a:lnTo>
                  <a:lnTo>
                    <a:pt x="4281" y="1741"/>
                  </a:lnTo>
                  <a:lnTo>
                    <a:pt x="4279" y="1741"/>
                  </a:lnTo>
                  <a:lnTo>
                    <a:pt x="4277" y="1739"/>
                  </a:lnTo>
                  <a:lnTo>
                    <a:pt x="4277" y="1739"/>
                  </a:lnTo>
                  <a:lnTo>
                    <a:pt x="4277" y="1739"/>
                  </a:lnTo>
                  <a:lnTo>
                    <a:pt x="4275" y="1739"/>
                  </a:lnTo>
                  <a:lnTo>
                    <a:pt x="4275" y="1739"/>
                  </a:lnTo>
                  <a:lnTo>
                    <a:pt x="4273" y="1739"/>
                  </a:lnTo>
                  <a:lnTo>
                    <a:pt x="4268" y="1739"/>
                  </a:lnTo>
                  <a:lnTo>
                    <a:pt x="4266" y="1739"/>
                  </a:lnTo>
                  <a:lnTo>
                    <a:pt x="4266" y="1739"/>
                  </a:lnTo>
                  <a:lnTo>
                    <a:pt x="4264" y="1741"/>
                  </a:lnTo>
                  <a:lnTo>
                    <a:pt x="4262" y="1741"/>
                  </a:lnTo>
                  <a:lnTo>
                    <a:pt x="4262" y="1741"/>
                  </a:lnTo>
                  <a:lnTo>
                    <a:pt x="4262" y="1743"/>
                  </a:lnTo>
                  <a:lnTo>
                    <a:pt x="4262" y="1743"/>
                  </a:lnTo>
                  <a:close/>
                  <a:moveTo>
                    <a:pt x="4271" y="1728"/>
                  </a:moveTo>
                  <a:lnTo>
                    <a:pt x="4271" y="1728"/>
                  </a:lnTo>
                  <a:lnTo>
                    <a:pt x="4271" y="1726"/>
                  </a:lnTo>
                  <a:lnTo>
                    <a:pt x="4271" y="1726"/>
                  </a:lnTo>
                  <a:lnTo>
                    <a:pt x="4271" y="1726"/>
                  </a:lnTo>
                  <a:lnTo>
                    <a:pt x="4271" y="1726"/>
                  </a:lnTo>
                  <a:lnTo>
                    <a:pt x="4271" y="1726"/>
                  </a:lnTo>
                  <a:lnTo>
                    <a:pt x="4268" y="1726"/>
                  </a:lnTo>
                  <a:lnTo>
                    <a:pt x="4268" y="1726"/>
                  </a:lnTo>
                  <a:lnTo>
                    <a:pt x="4268" y="1728"/>
                  </a:lnTo>
                  <a:lnTo>
                    <a:pt x="4268" y="1728"/>
                  </a:lnTo>
                  <a:lnTo>
                    <a:pt x="4268" y="1728"/>
                  </a:lnTo>
                  <a:lnTo>
                    <a:pt x="4268" y="1730"/>
                  </a:lnTo>
                  <a:lnTo>
                    <a:pt x="4268" y="1730"/>
                  </a:lnTo>
                  <a:lnTo>
                    <a:pt x="4271" y="1730"/>
                  </a:lnTo>
                  <a:lnTo>
                    <a:pt x="4268" y="1728"/>
                  </a:lnTo>
                  <a:lnTo>
                    <a:pt x="4271" y="1728"/>
                  </a:lnTo>
                  <a:lnTo>
                    <a:pt x="4271" y="1728"/>
                  </a:lnTo>
                  <a:close/>
                  <a:moveTo>
                    <a:pt x="4289" y="1708"/>
                  </a:moveTo>
                  <a:lnTo>
                    <a:pt x="4289" y="1706"/>
                  </a:lnTo>
                  <a:lnTo>
                    <a:pt x="4287" y="1706"/>
                  </a:lnTo>
                  <a:lnTo>
                    <a:pt x="4287" y="1706"/>
                  </a:lnTo>
                  <a:lnTo>
                    <a:pt x="4287" y="1708"/>
                  </a:lnTo>
                  <a:lnTo>
                    <a:pt x="4287" y="1708"/>
                  </a:lnTo>
                  <a:lnTo>
                    <a:pt x="4289" y="1708"/>
                  </a:lnTo>
                  <a:close/>
                  <a:moveTo>
                    <a:pt x="4394" y="1660"/>
                  </a:moveTo>
                  <a:lnTo>
                    <a:pt x="4394" y="1658"/>
                  </a:lnTo>
                  <a:lnTo>
                    <a:pt x="4394" y="1658"/>
                  </a:lnTo>
                  <a:lnTo>
                    <a:pt x="4394" y="1658"/>
                  </a:lnTo>
                  <a:lnTo>
                    <a:pt x="4396" y="1658"/>
                  </a:lnTo>
                  <a:lnTo>
                    <a:pt x="4396" y="1656"/>
                  </a:lnTo>
                  <a:lnTo>
                    <a:pt x="4396" y="1656"/>
                  </a:lnTo>
                  <a:lnTo>
                    <a:pt x="4394" y="1656"/>
                  </a:lnTo>
                  <a:lnTo>
                    <a:pt x="4392" y="1658"/>
                  </a:lnTo>
                  <a:lnTo>
                    <a:pt x="4392" y="1658"/>
                  </a:lnTo>
                  <a:lnTo>
                    <a:pt x="4390" y="1658"/>
                  </a:lnTo>
                  <a:lnTo>
                    <a:pt x="4390" y="1658"/>
                  </a:lnTo>
                  <a:lnTo>
                    <a:pt x="4390" y="1660"/>
                  </a:lnTo>
                  <a:lnTo>
                    <a:pt x="4390" y="1660"/>
                  </a:lnTo>
                  <a:lnTo>
                    <a:pt x="4392" y="1658"/>
                  </a:lnTo>
                  <a:lnTo>
                    <a:pt x="4392" y="1658"/>
                  </a:lnTo>
                  <a:lnTo>
                    <a:pt x="4394" y="1658"/>
                  </a:lnTo>
                  <a:lnTo>
                    <a:pt x="4394" y="1658"/>
                  </a:lnTo>
                  <a:lnTo>
                    <a:pt x="4394" y="1660"/>
                  </a:lnTo>
                  <a:lnTo>
                    <a:pt x="4394" y="1660"/>
                  </a:lnTo>
                  <a:close/>
                  <a:moveTo>
                    <a:pt x="4283" y="1695"/>
                  </a:moveTo>
                  <a:lnTo>
                    <a:pt x="4283" y="1697"/>
                  </a:lnTo>
                  <a:lnTo>
                    <a:pt x="4285" y="1697"/>
                  </a:lnTo>
                  <a:lnTo>
                    <a:pt x="4285" y="1695"/>
                  </a:lnTo>
                  <a:lnTo>
                    <a:pt x="4285" y="1691"/>
                  </a:lnTo>
                  <a:lnTo>
                    <a:pt x="4285" y="1689"/>
                  </a:lnTo>
                  <a:lnTo>
                    <a:pt x="4285" y="1689"/>
                  </a:lnTo>
                  <a:lnTo>
                    <a:pt x="4283" y="1689"/>
                  </a:lnTo>
                  <a:lnTo>
                    <a:pt x="4283" y="1693"/>
                  </a:lnTo>
                  <a:lnTo>
                    <a:pt x="4283" y="1693"/>
                  </a:lnTo>
                  <a:lnTo>
                    <a:pt x="4283" y="1695"/>
                  </a:lnTo>
                  <a:close/>
                  <a:moveTo>
                    <a:pt x="4304" y="1755"/>
                  </a:moveTo>
                  <a:lnTo>
                    <a:pt x="4301" y="1755"/>
                  </a:lnTo>
                  <a:lnTo>
                    <a:pt x="4301" y="1757"/>
                  </a:lnTo>
                  <a:lnTo>
                    <a:pt x="4304" y="1757"/>
                  </a:lnTo>
                  <a:lnTo>
                    <a:pt x="4304" y="1757"/>
                  </a:lnTo>
                  <a:lnTo>
                    <a:pt x="4306" y="1755"/>
                  </a:lnTo>
                  <a:lnTo>
                    <a:pt x="4306" y="1755"/>
                  </a:lnTo>
                  <a:lnTo>
                    <a:pt x="4306" y="1755"/>
                  </a:lnTo>
                  <a:lnTo>
                    <a:pt x="4304" y="1755"/>
                  </a:lnTo>
                  <a:lnTo>
                    <a:pt x="4304" y="1755"/>
                  </a:lnTo>
                  <a:close/>
                  <a:moveTo>
                    <a:pt x="4487" y="1693"/>
                  </a:moveTo>
                  <a:lnTo>
                    <a:pt x="4487" y="1693"/>
                  </a:lnTo>
                  <a:lnTo>
                    <a:pt x="4487" y="1691"/>
                  </a:lnTo>
                  <a:lnTo>
                    <a:pt x="4487" y="1691"/>
                  </a:lnTo>
                  <a:lnTo>
                    <a:pt x="4487" y="1689"/>
                  </a:lnTo>
                  <a:lnTo>
                    <a:pt x="4487" y="1689"/>
                  </a:lnTo>
                  <a:lnTo>
                    <a:pt x="4487" y="1687"/>
                  </a:lnTo>
                  <a:lnTo>
                    <a:pt x="4487" y="1687"/>
                  </a:lnTo>
                  <a:lnTo>
                    <a:pt x="4487" y="1685"/>
                  </a:lnTo>
                  <a:lnTo>
                    <a:pt x="4487" y="1685"/>
                  </a:lnTo>
                  <a:lnTo>
                    <a:pt x="4487" y="1685"/>
                  </a:lnTo>
                  <a:lnTo>
                    <a:pt x="4487" y="1685"/>
                  </a:lnTo>
                  <a:lnTo>
                    <a:pt x="4485" y="1683"/>
                  </a:lnTo>
                  <a:lnTo>
                    <a:pt x="4485" y="1683"/>
                  </a:lnTo>
                  <a:lnTo>
                    <a:pt x="4485" y="1683"/>
                  </a:lnTo>
                  <a:lnTo>
                    <a:pt x="4483" y="1685"/>
                  </a:lnTo>
                  <a:lnTo>
                    <a:pt x="4483" y="1685"/>
                  </a:lnTo>
                  <a:lnTo>
                    <a:pt x="4481" y="1687"/>
                  </a:lnTo>
                  <a:lnTo>
                    <a:pt x="4481" y="1687"/>
                  </a:lnTo>
                  <a:lnTo>
                    <a:pt x="4479" y="1687"/>
                  </a:lnTo>
                  <a:lnTo>
                    <a:pt x="4481" y="1687"/>
                  </a:lnTo>
                  <a:lnTo>
                    <a:pt x="4481" y="1689"/>
                  </a:lnTo>
                  <a:lnTo>
                    <a:pt x="4481" y="1691"/>
                  </a:lnTo>
                  <a:lnTo>
                    <a:pt x="4481" y="1691"/>
                  </a:lnTo>
                  <a:lnTo>
                    <a:pt x="4481" y="1691"/>
                  </a:lnTo>
                  <a:lnTo>
                    <a:pt x="4479" y="1691"/>
                  </a:lnTo>
                  <a:lnTo>
                    <a:pt x="4479" y="1693"/>
                  </a:lnTo>
                  <a:lnTo>
                    <a:pt x="4479" y="1693"/>
                  </a:lnTo>
                  <a:lnTo>
                    <a:pt x="4481" y="1693"/>
                  </a:lnTo>
                  <a:lnTo>
                    <a:pt x="4481" y="1693"/>
                  </a:lnTo>
                  <a:lnTo>
                    <a:pt x="4481" y="1695"/>
                  </a:lnTo>
                  <a:lnTo>
                    <a:pt x="4483" y="1695"/>
                  </a:lnTo>
                  <a:lnTo>
                    <a:pt x="4485" y="1697"/>
                  </a:lnTo>
                  <a:lnTo>
                    <a:pt x="4487" y="1695"/>
                  </a:lnTo>
                  <a:lnTo>
                    <a:pt x="4487" y="1695"/>
                  </a:lnTo>
                  <a:lnTo>
                    <a:pt x="4487" y="1695"/>
                  </a:lnTo>
                  <a:lnTo>
                    <a:pt x="4487" y="1693"/>
                  </a:lnTo>
                  <a:lnTo>
                    <a:pt x="4487" y="1693"/>
                  </a:lnTo>
                  <a:close/>
                  <a:moveTo>
                    <a:pt x="4485" y="1702"/>
                  </a:moveTo>
                  <a:lnTo>
                    <a:pt x="4487" y="1702"/>
                  </a:lnTo>
                  <a:lnTo>
                    <a:pt x="4487" y="1702"/>
                  </a:lnTo>
                  <a:lnTo>
                    <a:pt x="4487" y="1702"/>
                  </a:lnTo>
                  <a:lnTo>
                    <a:pt x="4487" y="1700"/>
                  </a:lnTo>
                  <a:lnTo>
                    <a:pt x="4487" y="1700"/>
                  </a:lnTo>
                  <a:lnTo>
                    <a:pt x="4487" y="1702"/>
                  </a:lnTo>
                  <a:lnTo>
                    <a:pt x="4485" y="1702"/>
                  </a:lnTo>
                  <a:lnTo>
                    <a:pt x="4485" y="1702"/>
                  </a:lnTo>
                  <a:close/>
                  <a:moveTo>
                    <a:pt x="4462" y="1685"/>
                  </a:moveTo>
                  <a:lnTo>
                    <a:pt x="4462" y="1687"/>
                  </a:lnTo>
                  <a:lnTo>
                    <a:pt x="4462" y="1689"/>
                  </a:lnTo>
                  <a:lnTo>
                    <a:pt x="4460" y="1691"/>
                  </a:lnTo>
                  <a:lnTo>
                    <a:pt x="4462" y="1689"/>
                  </a:lnTo>
                  <a:lnTo>
                    <a:pt x="4462" y="1687"/>
                  </a:lnTo>
                  <a:lnTo>
                    <a:pt x="4464" y="1685"/>
                  </a:lnTo>
                  <a:lnTo>
                    <a:pt x="4464" y="1683"/>
                  </a:lnTo>
                  <a:lnTo>
                    <a:pt x="4464" y="1681"/>
                  </a:lnTo>
                  <a:lnTo>
                    <a:pt x="4464" y="1681"/>
                  </a:lnTo>
                  <a:lnTo>
                    <a:pt x="4462" y="1685"/>
                  </a:lnTo>
                  <a:close/>
                  <a:moveTo>
                    <a:pt x="4403" y="1658"/>
                  </a:moveTo>
                  <a:lnTo>
                    <a:pt x="4403" y="1656"/>
                  </a:lnTo>
                  <a:lnTo>
                    <a:pt x="4400" y="1656"/>
                  </a:lnTo>
                  <a:lnTo>
                    <a:pt x="4400" y="1656"/>
                  </a:lnTo>
                  <a:lnTo>
                    <a:pt x="4400" y="1656"/>
                  </a:lnTo>
                  <a:lnTo>
                    <a:pt x="4400" y="1656"/>
                  </a:lnTo>
                  <a:lnTo>
                    <a:pt x="4400" y="1658"/>
                  </a:lnTo>
                  <a:lnTo>
                    <a:pt x="4400" y="1658"/>
                  </a:lnTo>
                  <a:lnTo>
                    <a:pt x="4400" y="1658"/>
                  </a:lnTo>
                  <a:lnTo>
                    <a:pt x="4403" y="1658"/>
                  </a:lnTo>
                  <a:close/>
                  <a:moveTo>
                    <a:pt x="4468" y="1666"/>
                  </a:moveTo>
                  <a:lnTo>
                    <a:pt x="4466" y="1664"/>
                  </a:lnTo>
                  <a:lnTo>
                    <a:pt x="4466" y="1666"/>
                  </a:lnTo>
                  <a:lnTo>
                    <a:pt x="4471" y="1666"/>
                  </a:lnTo>
                  <a:lnTo>
                    <a:pt x="4471" y="1666"/>
                  </a:lnTo>
                  <a:lnTo>
                    <a:pt x="4471" y="1666"/>
                  </a:lnTo>
                  <a:lnTo>
                    <a:pt x="4468" y="1666"/>
                  </a:lnTo>
                  <a:close/>
                  <a:moveTo>
                    <a:pt x="4328" y="1681"/>
                  </a:moveTo>
                  <a:lnTo>
                    <a:pt x="4328" y="1681"/>
                  </a:lnTo>
                  <a:lnTo>
                    <a:pt x="4328" y="1681"/>
                  </a:lnTo>
                  <a:lnTo>
                    <a:pt x="4328" y="1683"/>
                  </a:lnTo>
                  <a:lnTo>
                    <a:pt x="4328" y="1683"/>
                  </a:lnTo>
                  <a:lnTo>
                    <a:pt x="4328" y="1681"/>
                  </a:lnTo>
                  <a:lnTo>
                    <a:pt x="4328" y="1681"/>
                  </a:lnTo>
                  <a:lnTo>
                    <a:pt x="4328" y="1681"/>
                  </a:lnTo>
                  <a:close/>
                  <a:moveTo>
                    <a:pt x="4489" y="1697"/>
                  </a:moveTo>
                  <a:lnTo>
                    <a:pt x="4489" y="1697"/>
                  </a:lnTo>
                  <a:lnTo>
                    <a:pt x="4489" y="1697"/>
                  </a:lnTo>
                  <a:lnTo>
                    <a:pt x="4489" y="1695"/>
                  </a:lnTo>
                  <a:lnTo>
                    <a:pt x="4489" y="1695"/>
                  </a:lnTo>
                  <a:lnTo>
                    <a:pt x="4489" y="1695"/>
                  </a:lnTo>
                  <a:lnTo>
                    <a:pt x="4489" y="1697"/>
                  </a:lnTo>
                  <a:close/>
                  <a:moveTo>
                    <a:pt x="4516" y="1766"/>
                  </a:moveTo>
                  <a:lnTo>
                    <a:pt x="4516" y="1766"/>
                  </a:lnTo>
                  <a:lnTo>
                    <a:pt x="4514" y="1766"/>
                  </a:lnTo>
                  <a:lnTo>
                    <a:pt x="4514" y="1768"/>
                  </a:lnTo>
                  <a:lnTo>
                    <a:pt x="4512" y="1768"/>
                  </a:lnTo>
                  <a:lnTo>
                    <a:pt x="4514" y="1770"/>
                  </a:lnTo>
                  <a:lnTo>
                    <a:pt x="4514" y="1768"/>
                  </a:lnTo>
                  <a:lnTo>
                    <a:pt x="4516" y="1766"/>
                  </a:lnTo>
                  <a:lnTo>
                    <a:pt x="4516" y="1764"/>
                  </a:lnTo>
                  <a:lnTo>
                    <a:pt x="4516" y="1764"/>
                  </a:lnTo>
                  <a:lnTo>
                    <a:pt x="4516" y="1764"/>
                  </a:lnTo>
                  <a:lnTo>
                    <a:pt x="4516" y="1766"/>
                  </a:lnTo>
                  <a:close/>
                  <a:moveTo>
                    <a:pt x="4520" y="1832"/>
                  </a:moveTo>
                  <a:lnTo>
                    <a:pt x="4520" y="1832"/>
                  </a:lnTo>
                  <a:lnTo>
                    <a:pt x="4520" y="1832"/>
                  </a:lnTo>
                  <a:lnTo>
                    <a:pt x="4520" y="1832"/>
                  </a:lnTo>
                  <a:lnTo>
                    <a:pt x="4520" y="1830"/>
                  </a:lnTo>
                  <a:lnTo>
                    <a:pt x="4520" y="1830"/>
                  </a:lnTo>
                  <a:lnTo>
                    <a:pt x="4520" y="1830"/>
                  </a:lnTo>
                  <a:lnTo>
                    <a:pt x="4520" y="1830"/>
                  </a:lnTo>
                  <a:lnTo>
                    <a:pt x="4518" y="1830"/>
                  </a:lnTo>
                  <a:lnTo>
                    <a:pt x="4520" y="1832"/>
                  </a:lnTo>
                  <a:lnTo>
                    <a:pt x="4520" y="1832"/>
                  </a:lnTo>
                  <a:close/>
                  <a:moveTo>
                    <a:pt x="4508" y="1772"/>
                  </a:moveTo>
                  <a:lnTo>
                    <a:pt x="4510" y="1772"/>
                  </a:lnTo>
                  <a:lnTo>
                    <a:pt x="4510" y="1772"/>
                  </a:lnTo>
                  <a:lnTo>
                    <a:pt x="4512" y="1770"/>
                  </a:lnTo>
                  <a:lnTo>
                    <a:pt x="4512" y="1770"/>
                  </a:lnTo>
                  <a:lnTo>
                    <a:pt x="4512" y="1770"/>
                  </a:lnTo>
                  <a:lnTo>
                    <a:pt x="4510" y="1772"/>
                  </a:lnTo>
                  <a:lnTo>
                    <a:pt x="4508" y="1772"/>
                  </a:lnTo>
                  <a:close/>
                  <a:moveTo>
                    <a:pt x="4479" y="1697"/>
                  </a:moveTo>
                  <a:lnTo>
                    <a:pt x="4479" y="1697"/>
                  </a:lnTo>
                  <a:lnTo>
                    <a:pt x="4477" y="1702"/>
                  </a:lnTo>
                  <a:lnTo>
                    <a:pt x="4479" y="1704"/>
                  </a:lnTo>
                  <a:lnTo>
                    <a:pt x="4479" y="1704"/>
                  </a:lnTo>
                  <a:lnTo>
                    <a:pt x="4481" y="1704"/>
                  </a:lnTo>
                  <a:lnTo>
                    <a:pt x="4481" y="1704"/>
                  </a:lnTo>
                  <a:lnTo>
                    <a:pt x="4483" y="1702"/>
                  </a:lnTo>
                  <a:lnTo>
                    <a:pt x="4485" y="1700"/>
                  </a:lnTo>
                  <a:lnTo>
                    <a:pt x="4485" y="1700"/>
                  </a:lnTo>
                  <a:lnTo>
                    <a:pt x="4485" y="1697"/>
                  </a:lnTo>
                  <a:lnTo>
                    <a:pt x="4483" y="1697"/>
                  </a:lnTo>
                  <a:lnTo>
                    <a:pt x="4481" y="1695"/>
                  </a:lnTo>
                  <a:lnTo>
                    <a:pt x="4481" y="1695"/>
                  </a:lnTo>
                  <a:lnTo>
                    <a:pt x="4479" y="1693"/>
                  </a:lnTo>
                  <a:lnTo>
                    <a:pt x="4479" y="1693"/>
                  </a:lnTo>
                  <a:lnTo>
                    <a:pt x="4479" y="1695"/>
                  </a:lnTo>
                  <a:lnTo>
                    <a:pt x="4479" y="1697"/>
                  </a:lnTo>
                  <a:lnTo>
                    <a:pt x="4479" y="1697"/>
                  </a:lnTo>
                  <a:lnTo>
                    <a:pt x="4479" y="1697"/>
                  </a:lnTo>
                  <a:lnTo>
                    <a:pt x="4479" y="1697"/>
                  </a:lnTo>
                  <a:close/>
                  <a:moveTo>
                    <a:pt x="4419" y="1654"/>
                  </a:moveTo>
                  <a:lnTo>
                    <a:pt x="4419" y="1656"/>
                  </a:lnTo>
                  <a:lnTo>
                    <a:pt x="4421" y="1656"/>
                  </a:lnTo>
                  <a:lnTo>
                    <a:pt x="4423" y="1656"/>
                  </a:lnTo>
                  <a:lnTo>
                    <a:pt x="4425" y="1658"/>
                  </a:lnTo>
                  <a:lnTo>
                    <a:pt x="4427" y="1660"/>
                  </a:lnTo>
                  <a:lnTo>
                    <a:pt x="4431" y="1660"/>
                  </a:lnTo>
                  <a:lnTo>
                    <a:pt x="4431" y="1656"/>
                  </a:lnTo>
                  <a:lnTo>
                    <a:pt x="4431" y="1656"/>
                  </a:lnTo>
                  <a:lnTo>
                    <a:pt x="4431" y="1654"/>
                  </a:lnTo>
                  <a:lnTo>
                    <a:pt x="4429" y="1654"/>
                  </a:lnTo>
                  <a:lnTo>
                    <a:pt x="4429" y="1654"/>
                  </a:lnTo>
                  <a:lnTo>
                    <a:pt x="4429" y="1654"/>
                  </a:lnTo>
                  <a:lnTo>
                    <a:pt x="4429" y="1652"/>
                  </a:lnTo>
                  <a:lnTo>
                    <a:pt x="4427" y="1650"/>
                  </a:lnTo>
                  <a:lnTo>
                    <a:pt x="4425" y="1648"/>
                  </a:lnTo>
                  <a:lnTo>
                    <a:pt x="4423" y="1648"/>
                  </a:lnTo>
                  <a:lnTo>
                    <a:pt x="4421" y="1648"/>
                  </a:lnTo>
                  <a:lnTo>
                    <a:pt x="4419" y="1648"/>
                  </a:lnTo>
                  <a:lnTo>
                    <a:pt x="4417" y="1648"/>
                  </a:lnTo>
                  <a:lnTo>
                    <a:pt x="4415" y="1646"/>
                  </a:lnTo>
                  <a:lnTo>
                    <a:pt x="4413" y="1646"/>
                  </a:lnTo>
                  <a:lnTo>
                    <a:pt x="4413" y="1646"/>
                  </a:lnTo>
                  <a:lnTo>
                    <a:pt x="4411" y="1646"/>
                  </a:lnTo>
                  <a:lnTo>
                    <a:pt x="4411" y="1646"/>
                  </a:lnTo>
                  <a:lnTo>
                    <a:pt x="4409" y="1648"/>
                  </a:lnTo>
                  <a:lnTo>
                    <a:pt x="4409" y="1648"/>
                  </a:lnTo>
                  <a:lnTo>
                    <a:pt x="4407" y="1648"/>
                  </a:lnTo>
                  <a:lnTo>
                    <a:pt x="4407" y="1648"/>
                  </a:lnTo>
                  <a:lnTo>
                    <a:pt x="4407" y="1646"/>
                  </a:lnTo>
                  <a:lnTo>
                    <a:pt x="4405" y="1646"/>
                  </a:lnTo>
                  <a:lnTo>
                    <a:pt x="4405" y="1646"/>
                  </a:lnTo>
                  <a:lnTo>
                    <a:pt x="4403" y="1648"/>
                  </a:lnTo>
                  <a:lnTo>
                    <a:pt x="4398" y="1646"/>
                  </a:lnTo>
                  <a:lnTo>
                    <a:pt x="4394" y="1648"/>
                  </a:lnTo>
                  <a:lnTo>
                    <a:pt x="4392" y="1648"/>
                  </a:lnTo>
                  <a:lnTo>
                    <a:pt x="4390" y="1652"/>
                  </a:lnTo>
                  <a:lnTo>
                    <a:pt x="4390" y="1652"/>
                  </a:lnTo>
                  <a:lnTo>
                    <a:pt x="4390" y="1654"/>
                  </a:lnTo>
                  <a:lnTo>
                    <a:pt x="4390" y="1654"/>
                  </a:lnTo>
                  <a:lnTo>
                    <a:pt x="4390" y="1656"/>
                  </a:lnTo>
                  <a:lnTo>
                    <a:pt x="4390" y="1656"/>
                  </a:lnTo>
                  <a:lnTo>
                    <a:pt x="4390" y="1656"/>
                  </a:lnTo>
                  <a:lnTo>
                    <a:pt x="4392" y="1654"/>
                  </a:lnTo>
                  <a:lnTo>
                    <a:pt x="4392" y="1654"/>
                  </a:lnTo>
                  <a:lnTo>
                    <a:pt x="4392" y="1652"/>
                  </a:lnTo>
                  <a:lnTo>
                    <a:pt x="4392" y="1652"/>
                  </a:lnTo>
                  <a:lnTo>
                    <a:pt x="4392" y="1652"/>
                  </a:lnTo>
                  <a:lnTo>
                    <a:pt x="4394" y="1652"/>
                  </a:lnTo>
                  <a:lnTo>
                    <a:pt x="4394" y="1652"/>
                  </a:lnTo>
                  <a:lnTo>
                    <a:pt x="4394" y="1652"/>
                  </a:lnTo>
                  <a:lnTo>
                    <a:pt x="4396" y="1654"/>
                  </a:lnTo>
                  <a:lnTo>
                    <a:pt x="4398" y="1656"/>
                  </a:lnTo>
                  <a:lnTo>
                    <a:pt x="4398" y="1656"/>
                  </a:lnTo>
                  <a:lnTo>
                    <a:pt x="4400" y="1654"/>
                  </a:lnTo>
                  <a:lnTo>
                    <a:pt x="4400" y="1654"/>
                  </a:lnTo>
                  <a:lnTo>
                    <a:pt x="4403" y="1654"/>
                  </a:lnTo>
                  <a:lnTo>
                    <a:pt x="4403" y="1652"/>
                  </a:lnTo>
                  <a:lnTo>
                    <a:pt x="4405" y="1652"/>
                  </a:lnTo>
                  <a:lnTo>
                    <a:pt x="4405" y="1652"/>
                  </a:lnTo>
                  <a:lnTo>
                    <a:pt x="4405" y="1652"/>
                  </a:lnTo>
                  <a:lnTo>
                    <a:pt x="4405" y="1652"/>
                  </a:lnTo>
                  <a:lnTo>
                    <a:pt x="4405" y="1654"/>
                  </a:lnTo>
                  <a:lnTo>
                    <a:pt x="4405" y="1654"/>
                  </a:lnTo>
                  <a:lnTo>
                    <a:pt x="4407" y="1654"/>
                  </a:lnTo>
                  <a:lnTo>
                    <a:pt x="4409" y="1654"/>
                  </a:lnTo>
                  <a:lnTo>
                    <a:pt x="4411" y="1654"/>
                  </a:lnTo>
                  <a:lnTo>
                    <a:pt x="4413" y="1656"/>
                  </a:lnTo>
                  <a:lnTo>
                    <a:pt x="4413" y="1654"/>
                  </a:lnTo>
                  <a:lnTo>
                    <a:pt x="4413" y="1654"/>
                  </a:lnTo>
                  <a:lnTo>
                    <a:pt x="4413" y="1654"/>
                  </a:lnTo>
                  <a:lnTo>
                    <a:pt x="4413" y="1654"/>
                  </a:lnTo>
                  <a:lnTo>
                    <a:pt x="4415" y="1654"/>
                  </a:lnTo>
                  <a:lnTo>
                    <a:pt x="4417" y="1654"/>
                  </a:lnTo>
                  <a:lnTo>
                    <a:pt x="4419" y="1654"/>
                  </a:lnTo>
                  <a:close/>
                  <a:moveTo>
                    <a:pt x="4458" y="1689"/>
                  </a:moveTo>
                  <a:lnTo>
                    <a:pt x="4458" y="1689"/>
                  </a:lnTo>
                  <a:lnTo>
                    <a:pt x="4458" y="1691"/>
                  </a:lnTo>
                  <a:lnTo>
                    <a:pt x="4460" y="1689"/>
                  </a:lnTo>
                  <a:lnTo>
                    <a:pt x="4460" y="1689"/>
                  </a:lnTo>
                  <a:lnTo>
                    <a:pt x="4458" y="1687"/>
                  </a:lnTo>
                  <a:lnTo>
                    <a:pt x="4458" y="1687"/>
                  </a:lnTo>
                  <a:lnTo>
                    <a:pt x="4458" y="1685"/>
                  </a:lnTo>
                  <a:lnTo>
                    <a:pt x="4458" y="1685"/>
                  </a:lnTo>
                  <a:lnTo>
                    <a:pt x="4458" y="1687"/>
                  </a:lnTo>
                  <a:lnTo>
                    <a:pt x="4458" y="1689"/>
                  </a:lnTo>
                  <a:lnTo>
                    <a:pt x="4458" y="1689"/>
                  </a:lnTo>
                  <a:close/>
                  <a:moveTo>
                    <a:pt x="4400" y="1708"/>
                  </a:moveTo>
                  <a:lnTo>
                    <a:pt x="4400" y="1706"/>
                  </a:lnTo>
                  <a:lnTo>
                    <a:pt x="4400" y="1708"/>
                  </a:lnTo>
                  <a:lnTo>
                    <a:pt x="4398" y="1708"/>
                  </a:lnTo>
                  <a:lnTo>
                    <a:pt x="4398" y="1708"/>
                  </a:lnTo>
                  <a:lnTo>
                    <a:pt x="4400" y="1708"/>
                  </a:lnTo>
                  <a:lnTo>
                    <a:pt x="4400" y="1708"/>
                  </a:lnTo>
                  <a:lnTo>
                    <a:pt x="4400" y="1708"/>
                  </a:lnTo>
                  <a:lnTo>
                    <a:pt x="4400" y="1708"/>
                  </a:lnTo>
                  <a:lnTo>
                    <a:pt x="4400" y="1708"/>
                  </a:lnTo>
                  <a:close/>
                  <a:moveTo>
                    <a:pt x="4398" y="1656"/>
                  </a:moveTo>
                  <a:lnTo>
                    <a:pt x="4398" y="1656"/>
                  </a:lnTo>
                  <a:lnTo>
                    <a:pt x="4396" y="1658"/>
                  </a:lnTo>
                  <a:lnTo>
                    <a:pt x="4398" y="1658"/>
                  </a:lnTo>
                  <a:lnTo>
                    <a:pt x="4398" y="1656"/>
                  </a:lnTo>
                  <a:lnTo>
                    <a:pt x="4398" y="1656"/>
                  </a:lnTo>
                  <a:close/>
                  <a:moveTo>
                    <a:pt x="4415" y="1716"/>
                  </a:moveTo>
                  <a:lnTo>
                    <a:pt x="4415" y="1718"/>
                  </a:lnTo>
                  <a:lnTo>
                    <a:pt x="4415" y="1718"/>
                  </a:lnTo>
                  <a:lnTo>
                    <a:pt x="4415" y="1720"/>
                  </a:lnTo>
                  <a:lnTo>
                    <a:pt x="4417" y="1720"/>
                  </a:lnTo>
                  <a:lnTo>
                    <a:pt x="4417" y="1720"/>
                  </a:lnTo>
                  <a:lnTo>
                    <a:pt x="4417" y="1718"/>
                  </a:lnTo>
                  <a:lnTo>
                    <a:pt x="4417" y="1718"/>
                  </a:lnTo>
                  <a:lnTo>
                    <a:pt x="4415" y="1716"/>
                  </a:lnTo>
                  <a:lnTo>
                    <a:pt x="4415" y="1716"/>
                  </a:lnTo>
                  <a:close/>
                  <a:moveTo>
                    <a:pt x="4444" y="1708"/>
                  </a:moveTo>
                  <a:lnTo>
                    <a:pt x="4446" y="1708"/>
                  </a:lnTo>
                  <a:lnTo>
                    <a:pt x="4446" y="1708"/>
                  </a:lnTo>
                  <a:lnTo>
                    <a:pt x="4446" y="1708"/>
                  </a:lnTo>
                  <a:lnTo>
                    <a:pt x="4448" y="1710"/>
                  </a:lnTo>
                  <a:lnTo>
                    <a:pt x="4448" y="1710"/>
                  </a:lnTo>
                  <a:lnTo>
                    <a:pt x="4448" y="1708"/>
                  </a:lnTo>
                  <a:lnTo>
                    <a:pt x="4448" y="1708"/>
                  </a:lnTo>
                  <a:lnTo>
                    <a:pt x="4444" y="1708"/>
                  </a:lnTo>
                  <a:close/>
                  <a:moveTo>
                    <a:pt x="4444" y="1708"/>
                  </a:moveTo>
                  <a:lnTo>
                    <a:pt x="4444" y="1708"/>
                  </a:lnTo>
                  <a:lnTo>
                    <a:pt x="4442" y="1708"/>
                  </a:lnTo>
                  <a:lnTo>
                    <a:pt x="4442" y="1708"/>
                  </a:lnTo>
                  <a:lnTo>
                    <a:pt x="4442" y="1708"/>
                  </a:lnTo>
                  <a:lnTo>
                    <a:pt x="4442" y="1710"/>
                  </a:lnTo>
                  <a:lnTo>
                    <a:pt x="4440" y="1710"/>
                  </a:lnTo>
                  <a:lnTo>
                    <a:pt x="4440" y="1710"/>
                  </a:lnTo>
                  <a:lnTo>
                    <a:pt x="4440" y="1712"/>
                  </a:lnTo>
                  <a:lnTo>
                    <a:pt x="4438" y="1712"/>
                  </a:lnTo>
                  <a:lnTo>
                    <a:pt x="4438" y="1712"/>
                  </a:lnTo>
                  <a:lnTo>
                    <a:pt x="4438" y="1714"/>
                  </a:lnTo>
                  <a:lnTo>
                    <a:pt x="4438" y="1716"/>
                  </a:lnTo>
                  <a:lnTo>
                    <a:pt x="4436" y="1716"/>
                  </a:lnTo>
                  <a:lnTo>
                    <a:pt x="4436" y="1716"/>
                  </a:lnTo>
                  <a:lnTo>
                    <a:pt x="4436" y="1718"/>
                  </a:lnTo>
                  <a:lnTo>
                    <a:pt x="4436" y="1718"/>
                  </a:lnTo>
                  <a:lnTo>
                    <a:pt x="4436" y="1720"/>
                  </a:lnTo>
                  <a:lnTo>
                    <a:pt x="4438" y="1720"/>
                  </a:lnTo>
                  <a:lnTo>
                    <a:pt x="4438" y="1720"/>
                  </a:lnTo>
                  <a:lnTo>
                    <a:pt x="4440" y="1720"/>
                  </a:lnTo>
                  <a:lnTo>
                    <a:pt x="4440" y="1720"/>
                  </a:lnTo>
                  <a:lnTo>
                    <a:pt x="4440" y="1718"/>
                  </a:lnTo>
                  <a:lnTo>
                    <a:pt x="4440" y="1718"/>
                  </a:lnTo>
                  <a:lnTo>
                    <a:pt x="4442" y="1716"/>
                  </a:lnTo>
                  <a:lnTo>
                    <a:pt x="4442" y="1716"/>
                  </a:lnTo>
                  <a:lnTo>
                    <a:pt x="4442" y="1716"/>
                  </a:lnTo>
                  <a:lnTo>
                    <a:pt x="4444" y="1714"/>
                  </a:lnTo>
                  <a:lnTo>
                    <a:pt x="4444" y="1712"/>
                  </a:lnTo>
                  <a:lnTo>
                    <a:pt x="4444" y="1710"/>
                  </a:lnTo>
                  <a:lnTo>
                    <a:pt x="4444" y="1708"/>
                  </a:lnTo>
                  <a:lnTo>
                    <a:pt x="4444" y="1708"/>
                  </a:lnTo>
                  <a:close/>
                  <a:moveTo>
                    <a:pt x="4456" y="1768"/>
                  </a:moveTo>
                  <a:lnTo>
                    <a:pt x="4456" y="1768"/>
                  </a:lnTo>
                  <a:lnTo>
                    <a:pt x="4458" y="1766"/>
                  </a:lnTo>
                  <a:lnTo>
                    <a:pt x="4456" y="1764"/>
                  </a:lnTo>
                  <a:lnTo>
                    <a:pt x="4456" y="1764"/>
                  </a:lnTo>
                  <a:lnTo>
                    <a:pt x="4456" y="1761"/>
                  </a:lnTo>
                  <a:lnTo>
                    <a:pt x="4456" y="1764"/>
                  </a:lnTo>
                  <a:lnTo>
                    <a:pt x="4456" y="1764"/>
                  </a:lnTo>
                  <a:lnTo>
                    <a:pt x="4456" y="1764"/>
                  </a:lnTo>
                  <a:lnTo>
                    <a:pt x="4456" y="1766"/>
                  </a:lnTo>
                  <a:lnTo>
                    <a:pt x="4456" y="1768"/>
                  </a:lnTo>
                  <a:close/>
                  <a:moveTo>
                    <a:pt x="5279" y="500"/>
                  </a:moveTo>
                  <a:lnTo>
                    <a:pt x="5277" y="500"/>
                  </a:lnTo>
                  <a:lnTo>
                    <a:pt x="5271" y="500"/>
                  </a:lnTo>
                  <a:lnTo>
                    <a:pt x="5273" y="500"/>
                  </a:lnTo>
                  <a:lnTo>
                    <a:pt x="5273" y="498"/>
                  </a:lnTo>
                  <a:lnTo>
                    <a:pt x="5271" y="498"/>
                  </a:lnTo>
                  <a:lnTo>
                    <a:pt x="5271" y="498"/>
                  </a:lnTo>
                  <a:lnTo>
                    <a:pt x="5271" y="498"/>
                  </a:lnTo>
                  <a:lnTo>
                    <a:pt x="5269" y="498"/>
                  </a:lnTo>
                  <a:lnTo>
                    <a:pt x="5267" y="498"/>
                  </a:lnTo>
                  <a:lnTo>
                    <a:pt x="5267" y="498"/>
                  </a:lnTo>
                  <a:lnTo>
                    <a:pt x="5269" y="496"/>
                  </a:lnTo>
                  <a:lnTo>
                    <a:pt x="5269" y="496"/>
                  </a:lnTo>
                  <a:lnTo>
                    <a:pt x="5267" y="496"/>
                  </a:lnTo>
                  <a:lnTo>
                    <a:pt x="5262" y="492"/>
                  </a:lnTo>
                  <a:lnTo>
                    <a:pt x="5258" y="490"/>
                  </a:lnTo>
                  <a:lnTo>
                    <a:pt x="5256" y="487"/>
                  </a:lnTo>
                  <a:lnTo>
                    <a:pt x="5252" y="485"/>
                  </a:lnTo>
                  <a:lnTo>
                    <a:pt x="5250" y="481"/>
                  </a:lnTo>
                  <a:lnTo>
                    <a:pt x="5246" y="481"/>
                  </a:lnTo>
                  <a:lnTo>
                    <a:pt x="5242" y="481"/>
                  </a:lnTo>
                  <a:lnTo>
                    <a:pt x="5240" y="481"/>
                  </a:lnTo>
                  <a:lnTo>
                    <a:pt x="5238" y="479"/>
                  </a:lnTo>
                  <a:lnTo>
                    <a:pt x="5231" y="479"/>
                  </a:lnTo>
                  <a:lnTo>
                    <a:pt x="5231" y="479"/>
                  </a:lnTo>
                  <a:lnTo>
                    <a:pt x="5238" y="481"/>
                  </a:lnTo>
                  <a:lnTo>
                    <a:pt x="5240" y="481"/>
                  </a:lnTo>
                  <a:lnTo>
                    <a:pt x="5240" y="481"/>
                  </a:lnTo>
                  <a:lnTo>
                    <a:pt x="5238" y="481"/>
                  </a:lnTo>
                  <a:lnTo>
                    <a:pt x="5234" y="481"/>
                  </a:lnTo>
                  <a:lnTo>
                    <a:pt x="5231" y="481"/>
                  </a:lnTo>
                  <a:lnTo>
                    <a:pt x="5229" y="481"/>
                  </a:lnTo>
                  <a:lnTo>
                    <a:pt x="5229" y="481"/>
                  </a:lnTo>
                  <a:lnTo>
                    <a:pt x="5229" y="481"/>
                  </a:lnTo>
                  <a:lnTo>
                    <a:pt x="5229" y="483"/>
                  </a:lnTo>
                  <a:lnTo>
                    <a:pt x="5229" y="483"/>
                  </a:lnTo>
                  <a:lnTo>
                    <a:pt x="5229" y="483"/>
                  </a:lnTo>
                  <a:lnTo>
                    <a:pt x="5227" y="483"/>
                  </a:lnTo>
                  <a:lnTo>
                    <a:pt x="5227" y="483"/>
                  </a:lnTo>
                  <a:lnTo>
                    <a:pt x="5227" y="481"/>
                  </a:lnTo>
                  <a:lnTo>
                    <a:pt x="5229" y="479"/>
                  </a:lnTo>
                  <a:lnTo>
                    <a:pt x="5229" y="479"/>
                  </a:lnTo>
                  <a:lnTo>
                    <a:pt x="5229" y="479"/>
                  </a:lnTo>
                  <a:lnTo>
                    <a:pt x="5225" y="477"/>
                  </a:lnTo>
                  <a:lnTo>
                    <a:pt x="5223" y="477"/>
                  </a:lnTo>
                  <a:lnTo>
                    <a:pt x="5223" y="477"/>
                  </a:lnTo>
                  <a:lnTo>
                    <a:pt x="5219" y="477"/>
                  </a:lnTo>
                  <a:lnTo>
                    <a:pt x="5211" y="477"/>
                  </a:lnTo>
                  <a:lnTo>
                    <a:pt x="5211" y="479"/>
                  </a:lnTo>
                  <a:lnTo>
                    <a:pt x="5211" y="479"/>
                  </a:lnTo>
                  <a:lnTo>
                    <a:pt x="5211" y="479"/>
                  </a:lnTo>
                  <a:lnTo>
                    <a:pt x="5211" y="479"/>
                  </a:lnTo>
                  <a:lnTo>
                    <a:pt x="5213" y="479"/>
                  </a:lnTo>
                  <a:lnTo>
                    <a:pt x="5215" y="481"/>
                  </a:lnTo>
                  <a:lnTo>
                    <a:pt x="5215" y="481"/>
                  </a:lnTo>
                  <a:lnTo>
                    <a:pt x="5217" y="481"/>
                  </a:lnTo>
                  <a:lnTo>
                    <a:pt x="5217" y="483"/>
                  </a:lnTo>
                  <a:lnTo>
                    <a:pt x="5217" y="485"/>
                  </a:lnTo>
                  <a:lnTo>
                    <a:pt x="5217" y="485"/>
                  </a:lnTo>
                  <a:lnTo>
                    <a:pt x="5217" y="487"/>
                  </a:lnTo>
                  <a:lnTo>
                    <a:pt x="5217" y="490"/>
                  </a:lnTo>
                  <a:lnTo>
                    <a:pt x="5215" y="490"/>
                  </a:lnTo>
                  <a:lnTo>
                    <a:pt x="5215" y="490"/>
                  </a:lnTo>
                  <a:lnTo>
                    <a:pt x="5217" y="492"/>
                  </a:lnTo>
                  <a:lnTo>
                    <a:pt x="5219" y="492"/>
                  </a:lnTo>
                  <a:lnTo>
                    <a:pt x="5221" y="492"/>
                  </a:lnTo>
                  <a:lnTo>
                    <a:pt x="5221" y="494"/>
                  </a:lnTo>
                  <a:lnTo>
                    <a:pt x="5221" y="496"/>
                  </a:lnTo>
                  <a:lnTo>
                    <a:pt x="5219" y="498"/>
                  </a:lnTo>
                  <a:lnTo>
                    <a:pt x="5219" y="498"/>
                  </a:lnTo>
                  <a:lnTo>
                    <a:pt x="5219" y="498"/>
                  </a:lnTo>
                  <a:lnTo>
                    <a:pt x="5217" y="498"/>
                  </a:lnTo>
                  <a:lnTo>
                    <a:pt x="5217" y="498"/>
                  </a:lnTo>
                  <a:lnTo>
                    <a:pt x="5217" y="496"/>
                  </a:lnTo>
                  <a:lnTo>
                    <a:pt x="5217" y="494"/>
                  </a:lnTo>
                  <a:lnTo>
                    <a:pt x="5215" y="494"/>
                  </a:lnTo>
                  <a:lnTo>
                    <a:pt x="5215" y="494"/>
                  </a:lnTo>
                  <a:lnTo>
                    <a:pt x="5213" y="496"/>
                  </a:lnTo>
                  <a:lnTo>
                    <a:pt x="5213" y="496"/>
                  </a:lnTo>
                  <a:lnTo>
                    <a:pt x="5213" y="496"/>
                  </a:lnTo>
                  <a:lnTo>
                    <a:pt x="5211" y="494"/>
                  </a:lnTo>
                  <a:lnTo>
                    <a:pt x="5211" y="492"/>
                  </a:lnTo>
                  <a:lnTo>
                    <a:pt x="5211" y="492"/>
                  </a:lnTo>
                  <a:lnTo>
                    <a:pt x="5209" y="490"/>
                  </a:lnTo>
                  <a:lnTo>
                    <a:pt x="5209" y="490"/>
                  </a:lnTo>
                  <a:lnTo>
                    <a:pt x="5207" y="490"/>
                  </a:lnTo>
                  <a:lnTo>
                    <a:pt x="5205" y="490"/>
                  </a:lnTo>
                  <a:lnTo>
                    <a:pt x="5205" y="487"/>
                  </a:lnTo>
                  <a:lnTo>
                    <a:pt x="5207" y="485"/>
                  </a:lnTo>
                  <a:lnTo>
                    <a:pt x="5207" y="483"/>
                  </a:lnTo>
                  <a:lnTo>
                    <a:pt x="5207" y="481"/>
                  </a:lnTo>
                  <a:lnTo>
                    <a:pt x="5205" y="481"/>
                  </a:lnTo>
                  <a:lnTo>
                    <a:pt x="5205" y="479"/>
                  </a:lnTo>
                  <a:lnTo>
                    <a:pt x="5205" y="475"/>
                  </a:lnTo>
                  <a:lnTo>
                    <a:pt x="5205" y="475"/>
                  </a:lnTo>
                  <a:lnTo>
                    <a:pt x="5207" y="473"/>
                  </a:lnTo>
                  <a:lnTo>
                    <a:pt x="5205" y="471"/>
                  </a:lnTo>
                  <a:lnTo>
                    <a:pt x="5205" y="471"/>
                  </a:lnTo>
                  <a:lnTo>
                    <a:pt x="5203" y="471"/>
                  </a:lnTo>
                  <a:lnTo>
                    <a:pt x="5203" y="471"/>
                  </a:lnTo>
                  <a:lnTo>
                    <a:pt x="5201" y="471"/>
                  </a:lnTo>
                  <a:lnTo>
                    <a:pt x="5198" y="471"/>
                  </a:lnTo>
                  <a:lnTo>
                    <a:pt x="5201" y="469"/>
                  </a:lnTo>
                  <a:lnTo>
                    <a:pt x="5201" y="469"/>
                  </a:lnTo>
                  <a:lnTo>
                    <a:pt x="5201" y="467"/>
                  </a:lnTo>
                  <a:lnTo>
                    <a:pt x="5198" y="467"/>
                  </a:lnTo>
                  <a:lnTo>
                    <a:pt x="5198" y="465"/>
                  </a:lnTo>
                  <a:lnTo>
                    <a:pt x="5176" y="454"/>
                  </a:lnTo>
                  <a:lnTo>
                    <a:pt x="5174" y="452"/>
                  </a:lnTo>
                  <a:lnTo>
                    <a:pt x="5172" y="450"/>
                  </a:lnTo>
                  <a:lnTo>
                    <a:pt x="5170" y="450"/>
                  </a:lnTo>
                  <a:lnTo>
                    <a:pt x="5168" y="450"/>
                  </a:lnTo>
                  <a:lnTo>
                    <a:pt x="5168" y="450"/>
                  </a:lnTo>
                  <a:lnTo>
                    <a:pt x="5165" y="450"/>
                  </a:lnTo>
                  <a:lnTo>
                    <a:pt x="5168" y="450"/>
                  </a:lnTo>
                  <a:lnTo>
                    <a:pt x="5168" y="448"/>
                  </a:lnTo>
                  <a:lnTo>
                    <a:pt x="5165" y="448"/>
                  </a:lnTo>
                  <a:lnTo>
                    <a:pt x="5157" y="444"/>
                  </a:lnTo>
                  <a:lnTo>
                    <a:pt x="5155" y="442"/>
                  </a:lnTo>
                  <a:lnTo>
                    <a:pt x="5157" y="444"/>
                  </a:lnTo>
                  <a:lnTo>
                    <a:pt x="5163" y="448"/>
                  </a:lnTo>
                  <a:lnTo>
                    <a:pt x="5163" y="448"/>
                  </a:lnTo>
                  <a:lnTo>
                    <a:pt x="5161" y="450"/>
                  </a:lnTo>
                  <a:lnTo>
                    <a:pt x="5159" y="450"/>
                  </a:lnTo>
                  <a:lnTo>
                    <a:pt x="5161" y="448"/>
                  </a:lnTo>
                  <a:lnTo>
                    <a:pt x="5159" y="446"/>
                  </a:lnTo>
                  <a:lnTo>
                    <a:pt x="5159" y="446"/>
                  </a:lnTo>
                  <a:lnTo>
                    <a:pt x="5157" y="444"/>
                  </a:lnTo>
                  <a:lnTo>
                    <a:pt x="5155" y="444"/>
                  </a:lnTo>
                  <a:lnTo>
                    <a:pt x="5151" y="444"/>
                  </a:lnTo>
                  <a:lnTo>
                    <a:pt x="5151" y="442"/>
                  </a:lnTo>
                  <a:lnTo>
                    <a:pt x="5151" y="440"/>
                  </a:lnTo>
                  <a:lnTo>
                    <a:pt x="5153" y="442"/>
                  </a:lnTo>
                  <a:lnTo>
                    <a:pt x="5153" y="442"/>
                  </a:lnTo>
                  <a:lnTo>
                    <a:pt x="5151" y="440"/>
                  </a:lnTo>
                  <a:lnTo>
                    <a:pt x="5149" y="438"/>
                  </a:lnTo>
                  <a:lnTo>
                    <a:pt x="5143" y="436"/>
                  </a:lnTo>
                  <a:lnTo>
                    <a:pt x="5141" y="436"/>
                  </a:lnTo>
                  <a:lnTo>
                    <a:pt x="5141" y="434"/>
                  </a:lnTo>
                  <a:lnTo>
                    <a:pt x="5139" y="434"/>
                  </a:lnTo>
                  <a:lnTo>
                    <a:pt x="5139" y="434"/>
                  </a:lnTo>
                  <a:lnTo>
                    <a:pt x="5135" y="434"/>
                  </a:lnTo>
                  <a:lnTo>
                    <a:pt x="5132" y="432"/>
                  </a:lnTo>
                  <a:lnTo>
                    <a:pt x="5132" y="432"/>
                  </a:lnTo>
                  <a:lnTo>
                    <a:pt x="5130" y="432"/>
                  </a:lnTo>
                  <a:lnTo>
                    <a:pt x="5122" y="426"/>
                  </a:lnTo>
                  <a:lnTo>
                    <a:pt x="5118" y="423"/>
                  </a:lnTo>
                  <a:lnTo>
                    <a:pt x="5118" y="423"/>
                  </a:lnTo>
                  <a:lnTo>
                    <a:pt x="5118" y="423"/>
                  </a:lnTo>
                  <a:lnTo>
                    <a:pt x="5116" y="421"/>
                  </a:lnTo>
                  <a:lnTo>
                    <a:pt x="5110" y="421"/>
                  </a:lnTo>
                  <a:lnTo>
                    <a:pt x="5104" y="419"/>
                  </a:lnTo>
                  <a:lnTo>
                    <a:pt x="5095" y="417"/>
                  </a:lnTo>
                  <a:lnTo>
                    <a:pt x="5089" y="415"/>
                  </a:lnTo>
                  <a:lnTo>
                    <a:pt x="5081" y="413"/>
                  </a:lnTo>
                  <a:lnTo>
                    <a:pt x="5077" y="411"/>
                  </a:lnTo>
                  <a:lnTo>
                    <a:pt x="5075" y="409"/>
                  </a:lnTo>
                  <a:lnTo>
                    <a:pt x="5073" y="409"/>
                  </a:lnTo>
                  <a:lnTo>
                    <a:pt x="5066" y="411"/>
                  </a:lnTo>
                  <a:lnTo>
                    <a:pt x="5058" y="411"/>
                  </a:lnTo>
                  <a:lnTo>
                    <a:pt x="5052" y="409"/>
                  </a:lnTo>
                  <a:lnTo>
                    <a:pt x="5046" y="409"/>
                  </a:lnTo>
                  <a:lnTo>
                    <a:pt x="5044" y="409"/>
                  </a:lnTo>
                  <a:lnTo>
                    <a:pt x="5040" y="409"/>
                  </a:lnTo>
                  <a:lnTo>
                    <a:pt x="5038" y="409"/>
                  </a:lnTo>
                  <a:lnTo>
                    <a:pt x="5038" y="411"/>
                  </a:lnTo>
                  <a:lnTo>
                    <a:pt x="5034" y="411"/>
                  </a:lnTo>
                  <a:lnTo>
                    <a:pt x="5031" y="409"/>
                  </a:lnTo>
                  <a:lnTo>
                    <a:pt x="5027" y="407"/>
                  </a:lnTo>
                  <a:lnTo>
                    <a:pt x="5019" y="407"/>
                  </a:lnTo>
                  <a:lnTo>
                    <a:pt x="5009" y="405"/>
                  </a:lnTo>
                  <a:lnTo>
                    <a:pt x="5003" y="405"/>
                  </a:lnTo>
                  <a:lnTo>
                    <a:pt x="4996" y="405"/>
                  </a:lnTo>
                  <a:lnTo>
                    <a:pt x="4998" y="409"/>
                  </a:lnTo>
                  <a:lnTo>
                    <a:pt x="4996" y="411"/>
                  </a:lnTo>
                  <a:lnTo>
                    <a:pt x="4994" y="413"/>
                  </a:lnTo>
                  <a:lnTo>
                    <a:pt x="4992" y="415"/>
                  </a:lnTo>
                  <a:lnTo>
                    <a:pt x="4992" y="415"/>
                  </a:lnTo>
                  <a:lnTo>
                    <a:pt x="4998" y="417"/>
                  </a:lnTo>
                  <a:lnTo>
                    <a:pt x="5001" y="421"/>
                  </a:lnTo>
                  <a:lnTo>
                    <a:pt x="5003" y="426"/>
                  </a:lnTo>
                  <a:lnTo>
                    <a:pt x="5005" y="428"/>
                  </a:lnTo>
                  <a:lnTo>
                    <a:pt x="5005" y="430"/>
                  </a:lnTo>
                  <a:lnTo>
                    <a:pt x="4998" y="436"/>
                  </a:lnTo>
                  <a:lnTo>
                    <a:pt x="4990" y="436"/>
                  </a:lnTo>
                  <a:lnTo>
                    <a:pt x="4984" y="438"/>
                  </a:lnTo>
                  <a:lnTo>
                    <a:pt x="4982" y="434"/>
                  </a:lnTo>
                  <a:lnTo>
                    <a:pt x="4980" y="430"/>
                  </a:lnTo>
                  <a:lnTo>
                    <a:pt x="4976" y="428"/>
                  </a:lnTo>
                  <a:lnTo>
                    <a:pt x="4970" y="426"/>
                  </a:lnTo>
                  <a:lnTo>
                    <a:pt x="4968" y="426"/>
                  </a:lnTo>
                  <a:lnTo>
                    <a:pt x="4965" y="426"/>
                  </a:lnTo>
                  <a:lnTo>
                    <a:pt x="4965" y="421"/>
                  </a:lnTo>
                  <a:lnTo>
                    <a:pt x="4963" y="417"/>
                  </a:lnTo>
                  <a:lnTo>
                    <a:pt x="4961" y="415"/>
                  </a:lnTo>
                  <a:lnTo>
                    <a:pt x="4961" y="415"/>
                  </a:lnTo>
                  <a:lnTo>
                    <a:pt x="4959" y="413"/>
                  </a:lnTo>
                  <a:lnTo>
                    <a:pt x="4957" y="413"/>
                  </a:lnTo>
                  <a:lnTo>
                    <a:pt x="4949" y="417"/>
                  </a:lnTo>
                  <a:lnTo>
                    <a:pt x="4945" y="419"/>
                  </a:lnTo>
                  <a:lnTo>
                    <a:pt x="4945" y="419"/>
                  </a:lnTo>
                  <a:lnTo>
                    <a:pt x="4932" y="417"/>
                  </a:lnTo>
                  <a:lnTo>
                    <a:pt x="4930" y="417"/>
                  </a:lnTo>
                  <a:lnTo>
                    <a:pt x="4912" y="417"/>
                  </a:lnTo>
                  <a:lnTo>
                    <a:pt x="4908" y="413"/>
                  </a:lnTo>
                  <a:lnTo>
                    <a:pt x="4904" y="413"/>
                  </a:lnTo>
                  <a:lnTo>
                    <a:pt x="4899" y="413"/>
                  </a:lnTo>
                  <a:lnTo>
                    <a:pt x="4897" y="415"/>
                  </a:lnTo>
                  <a:lnTo>
                    <a:pt x="4893" y="413"/>
                  </a:lnTo>
                  <a:lnTo>
                    <a:pt x="4889" y="415"/>
                  </a:lnTo>
                  <a:lnTo>
                    <a:pt x="4881" y="415"/>
                  </a:lnTo>
                  <a:lnTo>
                    <a:pt x="4879" y="417"/>
                  </a:lnTo>
                  <a:lnTo>
                    <a:pt x="4875" y="417"/>
                  </a:lnTo>
                  <a:lnTo>
                    <a:pt x="4869" y="421"/>
                  </a:lnTo>
                  <a:lnTo>
                    <a:pt x="4869" y="423"/>
                  </a:lnTo>
                  <a:lnTo>
                    <a:pt x="4869" y="428"/>
                  </a:lnTo>
                  <a:lnTo>
                    <a:pt x="4871" y="430"/>
                  </a:lnTo>
                  <a:lnTo>
                    <a:pt x="4871" y="434"/>
                  </a:lnTo>
                  <a:lnTo>
                    <a:pt x="4869" y="436"/>
                  </a:lnTo>
                  <a:lnTo>
                    <a:pt x="4866" y="436"/>
                  </a:lnTo>
                  <a:lnTo>
                    <a:pt x="4864" y="440"/>
                  </a:lnTo>
                  <a:lnTo>
                    <a:pt x="4862" y="442"/>
                  </a:lnTo>
                  <a:lnTo>
                    <a:pt x="4860" y="442"/>
                  </a:lnTo>
                  <a:lnTo>
                    <a:pt x="4862" y="442"/>
                  </a:lnTo>
                  <a:lnTo>
                    <a:pt x="4864" y="440"/>
                  </a:lnTo>
                  <a:lnTo>
                    <a:pt x="4866" y="434"/>
                  </a:lnTo>
                  <a:lnTo>
                    <a:pt x="4866" y="432"/>
                  </a:lnTo>
                  <a:lnTo>
                    <a:pt x="4864" y="432"/>
                  </a:lnTo>
                  <a:lnTo>
                    <a:pt x="4862" y="430"/>
                  </a:lnTo>
                  <a:lnTo>
                    <a:pt x="4862" y="423"/>
                  </a:lnTo>
                  <a:lnTo>
                    <a:pt x="4860" y="419"/>
                  </a:lnTo>
                  <a:lnTo>
                    <a:pt x="4860" y="417"/>
                  </a:lnTo>
                  <a:lnTo>
                    <a:pt x="4858" y="415"/>
                  </a:lnTo>
                  <a:lnTo>
                    <a:pt x="4850" y="413"/>
                  </a:lnTo>
                  <a:lnTo>
                    <a:pt x="4846" y="411"/>
                  </a:lnTo>
                  <a:lnTo>
                    <a:pt x="4844" y="409"/>
                  </a:lnTo>
                  <a:lnTo>
                    <a:pt x="4846" y="407"/>
                  </a:lnTo>
                  <a:lnTo>
                    <a:pt x="4846" y="405"/>
                  </a:lnTo>
                  <a:lnTo>
                    <a:pt x="4846" y="403"/>
                  </a:lnTo>
                  <a:lnTo>
                    <a:pt x="4848" y="401"/>
                  </a:lnTo>
                  <a:lnTo>
                    <a:pt x="4848" y="399"/>
                  </a:lnTo>
                  <a:lnTo>
                    <a:pt x="4848" y="397"/>
                  </a:lnTo>
                  <a:lnTo>
                    <a:pt x="4846" y="395"/>
                  </a:lnTo>
                  <a:lnTo>
                    <a:pt x="4844" y="390"/>
                  </a:lnTo>
                  <a:lnTo>
                    <a:pt x="4844" y="390"/>
                  </a:lnTo>
                  <a:lnTo>
                    <a:pt x="4838" y="386"/>
                  </a:lnTo>
                  <a:lnTo>
                    <a:pt x="4829" y="382"/>
                  </a:lnTo>
                  <a:lnTo>
                    <a:pt x="4819" y="380"/>
                  </a:lnTo>
                  <a:lnTo>
                    <a:pt x="4811" y="380"/>
                  </a:lnTo>
                  <a:lnTo>
                    <a:pt x="4800" y="378"/>
                  </a:lnTo>
                  <a:lnTo>
                    <a:pt x="4788" y="378"/>
                  </a:lnTo>
                  <a:lnTo>
                    <a:pt x="4784" y="380"/>
                  </a:lnTo>
                  <a:lnTo>
                    <a:pt x="4776" y="380"/>
                  </a:lnTo>
                  <a:lnTo>
                    <a:pt x="4767" y="382"/>
                  </a:lnTo>
                  <a:lnTo>
                    <a:pt x="4759" y="384"/>
                  </a:lnTo>
                  <a:lnTo>
                    <a:pt x="4755" y="384"/>
                  </a:lnTo>
                  <a:lnTo>
                    <a:pt x="4745" y="386"/>
                  </a:lnTo>
                  <a:lnTo>
                    <a:pt x="4741" y="386"/>
                  </a:lnTo>
                  <a:lnTo>
                    <a:pt x="4730" y="382"/>
                  </a:lnTo>
                  <a:lnTo>
                    <a:pt x="4732" y="380"/>
                  </a:lnTo>
                  <a:lnTo>
                    <a:pt x="4735" y="380"/>
                  </a:lnTo>
                  <a:lnTo>
                    <a:pt x="4730" y="376"/>
                  </a:lnTo>
                  <a:lnTo>
                    <a:pt x="4728" y="374"/>
                  </a:lnTo>
                  <a:lnTo>
                    <a:pt x="4722" y="372"/>
                  </a:lnTo>
                  <a:lnTo>
                    <a:pt x="4718" y="372"/>
                  </a:lnTo>
                  <a:lnTo>
                    <a:pt x="4716" y="372"/>
                  </a:lnTo>
                  <a:lnTo>
                    <a:pt x="4708" y="374"/>
                  </a:lnTo>
                  <a:lnTo>
                    <a:pt x="4706" y="376"/>
                  </a:lnTo>
                  <a:lnTo>
                    <a:pt x="4710" y="372"/>
                  </a:lnTo>
                  <a:lnTo>
                    <a:pt x="4712" y="372"/>
                  </a:lnTo>
                  <a:lnTo>
                    <a:pt x="4714" y="370"/>
                  </a:lnTo>
                  <a:lnTo>
                    <a:pt x="4714" y="368"/>
                  </a:lnTo>
                  <a:lnTo>
                    <a:pt x="4714" y="368"/>
                  </a:lnTo>
                  <a:lnTo>
                    <a:pt x="4706" y="368"/>
                  </a:lnTo>
                  <a:lnTo>
                    <a:pt x="4706" y="368"/>
                  </a:lnTo>
                  <a:lnTo>
                    <a:pt x="4704" y="366"/>
                  </a:lnTo>
                  <a:lnTo>
                    <a:pt x="4704" y="366"/>
                  </a:lnTo>
                  <a:lnTo>
                    <a:pt x="4697" y="364"/>
                  </a:lnTo>
                  <a:lnTo>
                    <a:pt x="4693" y="364"/>
                  </a:lnTo>
                  <a:lnTo>
                    <a:pt x="4691" y="364"/>
                  </a:lnTo>
                  <a:lnTo>
                    <a:pt x="4689" y="361"/>
                  </a:lnTo>
                  <a:lnTo>
                    <a:pt x="4689" y="361"/>
                  </a:lnTo>
                  <a:lnTo>
                    <a:pt x="4691" y="361"/>
                  </a:lnTo>
                  <a:lnTo>
                    <a:pt x="4691" y="359"/>
                  </a:lnTo>
                  <a:lnTo>
                    <a:pt x="4695" y="359"/>
                  </a:lnTo>
                  <a:lnTo>
                    <a:pt x="4704" y="359"/>
                  </a:lnTo>
                  <a:lnTo>
                    <a:pt x="4706" y="357"/>
                  </a:lnTo>
                  <a:lnTo>
                    <a:pt x="4706" y="355"/>
                  </a:lnTo>
                  <a:lnTo>
                    <a:pt x="4704" y="355"/>
                  </a:lnTo>
                  <a:lnTo>
                    <a:pt x="4702" y="353"/>
                  </a:lnTo>
                  <a:lnTo>
                    <a:pt x="4697" y="351"/>
                  </a:lnTo>
                  <a:lnTo>
                    <a:pt x="4691" y="349"/>
                  </a:lnTo>
                  <a:lnTo>
                    <a:pt x="4683" y="347"/>
                  </a:lnTo>
                  <a:lnTo>
                    <a:pt x="4669" y="345"/>
                  </a:lnTo>
                  <a:lnTo>
                    <a:pt x="4666" y="347"/>
                  </a:lnTo>
                  <a:lnTo>
                    <a:pt x="4664" y="347"/>
                  </a:lnTo>
                  <a:lnTo>
                    <a:pt x="4660" y="349"/>
                  </a:lnTo>
                  <a:lnTo>
                    <a:pt x="4654" y="357"/>
                  </a:lnTo>
                  <a:lnTo>
                    <a:pt x="4650" y="359"/>
                  </a:lnTo>
                  <a:lnTo>
                    <a:pt x="4646" y="361"/>
                  </a:lnTo>
                  <a:lnTo>
                    <a:pt x="4636" y="364"/>
                  </a:lnTo>
                  <a:lnTo>
                    <a:pt x="4636" y="364"/>
                  </a:lnTo>
                  <a:lnTo>
                    <a:pt x="4633" y="361"/>
                  </a:lnTo>
                  <a:lnTo>
                    <a:pt x="4633" y="359"/>
                  </a:lnTo>
                  <a:lnTo>
                    <a:pt x="4636" y="359"/>
                  </a:lnTo>
                  <a:lnTo>
                    <a:pt x="4636" y="359"/>
                  </a:lnTo>
                  <a:lnTo>
                    <a:pt x="4633" y="357"/>
                  </a:lnTo>
                  <a:lnTo>
                    <a:pt x="4636" y="357"/>
                  </a:lnTo>
                  <a:lnTo>
                    <a:pt x="4636" y="357"/>
                  </a:lnTo>
                  <a:lnTo>
                    <a:pt x="4638" y="357"/>
                  </a:lnTo>
                  <a:lnTo>
                    <a:pt x="4640" y="357"/>
                  </a:lnTo>
                  <a:lnTo>
                    <a:pt x="4644" y="357"/>
                  </a:lnTo>
                  <a:lnTo>
                    <a:pt x="4644" y="355"/>
                  </a:lnTo>
                  <a:lnTo>
                    <a:pt x="4644" y="353"/>
                  </a:lnTo>
                  <a:lnTo>
                    <a:pt x="4644" y="351"/>
                  </a:lnTo>
                  <a:lnTo>
                    <a:pt x="4644" y="349"/>
                  </a:lnTo>
                  <a:lnTo>
                    <a:pt x="4644" y="349"/>
                  </a:lnTo>
                  <a:lnTo>
                    <a:pt x="4646" y="349"/>
                  </a:lnTo>
                  <a:lnTo>
                    <a:pt x="4648" y="351"/>
                  </a:lnTo>
                  <a:lnTo>
                    <a:pt x="4650" y="351"/>
                  </a:lnTo>
                  <a:lnTo>
                    <a:pt x="4652" y="351"/>
                  </a:lnTo>
                  <a:lnTo>
                    <a:pt x="4648" y="357"/>
                  </a:lnTo>
                  <a:lnTo>
                    <a:pt x="4650" y="357"/>
                  </a:lnTo>
                  <a:lnTo>
                    <a:pt x="4654" y="353"/>
                  </a:lnTo>
                  <a:lnTo>
                    <a:pt x="4656" y="351"/>
                  </a:lnTo>
                  <a:lnTo>
                    <a:pt x="4660" y="349"/>
                  </a:lnTo>
                  <a:lnTo>
                    <a:pt x="4660" y="347"/>
                  </a:lnTo>
                  <a:lnTo>
                    <a:pt x="4656" y="347"/>
                  </a:lnTo>
                  <a:lnTo>
                    <a:pt x="4633" y="349"/>
                  </a:lnTo>
                  <a:lnTo>
                    <a:pt x="4625" y="351"/>
                  </a:lnTo>
                  <a:lnTo>
                    <a:pt x="4623" y="349"/>
                  </a:lnTo>
                  <a:lnTo>
                    <a:pt x="4621" y="349"/>
                  </a:lnTo>
                  <a:lnTo>
                    <a:pt x="4625" y="347"/>
                  </a:lnTo>
                  <a:lnTo>
                    <a:pt x="4627" y="347"/>
                  </a:lnTo>
                  <a:lnTo>
                    <a:pt x="4631" y="345"/>
                  </a:lnTo>
                  <a:lnTo>
                    <a:pt x="4631" y="345"/>
                  </a:lnTo>
                  <a:lnTo>
                    <a:pt x="4638" y="345"/>
                  </a:lnTo>
                  <a:lnTo>
                    <a:pt x="4640" y="345"/>
                  </a:lnTo>
                  <a:lnTo>
                    <a:pt x="4652" y="345"/>
                  </a:lnTo>
                  <a:lnTo>
                    <a:pt x="4652" y="343"/>
                  </a:lnTo>
                  <a:lnTo>
                    <a:pt x="4650" y="343"/>
                  </a:lnTo>
                  <a:lnTo>
                    <a:pt x="4644" y="341"/>
                  </a:lnTo>
                  <a:lnTo>
                    <a:pt x="4640" y="341"/>
                  </a:lnTo>
                  <a:lnTo>
                    <a:pt x="4636" y="341"/>
                  </a:lnTo>
                  <a:lnTo>
                    <a:pt x="4627" y="339"/>
                  </a:lnTo>
                  <a:lnTo>
                    <a:pt x="4623" y="339"/>
                  </a:lnTo>
                  <a:lnTo>
                    <a:pt x="4615" y="337"/>
                  </a:lnTo>
                  <a:lnTo>
                    <a:pt x="4613" y="337"/>
                  </a:lnTo>
                  <a:lnTo>
                    <a:pt x="4592" y="337"/>
                  </a:lnTo>
                  <a:lnTo>
                    <a:pt x="4584" y="335"/>
                  </a:lnTo>
                  <a:lnTo>
                    <a:pt x="4582" y="333"/>
                  </a:lnTo>
                  <a:lnTo>
                    <a:pt x="4574" y="331"/>
                  </a:lnTo>
                  <a:lnTo>
                    <a:pt x="4572" y="331"/>
                  </a:lnTo>
                  <a:lnTo>
                    <a:pt x="4572" y="333"/>
                  </a:lnTo>
                  <a:lnTo>
                    <a:pt x="4572" y="333"/>
                  </a:lnTo>
                  <a:lnTo>
                    <a:pt x="4576" y="337"/>
                  </a:lnTo>
                  <a:lnTo>
                    <a:pt x="4576" y="339"/>
                  </a:lnTo>
                  <a:lnTo>
                    <a:pt x="4578" y="339"/>
                  </a:lnTo>
                  <a:lnTo>
                    <a:pt x="4572" y="341"/>
                  </a:lnTo>
                  <a:lnTo>
                    <a:pt x="4570" y="343"/>
                  </a:lnTo>
                  <a:lnTo>
                    <a:pt x="4557" y="341"/>
                  </a:lnTo>
                  <a:lnTo>
                    <a:pt x="4555" y="343"/>
                  </a:lnTo>
                  <a:lnTo>
                    <a:pt x="4551" y="347"/>
                  </a:lnTo>
                  <a:lnTo>
                    <a:pt x="4551" y="347"/>
                  </a:lnTo>
                  <a:lnTo>
                    <a:pt x="4551" y="351"/>
                  </a:lnTo>
                  <a:lnTo>
                    <a:pt x="4555" y="351"/>
                  </a:lnTo>
                  <a:lnTo>
                    <a:pt x="4555" y="349"/>
                  </a:lnTo>
                  <a:lnTo>
                    <a:pt x="4557" y="349"/>
                  </a:lnTo>
                  <a:lnTo>
                    <a:pt x="4563" y="349"/>
                  </a:lnTo>
                  <a:lnTo>
                    <a:pt x="4565" y="349"/>
                  </a:lnTo>
                  <a:lnTo>
                    <a:pt x="4563" y="351"/>
                  </a:lnTo>
                  <a:lnTo>
                    <a:pt x="4559" y="351"/>
                  </a:lnTo>
                  <a:lnTo>
                    <a:pt x="4557" y="355"/>
                  </a:lnTo>
                  <a:lnTo>
                    <a:pt x="4553" y="355"/>
                  </a:lnTo>
                  <a:lnTo>
                    <a:pt x="4555" y="357"/>
                  </a:lnTo>
                  <a:lnTo>
                    <a:pt x="4559" y="357"/>
                  </a:lnTo>
                  <a:lnTo>
                    <a:pt x="4557" y="364"/>
                  </a:lnTo>
                  <a:lnTo>
                    <a:pt x="4561" y="366"/>
                  </a:lnTo>
                  <a:lnTo>
                    <a:pt x="4561" y="368"/>
                  </a:lnTo>
                  <a:lnTo>
                    <a:pt x="4557" y="368"/>
                  </a:lnTo>
                  <a:lnTo>
                    <a:pt x="4553" y="370"/>
                  </a:lnTo>
                  <a:lnTo>
                    <a:pt x="4551" y="370"/>
                  </a:lnTo>
                  <a:lnTo>
                    <a:pt x="4549" y="366"/>
                  </a:lnTo>
                  <a:lnTo>
                    <a:pt x="4545" y="366"/>
                  </a:lnTo>
                  <a:lnTo>
                    <a:pt x="4543" y="364"/>
                  </a:lnTo>
                  <a:lnTo>
                    <a:pt x="4541" y="366"/>
                  </a:lnTo>
                  <a:lnTo>
                    <a:pt x="4539" y="366"/>
                  </a:lnTo>
                  <a:lnTo>
                    <a:pt x="4537" y="366"/>
                  </a:lnTo>
                  <a:lnTo>
                    <a:pt x="4537" y="366"/>
                  </a:lnTo>
                  <a:lnTo>
                    <a:pt x="4534" y="368"/>
                  </a:lnTo>
                  <a:lnTo>
                    <a:pt x="4534" y="370"/>
                  </a:lnTo>
                  <a:lnTo>
                    <a:pt x="4532" y="370"/>
                  </a:lnTo>
                  <a:lnTo>
                    <a:pt x="4532" y="372"/>
                  </a:lnTo>
                  <a:lnTo>
                    <a:pt x="4534" y="372"/>
                  </a:lnTo>
                  <a:lnTo>
                    <a:pt x="4534" y="372"/>
                  </a:lnTo>
                  <a:lnTo>
                    <a:pt x="4539" y="372"/>
                  </a:lnTo>
                  <a:lnTo>
                    <a:pt x="4534" y="374"/>
                  </a:lnTo>
                  <a:lnTo>
                    <a:pt x="4534" y="374"/>
                  </a:lnTo>
                  <a:lnTo>
                    <a:pt x="4534" y="374"/>
                  </a:lnTo>
                  <a:lnTo>
                    <a:pt x="4532" y="376"/>
                  </a:lnTo>
                  <a:lnTo>
                    <a:pt x="4532" y="376"/>
                  </a:lnTo>
                  <a:lnTo>
                    <a:pt x="4534" y="376"/>
                  </a:lnTo>
                  <a:lnTo>
                    <a:pt x="4534" y="378"/>
                  </a:lnTo>
                  <a:lnTo>
                    <a:pt x="4532" y="378"/>
                  </a:lnTo>
                  <a:lnTo>
                    <a:pt x="4530" y="376"/>
                  </a:lnTo>
                  <a:lnTo>
                    <a:pt x="4528" y="376"/>
                  </a:lnTo>
                  <a:lnTo>
                    <a:pt x="4526" y="374"/>
                  </a:lnTo>
                  <a:lnTo>
                    <a:pt x="4524" y="372"/>
                  </a:lnTo>
                  <a:lnTo>
                    <a:pt x="4522" y="370"/>
                  </a:lnTo>
                  <a:lnTo>
                    <a:pt x="4512" y="366"/>
                  </a:lnTo>
                  <a:lnTo>
                    <a:pt x="4506" y="366"/>
                  </a:lnTo>
                  <a:lnTo>
                    <a:pt x="4504" y="366"/>
                  </a:lnTo>
                  <a:lnTo>
                    <a:pt x="4499" y="366"/>
                  </a:lnTo>
                  <a:lnTo>
                    <a:pt x="4495" y="368"/>
                  </a:lnTo>
                  <a:lnTo>
                    <a:pt x="4491" y="368"/>
                  </a:lnTo>
                  <a:lnTo>
                    <a:pt x="4489" y="370"/>
                  </a:lnTo>
                  <a:lnTo>
                    <a:pt x="4487" y="372"/>
                  </a:lnTo>
                  <a:lnTo>
                    <a:pt x="4479" y="372"/>
                  </a:lnTo>
                  <a:lnTo>
                    <a:pt x="4473" y="370"/>
                  </a:lnTo>
                  <a:lnTo>
                    <a:pt x="4468" y="368"/>
                  </a:lnTo>
                  <a:lnTo>
                    <a:pt x="4464" y="366"/>
                  </a:lnTo>
                  <a:lnTo>
                    <a:pt x="4460" y="361"/>
                  </a:lnTo>
                  <a:lnTo>
                    <a:pt x="4460" y="361"/>
                  </a:lnTo>
                  <a:lnTo>
                    <a:pt x="4460" y="359"/>
                  </a:lnTo>
                  <a:lnTo>
                    <a:pt x="4458" y="357"/>
                  </a:lnTo>
                  <a:lnTo>
                    <a:pt x="4458" y="357"/>
                  </a:lnTo>
                  <a:lnTo>
                    <a:pt x="4456" y="357"/>
                  </a:lnTo>
                  <a:lnTo>
                    <a:pt x="4452" y="361"/>
                  </a:lnTo>
                  <a:lnTo>
                    <a:pt x="4452" y="364"/>
                  </a:lnTo>
                  <a:lnTo>
                    <a:pt x="4450" y="368"/>
                  </a:lnTo>
                  <a:lnTo>
                    <a:pt x="4448" y="372"/>
                  </a:lnTo>
                  <a:lnTo>
                    <a:pt x="4448" y="374"/>
                  </a:lnTo>
                  <a:lnTo>
                    <a:pt x="4448" y="374"/>
                  </a:lnTo>
                  <a:lnTo>
                    <a:pt x="4448" y="376"/>
                  </a:lnTo>
                  <a:lnTo>
                    <a:pt x="4446" y="378"/>
                  </a:lnTo>
                  <a:lnTo>
                    <a:pt x="4442" y="384"/>
                  </a:lnTo>
                  <a:lnTo>
                    <a:pt x="4440" y="386"/>
                  </a:lnTo>
                  <a:lnTo>
                    <a:pt x="4438" y="386"/>
                  </a:lnTo>
                  <a:lnTo>
                    <a:pt x="4436" y="388"/>
                  </a:lnTo>
                  <a:lnTo>
                    <a:pt x="4433" y="388"/>
                  </a:lnTo>
                  <a:lnTo>
                    <a:pt x="4433" y="386"/>
                  </a:lnTo>
                  <a:lnTo>
                    <a:pt x="4431" y="382"/>
                  </a:lnTo>
                  <a:lnTo>
                    <a:pt x="4431" y="382"/>
                  </a:lnTo>
                  <a:lnTo>
                    <a:pt x="4429" y="384"/>
                  </a:lnTo>
                  <a:lnTo>
                    <a:pt x="4427" y="384"/>
                  </a:lnTo>
                  <a:lnTo>
                    <a:pt x="4423" y="382"/>
                  </a:lnTo>
                  <a:lnTo>
                    <a:pt x="4421" y="380"/>
                  </a:lnTo>
                  <a:lnTo>
                    <a:pt x="4417" y="378"/>
                  </a:lnTo>
                  <a:lnTo>
                    <a:pt x="4411" y="370"/>
                  </a:lnTo>
                  <a:lnTo>
                    <a:pt x="4409" y="368"/>
                  </a:lnTo>
                  <a:lnTo>
                    <a:pt x="4407" y="366"/>
                  </a:lnTo>
                  <a:lnTo>
                    <a:pt x="4405" y="366"/>
                  </a:lnTo>
                  <a:lnTo>
                    <a:pt x="4403" y="364"/>
                  </a:lnTo>
                  <a:lnTo>
                    <a:pt x="4405" y="364"/>
                  </a:lnTo>
                  <a:lnTo>
                    <a:pt x="4409" y="361"/>
                  </a:lnTo>
                  <a:lnTo>
                    <a:pt x="4413" y="361"/>
                  </a:lnTo>
                  <a:lnTo>
                    <a:pt x="4409" y="359"/>
                  </a:lnTo>
                  <a:lnTo>
                    <a:pt x="4409" y="357"/>
                  </a:lnTo>
                  <a:lnTo>
                    <a:pt x="4407" y="355"/>
                  </a:lnTo>
                  <a:lnTo>
                    <a:pt x="4409" y="357"/>
                  </a:lnTo>
                  <a:lnTo>
                    <a:pt x="4407" y="359"/>
                  </a:lnTo>
                  <a:lnTo>
                    <a:pt x="4407" y="361"/>
                  </a:lnTo>
                  <a:lnTo>
                    <a:pt x="4405" y="361"/>
                  </a:lnTo>
                  <a:lnTo>
                    <a:pt x="4396" y="353"/>
                  </a:lnTo>
                  <a:lnTo>
                    <a:pt x="4392" y="349"/>
                  </a:lnTo>
                  <a:lnTo>
                    <a:pt x="4388" y="347"/>
                  </a:lnTo>
                  <a:lnTo>
                    <a:pt x="4388" y="345"/>
                  </a:lnTo>
                  <a:lnTo>
                    <a:pt x="4388" y="343"/>
                  </a:lnTo>
                  <a:lnTo>
                    <a:pt x="4394" y="347"/>
                  </a:lnTo>
                  <a:lnTo>
                    <a:pt x="4398" y="349"/>
                  </a:lnTo>
                  <a:lnTo>
                    <a:pt x="4405" y="353"/>
                  </a:lnTo>
                  <a:lnTo>
                    <a:pt x="4409" y="353"/>
                  </a:lnTo>
                  <a:lnTo>
                    <a:pt x="4411" y="351"/>
                  </a:lnTo>
                  <a:lnTo>
                    <a:pt x="4411" y="347"/>
                  </a:lnTo>
                  <a:lnTo>
                    <a:pt x="4409" y="343"/>
                  </a:lnTo>
                  <a:lnTo>
                    <a:pt x="4407" y="343"/>
                  </a:lnTo>
                  <a:lnTo>
                    <a:pt x="4398" y="341"/>
                  </a:lnTo>
                  <a:lnTo>
                    <a:pt x="4396" y="341"/>
                  </a:lnTo>
                  <a:lnTo>
                    <a:pt x="4398" y="341"/>
                  </a:lnTo>
                  <a:lnTo>
                    <a:pt x="4400" y="341"/>
                  </a:lnTo>
                  <a:lnTo>
                    <a:pt x="4403" y="339"/>
                  </a:lnTo>
                  <a:lnTo>
                    <a:pt x="4407" y="337"/>
                  </a:lnTo>
                  <a:lnTo>
                    <a:pt x="4409" y="337"/>
                  </a:lnTo>
                  <a:lnTo>
                    <a:pt x="4409" y="335"/>
                  </a:lnTo>
                  <a:lnTo>
                    <a:pt x="4407" y="333"/>
                  </a:lnTo>
                  <a:lnTo>
                    <a:pt x="4400" y="331"/>
                  </a:lnTo>
                  <a:lnTo>
                    <a:pt x="4400" y="331"/>
                  </a:lnTo>
                  <a:lnTo>
                    <a:pt x="4403" y="331"/>
                  </a:lnTo>
                  <a:lnTo>
                    <a:pt x="4403" y="328"/>
                  </a:lnTo>
                  <a:lnTo>
                    <a:pt x="4407" y="326"/>
                  </a:lnTo>
                  <a:lnTo>
                    <a:pt x="4407" y="324"/>
                  </a:lnTo>
                  <a:lnTo>
                    <a:pt x="4407" y="326"/>
                  </a:lnTo>
                  <a:lnTo>
                    <a:pt x="4405" y="324"/>
                  </a:lnTo>
                  <a:lnTo>
                    <a:pt x="4405" y="324"/>
                  </a:lnTo>
                  <a:lnTo>
                    <a:pt x="4405" y="322"/>
                  </a:lnTo>
                  <a:lnTo>
                    <a:pt x="4403" y="322"/>
                  </a:lnTo>
                  <a:lnTo>
                    <a:pt x="4400" y="320"/>
                  </a:lnTo>
                  <a:lnTo>
                    <a:pt x="4394" y="320"/>
                  </a:lnTo>
                  <a:lnTo>
                    <a:pt x="4394" y="320"/>
                  </a:lnTo>
                  <a:lnTo>
                    <a:pt x="4396" y="320"/>
                  </a:lnTo>
                  <a:lnTo>
                    <a:pt x="4394" y="318"/>
                  </a:lnTo>
                  <a:lnTo>
                    <a:pt x="4392" y="318"/>
                  </a:lnTo>
                  <a:lnTo>
                    <a:pt x="4392" y="316"/>
                  </a:lnTo>
                  <a:lnTo>
                    <a:pt x="4390" y="316"/>
                  </a:lnTo>
                  <a:lnTo>
                    <a:pt x="4388" y="316"/>
                  </a:lnTo>
                  <a:lnTo>
                    <a:pt x="4378" y="314"/>
                  </a:lnTo>
                  <a:lnTo>
                    <a:pt x="4376" y="314"/>
                  </a:lnTo>
                  <a:lnTo>
                    <a:pt x="4376" y="316"/>
                  </a:lnTo>
                  <a:lnTo>
                    <a:pt x="4372" y="320"/>
                  </a:lnTo>
                  <a:lnTo>
                    <a:pt x="4367" y="318"/>
                  </a:lnTo>
                  <a:lnTo>
                    <a:pt x="4367" y="318"/>
                  </a:lnTo>
                  <a:lnTo>
                    <a:pt x="4367" y="316"/>
                  </a:lnTo>
                  <a:lnTo>
                    <a:pt x="4367" y="316"/>
                  </a:lnTo>
                  <a:lnTo>
                    <a:pt x="4367" y="314"/>
                  </a:lnTo>
                  <a:lnTo>
                    <a:pt x="4367" y="314"/>
                  </a:lnTo>
                  <a:lnTo>
                    <a:pt x="4365" y="314"/>
                  </a:lnTo>
                  <a:lnTo>
                    <a:pt x="4363" y="314"/>
                  </a:lnTo>
                  <a:lnTo>
                    <a:pt x="4361" y="314"/>
                  </a:lnTo>
                  <a:lnTo>
                    <a:pt x="4359" y="316"/>
                  </a:lnTo>
                  <a:lnTo>
                    <a:pt x="4357" y="316"/>
                  </a:lnTo>
                  <a:lnTo>
                    <a:pt x="4357" y="314"/>
                  </a:lnTo>
                  <a:lnTo>
                    <a:pt x="4345" y="310"/>
                  </a:lnTo>
                  <a:lnTo>
                    <a:pt x="4343" y="308"/>
                  </a:lnTo>
                  <a:lnTo>
                    <a:pt x="4341" y="308"/>
                  </a:lnTo>
                  <a:lnTo>
                    <a:pt x="4334" y="310"/>
                  </a:lnTo>
                  <a:lnTo>
                    <a:pt x="4332" y="310"/>
                  </a:lnTo>
                  <a:lnTo>
                    <a:pt x="4330" y="312"/>
                  </a:lnTo>
                  <a:lnTo>
                    <a:pt x="4326" y="310"/>
                  </a:lnTo>
                  <a:lnTo>
                    <a:pt x="4326" y="312"/>
                  </a:lnTo>
                  <a:lnTo>
                    <a:pt x="4324" y="314"/>
                  </a:lnTo>
                  <a:lnTo>
                    <a:pt x="4324" y="316"/>
                  </a:lnTo>
                  <a:lnTo>
                    <a:pt x="4324" y="318"/>
                  </a:lnTo>
                  <a:lnTo>
                    <a:pt x="4326" y="318"/>
                  </a:lnTo>
                  <a:lnTo>
                    <a:pt x="4326" y="320"/>
                  </a:lnTo>
                  <a:lnTo>
                    <a:pt x="4328" y="322"/>
                  </a:lnTo>
                  <a:lnTo>
                    <a:pt x="4328" y="324"/>
                  </a:lnTo>
                  <a:lnTo>
                    <a:pt x="4328" y="324"/>
                  </a:lnTo>
                  <a:lnTo>
                    <a:pt x="4326" y="324"/>
                  </a:lnTo>
                  <a:lnTo>
                    <a:pt x="4326" y="326"/>
                  </a:lnTo>
                  <a:lnTo>
                    <a:pt x="4324" y="328"/>
                  </a:lnTo>
                  <a:lnTo>
                    <a:pt x="4322" y="331"/>
                  </a:lnTo>
                  <a:lnTo>
                    <a:pt x="4320" y="328"/>
                  </a:lnTo>
                  <a:lnTo>
                    <a:pt x="4314" y="328"/>
                  </a:lnTo>
                  <a:lnTo>
                    <a:pt x="4314" y="328"/>
                  </a:lnTo>
                  <a:lnTo>
                    <a:pt x="4314" y="328"/>
                  </a:lnTo>
                  <a:lnTo>
                    <a:pt x="4316" y="331"/>
                  </a:lnTo>
                  <a:lnTo>
                    <a:pt x="4316" y="331"/>
                  </a:lnTo>
                  <a:lnTo>
                    <a:pt x="4316" y="331"/>
                  </a:lnTo>
                  <a:lnTo>
                    <a:pt x="4314" y="333"/>
                  </a:lnTo>
                  <a:lnTo>
                    <a:pt x="4310" y="331"/>
                  </a:lnTo>
                  <a:lnTo>
                    <a:pt x="4306" y="331"/>
                  </a:lnTo>
                  <a:lnTo>
                    <a:pt x="4304" y="328"/>
                  </a:lnTo>
                  <a:lnTo>
                    <a:pt x="4301" y="328"/>
                  </a:lnTo>
                  <a:lnTo>
                    <a:pt x="4297" y="328"/>
                  </a:lnTo>
                  <a:lnTo>
                    <a:pt x="4291" y="331"/>
                  </a:lnTo>
                  <a:lnTo>
                    <a:pt x="4285" y="328"/>
                  </a:lnTo>
                  <a:lnTo>
                    <a:pt x="4277" y="328"/>
                  </a:lnTo>
                  <a:lnTo>
                    <a:pt x="4275" y="328"/>
                  </a:lnTo>
                  <a:lnTo>
                    <a:pt x="4268" y="326"/>
                  </a:lnTo>
                  <a:lnTo>
                    <a:pt x="4262" y="324"/>
                  </a:lnTo>
                  <a:lnTo>
                    <a:pt x="4254" y="322"/>
                  </a:lnTo>
                  <a:lnTo>
                    <a:pt x="4254" y="318"/>
                  </a:lnTo>
                  <a:lnTo>
                    <a:pt x="4256" y="316"/>
                  </a:lnTo>
                  <a:lnTo>
                    <a:pt x="4260" y="316"/>
                  </a:lnTo>
                  <a:lnTo>
                    <a:pt x="4262" y="316"/>
                  </a:lnTo>
                  <a:lnTo>
                    <a:pt x="4262" y="314"/>
                  </a:lnTo>
                  <a:lnTo>
                    <a:pt x="4260" y="314"/>
                  </a:lnTo>
                  <a:lnTo>
                    <a:pt x="4256" y="312"/>
                  </a:lnTo>
                  <a:lnTo>
                    <a:pt x="4240" y="312"/>
                  </a:lnTo>
                  <a:lnTo>
                    <a:pt x="4227" y="310"/>
                  </a:lnTo>
                  <a:lnTo>
                    <a:pt x="4211" y="310"/>
                  </a:lnTo>
                  <a:lnTo>
                    <a:pt x="4202" y="312"/>
                  </a:lnTo>
                  <a:lnTo>
                    <a:pt x="4192" y="312"/>
                  </a:lnTo>
                  <a:lnTo>
                    <a:pt x="4190" y="314"/>
                  </a:lnTo>
                  <a:lnTo>
                    <a:pt x="4184" y="314"/>
                  </a:lnTo>
                  <a:lnTo>
                    <a:pt x="4186" y="316"/>
                  </a:lnTo>
                  <a:lnTo>
                    <a:pt x="4188" y="318"/>
                  </a:lnTo>
                  <a:lnTo>
                    <a:pt x="4188" y="318"/>
                  </a:lnTo>
                  <a:lnTo>
                    <a:pt x="4190" y="318"/>
                  </a:lnTo>
                  <a:lnTo>
                    <a:pt x="4190" y="320"/>
                  </a:lnTo>
                  <a:lnTo>
                    <a:pt x="4188" y="320"/>
                  </a:lnTo>
                  <a:lnTo>
                    <a:pt x="4186" y="320"/>
                  </a:lnTo>
                  <a:lnTo>
                    <a:pt x="4186" y="322"/>
                  </a:lnTo>
                  <a:lnTo>
                    <a:pt x="4186" y="324"/>
                  </a:lnTo>
                  <a:lnTo>
                    <a:pt x="4186" y="326"/>
                  </a:lnTo>
                  <a:lnTo>
                    <a:pt x="4184" y="331"/>
                  </a:lnTo>
                  <a:lnTo>
                    <a:pt x="4182" y="333"/>
                  </a:lnTo>
                  <a:lnTo>
                    <a:pt x="4180" y="333"/>
                  </a:lnTo>
                  <a:lnTo>
                    <a:pt x="4182" y="335"/>
                  </a:lnTo>
                  <a:lnTo>
                    <a:pt x="4184" y="337"/>
                  </a:lnTo>
                  <a:lnTo>
                    <a:pt x="4186" y="337"/>
                  </a:lnTo>
                  <a:lnTo>
                    <a:pt x="4188" y="337"/>
                  </a:lnTo>
                  <a:lnTo>
                    <a:pt x="4186" y="339"/>
                  </a:lnTo>
                  <a:lnTo>
                    <a:pt x="4182" y="337"/>
                  </a:lnTo>
                  <a:lnTo>
                    <a:pt x="4180" y="335"/>
                  </a:lnTo>
                  <a:lnTo>
                    <a:pt x="4180" y="335"/>
                  </a:lnTo>
                  <a:lnTo>
                    <a:pt x="4180" y="333"/>
                  </a:lnTo>
                  <a:lnTo>
                    <a:pt x="4182" y="331"/>
                  </a:lnTo>
                  <a:lnTo>
                    <a:pt x="4182" y="331"/>
                  </a:lnTo>
                  <a:lnTo>
                    <a:pt x="4184" y="326"/>
                  </a:lnTo>
                  <a:lnTo>
                    <a:pt x="4184" y="324"/>
                  </a:lnTo>
                  <a:lnTo>
                    <a:pt x="4184" y="318"/>
                  </a:lnTo>
                  <a:lnTo>
                    <a:pt x="4182" y="318"/>
                  </a:lnTo>
                  <a:lnTo>
                    <a:pt x="4180" y="316"/>
                  </a:lnTo>
                  <a:lnTo>
                    <a:pt x="4182" y="312"/>
                  </a:lnTo>
                  <a:lnTo>
                    <a:pt x="4184" y="310"/>
                  </a:lnTo>
                  <a:lnTo>
                    <a:pt x="4182" y="310"/>
                  </a:lnTo>
                  <a:lnTo>
                    <a:pt x="4180" y="306"/>
                  </a:lnTo>
                  <a:lnTo>
                    <a:pt x="4178" y="304"/>
                  </a:lnTo>
                  <a:lnTo>
                    <a:pt x="4176" y="302"/>
                  </a:lnTo>
                  <a:lnTo>
                    <a:pt x="4176" y="302"/>
                  </a:lnTo>
                  <a:lnTo>
                    <a:pt x="4176" y="306"/>
                  </a:lnTo>
                  <a:lnTo>
                    <a:pt x="4176" y="308"/>
                  </a:lnTo>
                  <a:lnTo>
                    <a:pt x="4174" y="308"/>
                  </a:lnTo>
                  <a:lnTo>
                    <a:pt x="4169" y="310"/>
                  </a:lnTo>
                  <a:lnTo>
                    <a:pt x="4165" y="310"/>
                  </a:lnTo>
                  <a:lnTo>
                    <a:pt x="4161" y="308"/>
                  </a:lnTo>
                  <a:lnTo>
                    <a:pt x="4155" y="306"/>
                  </a:lnTo>
                  <a:lnTo>
                    <a:pt x="4153" y="304"/>
                  </a:lnTo>
                  <a:lnTo>
                    <a:pt x="4153" y="302"/>
                  </a:lnTo>
                  <a:lnTo>
                    <a:pt x="4155" y="302"/>
                  </a:lnTo>
                  <a:lnTo>
                    <a:pt x="4157" y="300"/>
                  </a:lnTo>
                  <a:lnTo>
                    <a:pt x="4153" y="300"/>
                  </a:lnTo>
                  <a:lnTo>
                    <a:pt x="4151" y="300"/>
                  </a:lnTo>
                  <a:lnTo>
                    <a:pt x="4149" y="304"/>
                  </a:lnTo>
                  <a:lnTo>
                    <a:pt x="4147" y="302"/>
                  </a:lnTo>
                  <a:lnTo>
                    <a:pt x="4139" y="300"/>
                  </a:lnTo>
                  <a:lnTo>
                    <a:pt x="4137" y="302"/>
                  </a:lnTo>
                  <a:lnTo>
                    <a:pt x="4132" y="304"/>
                  </a:lnTo>
                  <a:lnTo>
                    <a:pt x="4132" y="304"/>
                  </a:lnTo>
                  <a:lnTo>
                    <a:pt x="4130" y="306"/>
                  </a:lnTo>
                  <a:lnTo>
                    <a:pt x="4130" y="308"/>
                  </a:lnTo>
                  <a:lnTo>
                    <a:pt x="4130" y="308"/>
                  </a:lnTo>
                  <a:lnTo>
                    <a:pt x="4137" y="310"/>
                  </a:lnTo>
                  <a:lnTo>
                    <a:pt x="4141" y="308"/>
                  </a:lnTo>
                  <a:lnTo>
                    <a:pt x="4145" y="308"/>
                  </a:lnTo>
                  <a:lnTo>
                    <a:pt x="4147" y="308"/>
                  </a:lnTo>
                  <a:lnTo>
                    <a:pt x="4147" y="308"/>
                  </a:lnTo>
                  <a:lnTo>
                    <a:pt x="4145" y="310"/>
                  </a:lnTo>
                  <a:lnTo>
                    <a:pt x="4141" y="312"/>
                  </a:lnTo>
                  <a:lnTo>
                    <a:pt x="4132" y="316"/>
                  </a:lnTo>
                  <a:lnTo>
                    <a:pt x="4130" y="316"/>
                  </a:lnTo>
                  <a:lnTo>
                    <a:pt x="4124" y="316"/>
                  </a:lnTo>
                  <a:lnTo>
                    <a:pt x="4122" y="318"/>
                  </a:lnTo>
                  <a:lnTo>
                    <a:pt x="4122" y="318"/>
                  </a:lnTo>
                  <a:lnTo>
                    <a:pt x="4114" y="320"/>
                  </a:lnTo>
                  <a:lnTo>
                    <a:pt x="4112" y="320"/>
                  </a:lnTo>
                  <a:lnTo>
                    <a:pt x="4110" y="320"/>
                  </a:lnTo>
                  <a:lnTo>
                    <a:pt x="4108" y="322"/>
                  </a:lnTo>
                  <a:lnTo>
                    <a:pt x="4106" y="322"/>
                  </a:lnTo>
                  <a:lnTo>
                    <a:pt x="4104" y="324"/>
                  </a:lnTo>
                  <a:lnTo>
                    <a:pt x="4097" y="324"/>
                  </a:lnTo>
                  <a:lnTo>
                    <a:pt x="4093" y="324"/>
                  </a:lnTo>
                  <a:lnTo>
                    <a:pt x="4085" y="324"/>
                  </a:lnTo>
                  <a:lnTo>
                    <a:pt x="4083" y="326"/>
                  </a:lnTo>
                  <a:lnTo>
                    <a:pt x="4081" y="326"/>
                  </a:lnTo>
                  <a:lnTo>
                    <a:pt x="4081" y="328"/>
                  </a:lnTo>
                  <a:lnTo>
                    <a:pt x="4079" y="331"/>
                  </a:lnTo>
                  <a:lnTo>
                    <a:pt x="4073" y="333"/>
                  </a:lnTo>
                  <a:lnTo>
                    <a:pt x="4068" y="335"/>
                  </a:lnTo>
                  <a:lnTo>
                    <a:pt x="4066" y="335"/>
                  </a:lnTo>
                  <a:lnTo>
                    <a:pt x="4068" y="333"/>
                  </a:lnTo>
                  <a:lnTo>
                    <a:pt x="4073" y="328"/>
                  </a:lnTo>
                  <a:lnTo>
                    <a:pt x="4081" y="320"/>
                  </a:lnTo>
                  <a:lnTo>
                    <a:pt x="4087" y="320"/>
                  </a:lnTo>
                  <a:lnTo>
                    <a:pt x="4089" y="318"/>
                  </a:lnTo>
                  <a:lnTo>
                    <a:pt x="4095" y="312"/>
                  </a:lnTo>
                  <a:lnTo>
                    <a:pt x="4095" y="312"/>
                  </a:lnTo>
                  <a:lnTo>
                    <a:pt x="4104" y="312"/>
                  </a:lnTo>
                  <a:lnTo>
                    <a:pt x="4110" y="310"/>
                  </a:lnTo>
                  <a:lnTo>
                    <a:pt x="4122" y="300"/>
                  </a:lnTo>
                  <a:lnTo>
                    <a:pt x="4128" y="300"/>
                  </a:lnTo>
                  <a:lnTo>
                    <a:pt x="4132" y="295"/>
                  </a:lnTo>
                  <a:lnTo>
                    <a:pt x="4132" y="295"/>
                  </a:lnTo>
                  <a:lnTo>
                    <a:pt x="4132" y="293"/>
                  </a:lnTo>
                  <a:lnTo>
                    <a:pt x="4132" y="293"/>
                  </a:lnTo>
                  <a:lnTo>
                    <a:pt x="4132" y="291"/>
                  </a:lnTo>
                  <a:lnTo>
                    <a:pt x="4139" y="291"/>
                  </a:lnTo>
                  <a:lnTo>
                    <a:pt x="4141" y="287"/>
                  </a:lnTo>
                  <a:lnTo>
                    <a:pt x="4147" y="285"/>
                  </a:lnTo>
                  <a:lnTo>
                    <a:pt x="4153" y="283"/>
                  </a:lnTo>
                  <a:lnTo>
                    <a:pt x="4161" y="281"/>
                  </a:lnTo>
                  <a:lnTo>
                    <a:pt x="4165" y="277"/>
                  </a:lnTo>
                  <a:lnTo>
                    <a:pt x="4176" y="273"/>
                  </a:lnTo>
                  <a:lnTo>
                    <a:pt x="4186" y="264"/>
                  </a:lnTo>
                  <a:lnTo>
                    <a:pt x="4188" y="260"/>
                  </a:lnTo>
                  <a:lnTo>
                    <a:pt x="4186" y="258"/>
                  </a:lnTo>
                  <a:lnTo>
                    <a:pt x="4182" y="258"/>
                  </a:lnTo>
                  <a:lnTo>
                    <a:pt x="4182" y="256"/>
                  </a:lnTo>
                  <a:lnTo>
                    <a:pt x="4180" y="256"/>
                  </a:lnTo>
                  <a:lnTo>
                    <a:pt x="4178" y="256"/>
                  </a:lnTo>
                  <a:lnTo>
                    <a:pt x="4174" y="252"/>
                  </a:lnTo>
                  <a:lnTo>
                    <a:pt x="4169" y="250"/>
                  </a:lnTo>
                  <a:lnTo>
                    <a:pt x="4169" y="250"/>
                  </a:lnTo>
                  <a:lnTo>
                    <a:pt x="4169" y="248"/>
                  </a:lnTo>
                  <a:lnTo>
                    <a:pt x="4172" y="250"/>
                  </a:lnTo>
                  <a:lnTo>
                    <a:pt x="4180" y="254"/>
                  </a:lnTo>
                  <a:lnTo>
                    <a:pt x="4184" y="254"/>
                  </a:lnTo>
                  <a:lnTo>
                    <a:pt x="4184" y="254"/>
                  </a:lnTo>
                  <a:lnTo>
                    <a:pt x="4184" y="256"/>
                  </a:lnTo>
                  <a:lnTo>
                    <a:pt x="4184" y="256"/>
                  </a:lnTo>
                  <a:lnTo>
                    <a:pt x="4186" y="256"/>
                  </a:lnTo>
                  <a:lnTo>
                    <a:pt x="4186" y="256"/>
                  </a:lnTo>
                  <a:lnTo>
                    <a:pt x="4188" y="252"/>
                  </a:lnTo>
                  <a:lnTo>
                    <a:pt x="4190" y="248"/>
                  </a:lnTo>
                  <a:lnTo>
                    <a:pt x="4190" y="246"/>
                  </a:lnTo>
                  <a:lnTo>
                    <a:pt x="4186" y="248"/>
                  </a:lnTo>
                  <a:lnTo>
                    <a:pt x="4184" y="242"/>
                  </a:lnTo>
                  <a:lnTo>
                    <a:pt x="4182" y="240"/>
                  </a:lnTo>
                  <a:lnTo>
                    <a:pt x="4182" y="238"/>
                  </a:lnTo>
                  <a:lnTo>
                    <a:pt x="4178" y="238"/>
                  </a:lnTo>
                  <a:lnTo>
                    <a:pt x="4178" y="238"/>
                  </a:lnTo>
                  <a:lnTo>
                    <a:pt x="4178" y="238"/>
                  </a:lnTo>
                  <a:lnTo>
                    <a:pt x="4180" y="240"/>
                  </a:lnTo>
                  <a:lnTo>
                    <a:pt x="4178" y="240"/>
                  </a:lnTo>
                  <a:lnTo>
                    <a:pt x="4178" y="242"/>
                  </a:lnTo>
                  <a:lnTo>
                    <a:pt x="4176" y="242"/>
                  </a:lnTo>
                  <a:lnTo>
                    <a:pt x="4172" y="244"/>
                  </a:lnTo>
                  <a:lnTo>
                    <a:pt x="4174" y="242"/>
                  </a:lnTo>
                  <a:lnTo>
                    <a:pt x="4174" y="240"/>
                  </a:lnTo>
                  <a:lnTo>
                    <a:pt x="4174" y="240"/>
                  </a:lnTo>
                  <a:lnTo>
                    <a:pt x="4174" y="238"/>
                  </a:lnTo>
                  <a:lnTo>
                    <a:pt x="4172" y="233"/>
                  </a:lnTo>
                  <a:lnTo>
                    <a:pt x="4169" y="233"/>
                  </a:lnTo>
                  <a:lnTo>
                    <a:pt x="4167" y="231"/>
                  </a:lnTo>
                  <a:lnTo>
                    <a:pt x="4165" y="231"/>
                  </a:lnTo>
                  <a:lnTo>
                    <a:pt x="4163" y="233"/>
                  </a:lnTo>
                  <a:lnTo>
                    <a:pt x="4163" y="231"/>
                  </a:lnTo>
                  <a:lnTo>
                    <a:pt x="4165" y="231"/>
                  </a:lnTo>
                  <a:lnTo>
                    <a:pt x="4163" y="227"/>
                  </a:lnTo>
                  <a:lnTo>
                    <a:pt x="4159" y="227"/>
                  </a:lnTo>
                  <a:lnTo>
                    <a:pt x="4157" y="227"/>
                  </a:lnTo>
                  <a:lnTo>
                    <a:pt x="4155" y="225"/>
                  </a:lnTo>
                  <a:lnTo>
                    <a:pt x="4151" y="223"/>
                  </a:lnTo>
                  <a:lnTo>
                    <a:pt x="4141" y="223"/>
                  </a:lnTo>
                  <a:lnTo>
                    <a:pt x="4134" y="223"/>
                  </a:lnTo>
                  <a:lnTo>
                    <a:pt x="4126" y="223"/>
                  </a:lnTo>
                  <a:lnTo>
                    <a:pt x="4116" y="223"/>
                  </a:lnTo>
                  <a:lnTo>
                    <a:pt x="4112" y="223"/>
                  </a:lnTo>
                  <a:lnTo>
                    <a:pt x="4110" y="223"/>
                  </a:lnTo>
                  <a:lnTo>
                    <a:pt x="4106" y="223"/>
                  </a:lnTo>
                  <a:lnTo>
                    <a:pt x="4106" y="225"/>
                  </a:lnTo>
                  <a:lnTo>
                    <a:pt x="4106" y="227"/>
                  </a:lnTo>
                  <a:lnTo>
                    <a:pt x="4101" y="229"/>
                  </a:lnTo>
                  <a:lnTo>
                    <a:pt x="4101" y="229"/>
                  </a:lnTo>
                  <a:lnTo>
                    <a:pt x="4093" y="229"/>
                  </a:lnTo>
                  <a:lnTo>
                    <a:pt x="4089" y="231"/>
                  </a:lnTo>
                  <a:lnTo>
                    <a:pt x="4087" y="229"/>
                  </a:lnTo>
                  <a:lnTo>
                    <a:pt x="4083" y="229"/>
                  </a:lnTo>
                  <a:lnTo>
                    <a:pt x="4083" y="227"/>
                  </a:lnTo>
                  <a:lnTo>
                    <a:pt x="4085" y="227"/>
                  </a:lnTo>
                  <a:lnTo>
                    <a:pt x="4087" y="227"/>
                  </a:lnTo>
                  <a:lnTo>
                    <a:pt x="4091" y="223"/>
                  </a:lnTo>
                  <a:lnTo>
                    <a:pt x="4095" y="221"/>
                  </a:lnTo>
                  <a:lnTo>
                    <a:pt x="4097" y="217"/>
                  </a:lnTo>
                  <a:lnTo>
                    <a:pt x="4095" y="215"/>
                  </a:lnTo>
                  <a:lnTo>
                    <a:pt x="4091" y="215"/>
                  </a:lnTo>
                  <a:lnTo>
                    <a:pt x="4089" y="215"/>
                  </a:lnTo>
                  <a:lnTo>
                    <a:pt x="4087" y="215"/>
                  </a:lnTo>
                  <a:lnTo>
                    <a:pt x="4083" y="213"/>
                  </a:lnTo>
                  <a:lnTo>
                    <a:pt x="4079" y="213"/>
                  </a:lnTo>
                  <a:lnTo>
                    <a:pt x="4075" y="215"/>
                  </a:lnTo>
                  <a:lnTo>
                    <a:pt x="4073" y="215"/>
                  </a:lnTo>
                  <a:lnTo>
                    <a:pt x="4073" y="213"/>
                  </a:lnTo>
                  <a:lnTo>
                    <a:pt x="4068" y="213"/>
                  </a:lnTo>
                  <a:lnTo>
                    <a:pt x="4052" y="213"/>
                  </a:lnTo>
                  <a:lnTo>
                    <a:pt x="4054" y="211"/>
                  </a:lnTo>
                  <a:lnTo>
                    <a:pt x="4062" y="211"/>
                  </a:lnTo>
                  <a:lnTo>
                    <a:pt x="4068" y="209"/>
                  </a:lnTo>
                  <a:lnTo>
                    <a:pt x="4075" y="205"/>
                  </a:lnTo>
                  <a:lnTo>
                    <a:pt x="4079" y="203"/>
                  </a:lnTo>
                  <a:lnTo>
                    <a:pt x="4077" y="203"/>
                  </a:lnTo>
                  <a:lnTo>
                    <a:pt x="4077" y="200"/>
                  </a:lnTo>
                  <a:lnTo>
                    <a:pt x="4073" y="198"/>
                  </a:lnTo>
                  <a:lnTo>
                    <a:pt x="4068" y="198"/>
                  </a:lnTo>
                  <a:lnTo>
                    <a:pt x="4062" y="196"/>
                  </a:lnTo>
                  <a:lnTo>
                    <a:pt x="4060" y="196"/>
                  </a:lnTo>
                  <a:lnTo>
                    <a:pt x="4052" y="192"/>
                  </a:lnTo>
                  <a:lnTo>
                    <a:pt x="4050" y="192"/>
                  </a:lnTo>
                  <a:lnTo>
                    <a:pt x="4044" y="196"/>
                  </a:lnTo>
                  <a:lnTo>
                    <a:pt x="4040" y="196"/>
                  </a:lnTo>
                  <a:lnTo>
                    <a:pt x="4038" y="196"/>
                  </a:lnTo>
                  <a:lnTo>
                    <a:pt x="4029" y="200"/>
                  </a:lnTo>
                  <a:lnTo>
                    <a:pt x="4013" y="209"/>
                  </a:lnTo>
                  <a:lnTo>
                    <a:pt x="4011" y="213"/>
                  </a:lnTo>
                  <a:lnTo>
                    <a:pt x="4009" y="215"/>
                  </a:lnTo>
                  <a:lnTo>
                    <a:pt x="4007" y="215"/>
                  </a:lnTo>
                  <a:lnTo>
                    <a:pt x="4005" y="219"/>
                  </a:lnTo>
                  <a:lnTo>
                    <a:pt x="4005" y="221"/>
                  </a:lnTo>
                  <a:lnTo>
                    <a:pt x="4007" y="221"/>
                  </a:lnTo>
                  <a:lnTo>
                    <a:pt x="4009" y="223"/>
                  </a:lnTo>
                  <a:lnTo>
                    <a:pt x="4007" y="227"/>
                  </a:lnTo>
                  <a:lnTo>
                    <a:pt x="4005" y="227"/>
                  </a:lnTo>
                  <a:lnTo>
                    <a:pt x="4007" y="229"/>
                  </a:lnTo>
                  <a:lnTo>
                    <a:pt x="4009" y="229"/>
                  </a:lnTo>
                  <a:lnTo>
                    <a:pt x="4017" y="229"/>
                  </a:lnTo>
                  <a:lnTo>
                    <a:pt x="4015" y="231"/>
                  </a:lnTo>
                  <a:lnTo>
                    <a:pt x="4011" y="231"/>
                  </a:lnTo>
                  <a:lnTo>
                    <a:pt x="4007" y="231"/>
                  </a:lnTo>
                  <a:lnTo>
                    <a:pt x="4005" y="229"/>
                  </a:lnTo>
                  <a:lnTo>
                    <a:pt x="3996" y="231"/>
                  </a:lnTo>
                  <a:lnTo>
                    <a:pt x="3992" y="229"/>
                  </a:lnTo>
                  <a:lnTo>
                    <a:pt x="3986" y="231"/>
                  </a:lnTo>
                  <a:lnTo>
                    <a:pt x="3976" y="229"/>
                  </a:lnTo>
                  <a:lnTo>
                    <a:pt x="3976" y="231"/>
                  </a:lnTo>
                  <a:lnTo>
                    <a:pt x="3978" y="231"/>
                  </a:lnTo>
                  <a:lnTo>
                    <a:pt x="3980" y="233"/>
                  </a:lnTo>
                  <a:lnTo>
                    <a:pt x="3984" y="236"/>
                  </a:lnTo>
                  <a:lnTo>
                    <a:pt x="3986" y="238"/>
                  </a:lnTo>
                  <a:lnTo>
                    <a:pt x="3990" y="240"/>
                  </a:lnTo>
                  <a:lnTo>
                    <a:pt x="3990" y="246"/>
                  </a:lnTo>
                  <a:lnTo>
                    <a:pt x="3988" y="248"/>
                  </a:lnTo>
                  <a:lnTo>
                    <a:pt x="3986" y="250"/>
                  </a:lnTo>
                  <a:lnTo>
                    <a:pt x="3986" y="250"/>
                  </a:lnTo>
                  <a:lnTo>
                    <a:pt x="3984" y="250"/>
                  </a:lnTo>
                  <a:lnTo>
                    <a:pt x="3986" y="248"/>
                  </a:lnTo>
                  <a:lnTo>
                    <a:pt x="3988" y="246"/>
                  </a:lnTo>
                  <a:lnTo>
                    <a:pt x="3988" y="244"/>
                  </a:lnTo>
                  <a:lnTo>
                    <a:pt x="3988" y="242"/>
                  </a:lnTo>
                  <a:lnTo>
                    <a:pt x="3986" y="242"/>
                  </a:lnTo>
                  <a:lnTo>
                    <a:pt x="3986" y="242"/>
                  </a:lnTo>
                  <a:lnTo>
                    <a:pt x="3980" y="240"/>
                  </a:lnTo>
                  <a:lnTo>
                    <a:pt x="3978" y="238"/>
                  </a:lnTo>
                  <a:lnTo>
                    <a:pt x="3974" y="238"/>
                  </a:lnTo>
                  <a:lnTo>
                    <a:pt x="3974" y="238"/>
                  </a:lnTo>
                  <a:lnTo>
                    <a:pt x="3967" y="240"/>
                  </a:lnTo>
                  <a:lnTo>
                    <a:pt x="3965" y="240"/>
                  </a:lnTo>
                  <a:lnTo>
                    <a:pt x="3963" y="240"/>
                  </a:lnTo>
                  <a:lnTo>
                    <a:pt x="3963" y="242"/>
                  </a:lnTo>
                  <a:lnTo>
                    <a:pt x="3959" y="242"/>
                  </a:lnTo>
                  <a:lnTo>
                    <a:pt x="3959" y="244"/>
                  </a:lnTo>
                  <a:lnTo>
                    <a:pt x="3957" y="246"/>
                  </a:lnTo>
                  <a:lnTo>
                    <a:pt x="3955" y="244"/>
                  </a:lnTo>
                  <a:lnTo>
                    <a:pt x="3953" y="244"/>
                  </a:lnTo>
                  <a:lnTo>
                    <a:pt x="3947" y="246"/>
                  </a:lnTo>
                  <a:lnTo>
                    <a:pt x="3943" y="248"/>
                  </a:lnTo>
                  <a:lnTo>
                    <a:pt x="3943" y="246"/>
                  </a:lnTo>
                  <a:lnTo>
                    <a:pt x="3943" y="244"/>
                  </a:lnTo>
                  <a:lnTo>
                    <a:pt x="3943" y="244"/>
                  </a:lnTo>
                  <a:lnTo>
                    <a:pt x="3934" y="246"/>
                  </a:lnTo>
                  <a:lnTo>
                    <a:pt x="3932" y="248"/>
                  </a:lnTo>
                  <a:lnTo>
                    <a:pt x="3930" y="248"/>
                  </a:lnTo>
                  <a:lnTo>
                    <a:pt x="3934" y="244"/>
                  </a:lnTo>
                  <a:lnTo>
                    <a:pt x="3936" y="242"/>
                  </a:lnTo>
                  <a:lnTo>
                    <a:pt x="3934" y="242"/>
                  </a:lnTo>
                  <a:lnTo>
                    <a:pt x="3928" y="240"/>
                  </a:lnTo>
                  <a:lnTo>
                    <a:pt x="3926" y="240"/>
                  </a:lnTo>
                  <a:lnTo>
                    <a:pt x="3922" y="242"/>
                  </a:lnTo>
                  <a:lnTo>
                    <a:pt x="3914" y="240"/>
                  </a:lnTo>
                  <a:lnTo>
                    <a:pt x="3914" y="242"/>
                  </a:lnTo>
                  <a:lnTo>
                    <a:pt x="3912" y="242"/>
                  </a:lnTo>
                  <a:lnTo>
                    <a:pt x="3908" y="242"/>
                  </a:lnTo>
                  <a:lnTo>
                    <a:pt x="3903" y="242"/>
                  </a:lnTo>
                  <a:lnTo>
                    <a:pt x="3901" y="244"/>
                  </a:lnTo>
                  <a:lnTo>
                    <a:pt x="3897" y="242"/>
                  </a:lnTo>
                  <a:lnTo>
                    <a:pt x="3895" y="242"/>
                  </a:lnTo>
                  <a:lnTo>
                    <a:pt x="3893" y="244"/>
                  </a:lnTo>
                  <a:lnTo>
                    <a:pt x="3891" y="242"/>
                  </a:lnTo>
                  <a:lnTo>
                    <a:pt x="3891" y="246"/>
                  </a:lnTo>
                  <a:lnTo>
                    <a:pt x="3891" y="248"/>
                  </a:lnTo>
                  <a:lnTo>
                    <a:pt x="3891" y="248"/>
                  </a:lnTo>
                  <a:lnTo>
                    <a:pt x="3893" y="248"/>
                  </a:lnTo>
                  <a:lnTo>
                    <a:pt x="3893" y="246"/>
                  </a:lnTo>
                  <a:lnTo>
                    <a:pt x="3895" y="246"/>
                  </a:lnTo>
                  <a:lnTo>
                    <a:pt x="3897" y="248"/>
                  </a:lnTo>
                  <a:lnTo>
                    <a:pt x="3899" y="246"/>
                  </a:lnTo>
                  <a:lnTo>
                    <a:pt x="3901" y="246"/>
                  </a:lnTo>
                  <a:lnTo>
                    <a:pt x="3901" y="246"/>
                  </a:lnTo>
                  <a:lnTo>
                    <a:pt x="3910" y="246"/>
                  </a:lnTo>
                  <a:lnTo>
                    <a:pt x="3908" y="248"/>
                  </a:lnTo>
                  <a:lnTo>
                    <a:pt x="3899" y="248"/>
                  </a:lnTo>
                  <a:lnTo>
                    <a:pt x="3887" y="250"/>
                  </a:lnTo>
                  <a:lnTo>
                    <a:pt x="3883" y="252"/>
                  </a:lnTo>
                  <a:lnTo>
                    <a:pt x="3877" y="252"/>
                  </a:lnTo>
                  <a:lnTo>
                    <a:pt x="3870" y="254"/>
                  </a:lnTo>
                  <a:lnTo>
                    <a:pt x="3864" y="254"/>
                  </a:lnTo>
                  <a:lnTo>
                    <a:pt x="3852" y="256"/>
                  </a:lnTo>
                  <a:lnTo>
                    <a:pt x="3844" y="260"/>
                  </a:lnTo>
                  <a:lnTo>
                    <a:pt x="3840" y="260"/>
                  </a:lnTo>
                  <a:lnTo>
                    <a:pt x="3831" y="262"/>
                  </a:lnTo>
                  <a:lnTo>
                    <a:pt x="3827" y="264"/>
                  </a:lnTo>
                  <a:lnTo>
                    <a:pt x="3817" y="269"/>
                  </a:lnTo>
                  <a:lnTo>
                    <a:pt x="3809" y="269"/>
                  </a:lnTo>
                  <a:lnTo>
                    <a:pt x="3807" y="269"/>
                  </a:lnTo>
                  <a:lnTo>
                    <a:pt x="3807" y="271"/>
                  </a:lnTo>
                  <a:lnTo>
                    <a:pt x="3807" y="271"/>
                  </a:lnTo>
                  <a:lnTo>
                    <a:pt x="3809" y="271"/>
                  </a:lnTo>
                  <a:lnTo>
                    <a:pt x="3811" y="271"/>
                  </a:lnTo>
                  <a:lnTo>
                    <a:pt x="3813" y="273"/>
                  </a:lnTo>
                  <a:lnTo>
                    <a:pt x="3813" y="275"/>
                  </a:lnTo>
                  <a:lnTo>
                    <a:pt x="3807" y="279"/>
                  </a:lnTo>
                  <a:lnTo>
                    <a:pt x="3805" y="281"/>
                  </a:lnTo>
                  <a:lnTo>
                    <a:pt x="3802" y="283"/>
                  </a:lnTo>
                  <a:lnTo>
                    <a:pt x="3796" y="279"/>
                  </a:lnTo>
                  <a:lnTo>
                    <a:pt x="3794" y="279"/>
                  </a:lnTo>
                  <a:lnTo>
                    <a:pt x="3794" y="281"/>
                  </a:lnTo>
                  <a:lnTo>
                    <a:pt x="3790" y="281"/>
                  </a:lnTo>
                  <a:lnTo>
                    <a:pt x="3790" y="283"/>
                  </a:lnTo>
                  <a:lnTo>
                    <a:pt x="3794" y="283"/>
                  </a:lnTo>
                  <a:lnTo>
                    <a:pt x="3798" y="285"/>
                  </a:lnTo>
                  <a:lnTo>
                    <a:pt x="3802" y="287"/>
                  </a:lnTo>
                  <a:lnTo>
                    <a:pt x="3805" y="289"/>
                  </a:lnTo>
                  <a:lnTo>
                    <a:pt x="3809" y="289"/>
                  </a:lnTo>
                  <a:lnTo>
                    <a:pt x="3811" y="291"/>
                  </a:lnTo>
                  <a:lnTo>
                    <a:pt x="3805" y="291"/>
                  </a:lnTo>
                  <a:lnTo>
                    <a:pt x="3802" y="289"/>
                  </a:lnTo>
                  <a:lnTo>
                    <a:pt x="3800" y="289"/>
                  </a:lnTo>
                  <a:lnTo>
                    <a:pt x="3798" y="289"/>
                  </a:lnTo>
                  <a:lnTo>
                    <a:pt x="3794" y="289"/>
                  </a:lnTo>
                  <a:lnTo>
                    <a:pt x="3792" y="291"/>
                  </a:lnTo>
                  <a:lnTo>
                    <a:pt x="3794" y="293"/>
                  </a:lnTo>
                  <a:lnTo>
                    <a:pt x="3800" y="293"/>
                  </a:lnTo>
                  <a:lnTo>
                    <a:pt x="3802" y="295"/>
                  </a:lnTo>
                  <a:lnTo>
                    <a:pt x="3811" y="304"/>
                  </a:lnTo>
                  <a:lnTo>
                    <a:pt x="3811" y="306"/>
                  </a:lnTo>
                  <a:lnTo>
                    <a:pt x="3815" y="306"/>
                  </a:lnTo>
                  <a:lnTo>
                    <a:pt x="3815" y="306"/>
                  </a:lnTo>
                  <a:lnTo>
                    <a:pt x="3813" y="308"/>
                  </a:lnTo>
                  <a:lnTo>
                    <a:pt x="3811" y="310"/>
                  </a:lnTo>
                  <a:lnTo>
                    <a:pt x="3809" y="312"/>
                  </a:lnTo>
                  <a:lnTo>
                    <a:pt x="3798" y="312"/>
                  </a:lnTo>
                  <a:lnTo>
                    <a:pt x="3794" y="314"/>
                  </a:lnTo>
                  <a:lnTo>
                    <a:pt x="3794" y="314"/>
                  </a:lnTo>
                  <a:lnTo>
                    <a:pt x="3792" y="316"/>
                  </a:lnTo>
                  <a:lnTo>
                    <a:pt x="3792" y="316"/>
                  </a:lnTo>
                  <a:lnTo>
                    <a:pt x="3792" y="318"/>
                  </a:lnTo>
                  <a:lnTo>
                    <a:pt x="3792" y="318"/>
                  </a:lnTo>
                  <a:lnTo>
                    <a:pt x="3794" y="320"/>
                  </a:lnTo>
                  <a:lnTo>
                    <a:pt x="3802" y="324"/>
                  </a:lnTo>
                  <a:lnTo>
                    <a:pt x="3802" y="326"/>
                  </a:lnTo>
                  <a:lnTo>
                    <a:pt x="3800" y="324"/>
                  </a:lnTo>
                  <a:lnTo>
                    <a:pt x="3796" y="322"/>
                  </a:lnTo>
                  <a:lnTo>
                    <a:pt x="3794" y="320"/>
                  </a:lnTo>
                  <a:lnTo>
                    <a:pt x="3790" y="320"/>
                  </a:lnTo>
                  <a:lnTo>
                    <a:pt x="3790" y="318"/>
                  </a:lnTo>
                  <a:lnTo>
                    <a:pt x="3790" y="316"/>
                  </a:lnTo>
                  <a:lnTo>
                    <a:pt x="3790" y="316"/>
                  </a:lnTo>
                  <a:lnTo>
                    <a:pt x="3790" y="314"/>
                  </a:lnTo>
                  <a:lnTo>
                    <a:pt x="3794" y="312"/>
                  </a:lnTo>
                  <a:lnTo>
                    <a:pt x="3798" y="312"/>
                  </a:lnTo>
                  <a:lnTo>
                    <a:pt x="3802" y="308"/>
                  </a:lnTo>
                  <a:lnTo>
                    <a:pt x="3807" y="306"/>
                  </a:lnTo>
                  <a:lnTo>
                    <a:pt x="3807" y="306"/>
                  </a:lnTo>
                  <a:lnTo>
                    <a:pt x="3805" y="304"/>
                  </a:lnTo>
                  <a:lnTo>
                    <a:pt x="3800" y="304"/>
                  </a:lnTo>
                  <a:lnTo>
                    <a:pt x="3792" y="306"/>
                  </a:lnTo>
                  <a:lnTo>
                    <a:pt x="3786" y="306"/>
                  </a:lnTo>
                  <a:lnTo>
                    <a:pt x="3784" y="308"/>
                  </a:lnTo>
                  <a:lnTo>
                    <a:pt x="3782" y="308"/>
                  </a:lnTo>
                  <a:lnTo>
                    <a:pt x="3780" y="308"/>
                  </a:lnTo>
                  <a:lnTo>
                    <a:pt x="3774" y="308"/>
                  </a:lnTo>
                  <a:lnTo>
                    <a:pt x="3769" y="308"/>
                  </a:lnTo>
                  <a:lnTo>
                    <a:pt x="3759" y="310"/>
                  </a:lnTo>
                  <a:lnTo>
                    <a:pt x="3757" y="310"/>
                  </a:lnTo>
                  <a:lnTo>
                    <a:pt x="3732" y="310"/>
                  </a:lnTo>
                  <a:lnTo>
                    <a:pt x="3728" y="310"/>
                  </a:lnTo>
                  <a:lnTo>
                    <a:pt x="3716" y="312"/>
                  </a:lnTo>
                  <a:lnTo>
                    <a:pt x="3716" y="314"/>
                  </a:lnTo>
                  <a:lnTo>
                    <a:pt x="3716" y="316"/>
                  </a:lnTo>
                  <a:lnTo>
                    <a:pt x="3714" y="316"/>
                  </a:lnTo>
                  <a:lnTo>
                    <a:pt x="3712" y="318"/>
                  </a:lnTo>
                  <a:lnTo>
                    <a:pt x="3714" y="320"/>
                  </a:lnTo>
                  <a:lnTo>
                    <a:pt x="3714" y="322"/>
                  </a:lnTo>
                  <a:lnTo>
                    <a:pt x="3714" y="324"/>
                  </a:lnTo>
                  <a:lnTo>
                    <a:pt x="3714" y="326"/>
                  </a:lnTo>
                  <a:lnTo>
                    <a:pt x="3716" y="326"/>
                  </a:lnTo>
                  <a:lnTo>
                    <a:pt x="3718" y="328"/>
                  </a:lnTo>
                  <a:lnTo>
                    <a:pt x="3718" y="331"/>
                  </a:lnTo>
                  <a:lnTo>
                    <a:pt x="3718" y="333"/>
                  </a:lnTo>
                  <a:lnTo>
                    <a:pt x="3716" y="335"/>
                  </a:lnTo>
                  <a:lnTo>
                    <a:pt x="3716" y="337"/>
                  </a:lnTo>
                  <a:lnTo>
                    <a:pt x="3718" y="339"/>
                  </a:lnTo>
                  <a:lnTo>
                    <a:pt x="3718" y="341"/>
                  </a:lnTo>
                  <a:lnTo>
                    <a:pt x="3718" y="343"/>
                  </a:lnTo>
                  <a:lnTo>
                    <a:pt x="3722" y="345"/>
                  </a:lnTo>
                  <a:lnTo>
                    <a:pt x="3726" y="345"/>
                  </a:lnTo>
                  <a:lnTo>
                    <a:pt x="3730" y="345"/>
                  </a:lnTo>
                  <a:lnTo>
                    <a:pt x="3732" y="347"/>
                  </a:lnTo>
                  <a:lnTo>
                    <a:pt x="3736" y="347"/>
                  </a:lnTo>
                  <a:lnTo>
                    <a:pt x="3739" y="349"/>
                  </a:lnTo>
                  <a:lnTo>
                    <a:pt x="3739" y="349"/>
                  </a:lnTo>
                  <a:lnTo>
                    <a:pt x="3739" y="351"/>
                  </a:lnTo>
                  <a:lnTo>
                    <a:pt x="3741" y="353"/>
                  </a:lnTo>
                  <a:lnTo>
                    <a:pt x="3745" y="357"/>
                  </a:lnTo>
                  <a:lnTo>
                    <a:pt x="3747" y="357"/>
                  </a:lnTo>
                  <a:lnTo>
                    <a:pt x="3753" y="357"/>
                  </a:lnTo>
                  <a:lnTo>
                    <a:pt x="3755" y="359"/>
                  </a:lnTo>
                  <a:lnTo>
                    <a:pt x="3757" y="364"/>
                  </a:lnTo>
                  <a:lnTo>
                    <a:pt x="3757" y="364"/>
                  </a:lnTo>
                  <a:lnTo>
                    <a:pt x="3757" y="366"/>
                  </a:lnTo>
                  <a:lnTo>
                    <a:pt x="3757" y="368"/>
                  </a:lnTo>
                  <a:lnTo>
                    <a:pt x="3757" y="368"/>
                  </a:lnTo>
                  <a:lnTo>
                    <a:pt x="3757" y="370"/>
                  </a:lnTo>
                  <a:lnTo>
                    <a:pt x="3753" y="374"/>
                  </a:lnTo>
                  <a:lnTo>
                    <a:pt x="3751" y="378"/>
                  </a:lnTo>
                  <a:lnTo>
                    <a:pt x="3755" y="382"/>
                  </a:lnTo>
                  <a:lnTo>
                    <a:pt x="3757" y="386"/>
                  </a:lnTo>
                  <a:lnTo>
                    <a:pt x="3759" y="390"/>
                  </a:lnTo>
                  <a:lnTo>
                    <a:pt x="3761" y="392"/>
                  </a:lnTo>
                  <a:lnTo>
                    <a:pt x="3759" y="395"/>
                  </a:lnTo>
                  <a:lnTo>
                    <a:pt x="3759" y="397"/>
                  </a:lnTo>
                  <a:lnTo>
                    <a:pt x="3757" y="399"/>
                  </a:lnTo>
                  <a:lnTo>
                    <a:pt x="3753" y="399"/>
                  </a:lnTo>
                  <a:lnTo>
                    <a:pt x="3751" y="399"/>
                  </a:lnTo>
                  <a:lnTo>
                    <a:pt x="3751" y="401"/>
                  </a:lnTo>
                  <a:lnTo>
                    <a:pt x="3751" y="403"/>
                  </a:lnTo>
                  <a:lnTo>
                    <a:pt x="3751" y="405"/>
                  </a:lnTo>
                  <a:lnTo>
                    <a:pt x="3751" y="405"/>
                  </a:lnTo>
                  <a:lnTo>
                    <a:pt x="3749" y="405"/>
                  </a:lnTo>
                  <a:lnTo>
                    <a:pt x="3747" y="405"/>
                  </a:lnTo>
                  <a:lnTo>
                    <a:pt x="3747" y="403"/>
                  </a:lnTo>
                  <a:lnTo>
                    <a:pt x="3745" y="401"/>
                  </a:lnTo>
                  <a:lnTo>
                    <a:pt x="3747" y="399"/>
                  </a:lnTo>
                  <a:lnTo>
                    <a:pt x="3749" y="397"/>
                  </a:lnTo>
                  <a:lnTo>
                    <a:pt x="3751" y="392"/>
                  </a:lnTo>
                  <a:lnTo>
                    <a:pt x="3751" y="388"/>
                  </a:lnTo>
                  <a:lnTo>
                    <a:pt x="3751" y="386"/>
                  </a:lnTo>
                  <a:lnTo>
                    <a:pt x="3749" y="384"/>
                  </a:lnTo>
                  <a:lnTo>
                    <a:pt x="3749" y="382"/>
                  </a:lnTo>
                  <a:lnTo>
                    <a:pt x="3747" y="382"/>
                  </a:lnTo>
                  <a:lnTo>
                    <a:pt x="3745" y="384"/>
                  </a:lnTo>
                  <a:lnTo>
                    <a:pt x="3743" y="388"/>
                  </a:lnTo>
                  <a:lnTo>
                    <a:pt x="3739" y="392"/>
                  </a:lnTo>
                  <a:lnTo>
                    <a:pt x="3739" y="395"/>
                  </a:lnTo>
                  <a:lnTo>
                    <a:pt x="3739" y="397"/>
                  </a:lnTo>
                  <a:lnTo>
                    <a:pt x="3739" y="397"/>
                  </a:lnTo>
                  <a:lnTo>
                    <a:pt x="3739" y="395"/>
                  </a:lnTo>
                  <a:lnTo>
                    <a:pt x="3739" y="390"/>
                  </a:lnTo>
                  <a:lnTo>
                    <a:pt x="3739" y="388"/>
                  </a:lnTo>
                  <a:lnTo>
                    <a:pt x="3741" y="386"/>
                  </a:lnTo>
                  <a:lnTo>
                    <a:pt x="3741" y="384"/>
                  </a:lnTo>
                  <a:lnTo>
                    <a:pt x="3739" y="382"/>
                  </a:lnTo>
                  <a:lnTo>
                    <a:pt x="3739" y="380"/>
                  </a:lnTo>
                  <a:lnTo>
                    <a:pt x="3739" y="378"/>
                  </a:lnTo>
                  <a:lnTo>
                    <a:pt x="3741" y="374"/>
                  </a:lnTo>
                  <a:lnTo>
                    <a:pt x="3743" y="374"/>
                  </a:lnTo>
                  <a:lnTo>
                    <a:pt x="3749" y="370"/>
                  </a:lnTo>
                  <a:lnTo>
                    <a:pt x="3749" y="370"/>
                  </a:lnTo>
                  <a:lnTo>
                    <a:pt x="3751" y="366"/>
                  </a:lnTo>
                  <a:lnTo>
                    <a:pt x="3753" y="366"/>
                  </a:lnTo>
                  <a:lnTo>
                    <a:pt x="3753" y="364"/>
                  </a:lnTo>
                  <a:lnTo>
                    <a:pt x="3751" y="361"/>
                  </a:lnTo>
                  <a:lnTo>
                    <a:pt x="3749" y="361"/>
                  </a:lnTo>
                  <a:lnTo>
                    <a:pt x="3747" y="361"/>
                  </a:lnTo>
                  <a:lnTo>
                    <a:pt x="3743" y="361"/>
                  </a:lnTo>
                  <a:lnTo>
                    <a:pt x="3736" y="364"/>
                  </a:lnTo>
                  <a:lnTo>
                    <a:pt x="3730" y="361"/>
                  </a:lnTo>
                  <a:lnTo>
                    <a:pt x="3728" y="361"/>
                  </a:lnTo>
                  <a:lnTo>
                    <a:pt x="3720" y="355"/>
                  </a:lnTo>
                  <a:lnTo>
                    <a:pt x="3718" y="353"/>
                  </a:lnTo>
                  <a:lnTo>
                    <a:pt x="3718" y="353"/>
                  </a:lnTo>
                  <a:lnTo>
                    <a:pt x="3718" y="353"/>
                  </a:lnTo>
                  <a:lnTo>
                    <a:pt x="3714" y="351"/>
                  </a:lnTo>
                  <a:lnTo>
                    <a:pt x="3706" y="349"/>
                  </a:lnTo>
                  <a:lnTo>
                    <a:pt x="3699" y="345"/>
                  </a:lnTo>
                  <a:lnTo>
                    <a:pt x="3685" y="345"/>
                  </a:lnTo>
                  <a:lnTo>
                    <a:pt x="3681" y="345"/>
                  </a:lnTo>
                  <a:lnTo>
                    <a:pt x="3679" y="347"/>
                  </a:lnTo>
                  <a:lnTo>
                    <a:pt x="3675" y="349"/>
                  </a:lnTo>
                  <a:lnTo>
                    <a:pt x="3673" y="349"/>
                  </a:lnTo>
                  <a:lnTo>
                    <a:pt x="3670" y="349"/>
                  </a:lnTo>
                  <a:lnTo>
                    <a:pt x="3670" y="351"/>
                  </a:lnTo>
                  <a:lnTo>
                    <a:pt x="3670" y="351"/>
                  </a:lnTo>
                  <a:lnTo>
                    <a:pt x="3670" y="353"/>
                  </a:lnTo>
                  <a:lnTo>
                    <a:pt x="3675" y="351"/>
                  </a:lnTo>
                  <a:lnTo>
                    <a:pt x="3679" y="353"/>
                  </a:lnTo>
                  <a:lnTo>
                    <a:pt x="3681" y="353"/>
                  </a:lnTo>
                  <a:lnTo>
                    <a:pt x="3681" y="355"/>
                  </a:lnTo>
                  <a:lnTo>
                    <a:pt x="3681" y="357"/>
                  </a:lnTo>
                  <a:lnTo>
                    <a:pt x="3675" y="359"/>
                  </a:lnTo>
                  <a:lnTo>
                    <a:pt x="3673" y="359"/>
                  </a:lnTo>
                  <a:lnTo>
                    <a:pt x="3664" y="355"/>
                  </a:lnTo>
                  <a:lnTo>
                    <a:pt x="3662" y="353"/>
                  </a:lnTo>
                  <a:lnTo>
                    <a:pt x="3656" y="355"/>
                  </a:lnTo>
                  <a:lnTo>
                    <a:pt x="3652" y="357"/>
                  </a:lnTo>
                  <a:lnTo>
                    <a:pt x="3650" y="357"/>
                  </a:lnTo>
                  <a:lnTo>
                    <a:pt x="3652" y="359"/>
                  </a:lnTo>
                  <a:lnTo>
                    <a:pt x="3654" y="364"/>
                  </a:lnTo>
                  <a:lnTo>
                    <a:pt x="3654" y="366"/>
                  </a:lnTo>
                  <a:lnTo>
                    <a:pt x="3656" y="368"/>
                  </a:lnTo>
                  <a:lnTo>
                    <a:pt x="3662" y="370"/>
                  </a:lnTo>
                  <a:lnTo>
                    <a:pt x="3666" y="370"/>
                  </a:lnTo>
                  <a:lnTo>
                    <a:pt x="3670" y="374"/>
                  </a:lnTo>
                  <a:lnTo>
                    <a:pt x="3675" y="374"/>
                  </a:lnTo>
                  <a:lnTo>
                    <a:pt x="3677" y="372"/>
                  </a:lnTo>
                  <a:lnTo>
                    <a:pt x="3681" y="374"/>
                  </a:lnTo>
                  <a:lnTo>
                    <a:pt x="3685" y="378"/>
                  </a:lnTo>
                  <a:lnTo>
                    <a:pt x="3685" y="380"/>
                  </a:lnTo>
                  <a:lnTo>
                    <a:pt x="3687" y="382"/>
                  </a:lnTo>
                  <a:lnTo>
                    <a:pt x="3689" y="382"/>
                  </a:lnTo>
                  <a:lnTo>
                    <a:pt x="3689" y="382"/>
                  </a:lnTo>
                  <a:lnTo>
                    <a:pt x="3691" y="382"/>
                  </a:lnTo>
                  <a:lnTo>
                    <a:pt x="3693" y="380"/>
                  </a:lnTo>
                  <a:lnTo>
                    <a:pt x="3693" y="382"/>
                  </a:lnTo>
                  <a:lnTo>
                    <a:pt x="3691" y="382"/>
                  </a:lnTo>
                  <a:lnTo>
                    <a:pt x="3685" y="384"/>
                  </a:lnTo>
                  <a:lnTo>
                    <a:pt x="3683" y="382"/>
                  </a:lnTo>
                  <a:lnTo>
                    <a:pt x="3679" y="382"/>
                  </a:lnTo>
                  <a:lnTo>
                    <a:pt x="3673" y="376"/>
                  </a:lnTo>
                  <a:lnTo>
                    <a:pt x="3664" y="376"/>
                  </a:lnTo>
                  <a:lnTo>
                    <a:pt x="3662" y="378"/>
                  </a:lnTo>
                  <a:lnTo>
                    <a:pt x="3660" y="376"/>
                  </a:lnTo>
                  <a:lnTo>
                    <a:pt x="3652" y="376"/>
                  </a:lnTo>
                  <a:lnTo>
                    <a:pt x="3646" y="374"/>
                  </a:lnTo>
                  <a:lnTo>
                    <a:pt x="3640" y="372"/>
                  </a:lnTo>
                  <a:lnTo>
                    <a:pt x="3640" y="372"/>
                  </a:lnTo>
                  <a:lnTo>
                    <a:pt x="3640" y="370"/>
                  </a:lnTo>
                  <a:lnTo>
                    <a:pt x="3642" y="368"/>
                  </a:lnTo>
                  <a:lnTo>
                    <a:pt x="3642" y="368"/>
                  </a:lnTo>
                  <a:lnTo>
                    <a:pt x="3644" y="364"/>
                  </a:lnTo>
                  <a:lnTo>
                    <a:pt x="3640" y="359"/>
                  </a:lnTo>
                  <a:lnTo>
                    <a:pt x="3640" y="355"/>
                  </a:lnTo>
                  <a:lnTo>
                    <a:pt x="3642" y="355"/>
                  </a:lnTo>
                  <a:lnTo>
                    <a:pt x="3644" y="351"/>
                  </a:lnTo>
                  <a:lnTo>
                    <a:pt x="3646" y="349"/>
                  </a:lnTo>
                  <a:lnTo>
                    <a:pt x="3646" y="349"/>
                  </a:lnTo>
                  <a:lnTo>
                    <a:pt x="3646" y="347"/>
                  </a:lnTo>
                  <a:lnTo>
                    <a:pt x="3646" y="345"/>
                  </a:lnTo>
                  <a:lnTo>
                    <a:pt x="3646" y="345"/>
                  </a:lnTo>
                  <a:lnTo>
                    <a:pt x="3644" y="343"/>
                  </a:lnTo>
                  <a:lnTo>
                    <a:pt x="3644" y="341"/>
                  </a:lnTo>
                  <a:lnTo>
                    <a:pt x="3644" y="339"/>
                  </a:lnTo>
                  <a:lnTo>
                    <a:pt x="3642" y="337"/>
                  </a:lnTo>
                  <a:lnTo>
                    <a:pt x="3642" y="335"/>
                  </a:lnTo>
                  <a:lnTo>
                    <a:pt x="3637" y="333"/>
                  </a:lnTo>
                  <a:lnTo>
                    <a:pt x="3635" y="333"/>
                  </a:lnTo>
                  <a:lnTo>
                    <a:pt x="3633" y="333"/>
                  </a:lnTo>
                  <a:lnTo>
                    <a:pt x="3633" y="333"/>
                  </a:lnTo>
                  <a:lnTo>
                    <a:pt x="3633" y="337"/>
                  </a:lnTo>
                  <a:lnTo>
                    <a:pt x="3635" y="339"/>
                  </a:lnTo>
                  <a:lnTo>
                    <a:pt x="3637" y="341"/>
                  </a:lnTo>
                  <a:lnTo>
                    <a:pt x="3637" y="343"/>
                  </a:lnTo>
                  <a:lnTo>
                    <a:pt x="3637" y="347"/>
                  </a:lnTo>
                  <a:lnTo>
                    <a:pt x="3635" y="349"/>
                  </a:lnTo>
                  <a:lnTo>
                    <a:pt x="3635" y="351"/>
                  </a:lnTo>
                  <a:lnTo>
                    <a:pt x="3633" y="353"/>
                  </a:lnTo>
                  <a:lnTo>
                    <a:pt x="3629" y="355"/>
                  </a:lnTo>
                  <a:lnTo>
                    <a:pt x="3625" y="355"/>
                  </a:lnTo>
                  <a:lnTo>
                    <a:pt x="3621" y="357"/>
                  </a:lnTo>
                  <a:lnTo>
                    <a:pt x="3617" y="359"/>
                  </a:lnTo>
                  <a:lnTo>
                    <a:pt x="3609" y="370"/>
                  </a:lnTo>
                  <a:lnTo>
                    <a:pt x="3609" y="372"/>
                  </a:lnTo>
                  <a:lnTo>
                    <a:pt x="3613" y="372"/>
                  </a:lnTo>
                  <a:lnTo>
                    <a:pt x="3615" y="374"/>
                  </a:lnTo>
                  <a:lnTo>
                    <a:pt x="3615" y="376"/>
                  </a:lnTo>
                  <a:lnTo>
                    <a:pt x="3617" y="380"/>
                  </a:lnTo>
                  <a:lnTo>
                    <a:pt x="3625" y="390"/>
                  </a:lnTo>
                  <a:lnTo>
                    <a:pt x="3627" y="392"/>
                  </a:lnTo>
                  <a:lnTo>
                    <a:pt x="3625" y="395"/>
                  </a:lnTo>
                  <a:lnTo>
                    <a:pt x="3621" y="401"/>
                  </a:lnTo>
                  <a:lnTo>
                    <a:pt x="3619" y="403"/>
                  </a:lnTo>
                  <a:lnTo>
                    <a:pt x="3615" y="411"/>
                  </a:lnTo>
                  <a:lnTo>
                    <a:pt x="3615" y="413"/>
                  </a:lnTo>
                  <a:lnTo>
                    <a:pt x="3617" y="417"/>
                  </a:lnTo>
                  <a:lnTo>
                    <a:pt x="3619" y="419"/>
                  </a:lnTo>
                  <a:lnTo>
                    <a:pt x="3619" y="421"/>
                  </a:lnTo>
                  <a:lnTo>
                    <a:pt x="3619" y="428"/>
                  </a:lnTo>
                  <a:lnTo>
                    <a:pt x="3619" y="428"/>
                  </a:lnTo>
                  <a:lnTo>
                    <a:pt x="3621" y="430"/>
                  </a:lnTo>
                  <a:lnTo>
                    <a:pt x="3627" y="428"/>
                  </a:lnTo>
                  <a:lnTo>
                    <a:pt x="3633" y="430"/>
                  </a:lnTo>
                  <a:lnTo>
                    <a:pt x="3635" y="430"/>
                  </a:lnTo>
                  <a:lnTo>
                    <a:pt x="3642" y="426"/>
                  </a:lnTo>
                  <a:lnTo>
                    <a:pt x="3644" y="426"/>
                  </a:lnTo>
                  <a:lnTo>
                    <a:pt x="3650" y="426"/>
                  </a:lnTo>
                  <a:lnTo>
                    <a:pt x="3658" y="430"/>
                  </a:lnTo>
                  <a:lnTo>
                    <a:pt x="3668" y="432"/>
                  </a:lnTo>
                  <a:lnTo>
                    <a:pt x="3670" y="434"/>
                  </a:lnTo>
                  <a:lnTo>
                    <a:pt x="3673" y="434"/>
                  </a:lnTo>
                  <a:lnTo>
                    <a:pt x="3675" y="440"/>
                  </a:lnTo>
                  <a:lnTo>
                    <a:pt x="3677" y="444"/>
                  </a:lnTo>
                  <a:lnTo>
                    <a:pt x="3679" y="446"/>
                  </a:lnTo>
                  <a:lnTo>
                    <a:pt x="3679" y="450"/>
                  </a:lnTo>
                  <a:lnTo>
                    <a:pt x="3677" y="450"/>
                  </a:lnTo>
                  <a:lnTo>
                    <a:pt x="3675" y="450"/>
                  </a:lnTo>
                  <a:lnTo>
                    <a:pt x="3675" y="452"/>
                  </a:lnTo>
                  <a:lnTo>
                    <a:pt x="3673" y="456"/>
                  </a:lnTo>
                  <a:lnTo>
                    <a:pt x="3673" y="459"/>
                  </a:lnTo>
                  <a:lnTo>
                    <a:pt x="3673" y="463"/>
                  </a:lnTo>
                  <a:lnTo>
                    <a:pt x="3681" y="465"/>
                  </a:lnTo>
                  <a:lnTo>
                    <a:pt x="3687" y="465"/>
                  </a:lnTo>
                  <a:lnTo>
                    <a:pt x="3691" y="465"/>
                  </a:lnTo>
                  <a:lnTo>
                    <a:pt x="3691" y="465"/>
                  </a:lnTo>
                  <a:lnTo>
                    <a:pt x="3691" y="467"/>
                  </a:lnTo>
                  <a:lnTo>
                    <a:pt x="3687" y="467"/>
                  </a:lnTo>
                  <a:lnTo>
                    <a:pt x="3679" y="467"/>
                  </a:lnTo>
                  <a:lnTo>
                    <a:pt x="3675" y="467"/>
                  </a:lnTo>
                  <a:lnTo>
                    <a:pt x="3675" y="467"/>
                  </a:lnTo>
                  <a:lnTo>
                    <a:pt x="3673" y="465"/>
                  </a:lnTo>
                  <a:lnTo>
                    <a:pt x="3670" y="463"/>
                  </a:lnTo>
                  <a:lnTo>
                    <a:pt x="3668" y="463"/>
                  </a:lnTo>
                  <a:lnTo>
                    <a:pt x="3666" y="461"/>
                  </a:lnTo>
                  <a:lnTo>
                    <a:pt x="3668" y="459"/>
                  </a:lnTo>
                  <a:lnTo>
                    <a:pt x="3668" y="448"/>
                  </a:lnTo>
                  <a:lnTo>
                    <a:pt x="3668" y="444"/>
                  </a:lnTo>
                  <a:lnTo>
                    <a:pt x="3666" y="442"/>
                  </a:lnTo>
                  <a:lnTo>
                    <a:pt x="3660" y="438"/>
                  </a:lnTo>
                  <a:lnTo>
                    <a:pt x="3658" y="434"/>
                  </a:lnTo>
                  <a:lnTo>
                    <a:pt x="3656" y="432"/>
                  </a:lnTo>
                  <a:lnTo>
                    <a:pt x="3654" y="432"/>
                  </a:lnTo>
                  <a:lnTo>
                    <a:pt x="3652" y="432"/>
                  </a:lnTo>
                  <a:lnTo>
                    <a:pt x="3644" y="434"/>
                  </a:lnTo>
                  <a:lnTo>
                    <a:pt x="3637" y="436"/>
                  </a:lnTo>
                  <a:lnTo>
                    <a:pt x="3629" y="438"/>
                  </a:lnTo>
                  <a:lnTo>
                    <a:pt x="3629" y="440"/>
                  </a:lnTo>
                  <a:lnTo>
                    <a:pt x="3627" y="446"/>
                  </a:lnTo>
                  <a:lnTo>
                    <a:pt x="3629" y="448"/>
                  </a:lnTo>
                  <a:lnTo>
                    <a:pt x="3631" y="450"/>
                  </a:lnTo>
                  <a:lnTo>
                    <a:pt x="3631" y="454"/>
                  </a:lnTo>
                  <a:lnTo>
                    <a:pt x="3633" y="456"/>
                  </a:lnTo>
                  <a:lnTo>
                    <a:pt x="3633" y="459"/>
                  </a:lnTo>
                  <a:lnTo>
                    <a:pt x="3633" y="463"/>
                  </a:lnTo>
                  <a:lnTo>
                    <a:pt x="3631" y="463"/>
                  </a:lnTo>
                  <a:lnTo>
                    <a:pt x="3623" y="471"/>
                  </a:lnTo>
                  <a:lnTo>
                    <a:pt x="3621" y="473"/>
                  </a:lnTo>
                  <a:lnTo>
                    <a:pt x="3619" y="479"/>
                  </a:lnTo>
                  <a:lnTo>
                    <a:pt x="3619" y="481"/>
                  </a:lnTo>
                  <a:lnTo>
                    <a:pt x="3615" y="483"/>
                  </a:lnTo>
                  <a:lnTo>
                    <a:pt x="3613" y="485"/>
                  </a:lnTo>
                  <a:lnTo>
                    <a:pt x="3598" y="492"/>
                  </a:lnTo>
                  <a:lnTo>
                    <a:pt x="3598" y="492"/>
                  </a:lnTo>
                  <a:lnTo>
                    <a:pt x="3598" y="496"/>
                  </a:lnTo>
                  <a:lnTo>
                    <a:pt x="3594" y="498"/>
                  </a:lnTo>
                  <a:lnTo>
                    <a:pt x="3592" y="498"/>
                  </a:lnTo>
                  <a:lnTo>
                    <a:pt x="3586" y="496"/>
                  </a:lnTo>
                  <a:lnTo>
                    <a:pt x="3584" y="496"/>
                  </a:lnTo>
                  <a:lnTo>
                    <a:pt x="3580" y="496"/>
                  </a:lnTo>
                  <a:lnTo>
                    <a:pt x="3569" y="496"/>
                  </a:lnTo>
                  <a:lnTo>
                    <a:pt x="3563" y="494"/>
                  </a:lnTo>
                  <a:lnTo>
                    <a:pt x="3559" y="492"/>
                  </a:lnTo>
                  <a:lnTo>
                    <a:pt x="3555" y="492"/>
                  </a:lnTo>
                  <a:lnTo>
                    <a:pt x="3553" y="490"/>
                  </a:lnTo>
                  <a:lnTo>
                    <a:pt x="3553" y="490"/>
                  </a:lnTo>
                  <a:lnTo>
                    <a:pt x="3551" y="487"/>
                  </a:lnTo>
                  <a:lnTo>
                    <a:pt x="3551" y="485"/>
                  </a:lnTo>
                  <a:lnTo>
                    <a:pt x="3551" y="485"/>
                  </a:lnTo>
                  <a:lnTo>
                    <a:pt x="3551" y="485"/>
                  </a:lnTo>
                  <a:lnTo>
                    <a:pt x="3553" y="483"/>
                  </a:lnTo>
                  <a:lnTo>
                    <a:pt x="3561" y="485"/>
                  </a:lnTo>
                  <a:lnTo>
                    <a:pt x="3563" y="483"/>
                  </a:lnTo>
                  <a:lnTo>
                    <a:pt x="3563" y="483"/>
                  </a:lnTo>
                  <a:lnTo>
                    <a:pt x="3565" y="485"/>
                  </a:lnTo>
                  <a:lnTo>
                    <a:pt x="3567" y="487"/>
                  </a:lnTo>
                  <a:lnTo>
                    <a:pt x="3571" y="487"/>
                  </a:lnTo>
                  <a:lnTo>
                    <a:pt x="3574" y="485"/>
                  </a:lnTo>
                  <a:lnTo>
                    <a:pt x="3574" y="485"/>
                  </a:lnTo>
                  <a:lnTo>
                    <a:pt x="3574" y="485"/>
                  </a:lnTo>
                  <a:lnTo>
                    <a:pt x="3571" y="487"/>
                  </a:lnTo>
                  <a:lnTo>
                    <a:pt x="3571" y="487"/>
                  </a:lnTo>
                  <a:lnTo>
                    <a:pt x="3569" y="490"/>
                  </a:lnTo>
                  <a:lnTo>
                    <a:pt x="3569" y="490"/>
                  </a:lnTo>
                  <a:lnTo>
                    <a:pt x="3571" y="492"/>
                  </a:lnTo>
                  <a:lnTo>
                    <a:pt x="3576" y="492"/>
                  </a:lnTo>
                  <a:lnTo>
                    <a:pt x="3578" y="492"/>
                  </a:lnTo>
                  <a:lnTo>
                    <a:pt x="3580" y="490"/>
                  </a:lnTo>
                  <a:lnTo>
                    <a:pt x="3584" y="487"/>
                  </a:lnTo>
                  <a:lnTo>
                    <a:pt x="3586" y="487"/>
                  </a:lnTo>
                  <a:lnTo>
                    <a:pt x="3586" y="485"/>
                  </a:lnTo>
                  <a:lnTo>
                    <a:pt x="3586" y="483"/>
                  </a:lnTo>
                  <a:lnTo>
                    <a:pt x="3584" y="481"/>
                  </a:lnTo>
                  <a:lnTo>
                    <a:pt x="3588" y="481"/>
                  </a:lnTo>
                  <a:lnTo>
                    <a:pt x="3590" y="479"/>
                  </a:lnTo>
                  <a:lnTo>
                    <a:pt x="3600" y="467"/>
                  </a:lnTo>
                  <a:lnTo>
                    <a:pt x="3607" y="463"/>
                  </a:lnTo>
                  <a:lnTo>
                    <a:pt x="3609" y="463"/>
                  </a:lnTo>
                  <a:lnTo>
                    <a:pt x="3609" y="459"/>
                  </a:lnTo>
                  <a:lnTo>
                    <a:pt x="3609" y="456"/>
                  </a:lnTo>
                  <a:lnTo>
                    <a:pt x="3609" y="454"/>
                  </a:lnTo>
                  <a:lnTo>
                    <a:pt x="3609" y="452"/>
                  </a:lnTo>
                  <a:lnTo>
                    <a:pt x="3611" y="448"/>
                  </a:lnTo>
                  <a:lnTo>
                    <a:pt x="3613" y="446"/>
                  </a:lnTo>
                  <a:lnTo>
                    <a:pt x="3615" y="444"/>
                  </a:lnTo>
                  <a:lnTo>
                    <a:pt x="3615" y="444"/>
                  </a:lnTo>
                  <a:lnTo>
                    <a:pt x="3615" y="442"/>
                  </a:lnTo>
                  <a:lnTo>
                    <a:pt x="3611" y="438"/>
                  </a:lnTo>
                  <a:lnTo>
                    <a:pt x="3604" y="436"/>
                  </a:lnTo>
                  <a:lnTo>
                    <a:pt x="3602" y="434"/>
                  </a:lnTo>
                  <a:lnTo>
                    <a:pt x="3600" y="432"/>
                  </a:lnTo>
                  <a:lnTo>
                    <a:pt x="3600" y="430"/>
                  </a:lnTo>
                  <a:lnTo>
                    <a:pt x="3600" y="428"/>
                  </a:lnTo>
                  <a:lnTo>
                    <a:pt x="3600" y="421"/>
                  </a:lnTo>
                  <a:lnTo>
                    <a:pt x="3602" y="419"/>
                  </a:lnTo>
                  <a:lnTo>
                    <a:pt x="3602" y="411"/>
                  </a:lnTo>
                  <a:lnTo>
                    <a:pt x="3600" y="403"/>
                  </a:lnTo>
                  <a:lnTo>
                    <a:pt x="3600" y="399"/>
                  </a:lnTo>
                  <a:lnTo>
                    <a:pt x="3600" y="399"/>
                  </a:lnTo>
                  <a:lnTo>
                    <a:pt x="3602" y="397"/>
                  </a:lnTo>
                  <a:lnTo>
                    <a:pt x="3602" y="395"/>
                  </a:lnTo>
                  <a:lnTo>
                    <a:pt x="3602" y="386"/>
                  </a:lnTo>
                  <a:lnTo>
                    <a:pt x="3602" y="382"/>
                  </a:lnTo>
                  <a:lnTo>
                    <a:pt x="3600" y="378"/>
                  </a:lnTo>
                  <a:lnTo>
                    <a:pt x="3594" y="374"/>
                  </a:lnTo>
                  <a:lnTo>
                    <a:pt x="3590" y="370"/>
                  </a:lnTo>
                  <a:lnTo>
                    <a:pt x="3592" y="368"/>
                  </a:lnTo>
                  <a:lnTo>
                    <a:pt x="3592" y="368"/>
                  </a:lnTo>
                  <a:lnTo>
                    <a:pt x="3594" y="366"/>
                  </a:lnTo>
                  <a:lnTo>
                    <a:pt x="3596" y="364"/>
                  </a:lnTo>
                  <a:lnTo>
                    <a:pt x="3598" y="359"/>
                  </a:lnTo>
                  <a:lnTo>
                    <a:pt x="3600" y="355"/>
                  </a:lnTo>
                  <a:lnTo>
                    <a:pt x="3602" y="353"/>
                  </a:lnTo>
                  <a:lnTo>
                    <a:pt x="3604" y="345"/>
                  </a:lnTo>
                  <a:lnTo>
                    <a:pt x="3604" y="343"/>
                  </a:lnTo>
                  <a:lnTo>
                    <a:pt x="3604" y="337"/>
                  </a:lnTo>
                  <a:lnTo>
                    <a:pt x="3602" y="335"/>
                  </a:lnTo>
                  <a:lnTo>
                    <a:pt x="3598" y="335"/>
                  </a:lnTo>
                  <a:lnTo>
                    <a:pt x="3594" y="333"/>
                  </a:lnTo>
                  <a:lnTo>
                    <a:pt x="3592" y="333"/>
                  </a:lnTo>
                  <a:lnTo>
                    <a:pt x="3588" y="331"/>
                  </a:lnTo>
                  <a:lnTo>
                    <a:pt x="3586" y="331"/>
                  </a:lnTo>
                  <a:lnTo>
                    <a:pt x="3574" y="331"/>
                  </a:lnTo>
                  <a:lnTo>
                    <a:pt x="3567" y="331"/>
                  </a:lnTo>
                  <a:lnTo>
                    <a:pt x="3563" y="331"/>
                  </a:lnTo>
                  <a:lnTo>
                    <a:pt x="3561" y="331"/>
                  </a:lnTo>
                  <a:lnTo>
                    <a:pt x="3559" y="331"/>
                  </a:lnTo>
                  <a:lnTo>
                    <a:pt x="3559" y="331"/>
                  </a:lnTo>
                  <a:lnTo>
                    <a:pt x="3561" y="328"/>
                  </a:lnTo>
                  <a:lnTo>
                    <a:pt x="3559" y="328"/>
                  </a:lnTo>
                  <a:lnTo>
                    <a:pt x="3559" y="328"/>
                  </a:lnTo>
                  <a:lnTo>
                    <a:pt x="3555" y="331"/>
                  </a:lnTo>
                  <a:lnTo>
                    <a:pt x="3551" y="337"/>
                  </a:lnTo>
                  <a:lnTo>
                    <a:pt x="3547" y="345"/>
                  </a:lnTo>
                  <a:lnTo>
                    <a:pt x="3545" y="355"/>
                  </a:lnTo>
                  <a:lnTo>
                    <a:pt x="3543" y="359"/>
                  </a:lnTo>
                  <a:lnTo>
                    <a:pt x="3541" y="364"/>
                  </a:lnTo>
                  <a:lnTo>
                    <a:pt x="3534" y="368"/>
                  </a:lnTo>
                  <a:lnTo>
                    <a:pt x="3530" y="370"/>
                  </a:lnTo>
                  <a:lnTo>
                    <a:pt x="3526" y="372"/>
                  </a:lnTo>
                  <a:lnTo>
                    <a:pt x="3520" y="374"/>
                  </a:lnTo>
                  <a:lnTo>
                    <a:pt x="3518" y="378"/>
                  </a:lnTo>
                  <a:lnTo>
                    <a:pt x="3516" y="378"/>
                  </a:lnTo>
                  <a:lnTo>
                    <a:pt x="3518" y="380"/>
                  </a:lnTo>
                  <a:lnTo>
                    <a:pt x="3520" y="380"/>
                  </a:lnTo>
                  <a:lnTo>
                    <a:pt x="3518" y="382"/>
                  </a:lnTo>
                  <a:lnTo>
                    <a:pt x="3516" y="384"/>
                  </a:lnTo>
                  <a:lnTo>
                    <a:pt x="3518" y="384"/>
                  </a:lnTo>
                  <a:lnTo>
                    <a:pt x="3518" y="386"/>
                  </a:lnTo>
                  <a:lnTo>
                    <a:pt x="3520" y="386"/>
                  </a:lnTo>
                  <a:lnTo>
                    <a:pt x="3524" y="386"/>
                  </a:lnTo>
                  <a:lnTo>
                    <a:pt x="3524" y="386"/>
                  </a:lnTo>
                  <a:lnTo>
                    <a:pt x="3526" y="388"/>
                  </a:lnTo>
                  <a:lnTo>
                    <a:pt x="3524" y="395"/>
                  </a:lnTo>
                  <a:lnTo>
                    <a:pt x="3524" y="399"/>
                  </a:lnTo>
                  <a:lnTo>
                    <a:pt x="3524" y="401"/>
                  </a:lnTo>
                  <a:lnTo>
                    <a:pt x="3524" y="403"/>
                  </a:lnTo>
                  <a:lnTo>
                    <a:pt x="3524" y="405"/>
                  </a:lnTo>
                  <a:lnTo>
                    <a:pt x="3524" y="405"/>
                  </a:lnTo>
                  <a:lnTo>
                    <a:pt x="3522" y="407"/>
                  </a:lnTo>
                  <a:lnTo>
                    <a:pt x="3520" y="407"/>
                  </a:lnTo>
                  <a:lnTo>
                    <a:pt x="3520" y="411"/>
                  </a:lnTo>
                  <a:lnTo>
                    <a:pt x="3518" y="413"/>
                  </a:lnTo>
                  <a:lnTo>
                    <a:pt x="3518" y="415"/>
                  </a:lnTo>
                  <a:lnTo>
                    <a:pt x="3520" y="417"/>
                  </a:lnTo>
                  <a:lnTo>
                    <a:pt x="3520" y="417"/>
                  </a:lnTo>
                  <a:lnTo>
                    <a:pt x="3520" y="417"/>
                  </a:lnTo>
                  <a:lnTo>
                    <a:pt x="3522" y="415"/>
                  </a:lnTo>
                  <a:lnTo>
                    <a:pt x="3522" y="415"/>
                  </a:lnTo>
                  <a:lnTo>
                    <a:pt x="3530" y="417"/>
                  </a:lnTo>
                  <a:lnTo>
                    <a:pt x="3532" y="419"/>
                  </a:lnTo>
                  <a:lnTo>
                    <a:pt x="3536" y="419"/>
                  </a:lnTo>
                  <a:lnTo>
                    <a:pt x="3536" y="421"/>
                  </a:lnTo>
                  <a:lnTo>
                    <a:pt x="3539" y="426"/>
                  </a:lnTo>
                  <a:lnTo>
                    <a:pt x="3541" y="430"/>
                  </a:lnTo>
                  <a:lnTo>
                    <a:pt x="3543" y="432"/>
                  </a:lnTo>
                  <a:lnTo>
                    <a:pt x="3545" y="434"/>
                  </a:lnTo>
                  <a:lnTo>
                    <a:pt x="3547" y="434"/>
                  </a:lnTo>
                  <a:lnTo>
                    <a:pt x="3549" y="434"/>
                  </a:lnTo>
                  <a:lnTo>
                    <a:pt x="3553" y="434"/>
                  </a:lnTo>
                  <a:lnTo>
                    <a:pt x="3551" y="436"/>
                  </a:lnTo>
                  <a:lnTo>
                    <a:pt x="3547" y="442"/>
                  </a:lnTo>
                  <a:lnTo>
                    <a:pt x="3543" y="448"/>
                  </a:lnTo>
                  <a:lnTo>
                    <a:pt x="3541" y="448"/>
                  </a:lnTo>
                  <a:lnTo>
                    <a:pt x="3539" y="446"/>
                  </a:lnTo>
                  <a:lnTo>
                    <a:pt x="3532" y="444"/>
                  </a:lnTo>
                  <a:lnTo>
                    <a:pt x="3530" y="442"/>
                  </a:lnTo>
                  <a:lnTo>
                    <a:pt x="3524" y="438"/>
                  </a:lnTo>
                  <a:lnTo>
                    <a:pt x="3522" y="434"/>
                  </a:lnTo>
                  <a:lnTo>
                    <a:pt x="3518" y="434"/>
                  </a:lnTo>
                  <a:lnTo>
                    <a:pt x="3514" y="434"/>
                  </a:lnTo>
                  <a:lnTo>
                    <a:pt x="3508" y="432"/>
                  </a:lnTo>
                  <a:lnTo>
                    <a:pt x="3506" y="430"/>
                  </a:lnTo>
                  <a:lnTo>
                    <a:pt x="3503" y="428"/>
                  </a:lnTo>
                  <a:lnTo>
                    <a:pt x="3501" y="428"/>
                  </a:lnTo>
                  <a:lnTo>
                    <a:pt x="3497" y="428"/>
                  </a:lnTo>
                  <a:lnTo>
                    <a:pt x="3493" y="426"/>
                  </a:lnTo>
                  <a:lnTo>
                    <a:pt x="3491" y="426"/>
                  </a:lnTo>
                  <a:lnTo>
                    <a:pt x="3491" y="423"/>
                  </a:lnTo>
                  <a:lnTo>
                    <a:pt x="3487" y="421"/>
                  </a:lnTo>
                  <a:lnTo>
                    <a:pt x="3481" y="419"/>
                  </a:lnTo>
                  <a:lnTo>
                    <a:pt x="3470" y="415"/>
                  </a:lnTo>
                  <a:lnTo>
                    <a:pt x="3460" y="413"/>
                  </a:lnTo>
                  <a:lnTo>
                    <a:pt x="3448" y="413"/>
                  </a:lnTo>
                  <a:lnTo>
                    <a:pt x="3435" y="411"/>
                  </a:lnTo>
                  <a:lnTo>
                    <a:pt x="3435" y="411"/>
                  </a:lnTo>
                  <a:lnTo>
                    <a:pt x="3433" y="411"/>
                  </a:lnTo>
                  <a:lnTo>
                    <a:pt x="3429" y="415"/>
                  </a:lnTo>
                  <a:lnTo>
                    <a:pt x="3425" y="415"/>
                  </a:lnTo>
                  <a:lnTo>
                    <a:pt x="3425" y="417"/>
                  </a:lnTo>
                  <a:lnTo>
                    <a:pt x="3427" y="419"/>
                  </a:lnTo>
                  <a:lnTo>
                    <a:pt x="3431" y="430"/>
                  </a:lnTo>
                  <a:lnTo>
                    <a:pt x="3433" y="428"/>
                  </a:lnTo>
                  <a:lnTo>
                    <a:pt x="3435" y="432"/>
                  </a:lnTo>
                  <a:lnTo>
                    <a:pt x="3433" y="434"/>
                  </a:lnTo>
                  <a:lnTo>
                    <a:pt x="3431" y="438"/>
                  </a:lnTo>
                  <a:lnTo>
                    <a:pt x="3429" y="438"/>
                  </a:lnTo>
                  <a:lnTo>
                    <a:pt x="3425" y="440"/>
                  </a:lnTo>
                  <a:lnTo>
                    <a:pt x="3421" y="438"/>
                  </a:lnTo>
                  <a:lnTo>
                    <a:pt x="3419" y="442"/>
                  </a:lnTo>
                  <a:lnTo>
                    <a:pt x="3421" y="444"/>
                  </a:lnTo>
                  <a:lnTo>
                    <a:pt x="3421" y="444"/>
                  </a:lnTo>
                  <a:lnTo>
                    <a:pt x="3421" y="446"/>
                  </a:lnTo>
                  <a:lnTo>
                    <a:pt x="3419" y="446"/>
                  </a:lnTo>
                  <a:lnTo>
                    <a:pt x="3419" y="446"/>
                  </a:lnTo>
                  <a:lnTo>
                    <a:pt x="3417" y="448"/>
                  </a:lnTo>
                  <a:lnTo>
                    <a:pt x="3417" y="448"/>
                  </a:lnTo>
                  <a:lnTo>
                    <a:pt x="3413" y="446"/>
                  </a:lnTo>
                  <a:lnTo>
                    <a:pt x="3409" y="446"/>
                  </a:lnTo>
                  <a:lnTo>
                    <a:pt x="3409" y="442"/>
                  </a:lnTo>
                  <a:lnTo>
                    <a:pt x="3411" y="440"/>
                  </a:lnTo>
                  <a:lnTo>
                    <a:pt x="3413" y="438"/>
                  </a:lnTo>
                  <a:lnTo>
                    <a:pt x="3413" y="438"/>
                  </a:lnTo>
                  <a:lnTo>
                    <a:pt x="3411" y="436"/>
                  </a:lnTo>
                  <a:lnTo>
                    <a:pt x="3409" y="434"/>
                  </a:lnTo>
                  <a:lnTo>
                    <a:pt x="3409" y="432"/>
                  </a:lnTo>
                  <a:lnTo>
                    <a:pt x="3409" y="432"/>
                  </a:lnTo>
                  <a:lnTo>
                    <a:pt x="3407" y="432"/>
                  </a:lnTo>
                  <a:lnTo>
                    <a:pt x="3398" y="434"/>
                  </a:lnTo>
                  <a:lnTo>
                    <a:pt x="3396" y="436"/>
                  </a:lnTo>
                  <a:lnTo>
                    <a:pt x="3396" y="434"/>
                  </a:lnTo>
                  <a:lnTo>
                    <a:pt x="3386" y="440"/>
                  </a:lnTo>
                  <a:lnTo>
                    <a:pt x="3382" y="442"/>
                  </a:lnTo>
                  <a:lnTo>
                    <a:pt x="3378" y="442"/>
                  </a:lnTo>
                  <a:lnTo>
                    <a:pt x="3374" y="442"/>
                  </a:lnTo>
                  <a:lnTo>
                    <a:pt x="3369" y="440"/>
                  </a:lnTo>
                  <a:lnTo>
                    <a:pt x="3365" y="440"/>
                  </a:lnTo>
                  <a:lnTo>
                    <a:pt x="3363" y="440"/>
                  </a:lnTo>
                  <a:lnTo>
                    <a:pt x="3359" y="442"/>
                  </a:lnTo>
                  <a:lnTo>
                    <a:pt x="3357" y="442"/>
                  </a:lnTo>
                  <a:lnTo>
                    <a:pt x="3353" y="444"/>
                  </a:lnTo>
                  <a:lnTo>
                    <a:pt x="3349" y="446"/>
                  </a:lnTo>
                  <a:lnTo>
                    <a:pt x="3349" y="450"/>
                  </a:lnTo>
                  <a:lnTo>
                    <a:pt x="3347" y="452"/>
                  </a:lnTo>
                  <a:lnTo>
                    <a:pt x="3345" y="450"/>
                  </a:lnTo>
                  <a:lnTo>
                    <a:pt x="3343" y="448"/>
                  </a:lnTo>
                  <a:lnTo>
                    <a:pt x="3343" y="450"/>
                  </a:lnTo>
                  <a:lnTo>
                    <a:pt x="3341" y="450"/>
                  </a:lnTo>
                  <a:lnTo>
                    <a:pt x="3338" y="450"/>
                  </a:lnTo>
                  <a:lnTo>
                    <a:pt x="3336" y="450"/>
                  </a:lnTo>
                  <a:lnTo>
                    <a:pt x="3334" y="450"/>
                  </a:lnTo>
                  <a:lnTo>
                    <a:pt x="3330" y="450"/>
                  </a:lnTo>
                  <a:lnTo>
                    <a:pt x="3328" y="450"/>
                  </a:lnTo>
                  <a:lnTo>
                    <a:pt x="3326" y="450"/>
                  </a:lnTo>
                  <a:lnTo>
                    <a:pt x="3326" y="448"/>
                  </a:lnTo>
                  <a:lnTo>
                    <a:pt x="3326" y="448"/>
                  </a:lnTo>
                  <a:lnTo>
                    <a:pt x="3330" y="448"/>
                  </a:lnTo>
                  <a:lnTo>
                    <a:pt x="3332" y="446"/>
                  </a:lnTo>
                  <a:lnTo>
                    <a:pt x="3334" y="446"/>
                  </a:lnTo>
                  <a:lnTo>
                    <a:pt x="3334" y="446"/>
                  </a:lnTo>
                  <a:lnTo>
                    <a:pt x="3334" y="444"/>
                  </a:lnTo>
                  <a:lnTo>
                    <a:pt x="3332" y="440"/>
                  </a:lnTo>
                  <a:lnTo>
                    <a:pt x="3334" y="438"/>
                  </a:lnTo>
                  <a:lnTo>
                    <a:pt x="3334" y="436"/>
                  </a:lnTo>
                  <a:lnTo>
                    <a:pt x="3334" y="436"/>
                  </a:lnTo>
                  <a:lnTo>
                    <a:pt x="3336" y="436"/>
                  </a:lnTo>
                  <a:lnTo>
                    <a:pt x="3334" y="436"/>
                  </a:lnTo>
                  <a:lnTo>
                    <a:pt x="3334" y="434"/>
                  </a:lnTo>
                  <a:lnTo>
                    <a:pt x="3334" y="434"/>
                  </a:lnTo>
                  <a:lnTo>
                    <a:pt x="3334" y="434"/>
                  </a:lnTo>
                  <a:lnTo>
                    <a:pt x="3343" y="432"/>
                  </a:lnTo>
                  <a:lnTo>
                    <a:pt x="3343" y="432"/>
                  </a:lnTo>
                  <a:lnTo>
                    <a:pt x="3338" y="432"/>
                  </a:lnTo>
                  <a:lnTo>
                    <a:pt x="3334" y="432"/>
                  </a:lnTo>
                  <a:lnTo>
                    <a:pt x="3328" y="434"/>
                  </a:lnTo>
                  <a:lnTo>
                    <a:pt x="3318" y="438"/>
                  </a:lnTo>
                  <a:lnTo>
                    <a:pt x="3312" y="442"/>
                  </a:lnTo>
                  <a:lnTo>
                    <a:pt x="3314" y="442"/>
                  </a:lnTo>
                  <a:lnTo>
                    <a:pt x="3316" y="442"/>
                  </a:lnTo>
                  <a:lnTo>
                    <a:pt x="3318" y="444"/>
                  </a:lnTo>
                  <a:lnTo>
                    <a:pt x="3318" y="444"/>
                  </a:lnTo>
                  <a:lnTo>
                    <a:pt x="3318" y="446"/>
                  </a:lnTo>
                  <a:lnTo>
                    <a:pt x="3314" y="446"/>
                  </a:lnTo>
                  <a:lnTo>
                    <a:pt x="3314" y="448"/>
                  </a:lnTo>
                  <a:lnTo>
                    <a:pt x="3312" y="448"/>
                  </a:lnTo>
                  <a:lnTo>
                    <a:pt x="3312" y="448"/>
                  </a:lnTo>
                  <a:lnTo>
                    <a:pt x="3310" y="446"/>
                  </a:lnTo>
                  <a:lnTo>
                    <a:pt x="3312" y="446"/>
                  </a:lnTo>
                  <a:lnTo>
                    <a:pt x="3312" y="444"/>
                  </a:lnTo>
                  <a:lnTo>
                    <a:pt x="3310" y="444"/>
                  </a:lnTo>
                  <a:lnTo>
                    <a:pt x="3308" y="442"/>
                  </a:lnTo>
                  <a:lnTo>
                    <a:pt x="3308" y="442"/>
                  </a:lnTo>
                  <a:lnTo>
                    <a:pt x="3301" y="444"/>
                  </a:lnTo>
                  <a:lnTo>
                    <a:pt x="3297" y="446"/>
                  </a:lnTo>
                  <a:lnTo>
                    <a:pt x="3295" y="448"/>
                  </a:lnTo>
                  <a:lnTo>
                    <a:pt x="3291" y="448"/>
                  </a:lnTo>
                  <a:lnTo>
                    <a:pt x="3289" y="448"/>
                  </a:lnTo>
                  <a:lnTo>
                    <a:pt x="3285" y="450"/>
                  </a:lnTo>
                  <a:lnTo>
                    <a:pt x="3283" y="452"/>
                  </a:lnTo>
                  <a:lnTo>
                    <a:pt x="3279" y="454"/>
                  </a:lnTo>
                  <a:lnTo>
                    <a:pt x="3266" y="459"/>
                  </a:lnTo>
                  <a:lnTo>
                    <a:pt x="3264" y="461"/>
                  </a:lnTo>
                  <a:lnTo>
                    <a:pt x="3262" y="459"/>
                  </a:lnTo>
                  <a:lnTo>
                    <a:pt x="3262" y="459"/>
                  </a:lnTo>
                  <a:lnTo>
                    <a:pt x="3260" y="459"/>
                  </a:lnTo>
                  <a:lnTo>
                    <a:pt x="3262" y="461"/>
                  </a:lnTo>
                  <a:lnTo>
                    <a:pt x="3262" y="463"/>
                  </a:lnTo>
                  <a:lnTo>
                    <a:pt x="3262" y="465"/>
                  </a:lnTo>
                  <a:lnTo>
                    <a:pt x="3260" y="463"/>
                  </a:lnTo>
                  <a:lnTo>
                    <a:pt x="3254" y="465"/>
                  </a:lnTo>
                  <a:lnTo>
                    <a:pt x="3250" y="467"/>
                  </a:lnTo>
                  <a:lnTo>
                    <a:pt x="3250" y="469"/>
                  </a:lnTo>
                  <a:lnTo>
                    <a:pt x="3250" y="469"/>
                  </a:lnTo>
                  <a:lnTo>
                    <a:pt x="3248" y="471"/>
                  </a:lnTo>
                  <a:lnTo>
                    <a:pt x="3248" y="473"/>
                  </a:lnTo>
                  <a:lnTo>
                    <a:pt x="3246" y="479"/>
                  </a:lnTo>
                  <a:lnTo>
                    <a:pt x="3246" y="481"/>
                  </a:lnTo>
                  <a:lnTo>
                    <a:pt x="3244" y="481"/>
                  </a:lnTo>
                  <a:lnTo>
                    <a:pt x="3231" y="485"/>
                  </a:lnTo>
                  <a:lnTo>
                    <a:pt x="3229" y="485"/>
                  </a:lnTo>
                  <a:lnTo>
                    <a:pt x="3229" y="485"/>
                  </a:lnTo>
                  <a:lnTo>
                    <a:pt x="3229" y="485"/>
                  </a:lnTo>
                  <a:lnTo>
                    <a:pt x="3227" y="483"/>
                  </a:lnTo>
                  <a:lnTo>
                    <a:pt x="3223" y="483"/>
                  </a:lnTo>
                  <a:lnTo>
                    <a:pt x="3221" y="483"/>
                  </a:lnTo>
                  <a:lnTo>
                    <a:pt x="3221" y="483"/>
                  </a:lnTo>
                  <a:lnTo>
                    <a:pt x="3219" y="481"/>
                  </a:lnTo>
                  <a:lnTo>
                    <a:pt x="3217" y="475"/>
                  </a:lnTo>
                  <a:lnTo>
                    <a:pt x="3211" y="473"/>
                  </a:lnTo>
                  <a:lnTo>
                    <a:pt x="3207" y="471"/>
                  </a:lnTo>
                  <a:lnTo>
                    <a:pt x="3207" y="471"/>
                  </a:lnTo>
                  <a:lnTo>
                    <a:pt x="3207" y="469"/>
                  </a:lnTo>
                  <a:lnTo>
                    <a:pt x="3213" y="465"/>
                  </a:lnTo>
                  <a:lnTo>
                    <a:pt x="3215" y="463"/>
                  </a:lnTo>
                  <a:lnTo>
                    <a:pt x="3225" y="461"/>
                  </a:lnTo>
                  <a:lnTo>
                    <a:pt x="3229" y="461"/>
                  </a:lnTo>
                  <a:lnTo>
                    <a:pt x="3231" y="461"/>
                  </a:lnTo>
                  <a:lnTo>
                    <a:pt x="3231" y="456"/>
                  </a:lnTo>
                  <a:lnTo>
                    <a:pt x="3229" y="452"/>
                  </a:lnTo>
                  <a:lnTo>
                    <a:pt x="3225" y="448"/>
                  </a:lnTo>
                  <a:lnTo>
                    <a:pt x="3221" y="444"/>
                  </a:lnTo>
                  <a:lnTo>
                    <a:pt x="3215" y="442"/>
                  </a:lnTo>
                  <a:lnTo>
                    <a:pt x="3209" y="442"/>
                  </a:lnTo>
                  <a:lnTo>
                    <a:pt x="3196" y="442"/>
                  </a:lnTo>
                  <a:lnTo>
                    <a:pt x="3194" y="442"/>
                  </a:lnTo>
                  <a:lnTo>
                    <a:pt x="3186" y="440"/>
                  </a:lnTo>
                  <a:lnTo>
                    <a:pt x="3186" y="440"/>
                  </a:lnTo>
                  <a:lnTo>
                    <a:pt x="3184" y="440"/>
                  </a:lnTo>
                  <a:lnTo>
                    <a:pt x="3184" y="440"/>
                  </a:lnTo>
                  <a:lnTo>
                    <a:pt x="3186" y="442"/>
                  </a:lnTo>
                  <a:lnTo>
                    <a:pt x="3196" y="448"/>
                  </a:lnTo>
                  <a:lnTo>
                    <a:pt x="3196" y="450"/>
                  </a:lnTo>
                  <a:lnTo>
                    <a:pt x="3196" y="452"/>
                  </a:lnTo>
                  <a:lnTo>
                    <a:pt x="3196" y="454"/>
                  </a:lnTo>
                  <a:lnTo>
                    <a:pt x="3196" y="454"/>
                  </a:lnTo>
                  <a:lnTo>
                    <a:pt x="3196" y="456"/>
                  </a:lnTo>
                  <a:lnTo>
                    <a:pt x="3194" y="465"/>
                  </a:lnTo>
                  <a:lnTo>
                    <a:pt x="3192" y="469"/>
                  </a:lnTo>
                  <a:lnTo>
                    <a:pt x="3190" y="473"/>
                  </a:lnTo>
                  <a:lnTo>
                    <a:pt x="3190" y="475"/>
                  </a:lnTo>
                  <a:lnTo>
                    <a:pt x="3192" y="475"/>
                  </a:lnTo>
                  <a:lnTo>
                    <a:pt x="3194" y="477"/>
                  </a:lnTo>
                  <a:lnTo>
                    <a:pt x="3198" y="477"/>
                  </a:lnTo>
                  <a:lnTo>
                    <a:pt x="3200" y="479"/>
                  </a:lnTo>
                  <a:lnTo>
                    <a:pt x="3200" y="481"/>
                  </a:lnTo>
                  <a:lnTo>
                    <a:pt x="3200" y="485"/>
                  </a:lnTo>
                  <a:lnTo>
                    <a:pt x="3200" y="487"/>
                  </a:lnTo>
                  <a:lnTo>
                    <a:pt x="3198" y="492"/>
                  </a:lnTo>
                  <a:lnTo>
                    <a:pt x="3196" y="494"/>
                  </a:lnTo>
                  <a:lnTo>
                    <a:pt x="3194" y="498"/>
                  </a:lnTo>
                  <a:lnTo>
                    <a:pt x="3196" y="502"/>
                  </a:lnTo>
                  <a:lnTo>
                    <a:pt x="3196" y="502"/>
                  </a:lnTo>
                  <a:lnTo>
                    <a:pt x="3194" y="504"/>
                  </a:lnTo>
                  <a:lnTo>
                    <a:pt x="3194" y="502"/>
                  </a:lnTo>
                  <a:lnTo>
                    <a:pt x="3192" y="502"/>
                  </a:lnTo>
                  <a:lnTo>
                    <a:pt x="3192" y="500"/>
                  </a:lnTo>
                  <a:lnTo>
                    <a:pt x="3190" y="500"/>
                  </a:lnTo>
                  <a:lnTo>
                    <a:pt x="3188" y="500"/>
                  </a:lnTo>
                  <a:lnTo>
                    <a:pt x="3188" y="502"/>
                  </a:lnTo>
                  <a:lnTo>
                    <a:pt x="3188" y="500"/>
                  </a:lnTo>
                  <a:lnTo>
                    <a:pt x="3188" y="498"/>
                  </a:lnTo>
                  <a:lnTo>
                    <a:pt x="3188" y="498"/>
                  </a:lnTo>
                  <a:lnTo>
                    <a:pt x="3188" y="496"/>
                  </a:lnTo>
                  <a:lnTo>
                    <a:pt x="3182" y="494"/>
                  </a:lnTo>
                  <a:lnTo>
                    <a:pt x="3180" y="494"/>
                  </a:lnTo>
                  <a:lnTo>
                    <a:pt x="3178" y="494"/>
                  </a:lnTo>
                  <a:lnTo>
                    <a:pt x="3174" y="494"/>
                  </a:lnTo>
                  <a:lnTo>
                    <a:pt x="3171" y="492"/>
                  </a:lnTo>
                  <a:lnTo>
                    <a:pt x="3169" y="492"/>
                  </a:lnTo>
                  <a:lnTo>
                    <a:pt x="3167" y="492"/>
                  </a:lnTo>
                  <a:lnTo>
                    <a:pt x="3167" y="494"/>
                  </a:lnTo>
                  <a:lnTo>
                    <a:pt x="3161" y="498"/>
                  </a:lnTo>
                  <a:lnTo>
                    <a:pt x="3157" y="502"/>
                  </a:lnTo>
                  <a:lnTo>
                    <a:pt x="3153" y="504"/>
                  </a:lnTo>
                  <a:lnTo>
                    <a:pt x="3147" y="504"/>
                  </a:lnTo>
                  <a:lnTo>
                    <a:pt x="3147" y="504"/>
                  </a:lnTo>
                  <a:lnTo>
                    <a:pt x="3145" y="508"/>
                  </a:lnTo>
                  <a:lnTo>
                    <a:pt x="3141" y="510"/>
                  </a:lnTo>
                  <a:lnTo>
                    <a:pt x="3134" y="512"/>
                  </a:lnTo>
                  <a:lnTo>
                    <a:pt x="3134" y="514"/>
                  </a:lnTo>
                  <a:lnTo>
                    <a:pt x="3132" y="516"/>
                  </a:lnTo>
                  <a:lnTo>
                    <a:pt x="3134" y="518"/>
                  </a:lnTo>
                  <a:lnTo>
                    <a:pt x="3134" y="520"/>
                  </a:lnTo>
                  <a:lnTo>
                    <a:pt x="3138" y="525"/>
                  </a:lnTo>
                  <a:lnTo>
                    <a:pt x="3141" y="527"/>
                  </a:lnTo>
                  <a:lnTo>
                    <a:pt x="3143" y="529"/>
                  </a:lnTo>
                  <a:lnTo>
                    <a:pt x="3143" y="533"/>
                  </a:lnTo>
                  <a:lnTo>
                    <a:pt x="3143" y="533"/>
                  </a:lnTo>
                  <a:lnTo>
                    <a:pt x="3141" y="533"/>
                  </a:lnTo>
                  <a:lnTo>
                    <a:pt x="3138" y="533"/>
                  </a:lnTo>
                  <a:lnTo>
                    <a:pt x="3134" y="535"/>
                  </a:lnTo>
                  <a:lnTo>
                    <a:pt x="3134" y="535"/>
                  </a:lnTo>
                  <a:lnTo>
                    <a:pt x="3132" y="537"/>
                  </a:lnTo>
                  <a:lnTo>
                    <a:pt x="3130" y="537"/>
                  </a:lnTo>
                  <a:lnTo>
                    <a:pt x="3124" y="533"/>
                  </a:lnTo>
                  <a:lnTo>
                    <a:pt x="3118" y="533"/>
                  </a:lnTo>
                  <a:lnTo>
                    <a:pt x="3116" y="531"/>
                  </a:lnTo>
                  <a:lnTo>
                    <a:pt x="3114" y="531"/>
                  </a:lnTo>
                  <a:lnTo>
                    <a:pt x="3114" y="531"/>
                  </a:lnTo>
                  <a:lnTo>
                    <a:pt x="3112" y="531"/>
                  </a:lnTo>
                  <a:lnTo>
                    <a:pt x="3110" y="531"/>
                  </a:lnTo>
                  <a:lnTo>
                    <a:pt x="3108" y="531"/>
                  </a:lnTo>
                  <a:lnTo>
                    <a:pt x="3101" y="525"/>
                  </a:lnTo>
                  <a:lnTo>
                    <a:pt x="3095" y="523"/>
                  </a:lnTo>
                  <a:lnTo>
                    <a:pt x="3095" y="523"/>
                  </a:lnTo>
                  <a:lnTo>
                    <a:pt x="3093" y="523"/>
                  </a:lnTo>
                  <a:lnTo>
                    <a:pt x="3091" y="527"/>
                  </a:lnTo>
                  <a:lnTo>
                    <a:pt x="3089" y="529"/>
                  </a:lnTo>
                  <a:lnTo>
                    <a:pt x="3087" y="529"/>
                  </a:lnTo>
                  <a:lnTo>
                    <a:pt x="3087" y="531"/>
                  </a:lnTo>
                  <a:lnTo>
                    <a:pt x="3087" y="531"/>
                  </a:lnTo>
                  <a:lnTo>
                    <a:pt x="3089" y="533"/>
                  </a:lnTo>
                  <a:lnTo>
                    <a:pt x="3091" y="535"/>
                  </a:lnTo>
                  <a:lnTo>
                    <a:pt x="3095" y="539"/>
                  </a:lnTo>
                  <a:lnTo>
                    <a:pt x="3097" y="541"/>
                  </a:lnTo>
                  <a:lnTo>
                    <a:pt x="3097" y="541"/>
                  </a:lnTo>
                  <a:lnTo>
                    <a:pt x="3099" y="541"/>
                  </a:lnTo>
                  <a:lnTo>
                    <a:pt x="3103" y="541"/>
                  </a:lnTo>
                  <a:lnTo>
                    <a:pt x="3105" y="541"/>
                  </a:lnTo>
                  <a:lnTo>
                    <a:pt x="3108" y="543"/>
                  </a:lnTo>
                  <a:lnTo>
                    <a:pt x="3108" y="545"/>
                  </a:lnTo>
                  <a:lnTo>
                    <a:pt x="3110" y="547"/>
                  </a:lnTo>
                  <a:lnTo>
                    <a:pt x="3110" y="549"/>
                  </a:lnTo>
                  <a:lnTo>
                    <a:pt x="3108" y="551"/>
                  </a:lnTo>
                  <a:lnTo>
                    <a:pt x="3103" y="551"/>
                  </a:lnTo>
                  <a:lnTo>
                    <a:pt x="3099" y="554"/>
                  </a:lnTo>
                  <a:lnTo>
                    <a:pt x="3099" y="554"/>
                  </a:lnTo>
                  <a:lnTo>
                    <a:pt x="3093" y="551"/>
                  </a:lnTo>
                  <a:lnTo>
                    <a:pt x="3089" y="551"/>
                  </a:lnTo>
                  <a:lnTo>
                    <a:pt x="3085" y="549"/>
                  </a:lnTo>
                  <a:lnTo>
                    <a:pt x="3085" y="549"/>
                  </a:lnTo>
                  <a:lnTo>
                    <a:pt x="3081" y="545"/>
                  </a:lnTo>
                  <a:lnTo>
                    <a:pt x="3077" y="543"/>
                  </a:lnTo>
                  <a:lnTo>
                    <a:pt x="3075" y="541"/>
                  </a:lnTo>
                  <a:lnTo>
                    <a:pt x="3072" y="541"/>
                  </a:lnTo>
                  <a:lnTo>
                    <a:pt x="3070" y="541"/>
                  </a:lnTo>
                  <a:lnTo>
                    <a:pt x="3066" y="539"/>
                  </a:lnTo>
                  <a:lnTo>
                    <a:pt x="3064" y="537"/>
                  </a:lnTo>
                  <a:lnTo>
                    <a:pt x="3064" y="533"/>
                  </a:lnTo>
                  <a:lnTo>
                    <a:pt x="3064" y="533"/>
                  </a:lnTo>
                  <a:lnTo>
                    <a:pt x="3064" y="533"/>
                  </a:lnTo>
                  <a:lnTo>
                    <a:pt x="3062" y="531"/>
                  </a:lnTo>
                  <a:lnTo>
                    <a:pt x="3062" y="529"/>
                  </a:lnTo>
                  <a:lnTo>
                    <a:pt x="3062" y="527"/>
                  </a:lnTo>
                  <a:lnTo>
                    <a:pt x="3060" y="523"/>
                  </a:lnTo>
                  <a:lnTo>
                    <a:pt x="3058" y="520"/>
                  </a:lnTo>
                  <a:lnTo>
                    <a:pt x="3056" y="518"/>
                  </a:lnTo>
                  <a:lnTo>
                    <a:pt x="3058" y="516"/>
                  </a:lnTo>
                  <a:lnTo>
                    <a:pt x="3060" y="514"/>
                  </a:lnTo>
                  <a:lnTo>
                    <a:pt x="3062" y="512"/>
                  </a:lnTo>
                  <a:lnTo>
                    <a:pt x="3062" y="510"/>
                  </a:lnTo>
                  <a:lnTo>
                    <a:pt x="3062" y="510"/>
                  </a:lnTo>
                  <a:lnTo>
                    <a:pt x="3062" y="508"/>
                  </a:lnTo>
                  <a:lnTo>
                    <a:pt x="3062" y="506"/>
                  </a:lnTo>
                  <a:lnTo>
                    <a:pt x="3060" y="504"/>
                  </a:lnTo>
                  <a:lnTo>
                    <a:pt x="3056" y="500"/>
                  </a:lnTo>
                  <a:lnTo>
                    <a:pt x="3052" y="498"/>
                  </a:lnTo>
                  <a:lnTo>
                    <a:pt x="3046" y="496"/>
                  </a:lnTo>
                  <a:lnTo>
                    <a:pt x="3044" y="496"/>
                  </a:lnTo>
                  <a:lnTo>
                    <a:pt x="3042" y="496"/>
                  </a:lnTo>
                  <a:lnTo>
                    <a:pt x="3044" y="496"/>
                  </a:lnTo>
                  <a:lnTo>
                    <a:pt x="3046" y="496"/>
                  </a:lnTo>
                  <a:lnTo>
                    <a:pt x="3046" y="494"/>
                  </a:lnTo>
                  <a:lnTo>
                    <a:pt x="3044" y="494"/>
                  </a:lnTo>
                  <a:lnTo>
                    <a:pt x="3044" y="492"/>
                  </a:lnTo>
                  <a:lnTo>
                    <a:pt x="3039" y="492"/>
                  </a:lnTo>
                  <a:lnTo>
                    <a:pt x="3039" y="490"/>
                  </a:lnTo>
                  <a:lnTo>
                    <a:pt x="3039" y="490"/>
                  </a:lnTo>
                  <a:lnTo>
                    <a:pt x="3039" y="487"/>
                  </a:lnTo>
                  <a:lnTo>
                    <a:pt x="3035" y="487"/>
                  </a:lnTo>
                  <a:lnTo>
                    <a:pt x="3035" y="487"/>
                  </a:lnTo>
                  <a:lnTo>
                    <a:pt x="3035" y="485"/>
                  </a:lnTo>
                  <a:lnTo>
                    <a:pt x="3033" y="483"/>
                  </a:lnTo>
                  <a:lnTo>
                    <a:pt x="3029" y="481"/>
                  </a:lnTo>
                  <a:lnTo>
                    <a:pt x="3029" y="479"/>
                  </a:lnTo>
                  <a:lnTo>
                    <a:pt x="3027" y="479"/>
                  </a:lnTo>
                  <a:lnTo>
                    <a:pt x="3025" y="477"/>
                  </a:lnTo>
                  <a:lnTo>
                    <a:pt x="3023" y="477"/>
                  </a:lnTo>
                  <a:lnTo>
                    <a:pt x="3021" y="477"/>
                  </a:lnTo>
                  <a:lnTo>
                    <a:pt x="3029" y="477"/>
                  </a:lnTo>
                  <a:lnTo>
                    <a:pt x="3035" y="477"/>
                  </a:lnTo>
                  <a:lnTo>
                    <a:pt x="3035" y="479"/>
                  </a:lnTo>
                  <a:lnTo>
                    <a:pt x="3035" y="479"/>
                  </a:lnTo>
                  <a:lnTo>
                    <a:pt x="3037" y="483"/>
                  </a:lnTo>
                  <a:lnTo>
                    <a:pt x="3039" y="483"/>
                  </a:lnTo>
                  <a:lnTo>
                    <a:pt x="3044" y="485"/>
                  </a:lnTo>
                  <a:lnTo>
                    <a:pt x="3044" y="485"/>
                  </a:lnTo>
                  <a:lnTo>
                    <a:pt x="3046" y="485"/>
                  </a:lnTo>
                  <a:lnTo>
                    <a:pt x="3048" y="485"/>
                  </a:lnTo>
                  <a:lnTo>
                    <a:pt x="3050" y="487"/>
                  </a:lnTo>
                  <a:lnTo>
                    <a:pt x="3054" y="487"/>
                  </a:lnTo>
                  <a:lnTo>
                    <a:pt x="3058" y="490"/>
                  </a:lnTo>
                  <a:lnTo>
                    <a:pt x="3058" y="490"/>
                  </a:lnTo>
                  <a:lnTo>
                    <a:pt x="3056" y="490"/>
                  </a:lnTo>
                  <a:lnTo>
                    <a:pt x="3058" y="492"/>
                  </a:lnTo>
                  <a:lnTo>
                    <a:pt x="3060" y="492"/>
                  </a:lnTo>
                  <a:lnTo>
                    <a:pt x="3062" y="490"/>
                  </a:lnTo>
                  <a:lnTo>
                    <a:pt x="3070" y="494"/>
                  </a:lnTo>
                  <a:lnTo>
                    <a:pt x="3072" y="494"/>
                  </a:lnTo>
                  <a:lnTo>
                    <a:pt x="3085" y="498"/>
                  </a:lnTo>
                  <a:lnTo>
                    <a:pt x="3091" y="498"/>
                  </a:lnTo>
                  <a:lnTo>
                    <a:pt x="3093" y="498"/>
                  </a:lnTo>
                  <a:lnTo>
                    <a:pt x="3097" y="498"/>
                  </a:lnTo>
                  <a:lnTo>
                    <a:pt x="3103" y="500"/>
                  </a:lnTo>
                  <a:lnTo>
                    <a:pt x="3108" y="502"/>
                  </a:lnTo>
                  <a:lnTo>
                    <a:pt x="3114" y="502"/>
                  </a:lnTo>
                  <a:lnTo>
                    <a:pt x="3118" y="502"/>
                  </a:lnTo>
                  <a:lnTo>
                    <a:pt x="3126" y="500"/>
                  </a:lnTo>
                  <a:lnTo>
                    <a:pt x="3138" y="498"/>
                  </a:lnTo>
                  <a:lnTo>
                    <a:pt x="3145" y="494"/>
                  </a:lnTo>
                  <a:lnTo>
                    <a:pt x="3153" y="485"/>
                  </a:lnTo>
                  <a:lnTo>
                    <a:pt x="3155" y="481"/>
                  </a:lnTo>
                  <a:lnTo>
                    <a:pt x="3155" y="477"/>
                  </a:lnTo>
                  <a:lnTo>
                    <a:pt x="3157" y="475"/>
                  </a:lnTo>
                  <a:lnTo>
                    <a:pt x="3155" y="475"/>
                  </a:lnTo>
                  <a:lnTo>
                    <a:pt x="3153" y="473"/>
                  </a:lnTo>
                  <a:lnTo>
                    <a:pt x="3153" y="471"/>
                  </a:lnTo>
                  <a:lnTo>
                    <a:pt x="3151" y="469"/>
                  </a:lnTo>
                  <a:lnTo>
                    <a:pt x="3151" y="463"/>
                  </a:lnTo>
                  <a:lnTo>
                    <a:pt x="3147" y="463"/>
                  </a:lnTo>
                  <a:lnTo>
                    <a:pt x="3147" y="463"/>
                  </a:lnTo>
                  <a:lnTo>
                    <a:pt x="3145" y="461"/>
                  </a:lnTo>
                  <a:lnTo>
                    <a:pt x="3143" y="461"/>
                  </a:lnTo>
                  <a:lnTo>
                    <a:pt x="3141" y="459"/>
                  </a:lnTo>
                  <a:lnTo>
                    <a:pt x="3136" y="456"/>
                  </a:lnTo>
                  <a:lnTo>
                    <a:pt x="3134" y="454"/>
                  </a:lnTo>
                  <a:lnTo>
                    <a:pt x="3134" y="452"/>
                  </a:lnTo>
                  <a:lnTo>
                    <a:pt x="3132" y="452"/>
                  </a:lnTo>
                  <a:lnTo>
                    <a:pt x="3134" y="454"/>
                  </a:lnTo>
                  <a:lnTo>
                    <a:pt x="3134" y="454"/>
                  </a:lnTo>
                  <a:lnTo>
                    <a:pt x="3130" y="454"/>
                  </a:lnTo>
                  <a:lnTo>
                    <a:pt x="3120" y="448"/>
                  </a:lnTo>
                  <a:lnTo>
                    <a:pt x="3118" y="448"/>
                  </a:lnTo>
                  <a:lnTo>
                    <a:pt x="3118" y="448"/>
                  </a:lnTo>
                  <a:lnTo>
                    <a:pt x="3114" y="448"/>
                  </a:lnTo>
                  <a:lnTo>
                    <a:pt x="3114" y="446"/>
                  </a:lnTo>
                  <a:lnTo>
                    <a:pt x="3103" y="440"/>
                  </a:lnTo>
                  <a:lnTo>
                    <a:pt x="3089" y="432"/>
                  </a:lnTo>
                  <a:lnTo>
                    <a:pt x="3077" y="428"/>
                  </a:lnTo>
                  <a:lnTo>
                    <a:pt x="3070" y="426"/>
                  </a:lnTo>
                  <a:lnTo>
                    <a:pt x="3068" y="426"/>
                  </a:lnTo>
                  <a:lnTo>
                    <a:pt x="3068" y="426"/>
                  </a:lnTo>
                  <a:lnTo>
                    <a:pt x="3066" y="426"/>
                  </a:lnTo>
                  <a:lnTo>
                    <a:pt x="3064" y="426"/>
                  </a:lnTo>
                  <a:lnTo>
                    <a:pt x="3056" y="423"/>
                  </a:lnTo>
                  <a:lnTo>
                    <a:pt x="3054" y="423"/>
                  </a:lnTo>
                  <a:lnTo>
                    <a:pt x="3046" y="423"/>
                  </a:lnTo>
                  <a:lnTo>
                    <a:pt x="3046" y="423"/>
                  </a:lnTo>
                  <a:lnTo>
                    <a:pt x="3044" y="428"/>
                  </a:lnTo>
                  <a:lnTo>
                    <a:pt x="3042" y="430"/>
                  </a:lnTo>
                  <a:lnTo>
                    <a:pt x="3039" y="430"/>
                  </a:lnTo>
                  <a:lnTo>
                    <a:pt x="3039" y="430"/>
                  </a:lnTo>
                  <a:lnTo>
                    <a:pt x="3042" y="428"/>
                  </a:lnTo>
                  <a:lnTo>
                    <a:pt x="3044" y="426"/>
                  </a:lnTo>
                  <a:lnTo>
                    <a:pt x="3044" y="423"/>
                  </a:lnTo>
                  <a:lnTo>
                    <a:pt x="3044" y="421"/>
                  </a:lnTo>
                  <a:lnTo>
                    <a:pt x="3044" y="421"/>
                  </a:lnTo>
                  <a:lnTo>
                    <a:pt x="3042" y="421"/>
                  </a:lnTo>
                  <a:lnTo>
                    <a:pt x="3039" y="421"/>
                  </a:lnTo>
                  <a:lnTo>
                    <a:pt x="3037" y="423"/>
                  </a:lnTo>
                  <a:lnTo>
                    <a:pt x="3035" y="421"/>
                  </a:lnTo>
                  <a:lnTo>
                    <a:pt x="3037" y="421"/>
                  </a:lnTo>
                  <a:lnTo>
                    <a:pt x="3037" y="419"/>
                  </a:lnTo>
                  <a:lnTo>
                    <a:pt x="3035" y="419"/>
                  </a:lnTo>
                  <a:lnTo>
                    <a:pt x="3031" y="419"/>
                  </a:lnTo>
                  <a:lnTo>
                    <a:pt x="3027" y="419"/>
                  </a:lnTo>
                  <a:lnTo>
                    <a:pt x="3027" y="417"/>
                  </a:lnTo>
                  <a:lnTo>
                    <a:pt x="3025" y="417"/>
                  </a:lnTo>
                  <a:lnTo>
                    <a:pt x="3023" y="415"/>
                  </a:lnTo>
                  <a:lnTo>
                    <a:pt x="3025" y="415"/>
                  </a:lnTo>
                  <a:lnTo>
                    <a:pt x="3033" y="417"/>
                  </a:lnTo>
                  <a:lnTo>
                    <a:pt x="3035" y="417"/>
                  </a:lnTo>
                  <a:lnTo>
                    <a:pt x="3037" y="415"/>
                  </a:lnTo>
                  <a:lnTo>
                    <a:pt x="3037" y="415"/>
                  </a:lnTo>
                  <a:lnTo>
                    <a:pt x="3037" y="413"/>
                  </a:lnTo>
                  <a:lnTo>
                    <a:pt x="3035" y="413"/>
                  </a:lnTo>
                  <a:lnTo>
                    <a:pt x="3031" y="411"/>
                  </a:lnTo>
                  <a:lnTo>
                    <a:pt x="3029" y="409"/>
                  </a:lnTo>
                  <a:lnTo>
                    <a:pt x="3023" y="407"/>
                  </a:lnTo>
                  <a:lnTo>
                    <a:pt x="3023" y="409"/>
                  </a:lnTo>
                  <a:lnTo>
                    <a:pt x="3023" y="411"/>
                  </a:lnTo>
                  <a:lnTo>
                    <a:pt x="3023" y="411"/>
                  </a:lnTo>
                  <a:lnTo>
                    <a:pt x="3021" y="411"/>
                  </a:lnTo>
                  <a:lnTo>
                    <a:pt x="3019" y="411"/>
                  </a:lnTo>
                  <a:lnTo>
                    <a:pt x="3017" y="413"/>
                  </a:lnTo>
                  <a:lnTo>
                    <a:pt x="3017" y="415"/>
                  </a:lnTo>
                  <a:lnTo>
                    <a:pt x="3015" y="415"/>
                  </a:lnTo>
                  <a:lnTo>
                    <a:pt x="3009" y="413"/>
                  </a:lnTo>
                  <a:lnTo>
                    <a:pt x="3006" y="413"/>
                  </a:lnTo>
                  <a:lnTo>
                    <a:pt x="3004" y="411"/>
                  </a:lnTo>
                  <a:lnTo>
                    <a:pt x="3002" y="411"/>
                  </a:lnTo>
                  <a:lnTo>
                    <a:pt x="3000" y="411"/>
                  </a:lnTo>
                  <a:lnTo>
                    <a:pt x="3000" y="413"/>
                  </a:lnTo>
                  <a:lnTo>
                    <a:pt x="3000" y="413"/>
                  </a:lnTo>
                  <a:lnTo>
                    <a:pt x="2998" y="411"/>
                  </a:lnTo>
                  <a:lnTo>
                    <a:pt x="2998" y="411"/>
                  </a:lnTo>
                  <a:lnTo>
                    <a:pt x="2996" y="411"/>
                  </a:lnTo>
                  <a:lnTo>
                    <a:pt x="2996" y="413"/>
                  </a:lnTo>
                  <a:lnTo>
                    <a:pt x="2996" y="413"/>
                  </a:lnTo>
                  <a:lnTo>
                    <a:pt x="2994" y="413"/>
                  </a:lnTo>
                  <a:lnTo>
                    <a:pt x="2992" y="413"/>
                  </a:lnTo>
                  <a:lnTo>
                    <a:pt x="2990" y="413"/>
                  </a:lnTo>
                  <a:lnTo>
                    <a:pt x="2988" y="413"/>
                  </a:lnTo>
                  <a:lnTo>
                    <a:pt x="2988" y="411"/>
                  </a:lnTo>
                  <a:lnTo>
                    <a:pt x="2988" y="409"/>
                  </a:lnTo>
                  <a:lnTo>
                    <a:pt x="2990" y="409"/>
                  </a:lnTo>
                  <a:lnTo>
                    <a:pt x="2988" y="407"/>
                  </a:lnTo>
                  <a:lnTo>
                    <a:pt x="2978" y="405"/>
                  </a:lnTo>
                  <a:lnTo>
                    <a:pt x="2978" y="403"/>
                  </a:lnTo>
                  <a:lnTo>
                    <a:pt x="2992" y="405"/>
                  </a:lnTo>
                  <a:lnTo>
                    <a:pt x="2998" y="403"/>
                  </a:lnTo>
                  <a:lnTo>
                    <a:pt x="3000" y="401"/>
                  </a:lnTo>
                  <a:lnTo>
                    <a:pt x="3006" y="399"/>
                  </a:lnTo>
                  <a:lnTo>
                    <a:pt x="3009" y="399"/>
                  </a:lnTo>
                  <a:lnTo>
                    <a:pt x="3006" y="397"/>
                  </a:lnTo>
                  <a:lnTo>
                    <a:pt x="3002" y="392"/>
                  </a:lnTo>
                  <a:lnTo>
                    <a:pt x="3000" y="392"/>
                  </a:lnTo>
                  <a:lnTo>
                    <a:pt x="2996" y="392"/>
                  </a:lnTo>
                  <a:lnTo>
                    <a:pt x="2996" y="392"/>
                  </a:lnTo>
                  <a:lnTo>
                    <a:pt x="2998" y="390"/>
                  </a:lnTo>
                  <a:lnTo>
                    <a:pt x="2994" y="388"/>
                  </a:lnTo>
                  <a:lnTo>
                    <a:pt x="2994" y="388"/>
                  </a:lnTo>
                  <a:lnTo>
                    <a:pt x="2992" y="390"/>
                  </a:lnTo>
                  <a:lnTo>
                    <a:pt x="2990" y="390"/>
                  </a:lnTo>
                  <a:lnTo>
                    <a:pt x="2990" y="390"/>
                  </a:lnTo>
                  <a:lnTo>
                    <a:pt x="2988" y="388"/>
                  </a:lnTo>
                  <a:lnTo>
                    <a:pt x="2986" y="388"/>
                  </a:lnTo>
                  <a:lnTo>
                    <a:pt x="2984" y="386"/>
                  </a:lnTo>
                  <a:lnTo>
                    <a:pt x="2984" y="386"/>
                  </a:lnTo>
                  <a:lnTo>
                    <a:pt x="2982" y="384"/>
                  </a:lnTo>
                  <a:lnTo>
                    <a:pt x="2978" y="384"/>
                  </a:lnTo>
                  <a:lnTo>
                    <a:pt x="2976" y="384"/>
                  </a:lnTo>
                  <a:lnTo>
                    <a:pt x="2973" y="386"/>
                  </a:lnTo>
                  <a:lnTo>
                    <a:pt x="2971" y="390"/>
                  </a:lnTo>
                  <a:lnTo>
                    <a:pt x="2971" y="395"/>
                  </a:lnTo>
                  <a:lnTo>
                    <a:pt x="2969" y="395"/>
                  </a:lnTo>
                  <a:lnTo>
                    <a:pt x="2969" y="397"/>
                  </a:lnTo>
                  <a:lnTo>
                    <a:pt x="2967" y="401"/>
                  </a:lnTo>
                  <a:lnTo>
                    <a:pt x="2967" y="399"/>
                  </a:lnTo>
                  <a:lnTo>
                    <a:pt x="2967" y="397"/>
                  </a:lnTo>
                  <a:lnTo>
                    <a:pt x="2967" y="395"/>
                  </a:lnTo>
                  <a:lnTo>
                    <a:pt x="2969" y="392"/>
                  </a:lnTo>
                  <a:lnTo>
                    <a:pt x="2969" y="390"/>
                  </a:lnTo>
                  <a:lnTo>
                    <a:pt x="2969" y="388"/>
                  </a:lnTo>
                  <a:lnTo>
                    <a:pt x="2965" y="390"/>
                  </a:lnTo>
                  <a:lnTo>
                    <a:pt x="2963" y="388"/>
                  </a:lnTo>
                  <a:lnTo>
                    <a:pt x="2965" y="388"/>
                  </a:lnTo>
                  <a:lnTo>
                    <a:pt x="2969" y="386"/>
                  </a:lnTo>
                  <a:lnTo>
                    <a:pt x="2969" y="386"/>
                  </a:lnTo>
                  <a:lnTo>
                    <a:pt x="2971" y="384"/>
                  </a:lnTo>
                  <a:lnTo>
                    <a:pt x="2971" y="382"/>
                  </a:lnTo>
                  <a:lnTo>
                    <a:pt x="2967" y="380"/>
                  </a:lnTo>
                  <a:lnTo>
                    <a:pt x="2963" y="380"/>
                  </a:lnTo>
                  <a:lnTo>
                    <a:pt x="2961" y="378"/>
                  </a:lnTo>
                  <a:lnTo>
                    <a:pt x="2959" y="378"/>
                  </a:lnTo>
                  <a:lnTo>
                    <a:pt x="2957" y="382"/>
                  </a:lnTo>
                  <a:lnTo>
                    <a:pt x="2955" y="382"/>
                  </a:lnTo>
                  <a:lnTo>
                    <a:pt x="2955" y="384"/>
                  </a:lnTo>
                  <a:lnTo>
                    <a:pt x="2959" y="386"/>
                  </a:lnTo>
                  <a:lnTo>
                    <a:pt x="2959" y="386"/>
                  </a:lnTo>
                  <a:lnTo>
                    <a:pt x="2955" y="386"/>
                  </a:lnTo>
                  <a:lnTo>
                    <a:pt x="2953" y="388"/>
                  </a:lnTo>
                  <a:lnTo>
                    <a:pt x="2953" y="388"/>
                  </a:lnTo>
                  <a:lnTo>
                    <a:pt x="2953" y="390"/>
                  </a:lnTo>
                  <a:lnTo>
                    <a:pt x="2951" y="395"/>
                  </a:lnTo>
                  <a:lnTo>
                    <a:pt x="2947" y="397"/>
                  </a:lnTo>
                  <a:lnTo>
                    <a:pt x="2945" y="397"/>
                  </a:lnTo>
                  <a:lnTo>
                    <a:pt x="2945" y="395"/>
                  </a:lnTo>
                  <a:lnTo>
                    <a:pt x="2945" y="395"/>
                  </a:lnTo>
                  <a:lnTo>
                    <a:pt x="2947" y="392"/>
                  </a:lnTo>
                  <a:lnTo>
                    <a:pt x="2947" y="390"/>
                  </a:lnTo>
                  <a:lnTo>
                    <a:pt x="2945" y="390"/>
                  </a:lnTo>
                  <a:lnTo>
                    <a:pt x="2947" y="388"/>
                  </a:lnTo>
                  <a:lnTo>
                    <a:pt x="2947" y="384"/>
                  </a:lnTo>
                  <a:lnTo>
                    <a:pt x="2947" y="382"/>
                  </a:lnTo>
                  <a:lnTo>
                    <a:pt x="2945" y="384"/>
                  </a:lnTo>
                  <a:lnTo>
                    <a:pt x="2940" y="386"/>
                  </a:lnTo>
                  <a:lnTo>
                    <a:pt x="2936" y="390"/>
                  </a:lnTo>
                  <a:lnTo>
                    <a:pt x="2930" y="399"/>
                  </a:lnTo>
                  <a:lnTo>
                    <a:pt x="2928" y="401"/>
                  </a:lnTo>
                  <a:lnTo>
                    <a:pt x="2926" y="403"/>
                  </a:lnTo>
                  <a:lnTo>
                    <a:pt x="2924" y="405"/>
                  </a:lnTo>
                  <a:lnTo>
                    <a:pt x="2922" y="403"/>
                  </a:lnTo>
                  <a:lnTo>
                    <a:pt x="2922" y="401"/>
                  </a:lnTo>
                  <a:lnTo>
                    <a:pt x="2924" y="399"/>
                  </a:lnTo>
                  <a:lnTo>
                    <a:pt x="2926" y="395"/>
                  </a:lnTo>
                  <a:lnTo>
                    <a:pt x="2926" y="392"/>
                  </a:lnTo>
                  <a:lnTo>
                    <a:pt x="2930" y="390"/>
                  </a:lnTo>
                  <a:lnTo>
                    <a:pt x="2932" y="386"/>
                  </a:lnTo>
                  <a:lnTo>
                    <a:pt x="2934" y="386"/>
                  </a:lnTo>
                  <a:lnTo>
                    <a:pt x="2934" y="384"/>
                  </a:lnTo>
                  <a:lnTo>
                    <a:pt x="2932" y="384"/>
                  </a:lnTo>
                  <a:lnTo>
                    <a:pt x="2932" y="384"/>
                  </a:lnTo>
                  <a:lnTo>
                    <a:pt x="2930" y="384"/>
                  </a:lnTo>
                  <a:lnTo>
                    <a:pt x="2928" y="384"/>
                  </a:lnTo>
                  <a:lnTo>
                    <a:pt x="2928" y="384"/>
                  </a:lnTo>
                  <a:lnTo>
                    <a:pt x="2928" y="384"/>
                  </a:lnTo>
                  <a:lnTo>
                    <a:pt x="2926" y="384"/>
                  </a:lnTo>
                  <a:lnTo>
                    <a:pt x="2926" y="384"/>
                  </a:lnTo>
                  <a:lnTo>
                    <a:pt x="2924" y="382"/>
                  </a:lnTo>
                  <a:lnTo>
                    <a:pt x="2920" y="382"/>
                  </a:lnTo>
                  <a:lnTo>
                    <a:pt x="2920" y="380"/>
                  </a:lnTo>
                  <a:lnTo>
                    <a:pt x="2918" y="380"/>
                  </a:lnTo>
                  <a:lnTo>
                    <a:pt x="2916" y="384"/>
                  </a:lnTo>
                  <a:lnTo>
                    <a:pt x="2912" y="386"/>
                  </a:lnTo>
                  <a:lnTo>
                    <a:pt x="2912" y="386"/>
                  </a:lnTo>
                  <a:lnTo>
                    <a:pt x="2914" y="388"/>
                  </a:lnTo>
                  <a:lnTo>
                    <a:pt x="2914" y="388"/>
                  </a:lnTo>
                  <a:lnTo>
                    <a:pt x="2914" y="388"/>
                  </a:lnTo>
                  <a:lnTo>
                    <a:pt x="2912" y="390"/>
                  </a:lnTo>
                  <a:lnTo>
                    <a:pt x="2910" y="395"/>
                  </a:lnTo>
                  <a:lnTo>
                    <a:pt x="2908" y="395"/>
                  </a:lnTo>
                  <a:lnTo>
                    <a:pt x="2903" y="397"/>
                  </a:lnTo>
                  <a:lnTo>
                    <a:pt x="2899" y="401"/>
                  </a:lnTo>
                  <a:lnTo>
                    <a:pt x="2899" y="401"/>
                  </a:lnTo>
                  <a:lnTo>
                    <a:pt x="2899" y="405"/>
                  </a:lnTo>
                  <a:lnTo>
                    <a:pt x="2899" y="405"/>
                  </a:lnTo>
                  <a:lnTo>
                    <a:pt x="2899" y="407"/>
                  </a:lnTo>
                  <a:lnTo>
                    <a:pt x="2899" y="407"/>
                  </a:lnTo>
                  <a:lnTo>
                    <a:pt x="2897" y="407"/>
                  </a:lnTo>
                  <a:lnTo>
                    <a:pt x="2897" y="405"/>
                  </a:lnTo>
                  <a:lnTo>
                    <a:pt x="2895" y="405"/>
                  </a:lnTo>
                  <a:lnTo>
                    <a:pt x="2893" y="401"/>
                  </a:lnTo>
                  <a:lnTo>
                    <a:pt x="2893" y="399"/>
                  </a:lnTo>
                  <a:lnTo>
                    <a:pt x="2893" y="399"/>
                  </a:lnTo>
                  <a:lnTo>
                    <a:pt x="2889" y="397"/>
                  </a:lnTo>
                  <a:lnTo>
                    <a:pt x="2887" y="399"/>
                  </a:lnTo>
                  <a:lnTo>
                    <a:pt x="2885" y="399"/>
                  </a:lnTo>
                  <a:lnTo>
                    <a:pt x="2885" y="401"/>
                  </a:lnTo>
                  <a:lnTo>
                    <a:pt x="2883" y="399"/>
                  </a:lnTo>
                  <a:lnTo>
                    <a:pt x="2881" y="399"/>
                  </a:lnTo>
                  <a:lnTo>
                    <a:pt x="2881" y="399"/>
                  </a:lnTo>
                  <a:lnTo>
                    <a:pt x="2877" y="401"/>
                  </a:lnTo>
                  <a:lnTo>
                    <a:pt x="2872" y="401"/>
                  </a:lnTo>
                  <a:lnTo>
                    <a:pt x="2870" y="401"/>
                  </a:lnTo>
                  <a:lnTo>
                    <a:pt x="2870" y="401"/>
                  </a:lnTo>
                  <a:lnTo>
                    <a:pt x="2872" y="403"/>
                  </a:lnTo>
                  <a:lnTo>
                    <a:pt x="2875" y="405"/>
                  </a:lnTo>
                  <a:lnTo>
                    <a:pt x="2877" y="405"/>
                  </a:lnTo>
                  <a:lnTo>
                    <a:pt x="2879" y="407"/>
                  </a:lnTo>
                  <a:lnTo>
                    <a:pt x="2879" y="411"/>
                  </a:lnTo>
                  <a:lnTo>
                    <a:pt x="2879" y="411"/>
                  </a:lnTo>
                  <a:lnTo>
                    <a:pt x="2877" y="409"/>
                  </a:lnTo>
                  <a:lnTo>
                    <a:pt x="2875" y="409"/>
                  </a:lnTo>
                  <a:lnTo>
                    <a:pt x="2872" y="407"/>
                  </a:lnTo>
                  <a:lnTo>
                    <a:pt x="2870" y="407"/>
                  </a:lnTo>
                  <a:lnTo>
                    <a:pt x="2868" y="409"/>
                  </a:lnTo>
                  <a:lnTo>
                    <a:pt x="2866" y="409"/>
                  </a:lnTo>
                  <a:lnTo>
                    <a:pt x="2866" y="409"/>
                  </a:lnTo>
                  <a:lnTo>
                    <a:pt x="2864" y="409"/>
                  </a:lnTo>
                  <a:lnTo>
                    <a:pt x="2860" y="409"/>
                  </a:lnTo>
                  <a:lnTo>
                    <a:pt x="2860" y="411"/>
                  </a:lnTo>
                  <a:lnTo>
                    <a:pt x="2860" y="415"/>
                  </a:lnTo>
                  <a:lnTo>
                    <a:pt x="2860" y="415"/>
                  </a:lnTo>
                  <a:lnTo>
                    <a:pt x="2860" y="417"/>
                  </a:lnTo>
                  <a:lnTo>
                    <a:pt x="2862" y="419"/>
                  </a:lnTo>
                  <a:lnTo>
                    <a:pt x="2862" y="419"/>
                  </a:lnTo>
                  <a:lnTo>
                    <a:pt x="2858" y="417"/>
                  </a:lnTo>
                  <a:lnTo>
                    <a:pt x="2854" y="423"/>
                  </a:lnTo>
                  <a:lnTo>
                    <a:pt x="2854" y="423"/>
                  </a:lnTo>
                  <a:lnTo>
                    <a:pt x="2852" y="423"/>
                  </a:lnTo>
                  <a:lnTo>
                    <a:pt x="2852" y="423"/>
                  </a:lnTo>
                  <a:lnTo>
                    <a:pt x="2856" y="419"/>
                  </a:lnTo>
                  <a:lnTo>
                    <a:pt x="2856" y="417"/>
                  </a:lnTo>
                  <a:lnTo>
                    <a:pt x="2856" y="415"/>
                  </a:lnTo>
                  <a:lnTo>
                    <a:pt x="2858" y="409"/>
                  </a:lnTo>
                  <a:lnTo>
                    <a:pt x="2856" y="409"/>
                  </a:lnTo>
                  <a:lnTo>
                    <a:pt x="2856" y="409"/>
                  </a:lnTo>
                  <a:lnTo>
                    <a:pt x="2854" y="409"/>
                  </a:lnTo>
                  <a:lnTo>
                    <a:pt x="2854" y="409"/>
                  </a:lnTo>
                  <a:lnTo>
                    <a:pt x="2852" y="409"/>
                  </a:lnTo>
                  <a:lnTo>
                    <a:pt x="2852" y="411"/>
                  </a:lnTo>
                  <a:lnTo>
                    <a:pt x="2850" y="413"/>
                  </a:lnTo>
                  <a:lnTo>
                    <a:pt x="2848" y="419"/>
                  </a:lnTo>
                  <a:lnTo>
                    <a:pt x="2846" y="421"/>
                  </a:lnTo>
                  <a:lnTo>
                    <a:pt x="2846" y="419"/>
                  </a:lnTo>
                  <a:lnTo>
                    <a:pt x="2848" y="417"/>
                  </a:lnTo>
                  <a:lnTo>
                    <a:pt x="2848" y="413"/>
                  </a:lnTo>
                  <a:lnTo>
                    <a:pt x="2848" y="411"/>
                  </a:lnTo>
                  <a:lnTo>
                    <a:pt x="2839" y="413"/>
                  </a:lnTo>
                  <a:lnTo>
                    <a:pt x="2837" y="415"/>
                  </a:lnTo>
                  <a:lnTo>
                    <a:pt x="2837" y="415"/>
                  </a:lnTo>
                  <a:lnTo>
                    <a:pt x="2837" y="417"/>
                  </a:lnTo>
                  <a:lnTo>
                    <a:pt x="2837" y="417"/>
                  </a:lnTo>
                  <a:lnTo>
                    <a:pt x="2835" y="419"/>
                  </a:lnTo>
                  <a:lnTo>
                    <a:pt x="2833" y="419"/>
                  </a:lnTo>
                  <a:lnTo>
                    <a:pt x="2833" y="419"/>
                  </a:lnTo>
                  <a:lnTo>
                    <a:pt x="2831" y="419"/>
                  </a:lnTo>
                  <a:lnTo>
                    <a:pt x="2831" y="421"/>
                  </a:lnTo>
                  <a:lnTo>
                    <a:pt x="2833" y="421"/>
                  </a:lnTo>
                  <a:lnTo>
                    <a:pt x="2835" y="423"/>
                  </a:lnTo>
                  <a:lnTo>
                    <a:pt x="2835" y="423"/>
                  </a:lnTo>
                  <a:lnTo>
                    <a:pt x="2831" y="423"/>
                  </a:lnTo>
                  <a:lnTo>
                    <a:pt x="2829" y="423"/>
                  </a:lnTo>
                  <a:lnTo>
                    <a:pt x="2829" y="421"/>
                  </a:lnTo>
                  <a:lnTo>
                    <a:pt x="2827" y="419"/>
                  </a:lnTo>
                  <a:lnTo>
                    <a:pt x="2827" y="419"/>
                  </a:lnTo>
                  <a:lnTo>
                    <a:pt x="2825" y="421"/>
                  </a:lnTo>
                  <a:lnTo>
                    <a:pt x="2825" y="423"/>
                  </a:lnTo>
                  <a:lnTo>
                    <a:pt x="2825" y="426"/>
                  </a:lnTo>
                  <a:lnTo>
                    <a:pt x="2825" y="428"/>
                  </a:lnTo>
                  <a:lnTo>
                    <a:pt x="2825" y="428"/>
                  </a:lnTo>
                  <a:lnTo>
                    <a:pt x="2819" y="430"/>
                  </a:lnTo>
                  <a:lnTo>
                    <a:pt x="2817" y="432"/>
                  </a:lnTo>
                  <a:lnTo>
                    <a:pt x="2815" y="434"/>
                  </a:lnTo>
                  <a:lnTo>
                    <a:pt x="2815" y="436"/>
                  </a:lnTo>
                  <a:lnTo>
                    <a:pt x="2811" y="440"/>
                  </a:lnTo>
                  <a:lnTo>
                    <a:pt x="2806" y="440"/>
                  </a:lnTo>
                  <a:lnTo>
                    <a:pt x="2804" y="440"/>
                  </a:lnTo>
                  <a:lnTo>
                    <a:pt x="2802" y="442"/>
                  </a:lnTo>
                  <a:lnTo>
                    <a:pt x="2802" y="444"/>
                  </a:lnTo>
                  <a:lnTo>
                    <a:pt x="2802" y="444"/>
                  </a:lnTo>
                  <a:lnTo>
                    <a:pt x="2802" y="444"/>
                  </a:lnTo>
                  <a:lnTo>
                    <a:pt x="2811" y="444"/>
                  </a:lnTo>
                  <a:lnTo>
                    <a:pt x="2815" y="444"/>
                  </a:lnTo>
                  <a:lnTo>
                    <a:pt x="2815" y="444"/>
                  </a:lnTo>
                  <a:lnTo>
                    <a:pt x="2817" y="444"/>
                  </a:lnTo>
                  <a:lnTo>
                    <a:pt x="2817" y="446"/>
                  </a:lnTo>
                  <a:lnTo>
                    <a:pt x="2817" y="446"/>
                  </a:lnTo>
                  <a:lnTo>
                    <a:pt x="2815" y="446"/>
                  </a:lnTo>
                  <a:lnTo>
                    <a:pt x="2813" y="446"/>
                  </a:lnTo>
                  <a:lnTo>
                    <a:pt x="2811" y="448"/>
                  </a:lnTo>
                  <a:lnTo>
                    <a:pt x="2809" y="448"/>
                  </a:lnTo>
                  <a:lnTo>
                    <a:pt x="2806" y="448"/>
                  </a:lnTo>
                  <a:lnTo>
                    <a:pt x="2802" y="446"/>
                  </a:lnTo>
                  <a:lnTo>
                    <a:pt x="2800" y="446"/>
                  </a:lnTo>
                  <a:lnTo>
                    <a:pt x="2798" y="448"/>
                  </a:lnTo>
                  <a:lnTo>
                    <a:pt x="2796" y="450"/>
                  </a:lnTo>
                  <a:lnTo>
                    <a:pt x="2798" y="452"/>
                  </a:lnTo>
                  <a:lnTo>
                    <a:pt x="2798" y="454"/>
                  </a:lnTo>
                  <a:lnTo>
                    <a:pt x="2800" y="454"/>
                  </a:lnTo>
                  <a:lnTo>
                    <a:pt x="2800" y="454"/>
                  </a:lnTo>
                  <a:lnTo>
                    <a:pt x="2798" y="454"/>
                  </a:lnTo>
                  <a:lnTo>
                    <a:pt x="2798" y="456"/>
                  </a:lnTo>
                  <a:lnTo>
                    <a:pt x="2798" y="459"/>
                  </a:lnTo>
                  <a:lnTo>
                    <a:pt x="2798" y="459"/>
                  </a:lnTo>
                  <a:lnTo>
                    <a:pt x="2796" y="456"/>
                  </a:lnTo>
                  <a:lnTo>
                    <a:pt x="2796" y="450"/>
                  </a:lnTo>
                  <a:lnTo>
                    <a:pt x="2794" y="450"/>
                  </a:lnTo>
                  <a:lnTo>
                    <a:pt x="2794" y="450"/>
                  </a:lnTo>
                  <a:lnTo>
                    <a:pt x="2792" y="452"/>
                  </a:lnTo>
                  <a:lnTo>
                    <a:pt x="2790" y="452"/>
                  </a:lnTo>
                  <a:lnTo>
                    <a:pt x="2788" y="454"/>
                  </a:lnTo>
                  <a:lnTo>
                    <a:pt x="2784" y="454"/>
                  </a:lnTo>
                  <a:lnTo>
                    <a:pt x="2784" y="454"/>
                  </a:lnTo>
                  <a:lnTo>
                    <a:pt x="2786" y="456"/>
                  </a:lnTo>
                  <a:lnTo>
                    <a:pt x="2788" y="456"/>
                  </a:lnTo>
                  <a:lnTo>
                    <a:pt x="2790" y="456"/>
                  </a:lnTo>
                  <a:lnTo>
                    <a:pt x="2788" y="459"/>
                  </a:lnTo>
                  <a:lnTo>
                    <a:pt x="2786" y="459"/>
                  </a:lnTo>
                  <a:lnTo>
                    <a:pt x="2784" y="456"/>
                  </a:lnTo>
                  <a:lnTo>
                    <a:pt x="2782" y="456"/>
                  </a:lnTo>
                  <a:lnTo>
                    <a:pt x="2782" y="456"/>
                  </a:lnTo>
                  <a:lnTo>
                    <a:pt x="2778" y="461"/>
                  </a:lnTo>
                  <a:lnTo>
                    <a:pt x="2778" y="463"/>
                  </a:lnTo>
                  <a:lnTo>
                    <a:pt x="2778" y="465"/>
                  </a:lnTo>
                  <a:lnTo>
                    <a:pt x="2778" y="465"/>
                  </a:lnTo>
                  <a:lnTo>
                    <a:pt x="2782" y="465"/>
                  </a:lnTo>
                  <a:lnTo>
                    <a:pt x="2784" y="463"/>
                  </a:lnTo>
                  <a:lnTo>
                    <a:pt x="2786" y="463"/>
                  </a:lnTo>
                  <a:lnTo>
                    <a:pt x="2784" y="463"/>
                  </a:lnTo>
                  <a:lnTo>
                    <a:pt x="2784" y="465"/>
                  </a:lnTo>
                  <a:lnTo>
                    <a:pt x="2784" y="467"/>
                  </a:lnTo>
                  <a:lnTo>
                    <a:pt x="2786" y="467"/>
                  </a:lnTo>
                  <a:lnTo>
                    <a:pt x="2788" y="469"/>
                  </a:lnTo>
                  <a:lnTo>
                    <a:pt x="2790" y="467"/>
                  </a:lnTo>
                  <a:lnTo>
                    <a:pt x="2790" y="467"/>
                  </a:lnTo>
                  <a:lnTo>
                    <a:pt x="2788" y="469"/>
                  </a:lnTo>
                  <a:lnTo>
                    <a:pt x="2788" y="471"/>
                  </a:lnTo>
                  <a:lnTo>
                    <a:pt x="2788" y="471"/>
                  </a:lnTo>
                  <a:lnTo>
                    <a:pt x="2786" y="469"/>
                  </a:lnTo>
                  <a:lnTo>
                    <a:pt x="2786" y="469"/>
                  </a:lnTo>
                  <a:lnTo>
                    <a:pt x="2784" y="469"/>
                  </a:lnTo>
                  <a:lnTo>
                    <a:pt x="2782" y="467"/>
                  </a:lnTo>
                  <a:lnTo>
                    <a:pt x="2780" y="467"/>
                  </a:lnTo>
                  <a:lnTo>
                    <a:pt x="2778" y="469"/>
                  </a:lnTo>
                  <a:lnTo>
                    <a:pt x="2773" y="471"/>
                  </a:lnTo>
                  <a:lnTo>
                    <a:pt x="2773" y="473"/>
                  </a:lnTo>
                  <a:lnTo>
                    <a:pt x="2771" y="473"/>
                  </a:lnTo>
                  <a:lnTo>
                    <a:pt x="2771" y="473"/>
                  </a:lnTo>
                  <a:lnTo>
                    <a:pt x="2773" y="475"/>
                  </a:lnTo>
                  <a:lnTo>
                    <a:pt x="2773" y="473"/>
                  </a:lnTo>
                  <a:lnTo>
                    <a:pt x="2778" y="473"/>
                  </a:lnTo>
                  <a:lnTo>
                    <a:pt x="2784" y="475"/>
                  </a:lnTo>
                  <a:lnTo>
                    <a:pt x="2786" y="475"/>
                  </a:lnTo>
                  <a:lnTo>
                    <a:pt x="2786" y="475"/>
                  </a:lnTo>
                  <a:lnTo>
                    <a:pt x="2778" y="475"/>
                  </a:lnTo>
                  <a:lnTo>
                    <a:pt x="2773" y="475"/>
                  </a:lnTo>
                  <a:lnTo>
                    <a:pt x="2773" y="477"/>
                  </a:lnTo>
                  <a:lnTo>
                    <a:pt x="2771" y="477"/>
                  </a:lnTo>
                  <a:lnTo>
                    <a:pt x="2769" y="477"/>
                  </a:lnTo>
                  <a:lnTo>
                    <a:pt x="2767" y="477"/>
                  </a:lnTo>
                  <a:lnTo>
                    <a:pt x="2765" y="479"/>
                  </a:lnTo>
                  <a:lnTo>
                    <a:pt x="2765" y="481"/>
                  </a:lnTo>
                  <a:lnTo>
                    <a:pt x="2763" y="481"/>
                  </a:lnTo>
                  <a:lnTo>
                    <a:pt x="2761" y="481"/>
                  </a:lnTo>
                  <a:lnTo>
                    <a:pt x="2761" y="483"/>
                  </a:lnTo>
                  <a:lnTo>
                    <a:pt x="2761" y="483"/>
                  </a:lnTo>
                  <a:lnTo>
                    <a:pt x="2765" y="485"/>
                  </a:lnTo>
                  <a:lnTo>
                    <a:pt x="2765" y="485"/>
                  </a:lnTo>
                  <a:lnTo>
                    <a:pt x="2763" y="485"/>
                  </a:lnTo>
                  <a:lnTo>
                    <a:pt x="2761" y="485"/>
                  </a:lnTo>
                  <a:lnTo>
                    <a:pt x="2759" y="485"/>
                  </a:lnTo>
                  <a:lnTo>
                    <a:pt x="2759" y="487"/>
                  </a:lnTo>
                  <a:lnTo>
                    <a:pt x="2757" y="487"/>
                  </a:lnTo>
                  <a:lnTo>
                    <a:pt x="2755" y="490"/>
                  </a:lnTo>
                  <a:lnTo>
                    <a:pt x="2755" y="492"/>
                  </a:lnTo>
                  <a:lnTo>
                    <a:pt x="2753" y="492"/>
                  </a:lnTo>
                  <a:lnTo>
                    <a:pt x="2753" y="494"/>
                  </a:lnTo>
                  <a:lnTo>
                    <a:pt x="2753" y="498"/>
                  </a:lnTo>
                  <a:lnTo>
                    <a:pt x="2757" y="498"/>
                  </a:lnTo>
                  <a:lnTo>
                    <a:pt x="2757" y="498"/>
                  </a:lnTo>
                  <a:lnTo>
                    <a:pt x="2759" y="498"/>
                  </a:lnTo>
                  <a:lnTo>
                    <a:pt x="2761" y="498"/>
                  </a:lnTo>
                  <a:lnTo>
                    <a:pt x="2765" y="496"/>
                  </a:lnTo>
                  <a:lnTo>
                    <a:pt x="2767" y="498"/>
                  </a:lnTo>
                  <a:lnTo>
                    <a:pt x="2765" y="498"/>
                  </a:lnTo>
                  <a:lnTo>
                    <a:pt x="2763" y="498"/>
                  </a:lnTo>
                  <a:lnTo>
                    <a:pt x="2761" y="500"/>
                  </a:lnTo>
                  <a:lnTo>
                    <a:pt x="2757" y="500"/>
                  </a:lnTo>
                  <a:lnTo>
                    <a:pt x="2749" y="502"/>
                  </a:lnTo>
                  <a:lnTo>
                    <a:pt x="2749" y="502"/>
                  </a:lnTo>
                  <a:lnTo>
                    <a:pt x="2751" y="504"/>
                  </a:lnTo>
                  <a:lnTo>
                    <a:pt x="2753" y="504"/>
                  </a:lnTo>
                  <a:lnTo>
                    <a:pt x="2751" y="506"/>
                  </a:lnTo>
                  <a:lnTo>
                    <a:pt x="2749" y="504"/>
                  </a:lnTo>
                  <a:lnTo>
                    <a:pt x="2747" y="506"/>
                  </a:lnTo>
                  <a:lnTo>
                    <a:pt x="2747" y="508"/>
                  </a:lnTo>
                  <a:lnTo>
                    <a:pt x="2743" y="512"/>
                  </a:lnTo>
                  <a:lnTo>
                    <a:pt x="2740" y="514"/>
                  </a:lnTo>
                  <a:lnTo>
                    <a:pt x="2740" y="516"/>
                  </a:lnTo>
                  <a:lnTo>
                    <a:pt x="2738" y="518"/>
                  </a:lnTo>
                  <a:lnTo>
                    <a:pt x="2738" y="520"/>
                  </a:lnTo>
                  <a:lnTo>
                    <a:pt x="2740" y="520"/>
                  </a:lnTo>
                  <a:lnTo>
                    <a:pt x="2740" y="520"/>
                  </a:lnTo>
                  <a:lnTo>
                    <a:pt x="2743" y="520"/>
                  </a:lnTo>
                  <a:lnTo>
                    <a:pt x="2743" y="523"/>
                  </a:lnTo>
                  <a:lnTo>
                    <a:pt x="2743" y="523"/>
                  </a:lnTo>
                  <a:lnTo>
                    <a:pt x="2745" y="523"/>
                  </a:lnTo>
                  <a:lnTo>
                    <a:pt x="2747" y="520"/>
                  </a:lnTo>
                  <a:lnTo>
                    <a:pt x="2749" y="520"/>
                  </a:lnTo>
                  <a:lnTo>
                    <a:pt x="2751" y="518"/>
                  </a:lnTo>
                  <a:lnTo>
                    <a:pt x="2749" y="523"/>
                  </a:lnTo>
                  <a:lnTo>
                    <a:pt x="2745" y="525"/>
                  </a:lnTo>
                  <a:lnTo>
                    <a:pt x="2743" y="525"/>
                  </a:lnTo>
                  <a:lnTo>
                    <a:pt x="2740" y="525"/>
                  </a:lnTo>
                  <a:lnTo>
                    <a:pt x="2740" y="523"/>
                  </a:lnTo>
                  <a:lnTo>
                    <a:pt x="2730" y="527"/>
                  </a:lnTo>
                  <a:lnTo>
                    <a:pt x="2728" y="529"/>
                  </a:lnTo>
                  <a:lnTo>
                    <a:pt x="2728" y="531"/>
                  </a:lnTo>
                  <a:lnTo>
                    <a:pt x="2728" y="533"/>
                  </a:lnTo>
                  <a:lnTo>
                    <a:pt x="2728" y="533"/>
                  </a:lnTo>
                  <a:lnTo>
                    <a:pt x="2730" y="531"/>
                  </a:lnTo>
                  <a:lnTo>
                    <a:pt x="2732" y="531"/>
                  </a:lnTo>
                  <a:lnTo>
                    <a:pt x="2730" y="533"/>
                  </a:lnTo>
                  <a:lnTo>
                    <a:pt x="2728" y="535"/>
                  </a:lnTo>
                  <a:lnTo>
                    <a:pt x="2726" y="535"/>
                  </a:lnTo>
                  <a:lnTo>
                    <a:pt x="2724" y="535"/>
                  </a:lnTo>
                  <a:lnTo>
                    <a:pt x="2722" y="537"/>
                  </a:lnTo>
                  <a:lnTo>
                    <a:pt x="2720" y="539"/>
                  </a:lnTo>
                  <a:lnTo>
                    <a:pt x="2718" y="541"/>
                  </a:lnTo>
                  <a:lnTo>
                    <a:pt x="2712" y="545"/>
                  </a:lnTo>
                  <a:lnTo>
                    <a:pt x="2710" y="547"/>
                  </a:lnTo>
                  <a:lnTo>
                    <a:pt x="2707" y="549"/>
                  </a:lnTo>
                  <a:lnTo>
                    <a:pt x="2707" y="551"/>
                  </a:lnTo>
                  <a:lnTo>
                    <a:pt x="2705" y="554"/>
                  </a:lnTo>
                  <a:lnTo>
                    <a:pt x="2703" y="554"/>
                  </a:lnTo>
                  <a:lnTo>
                    <a:pt x="2703" y="556"/>
                  </a:lnTo>
                  <a:lnTo>
                    <a:pt x="2703" y="558"/>
                  </a:lnTo>
                  <a:lnTo>
                    <a:pt x="2703" y="556"/>
                  </a:lnTo>
                  <a:lnTo>
                    <a:pt x="2705" y="556"/>
                  </a:lnTo>
                  <a:lnTo>
                    <a:pt x="2707" y="558"/>
                  </a:lnTo>
                  <a:lnTo>
                    <a:pt x="2707" y="560"/>
                  </a:lnTo>
                  <a:lnTo>
                    <a:pt x="2707" y="560"/>
                  </a:lnTo>
                  <a:lnTo>
                    <a:pt x="2710" y="560"/>
                  </a:lnTo>
                  <a:lnTo>
                    <a:pt x="2714" y="560"/>
                  </a:lnTo>
                  <a:lnTo>
                    <a:pt x="2722" y="556"/>
                  </a:lnTo>
                  <a:lnTo>
                    <a:pt x="2724" y="554"/>
                  </a:lnTo>
                  <a:lnTo>
                    <a:pt x="2722" y="551"/>
                  </a:lnTo>
                  <a:lnTo>
                    <a:pt x="2722" y="551"/>
                  </a:lnTo>
                  <a:lnTo>
                    <a:pt x="2724" y="549"/>
                  </a:lnTo>
                  <a:lnTo>
                    <a:pt x="2726" y="549"/>
                  </a:lnTo>
                  <a:lnTo>
                    <a:pt x="2728" y="549"/>
                  </a:lnTo>
                  <a:lnTo>
                    <a:pt x="2730" y="549"/>
                  </a:lnTo>
                  <a:lnTo>
                    <a:pt x="2730" y="549"/>
                  </a:lnTo>
                  <a:lnTo>
                    <a:pt x="2728" y="551"/>
                  </a:lnTo>
                  <a:lnTo>
                    <a:pt x="2726" y="551"/>
                  </a:lnTo>
                  <a:lnTo>
                    <a:pt x="2726" y="554"/>
                  </a:lnTo>
                  <a:lnTo>
                    <a:pt x="2728" y="554"/>
                  </a:lnTo>
                  <a:lnTo>
                    <a:pt x="2728" y="554"/>
                  </a:lnTo>
                  <a:lnTo>
                    <a:pt x="2728" y="554"/>
                  </a:lnTo>
                  <a:lnTo>
                    <a:pt x="2726" y="556"/>
                  </a:lnTo>
                  <a:lnTo>
                    <a:pt x="2724" y="556"/>
                  </a:lnTo>
                  <a:lnTo>
                    <a:pt x="2722" y="556"/>
                  </a:lnTo>
                  <a:lnTo>
                    <a:pt x="2720" y="558"/>
                  </a:lnTo>
                  <a:lnTo>
                    <a:pt x="2720" y="558"/>
                  </a:lnTo>
                  <a:lnTo>
                    <a:pt x="2718" y="560"/>
                  </a:lnTo>
                  <a:lnTo>
                    <a:pt x="2720" y="560"/>
                  </a:lnTo>
                  <a:lnTo>
                    <a:pt x="2720" y="562"/>
                  </a:lnTo>
                  <a:lnTo>
                    <a:pt x="2720" y="562"/>
                  </a:lnTo>
                  <a:lnTo>
                    <a:pt x="2718" y="562"/>
                  </a:lnTo>
                  <a:lnTo>
                    <a:pt x="2714" y="562"/>
                  </a:lnTo>
                  <a:lnTo>
                    <a:pt x="2712" y="562"/>
                  </a:lnTo>
                  <a:lnTo>
                    <a:pt x="2710" y="562"/>
                  </a:lnTo>
                  <a:lnTo>
                    <a:pt x="2710" y="564"/>
                  </a:lnTo>
                  <a:lnTo>
                    <a:pt x="2710" y="564"/>
                  </a:lnTo>
                  <a:lnTo>
                    <a:pt x="2707" y="562"/>
                  </a:lnTo>
                  <a:lnTo>
                    <a:pt x="2707" y="562"/>
                  </a:lnTo>
                  <a:lnTo>
                    <a:pt x="2707" y="560"/>
                  </a:lnTo>
                  <a:lnTo>
                    <a:pt x="2705" y="558"/>
                  </a:lnTo>
                  <a:lnTo>
                    <a:pt x="2703" y="558"/>
                  </a:lnTo>
                  <a:lnTo>
                    <a:pt x="2701" y="560"/>
                  </a:lnTo>
                  <a:lnTo>
                    <a:pt x="2699" y="560"/>
                  </a:lnTo>
                  <a:lnTo>
                    <a:pt x="2697" y="562"/>
                  </a:lnTo>
                  <a:lnTo>
                    <a:pt x="2695" y="562"/>
                  </a:lnTo>
                  <a:lnTo>
                    <a:pt x="2695" y="562"/>
                  </a:lnTo>
                  <a:lnTo>
                    <a:pt x="2697" y="560"/>
                  </a:lnTo>
                  <a:lnTo>
                    <a:pt x="2697" y="560"/>
                  </a:lnTo>
                  <a:lnTo>
                    <a:pt x="2693" y="558"/>
                  </a:lnTo>
                  <a:lnTo>
                    <a:pt x="2691" y="558"/>
                  </a:lnTo>
                  <a:lnTo>
                    <a:pt x="2689" y="560"/>
                  </a:lnTo>
                  <a:lnTo>
                    <a:pt x="2687" y="560"/>
                  </a:lnTo>
                  <a:lnTo>
                    <a:pt x="2685" y="562"/>
                  </a:lnTo>
                  <a:lnTo>
                    <a:pt x="2687" y="562"/>
                  </a:lnTo>
                  <a:lnTo>
                    <a:pt x="2687" y="562"/>
                  </a:lnTo>
                  <a:lnTo>
                    <a:pt x="2689" y="562"/>
                  </a:lnTo>
                  <a:lnTo>
                    <a:pt x="2689" y="564"/>
                  </a:lnTo>
                  <a:lnTo>
                    <a:pt x="2689" y="564"/>
                  </a:lnTo>
                  <a:lnTo>
                    <a:pt x="2689" y="566"/>
                  </a:lnTo>
                  <a:lnTo>
                    <a:pt x="2685" y="566"/>
                  </a:lnTo>
                  <a:lnTo>
                    <a:pt x="2683" y="566"/>
                  </a:lnTo>
                  <a:lnTo>
                    <a:pt x="2683" y="568"/>
                  </a:lnTo>
                  <a:lnTo>
                    <a:pt x="2683" y="570"/>
                  </a:lnTo>
                  <a:lnTo>
                    <a:pt x="2685" y="572"/>
                  </a:lnTo>
                  <a:lnTo>
                    <a:pt x="2689" y="574"/>
                  </a:lnTo>
                  <a:lnTo>
                    <a:pt x="2689" y="576"/>
                  </a:lnTo>
                  <a:lnTo>
                    <a:pt x="2685" y="572"/>
                  </a:lnTo>
                  <a:lnTo>
                    <a:pt x="2683" y="572"/>
                  </a:lnTo>
                  <a:lnTo>
                    <a:pt x="2683" y="570"/>
                  </a:lnTo>
                  <a:lnTo>
                    <a:pt x="2679" y="570"/>
                  </a:lnTo>
                  <a:lnTo>
                    <a:pt x="2677" y="570"/>
                  </a:lnTo>
                  <a:lnTo>
                    <a:pt x="2674" y="570"/>
                  </a:lnTo>
                  <a:lnTo>
                    <a:pt x="2674" y="570"/>
                  </a:lnTo>
                  <a:lnTo>
                    <a:pt x="2672" y="572"/>
                  </a:lnTo>
                  <a:lnTo>
                    <a:pt x="2666" y="572"/>
                  </a:lnTo>
                  <a:lnTo>
                    <a:pt x="2666" y="574"/>
                  </a:lnTo>
                  <a:lnTo>
                    <a:pt x="2664" y="574"/>
                  </a:lnTo>
                  <a:lnTo>
                    <a:pt x="2662" y="576"/>
                  </a:lnTo>
                  <a:lnTo>
                    <a:pt x="2662" y="578"/>
                  </a:lnTo>
                  <a:lnTo>
                    <a:pt x="2662" y="578"/>
                  </a:lnTo>
                  <a:lnTo>
                    <a:pt x="2666" y="578"/>
                  </a:lnTo>
                  <a:lnTo>
                    <a:pt x="2668" y="578"/>
                  </a:lnTo>
                  <a:lnTo>
                    <a:pt x="2670" y="578"/>
                  </a:lnTo>
                  <a:lnTo>
                    <a:pt x="2672" y="578"/>
                  </a:lnTo>
                  <a:lnTo>
                    <a:pt x="2681" y="576"/>
                  </a:lnTo>
                  <a:lnTo>
                    <a:pt x="2683" y="578"/>
                  </a:lnTo>
                  <a:lnTo>
                    <a:pt x="2679" y="578"/>
                  </a:lnTo>
                  <a:lnTo>
                    <a:pt x="2674" y="580"/>
                  </a:lnTo>
                  <a:lnTo>
                    <a:pt x="2674" y="580"/>
                  </a:lnTo>
                  <a:lnTo>
                    <a:pt x="2674" y="580"/>
                  </a:lnTo>
                  <a:lnTo>
                    <a:pt x="2677" y="580"/>
                  </a:lnTo>
                  <a:lnTo>
                    <a:pt x="2674" y="582"/>
                  </a:lnTo>
                  <a:lnTo>
                    <a:pt x="2674" y="582"/>
                  </a:lnTo>
                  <a:lnTo>
                    <a:pt x="2672" y="582"/>
                  </a:lnTo>
                  <a:lnTo>
                    <a:pt x="2670" y="580"/>
                  </a:lnTo>
                  <a:lnTo>
                    <a:pt x="2666" y="580"/>
                  </a:lnTo>
                  <a:lnTo>
                    <a:pt x="2662" y="580"/>
                  </a:lnTo>
                  <a:lnTo>
                    <a:pt x="2660" y="580"/>
                  </a:lnTo>
                  <a:lnTo>
                    <a:pt x="2658" y="580"/>
                  </a:lnTo>
                  <a:lnTo>
                    <a:pt x="2656" y="580"/>
                  </a:lnTo>
                  <a:lnTo>
                    <a:pt x="2656" y="580"/>
                  </a:lnTo>
                  <a:lnTo>
                    <a:pt x="2656" y="582"/>
                  </a:lnTo>
                  <a:lnTo>
                    <a:pt x="2654" y="584"/>
                  </a:lnTo>
                  <a:lnTo>
                    <a:pt x="2654" y="584"/>
                  </a:lnTo>
                  <a:lnTo>
                    <a:pt x="2654" y="584"/>
                  </a:lnTo>
                  <a:lnTo>
                    <a:pt x="2656" y="584"/>
                  </a:lnTo>
                  <a:lnTo>
                    <a:pt x="2658" y="584"/>
                  </a:lnTo>
                  <a:lnTo>
                    <a:pt x="2662" y="584"/>
                  </a:lnTo>
                  <a:lnTo>
                    <a:pt x="2660" y="584"/>
                  </a:lnTo>
                  <a:lnTo>
                    <a:pt x="2660" y="584"/>
                  </a:lnTo>
                  <a:lnTo>
                    <a:pt x="2654" y="587"/>
                  </a:lnTo>
                  <a:lnTo>
                    <a:pt x="2654" y="587"/>
                  </a:lnTo>
                  <a:lnTo>
                    <a:pt x="2652" y="587"/>
                  </a:lnTo>
                  <a:lnTo>
                    <a:pt x="2652" y="584"/>
                  </a:lnTo>
                  <a:lnTo>
                    <a:pt x="2650" y="584"/>
                  </a:lnTo>
                  <a:lnTo>
                    <a:pt x="2650" y="587"/>
                  </a:lnTo>
                  <a:lnTo>
                    <a:pt x="2648" y="587"/>
                  </a:lnTo>
                  <a:lnTo>
                    <a:pt x="2646" y="587"/>
                  </a:lnTo>
                  <a:lnTo>
                    <a:pt x="2644" y="589"/>
                  </a:lnTo>
                  <a:lnTo>
                    <a:pt x="2644" y="589"/>
                  </a:lnTo>
                  <a:lnTo>
                    <a:pt x="2644" y="591"/>
                  </a:lnTo>
                  <a:lnTo>
                    <a:pt x="2641" y="591"/>
                  </a:lnTo>
                  <a:lnTo>
                    <a:pt x="2641" y="591"/>
                  </a:lnTo>
                  <a:lnTo>
                    <a:pt x="2639" y="591"/>
                  </a:lnTo>
                  <a:lnTo>
                    <a:pt x="2639" y="593"/>
                  </a:lnTo>
                  <a:lnTo>
                    <a:pt x="2639" y="595"/>
                  </a:lnTo>
                  <a:lnTo>
                    <a:pt x="2641" y="595"/>
                  </a:lnTo>
                  <a:lnTo>
                    <a:pt x="2644" y="595"/>
                  </a:lnTo>
                  <a:lnTo>
                    <a:pt x="2648" y="595"/>
                  </a:lnTo>
                  <a:lnTo>
                    <a:pt x="2654" y="597"/>
                  </a:lnTo>
                  <a:lnTo>
                    <a:pt x="2658" y="597"/>
                  </a:lnTo>
                  <a:lnTo>
                    <a:pt x="2662" y="597"/>
                  </a:lnTo>
                  <a:lnTo>
                    <a:pt x="2662" y="597"/>
                  </a:lnTo>
                  <a:lnTo>
                    <a:pt x="2658" y="599"/>
                  </a:lnTo>
                  <a:lnTo>
                    <a:pt x="2652" y="599"/>
                  </a:lnTo>
                  <a:lnTo>
                    <a:pt x="2650" y="597"/>
                  </a:lnTo>
                  <a:lnTo>
                    <a:pt x="2644" y="597"/>
                  </a:lnTo>
                  <a:lnTo>
                    <a:pt x="2639" y="597"/>
                  </a:lnTo>
                  <a:lnTo>
                    <a:pt x="2637" y="597"/>
                  </a:lnTo>
                  <a:lnTo>
                    <a:pt x="2637" y="597"/>
                  </a:lnTo>
                  <a:lnTo>
                    <a:pt x="2635" y="599"/>
                  </a:lnTo>
                  <a:lnTo>
                    <a:pt x="2637" y="601"/>
                  </a:lnTo>
                  <a:lnTo>
                    <a:pt x="2637" y="601"/>
                  </a:lnTo>
                  <a:lnTo>
                    <a:pt x="2639" y="603"/>
                  </a:lnTo>
                  <a:lnTo>
                    <a:pt x="2639" y="603"/>
                  </a:lnTo>
                  <a:lnTo>
                    <a:pt x="2641" y="605"/>
                  </a:lnTo>
                  <a:lnTo>
                    <a:pt x="2641" y="605"/>
                  </a:lnTo>
                  <a:lnTo>
                    <a:pt x="2641" y="605"/>
                  </a:lnTo>
                  <a:lnTo>
                    <a:pt x="2639" y="605"/>
                  </a:lnTo>
                  <a:lnTo>
                    <a:pt x="2637" y="607"/>
                  </a:lnTo>
                  <a:lnTo>
                    <a:pt x="2637" y="607"/>
                  </a:lnTo>
                  <a:lnTo>
                    <a:pt x="2637" y="611"/>
                  </a:lnTo>
                  <a:lnTo>
                    <a:pt x="2639" y="611"/>
                  </a:lnTo>
                  <a:lnTo>
                    <a:pt x="2641" y="613"/>
                  </a:lnTo>
                  <a:lnTo>
                    <a:pt x="2644" y="613"/>
                  </a:lnTo>
                  <a:lnTo>
                    <a:pt x="2648" y="613"/>
                  </a:lnTo>
                  <a:lnTo>
                    <a:pt x="2654" y="611"/>
                  </a:lnTo>
                  <a:lnTo>
                    <a:pt x="2658" y="613"/>
                  </a:lnTo>
                  <a:lnTo>
                    <a:pt x="2658" y="613"/>
                  </a:lnTo>
                  <a:lnTo>
                    <a:pt x="2660" y="611"/>
                  </a:lnTo>
                  <a:lnTo>
                    <a:pt x="2660" y="609"/>
                  </a:lnTo>
                  <a:lnTo>
                    <a:pt x="2660" y="609"/>
                  </a:lnTo>
                  <a:lnTo>
                    <a:pt x="2660" y="611"/>
                  </a:lnTo>
                  <a:lnTo>
                    <a:pt x="2662" y="611"/>
                  </a:lnTo>
                  <a:lnTo>
                    <a:pt x="2664" y="611"/>
                  </a:lnTo>
                  <a:lnTo>
                    <a:pt x="2666" y="611"/>
                  </a:lnTo>
                  <a:lnTo>
                    <a:pt x="2668" y="611"/>
                  </a:lnTo>
                  <a:lnTo>
                    <a:pt x="2670" y="611"/>
                  </a:lnTo>
                  <a:lnTo>
                    <a:pt x="2670" y="611"/>
                  </a:lnTo>
                  <a:lnTo>
                    <a:pt x="2670" y="609"/>
                  </a:lnTo>
                  <a:lnTo>
                    <a:pt x="2670" y="607"/>
                  </a:lnTo>
                  <a:lnTo>
                    <a:pt x="2672" y="607"/>
                  </a:lnTo>
                  <a:lnTo>
                    <a:pt x="2672" y="607"/>
                  </a:lnTo>
                  <a:lnTo>
                    <a:pt x="2670" y="609"/>
                  </a:lnTo>
                  <a:lnTo>
                    <a:pt x="2672" y="611"/>
                  </a:lnTo>
                  <a:lnTo>
                    <a:pt x="2674" y="611"/>
                  </a:lnTo>
                  <a:lnTo>
                    <a:pt x="2674" y="611"/>
                  </a:lnTo>
                  <a:lnTo>
                    <a:pt x="2666" y="613"/>
                  </a:lnTo>
                  <a:lnTo>
                    <a:pt x="2666" y="615"/>
                  </a:lnTo>
                  <a:lnTo>
                    <a:pt x="2666" y="615"/>
                  </a:lnTo>
                  <a:lnTo>
                    <a:pt x="2666" y="618"/>
                  </a:lnTo>
                  <a:lnTo>
                    <a:pt x="2666" y="615"/>
                  </a:lnTo>
                  <a:lnTo>
                    <a:pt x="2666" y="615"/>
                  </a:lnTo>
                  <a:lnTo>
                    <a:pt x="2664" y="613"/>
                  </a:lnTo>
                  <a:lnTo>
                    <a:pt x="2662" y="613"/>
                  </a:lnTo>
                  <a:lnTo>
                    <a:pt x="2660" y="613"/>
                  </a:lnTo>
                  <a:lnTo>
                    <a:pt x="2658" y="613"/>
                  </a:lnTo>
                  <a:lnTo>
                    <a:pt x="2656" y="613"/>
                  </a:lnTo>
                  <a:lnTo>
                    <a:pt x="2652" y="613"/>
                  </a:lnTo>
                  <a:lnTo>
                    <a:pt x="2646" y="615"/>
                  </a:lnTo>
                  <a:lnTo>
                    <a:pt x="2641" y="615"/>
                  </a:lnTo>
                  <a:lnTo>
                    <a:pt x="2639" y="615"/>
                  </a:lnTo>
                  <a:lnTo>
                    <a:pt x="2639" y="613"/>
                  </a:lnTo>
                  <a:lnTo>
                    <a:pt x="2637" y="615"/>
                  </a:lnTo>
                  <a:lnTo>
                    <a:pt x="2637" y="618"/>
                  </a:lnTo>
                  <a:lnTo>
                    <a:pt x="2637" y="620"/>
                  </a:lnTo>
                  <a:lnTo>
                    <a:pt x="2637" y="622"/>
                  </a:lnTo>
                  <a:lnTo>
                    <a:pt x="2639" y="624"/>
                  </a:lnTo>
                  <a:lnTo>
                    <a:pt x="2641" y="626"/>
                  </a:lnTo>
                  <a:lnTo>
                    <a:pt x="2644" y="624"/>
                  </a:lnTo>
                  <a:lnTo>
                    <a:pt x="2646" y="622"/>
                  </a:lnTo>
                  <a:lnTo>
                    <a:pt x="2648" y="622"/>
                  </a:lnTo>
                  <a:lnTo>
                    <a:pt x="2646" y="624"/>
                  </a:lnTo>
                  <a:lnTo>
                    <a:pt x="2639" y="626"/>
                  </a:lnTo>
                  <a:lnTo>
                    <a:pt x="2639" y="628"/>
                  </a:lnTo>
                  <a:lnTo>
                    <a:pt x="2639" y="630"/>
                  </a:lnTo>
                  <a:lnTo>
                    <a:pt x="2641" y="632"/>
                  </a:lnTo>
                  <a:lnTo>
                    <a:pt x="2644" y="634"/>
                  </a:lnTo>
                  <a:lnTo>
                    <a:pt x="2646" y="634"/>
                  </a:lnTo>
                  <a:lnTo>
                    <a:pt x="2648" y="634"/>
                  </a:lnTo>
                  <a:lnTo>
                    <a:pt x="2648" y="634"/>
                  </a:lnTo>
                  <a:lnTo>
                    <a:pt x="2646" y="636"/>
                  </a:lnTo>
                  <a:lnTo>
                    <a:pt x="2644" y="636"/>
                  </a:lnTo>
                  <a:lnTo>
                    <a:pt x="2641" y="636"/>
                  </a:lnTo>
                  <a:lnTo>
                    <a:pt x="2641" y="636"/>
                  </a:lnTo>
                  <a:lnTo>
                    <a:pt x="2639" y="636"/>
                  </a:lnTo>
                  <a:lnTo>
                    <a:pt x="2641" y="638"/>
                  </a:lnTo>
                  <a:lnTo>
                    <a:pt x="2639" y="638"/>
                  </a:lnTo>
                  <a:lnTo>
                    <a:pt x="2639" y="640"/>
                  </a:lnTo>
                  <a:lnTo>
                    <a:pt x="2639" y="642"/>
                  </a:lnTo>
                  <a:lnTo>
                    <a:pt x="2639" y="644"/>
                  </a:lnTo>
                  <a:lnTo>
                    <a:pt x="2639" y="644"/>
                  </a:lnTo>
                  <a:lnTo>
                    <a:pt x="2639" y="644"/>
                  </a:lnTo>
                  <a:lnTo>
                    <a:pt x="2641" y="644"/>
                  </a:lnTo>
                  <a:lnTo>
                    <a:pt x="2641" y="642"/>
                  </a:lnTo>
                  <a:lnTo>
                    <a:pt x="2644" y="642"/>
                  </a:lnTo>
                  <a:lnTo>
                    <a:pt x="2646" y="640"/>
                  </a:lnTo>
                  <a:lnTo>
                    <a:pt x="2646" y="638"/>
                  </a:lnTo>
                  <a:lnTo>
                    <a:pt x="2648" y="636"/>
                  </a:lnTo>
                  <a:lnTo>
                    <a:pt x="2650" y="636"/>
                  </a:lnTo>
                  <a:lnTo>
                    <a:pt x="2650" y="636"/>
                  </a:lnTo>
                  <a:lnTo>
                    <a:pt x="2650" y="634"/>
                  </a:lnTo>
                  <a:lnTo>
                    <a:pt x="2652" y="632"/>
                  </a:lnTo>
                  <a:lnTo>
                    <a:pt x="2654" y="630"/>
                  </a:lnTo>
                  <a:lnTo>
                    <a:pt x="2654" y="630"/>
                  </a:lnTo>
                  <a:lnTo>
                    <a:pt x="2656" y="628"/>
                  </a:lnTo>
                  <a:lnTo>
                    <a:pt x="2664" y="626"/>
                  </a:lnTo>
                  <a:lnTo>
                    <a:pt x="2666" y="626"/>
                  </a:lnTo>
                  <a:lnTo>
                    <a:pt x="2666" y="628"/>
                  </a:lnTo>
                  <a:lnTo>
                    <a:pt x="2662" y="628"/>
                  </a:lnTo>
                  <a:lnTo>
                    <a:pt x="2662" y="628"/>
                  </a:lnTo>
                  <a:lnTo>
                    <a:pt x="2662" y="630"/>
                  </a:lnTo>
                  <a:lnTo>
                    <a:pt x="2660" y="634"/>
                  </a:lnTo>
                  <a:lnTo>
                    <a:pt x="2660" y="632"/>
                  </a:lnTo>
                  <a:lnTo>
                    <a:pt x="2660" y="630"/>
                  </a:lnTo>
                  <a:lnTo>
                    <a:pt x="2660" y="628"/>
                  </a:lnTo>
                  <a:lnTo>
                    <a:pt x="2656" y="630"/>
                  </a:lnTo>
                  <a:lnTo>
                    <a:pt x="2654" y="632"/>
                  </a:lnTo>
                  <a:lnTo>
                    <a:pt x="2654" y="634"/>
                  </a:lnTo>
                  <a:lnTo>
                    <a:pt x="2654" y="634"/>
                  </a:lnTo>
                  <a:lnTo>
                    <a:pt x="2654" y="636"/>
                  </a:lnTo>
                  <a:lnTo>
                    <a:pt x="2652" y="636"/>
                  </a:lnTo>
                  <a:lnTo>
                    <a:pt x="2650" y="638"/>
                  </a:lnTo>
                  <a:lnTo>
                    <a:pt x="2648" y="640"/>
                  </a:lnTo>
                  <a:lnTo>
                    <a:pt x="2648" y="640"/>
                  </a:lnTo>
                  <a:lnTo>
                    <a:pt x="2650" y="642"/>
                  </a:lnTo>
                  <a:lnTo>
                    <a:pt x="2652" y="640"/>
                  </a:lnTo>
                  <a:lnTo>
                    <a:pt x="2652" y="640"/>
                  </a:lnTo>
                  <a:lnTo>
                    <a:pt x="2654" y="640"/>
                  </a:lnTo>
                  <a:lnTo>
                    <a:pt x="2656" y="640"/>
                  </a:lnTo>
                  <a:lnTo>
                    <a:pt x="2652" y="642"/>
                  </a:lnTo>
                  <a:lnTo>
                    <a:pt x="2650" y="642"/>
                  </a:lnTo>
                  <a:lnTo>
                    <a:pt x="2648" y="644"/>
                  </a:lnTo>
                  <a:lnTo>
                    <a:pt x="2646" y="644"/>
                  </a:lnTo>
                  <a:lnTo>
                    <a:pt x="2646" y="642"/>
                  </a:lnTo>
                  <a:lnTo>
                    <a:pt x="2644" y="642"/>
                  </a:lnTo>
                  <a:lnTo>
                    <a:pt x="2644" y="644"/>
                  </a:lnTo>
                  <a:lnTo>
                    <a:pt x="2641" y="644"/>
                  </a:lnTo>
                  <a:lnTo>
                    <a:pt x="2641" y="646"/>
                  </a:lnTo>
                  <a:lnTo>
                    <a:pt x="2639" y="649"/>
                  </a:lnTo>
                  <a:lnTo>
                    <a:pt x="2639" y="653"/>
                  </a:lnTo>
                  <a:lnTo>
                    <a:pt x="2639" y="655"/>
                  </a:lnTo>
                  <a:lnTo>
                    <a:pt x="2644" y="655"/>
                  </a:lnTo>
                  <a:lnTo>
                    <a:pt x="2644" y="655"/>
                  </a:lnTo>
                  <a:lnTo>
                    <a:pt x="2646" y="653"/>
                  </a:lnTo>
                  <a:lnTo>
                    <a:pt x="2648" y="651"/>
                  </a:lnTo>
                  <a:lnTo>
                    <a:pt x="2648" y="651"/>
                  </a:lnTo>
                  <a:lnTo>
                    <a:pt x="2650" y="651"/>
                  </a:lnTo>
                  <a:lnTo>
                    <a:pt x="2652" y="649"/>
                  </a:lnTo>
                  <a:lnTo>
                    <a:pt x="2654" y="649"/>
                  </a:lnTo>
                  <a:lnTo>
                    <a:pt x="2656" y="646"/>
                  </a:lnTo>
                  <a:lnTo>
                    <a:pt x="2658" y="646"/>
                  </a:lnTo>
                  <a:lnTo>
                    <a:pt x="2658" y="646"/>
                  </a:lnTo>
                  <a:lnTo>
                    <a:pt x="2656" y="646"/>
                  </a:lnTo>
                  <a:lnTo>
                    <a:pt x="2654" y="649"/>
                  </a:lnTo>
                  <a:lnTo>
                    <a:pt x="2652" y="651"/>
                  </a:lnTo>
                  <a:lnTo>
                    <a:pt x="2652" y="653"/>
                  </a:lnTo>
                  <a:lnTo>
                    <a:pt x="2652" y="653"/>
                  </a:lnTo>
                  <a:lnTo>
                    <a:pt x="2652" y="655"/>
                  </a:lnTo>
                  <a:lnTo>
                    <a:pt x="2652" y="655"/>
                  </a:lnTo>
                  <a:lnTo>
                    <a:pt x="2650" y="657"/>
                  </a:lnTo>
                  <a:lnTo>
                    <a:pt x="2650" y="657"/>
                  </a:lnTo>
                  <a:lnTo>
                    <a:pt x="2652" y="659"/>
                  </a:lnTo>
                  <a:lnTo>
                    <a:pt x="2654" y="659"/>
                  </a:lnTo>
                  <a:lnTo>
                    <a:pt x="2656" y="657"/>
                  </a:lnTo>
                  <a:lnTo>
                    <a:pt x="2658" y="659"/>
                  </a:lnTo>
                  <a:lnTo>
                    <a:pt x="2656" y="659"/>
                  </a:lnTo>
                  <a:lnTo>
                    <a:pt x="2654" y="661"/>
                  </a:lnTo>
                  <a:lnTo>
                    <a:pt x="2654" y="661"/>
                  </a:lnTo>
                  <a:lnTo>
                    <a:pt x="2650" y="659"/>
                  </a:lnTo>
                  <a:lnTo>
                    <a:pt x="2646" y="657"/>
                  </a:lnTo>
                  <a:lnTo>
                    <a:pt x="2646" y="659"/>
                  </a:lnTo>
                  <a:lnTo>
                    <a:pt x="2646" y="661"/>
                  </a:lnTo>
                  <a:lnTo>
                    <a:pt x="2646" y="663"/>
                  </a:lnTo>
                  <a:lnTo>
                    <a:pt x="2646" y="665"/>
                  </a:lnTo>
                  <a:lnTo>
                    <a:pt x="2648" y="667"/>
                  </a:lnTo>
                  <a:lnTo>
                    <a:pt x="2652" y="669"/>
                  </a:lnTo>
                  <a:lnTo>
                    <a:pt x="2652" y="671"/>
                  </a:lnTo>
                  <a:lnTo>
                    <a:pt x="2658" y="673"/>
                  </a:lnTo>
                  <a:lnTo>
                    <a:pt x="2658" y="673"/>
                  </a:lnTo>
                  <a:lnTo>
                    <a:pt x="2660" y="673"/>
                  </a:lnTo>
                  <a:lnTo>
                    <a:pt x="2662" y="673"/>
                  </a:lnTo>
                  <a:lnTo>
                    <a:pt x="2662" y="673"/>
                  </a:lnTo>
                  <a:lnTo>
                    <a:pt x="2662" y="673"/>
                  </a:lnTo>
                  <a:lnTo>
                    <a:pt x="2660" y="675"/>
                  </a:lnTo>
                  <a:lnTo>
                    <a:pt x="2660" y="675"/>
                  </a:lnTo>
                  <a:lnTo>
                    <a:pt x="2660" y="677"/>
                  </a:lnTo>
                  <a:lnTo>
                    <a:pt x="2662" y="677"/>
                  </a:lnTo>
                  <a:lnTo>
                    <a:pt x="2662" y="677"/>
                  </a:lnTo>
                  <a:lnTo>
                    <a:pt x="2662" y="675"/>
                  </a:lnTo>
                  <a:lnTo>
                    <a:pt x="2664" y="675"/>
                  </a:lnTo>
                  <a:lnTo>
                    <a:pt x="2664" y="675"/>
                  </a:lnTo>
                  <a:lnTo>
                    <a:pt x="2664" y="675"/>
                  </a:lnTo>
                  <a:lnTo>
                    <a:pt x="2664" y="675"/>
                  </a:lnTo>
                  <a:lnTo>
                    <a:pt x="2664" y="677"/>
                  </a:lnTo>
                  <a:lnTo>
                    <a:pt x="2664" y="677"/>
                  </a:lnTo>
                  <a:lnTo>
                    <a:pt x="2666" y="677"/>
                  </a:lnTo>
                  <a:lnTo>
                    <a:pt x="2668" y="677"/>
                  </a:lnTo>
                  <a:lnTo>
                    <a:pt x="2672" y="677"/>
                  </a:lnTo>
                  <a:lnTo>
                    <a:pt x="2679" y="677"/>
                  </a:lnTo>
                  <a:lnTo>
                    <a:pt x="2681" y="675"/>
                  </a:lnTo>
                  <a:lnTo>
                    <a:pt x="2683" y="675"/>
                  </a:lnTo>
                  <a:lnTo>
                    <a:pt x="2685" y="673"/>
                  </a:lnTo>
                  <a:lnTo>
                    <a:pt x="2687" y="673"/>
                  </a:lnTo>
                  <a:lnTo>
                    <a:pt x="2693" y="667"/>
                  </a:lnTo>
                  <a:lnTo>
                    <a:pt x="2697" y="665"/>
                  </a:lnTo>
                  <a:lnTo>
                    <a:pt x="2697" y="665"/>
                  </a:lnTo>
                  <a:lnTo>
                    <a:pt x="2697" y="663"/>
                  </a:lnTo>
                  <a:lnTo>
                    <a:pt x="2699" y="663"/>
                  </a:lnTo>
                  <a:lnTo>
                    <a:pt x="2701" y="663"/>
                  </a:lnTo>
                  <a:lnTo>
                    <a:pt x="2699" y="661"/>
                  </a:lnTo>
                  <a:lnTo>
                    <a:pt x="2703" y="659"/>
                  </a:lnTo>
                  <a:lnTo>
                    <a:pt x="2703" y="659"/>
                  </a:lnTo>
                  <a:lnTo>
                    <a:pt x="2703" y="659"/>
                  </a:lnTo>
                  <a:lnTo>
                    <a:pt x="2705" y="659"/>
                  </a:lnTo>
                  <a:lnTo>
                    <a:pt x="2703" y="657"/>
                  </a:lnTo>
                  <a:lnTo>
                    <a:pt x="2703" y="655"/>
                  </a:lnTo>
                  <a:lnTo>
                    <a:pt x="2703" y="655"/>
                  </a:lnTo>
                  <a:lnTo>
                    <a:pt x="2705" y="657"/>
                  </a:lnTo>
                  <a:lnTo>
                    <a:pt x="2707" y="659"/>
                  </a:lnTo>
                  <a:lnTo>
                    <a:pt x="2707" y="659"/>
                  </a:lnTo>
                  <a:lnTo>
                    <a:pt x="2710" y="657"/>
                  </a:lnTo>
                  <a:lnTo>
                    <a:pt x="2712" y="659"/>
                  </a:lnTo>
                  <a:lnTo>
                    <a:pt x="2712" y="657"/>
                  </a:lnTo>
                  <a:lnTo>
                    <a:pt x="2712" y="657"/>
                  </a:lnTo>
                  <a:lnTo>
                    <a:pt x="2716" y="653"/>
                  </a:lnTo>
                  <a:lnTo>
                    <a:pt x="2716" y="651"/>
                  </a:lnTo>
                  <a:lnTo>
                    <a:pt x="2716" y="649"/>
                  </a:lnTo>
                  <a:lnTo>
                    <a:pt x="2716" y="649"/>
                  </a:lnTo>
                  <a:lnTo>
                    <a:pt x="2714" y="646"/>
                  </a:lnTo>
                  <a:lnTo>
                    <a:pt x="2716" y="646"/>
                  </a:lnTo>
                  <a:lnTo>
                    <a:pt x="2718" y="646"/>
                  </a:lnTo>
                  <a:lnTo>
                    <a:pt x="2716" y="644"/>
                  </a:lnTo>
                  <a:lnTo>
                    <a:pt x="2718" y="642"/>
                  </a:lnTo>
                  <a:lnTo>
                    <a:pt x="2718" y="644"/>
                  </a:lnTo>
                  <a:lnTo>
                    <a:pt x="2718" y="646"/>
                  </a:lnTo>
                  <a:lnTo>
                    <a:pt x="2718" y="649"/>
                  </a:lnTo>
                  <a:lnTo>
                    <a:pt x="2718" y="651"/>
                  </a:lnTo>
                  <a:lnTo>
                    <a:pt x="2720" y="653"/>
                  </a:lnTo>
                  <a:lnTo>
                    <a:pt x="2720" y="655"/>
                  </a:lnTo>
                  <a:lnTo>
                    <a:pt x="2722" y="655"/>
                  </a:lnTo>
                  <a:lnTo>
                    <a:pt x="2724" y="655"/>
                  </a:lnTo>
                  <a:lnTo>
                    <a:pt x="2724" y="655"/>
                  </a:lnTo>
                  <a:lnTo>
                    <a:pt x="2726" y="655"/>
                  </a:lnTo>
                  <a:lnTo>
                    <a:pt x="2728" y="657"/>
                  </a:lnTo>
                  <a:lnTo>
                    <a:pt x="2728" y="657"/>
                  </a:lnTo>
                  <a:lnTo>
                    <a:pt x="2728" y="657"/>
                  </a:lnTo>
                  <a:lnTo>
                    <a:pt x="2728" y="657"/>
                  </a:lnTo>
                  <a:lnTo>
                    <a:pt x="2726" y="657"/>
                  </a:lnTo>
                  <a:lnTo>
                    <a:pt x="2726" y="657"/>
                  </a:lnTo>
                  <a:lnTo>
                    <a:pt x="2726" y="659"/>
                  </a:lnTo>
                  <a:lnTo>
                    <a:pt x="2726" y="659"/>
                  </a:lnTo>
                  <a:lnTo>
                    <a:pt x="2726" y="661"/>
                  </a:lnTo>
                  <a:lnTo>
                    <a:pt x="2726" y="665"/>
                  </a:lnTo>
                  <a:lnTo>
                    <a:pt x="2726" y="669"/>
                  </a:lnTo>
                  <a:lnTo>
                    <a:pt x="2726" y="669"/>
                  </a:lnTo>
                  <a:lnTo>
                    <a:pt x="2726" y="671"/>
                  </a:lnTo>
                  <a:lnTo>
                    <a:pt x="2728" y="671"/>
                  </a:lnTo>
                  <a:lnTo>
                    <a:pt x="2730" y="671"/>
                  </a:lnTo>
                  <a:lnTo>
                    <a:pt x="2730" y="675"/>
                  </a:lnTo>
                  <a:lnTo>
                    <a:pt x="2730" y="679"/>
                  </a:lnTo>
                  <a:lnTo>
                    <a:pt x="2732" y="679"/>
                  </a:lnTo>
                  <a:lnTo>
                    <a:pt x="2734" y="684"/>
                  </a:lnTo>
                  <a:lnTo>
                    <a:pt x="2734" y="684"/>
                  </a:lnTo>
                  <a:lnTo>
                    <a:pt x="2736" y="686"/>
                  </a:lnTo>
                  <a:lnTo>
                    <a:pt x="2736" y="686"/>
                  </a:lnTo>
                  <a:lnTo>
                    <a:pt x="2736" y="688"/>
                  </a:lnTo>
                  <a:lnTo>
                    <a:pt x="2736" y="690"/>
                  </a:lnTo>
                  <a:lnTo>
                    <a:pt x="2738" y="690"/>
                  </a:lnTo>
                  <a:lnTo>
                    <a:pt x="2740" y="694"/>
                  </a:lnTo>
                  <a:lnTo>
                    <a:pt x="2743" y="700"/>
                  </a:lnTo>
                  <a:lnTo>
                    <a:pt x="2745" y="702"/>
                  </a:lnTo>
                  <a:lnTo>
                    <a:pt x="2747" y="706"/>
                  </a:lnTo>
                  <a:lnTo>
                    <a:pt x="2749" y="706"/>
                  </a:lnTo>
                  <a:lnTo>
                    <a:pt x="2751" y="706"/>
                  </a:lnTo>
                  <a:lnTo>
                    <a:pt x="2751" y="708"/>
                  </a:lnTo>
                  <a:lnTo>
                    <a:pt x="2749" y="710"/>
                  </a:lnTo>
                  <a:lnTo>
                    <a:pt x="2749" y="710"/>
                  </a:lnTo>
                  <a:lnTo>
                    <a:pt x="2747" y="710"/>
                  </a:lnTo>
                  <a:lnTo>
                    <a:pt x="2747" y="710"/>
                  </a:lnTo>
                  <a:lnTo>
                    <a:pt x="2749" y="713"/>
                  </a:lnTo>
                  <a:lnTo>
                    <a:pt x="2749" y="715"/>
                  </a:lnTo>
                  <a:lnTo>
                    <a:pt x="2749" y="715"/>
                  </a:lnTo>
                  <a:lnTo>
                    <a:pt x="2747" y="715"/>
                  </a:lnTo>
                  <a:lnTo>
                    <a:pt x="2745" y="713"/>
                  </a:lnTo>
                  <a:lnTo>
                    <a:pt x="2745" y="713"/>
                  </a:lnTo>
                  <a:lnTo>
                    <a:pt x="2745" y="715"/>
                  </a:lnTo>
                  <a:lnTo>
                    <a:pt x="2747" y="717"/>
                  </a:lnTo>
                  <a:lnTo>
                    <a:pt x="2749" y="721"/>
                  </a:lnTo>
                  <a:lnTo>
                    <a:pt x="2751" y="723"/>
                  </a:lnTo>
                  <a:lnTo>
                    <a:pt x="2751" y="725"/>
                  </a:lnTo>
                  <a:lnTo>
                    <a:pt x="2751" y="725"/>
                  </a:lnTo>
                  <a:lnTo>
                    <a:pt x="2751" y="727"/>
                  </a:lnTo>
                  <a:lnTo>
                    <a:pt x="2751" y="729"/>
                  </a:lnTo>
                  <a:lnTo>
                    <a:pt x="2751" y="729"/>
                  </a:lnTo>
                  <a:lnTo>
                    <a:pt x="2751" y="731"/>
                  </a:lnTo>
                  <a:lnTo>
                    <a:pt x="2757" y="731"/>
                  </a:lnTo>
                  <a:lnTo>
                    <a:pt x="2763" y="731"/>
                  </a:lnTo>
                  <a:lnTo>
                    <a:pt x="2767" y="731"/>
                  </a:lnTo>
                  <a:lnTo>
                    <a:pt x="2769" y="731"/>
                  </a:lnTo>
                  <a:lnTo>
                    <a:pt x="2771" y="729"/>
                  </a:lnTo>
                  <a:lnTo>
                    <a:pt x="2769" y="727"/>
                  </a:lnTo>
                  <a:lnTo>
                    <a:pt x="2769" y="725"/>
                  </a:lnTo>
                  <a:lnTo>
                    <a:pt x="2769" y="723"/>
                  </a:lnTo>
                  <a:lnTo>
                    <a:pt x="2769" y="721"/>
                  </a:lnTo>
                  <a:lnTo>
                    <a:pt x="2771" y="719"/>
                  </a:lnTo>
                  <a:lnTo>
                    <a:pt x="2773" y="719"/>
                  </a:lnTo>
                  <a:lnTo>
                    <a:pt x="2773" y="719"/>
                  </a:lnTo>
                  <a:lnTo>
                    <a:pt x="2776" y="719"/>
                  </a:lnTo>
                  <a:lnTo>
                    <a:pt x="2778" y="719"/>
                  </a:lnTo>
                  <a:lnTo>
                    <a:pt x="2776" y="717"/>
                  </a:lnTo>
                  <a:lnTo>
                    <a:pt x="2778" y="717"/>
                  </a:lnTo>
                  <a:lnTo>
                    <a:pt x="2782" y="717"/>
                  </a:lnTo>
                  <a:lnTo>
                    <a:pt x="2786" y="717"/>
                  </a:lnTo>
                  <a:lnTo>
                    <a:pt x="2788" y="715"/>
                  </a:lnTo>
                  <a:lnTo>
                    <a:pt x="2790" y="715"/>
                  </a:lnTo>
                  <a:lnTo>
                    <a:pt x="2790" y="717"/>
                  </a:lnTo>
                  <a:lnTo>
                    <a:pt x="2792" y="717"/>
                  </a:lnTo>
                  <a:lnTo>
                    <a:pt x="2794" y="717"/>
                  </a:lnTo>
                  <a:lnTo>
                    <a:pt x="2794" y="715"/>
                  </a:lnTo>
                  <a:lnTo>
                    <a:pt x="2796" y="708"/>
                  </a:lnTo>
                  <a:lnTo>
                    <a:pt x="2798" y="706"/>
                  </a:lnTo>
                  <a:lnTo>
                    <a:pt x="2800" y="704"/>
                  </a:lnTo>
                  <a:lnTo>
                    <a:pt x="2800" y="702"/>
                  </a:lnTo>
                  <a:lnTo>
                    <a:pt x="2800" y="700"/>
                  </a:lnTo>
                  <a:lnTo>
                    <a:pt x="2802" y="698"/>
                  </a:lnTo>
                  <a:lnTo>
                    <a:pt x="2802" y="696"/>
                  </a:lnTo>
                  <a:lnTo>
                    <a:pt x="2800" y="696"/>
                  </a:lnTo>
                  <a:lnTo>
                    <a:pt x="2800" y="694"/>
                  </a:lnTo>
                  <a:lnTo>
                    <a:pt x="2804" y="690"/>
                  </a:lnTo>
                  <a:lnTo>
                    <a:pt x="2804" y="690"/>
                  </a:lnTo>
                  <a:lnTo>
                    <a:pt x="2802" y="688"/>
                  </a:lnTo>
                  <a:lnTo>
                    <a:pt x="2802" y="686"/>
                  </a:lnTo>
                  <a:lnTo>
                    <a:pt x="2802" y="684"/>
                  </a:lnTo>
                  <a:lnTo>
                    <a:pt x="2802" y="682"/>
                  </a:lnTo>
                  <a:lnTo>
                    <a:pt x="2802" y="679"/>
                  </a:lnTo>
                  <a:lnTo>
                    <a:pt x="2804" y="679"/>
                  </a:lnTo>
                  <a:lnTo>
                    <a:pt x="2804" y="675"/>
                  </a:lnTo>
                  <a:lnTo>
                    <a:pt x="2804" y="673"/>
                  </a:lnTo>
                  <a:lnTo>
                    <a:pt x="2804" y="673"/>
                  </a:lnTo>
                  <a:lnTo>
                    <a:pt x="2804" y="669"/>
                  </a:lnTo>
                  <a:lnTo>
                    <a:pt x="2806" y="669"/>
                  </a:lnTo>
                  <a:lnTo>
                    <a:pt x="2809" y="669"/>
                  </a:lnTo>
                  <a:lnTo>
                    <a:pt x="2806" y="667"/>
                  </a:lnTo>
                  <a:lnTo>
                    <a:pt x="2804" y="667"/>
                  </a:lnTo>
                  <a:lnTo>
                    <a:pt x="2800" y="665"/>
                  </a:lnTo>
                  <a:lnTo>
                    <a:pt x="2800" y="667"/>
                  </a:lnTo>
                  <a:lnTo>
                    <a:pt x="2798" y="665"/>
                  </a:lnTo>
                  <a:lnTo>
                    <a:pt x="2798" y="665"/>
                  </a:lnTo>
                  <a:lnTo>
                    <a:pt x="2798" y="665"/>
                  </a:lnTo>
                  <a:lnTo>
                    <a:pt x="2804" y="665"/>
                  </a:lnTo>
                  <a:lnTo>
                    <a:pt x="2809" y="665"/>
                  </a:lnTo>
                  <a:lnTo>
                    <a:pt x="2811" y="665"/>
                  </a:lnTo>
                  <a:lnTo>
                    <a:pt x="2813" y="663"/>
                  </a:lnTo>
                  <a:lnTo>
                    <a:pt x="2815" y="661"/>
                  </a:lnTo>
                  <a:lnTo>
                    <a:pt x="2819" y="659"/>
                  </a:lnTo>
                  <a:lnTo>
                    <a:pt x="2819" y="659"/>
                  </a:lnTo>
                  <a:lnTo>
                    <a:pt x="2821" y="659"/>
                  </a:lnTo>
                  <a:lnTo>
                    <a:pt x="2823" y="659"/>
                  </a:lnTo>
                  <a:lnTo>
                    <a:pt x="2825" y="657"/>
                  </a:lnTo>
                  <a:lnTo>
                    <a:pt x="2827" y="657"/>
                  </a:lnTo>
                  <a:lnTo>
                    <a:pt x="2827" y="655"/>
                  </a:lnTo>
                  <a:lnTo>
                    <a:pt x="2829" y="655"/>
                  </a:lnTo>
                  <a:lnTo>
                    <a:pt x="2829" y="653"/>
                  </a:lnTo>
                  <a:lnTo>
                    <a:pt x="2829" y="653"/>
                  </a:lnTo>
                  <a:lnTo>
                    <a:pt x="2831" y="651"/>
                  </a:lnTo>
                  <a:lnTo>
                    <a:pt x="2831" y="651"/>
                  </a:lnTo>
                  <a:lnTo>
                    <a:pt x="2831" y="649"/>
                  </a:lnTo>
                  <a:lnTo>
                    <a:pt x="2829" y="651"/>
                  </a:lnTo>
                  <a:lnTo>
                    <a:pt x="2829" y="651"/>
                  </a:lnTo>
                  <a:lnTo>
                    <a:pt x="2827" y="651"/>
                  </a:lnTo>
                  <a:lnTo>
                    <a:pt x="2827" y="651"/>
                  </a:lnTo>
                  <a:lnTo>
                    <a:pt x="2825" y="651"/>
                  </a:lnTo>
                  <a:lnTo>
                    <a:pt x="2825" y="651"/>
                  </a:lnTo>
                  <a:lnTo>
                    <a:pt x="2823" y="651"/>
                  </a:lnTo>
                  <a:lnTo>
                    <a:pt x="2823" y="651"/>
                  </a:lnTo>
                  <a:lnTo>
                    <a:pt x="2825" y="649"/>
                  </a:lnTo>
                  <a:lnTo>
                    <a:pt x="2825" y="649"/>
                  </a:lnTo>
                  <a:lnTo>
                    <a:pt x="2827" y="649"/>
                  </a:lnTo>
                  <a:lnTo>
                    <a:pt x="2827" y="649"/>
                  </a:lnTo>
                  <a:lnTo>
                    <a:pt x="2829" y="649"/>
                  </a:lnTo>
                  <a:lnTo>
                    <a:pt x="2831" y="646"/>
                  </a:lnTo>
                  <a:lnTo>
                    <a:pt x="2831" y="646"/>
                  </a:lnTo>
                  <a:lnTo>
                    <a:pt x="2833" y="644"/>
                  </a:lnTo>
                  <a:lnTo>
                    <a:pt x="2835" y="642"/>
                  </a:lnTo>
                  <a:lnTo>
                    <a:pt x="2837" y="642"/>
                  </a:lnTo>
                  <a:lnTo>
                    <a:pt x="2837" y="640"/>
                  </a:lnTo>
                  <a:lnTo>
                    <a:pt x="2835" y="638"/>
                  </a:lnTo>
                  <a:lnTo>
                    <a:pt x="2835" y="638"/>
                  </a:lnTo>
                  <a:lnTo>
                    <a:pt x="2835" y="636"/>
                  </a:lnTo>
                  <a:lnTo>
                    <a:pt x="2833" y="636"/>
                  </a:lnTo>
                  <a:lnTo>
                    <a:pt x="2831" y="634"/>
                  </a:lnTo>
                  <a:lnTo>
                    <a:pt x="2831" y="634"/>
                  </a:lnTo>
                  <a:lnTo>
                    <a:pt x="2831" y="632"/>
                  </a:lnTo>
                  <a:lnTo>
                    <a:pt x="2829" y="630"/>
                  </a:lnTo>
                  <a:lnTo>
                    <a:pt x="2827" y="630"/>
                  </a:lnTo>
                  <a:lnTo>
                    <a:pt x="2825" y="628"/>
                  </a:lnTo>
                  <a:lnTo>
                    <a:pt x="2823" y="626"/>
                  </a:lnTo>
                  <a:lnTo>
                    <a:pt x="2823" y="624"/>
                  </a:lnTo>
                  <a:lnTo>
                    <a:pt x="2821" y="624"/>
                  </a:lnTo>
                  <a:lnTo>
                    <a:pt x="2819" y="626"/>
                  </a:lnTo>
                  <a:lnTo>
                    <a:pt x="2819" y="626"/>
                  </a:lnTo>
                  <a:lnTo>
                    <a:pt x="2817" y="624"/>
                  </a:lnTo>
                  <a:lnTo>
                    <a:pt x="2817" y="624"/>
                  </a:lnTo>
                  <a:lnTo>
                    <a:pt x="2817" y="624"/>
                  </a:lnTo>
                  <a:lnTo>
                    <a:pt x="2815" y="624"/>
                  </a:lnTo>
                  <a:lnTo>
                    <a:pt x="2815" y="624"/>
                  </a:lnTo>
                  <a:lnTo>
                    <a:pt x="2813" y="622"/>
                  </a:lnTo>
                  <a:lnTo>
                    <a:pt x="2813" y="622"/>
                  </a:lnTo>
                  <a:lnTo>
                    <a:pt x="2813" y="620"/>
                  </a:lnTo>
                  <a:lnTo>
                    <a:pt x="2811" y="618"/>
                  </a:lnTo>
                  <a:lnTo>
                    <a:pt x="2813" y="615"/>
                  </a:lnTo>
                  <a:lnTo>
                    <a:pt x="2811" y="613"/>
                  </a:lnTo>
                  <a:lnTo>
                    <a:pt x="2811" y="611"/>
                  </a:lnTo>
                  <a:lnTo>
                    <a:pt x="2811" y="609"/>
                  </a:lnTo>
                  <a:lnTo>
                    <a:pt x="2811" y="609"/>
                  </a:lnTo>
                  <a:lnTo>
                    <a:pt x="2811" y="607"/>
                  </a:lnTo>
                  <a:lnTo>
                    <a:pt x="2811" y="607"/>
                  </a:lnTo>
                  <a:lnTo>
                    <a:pt x="2811" y="605"/>
                  </a:lnTo>
                  <a:lnTo>
                    <a:pt x="2811" y="605"/>
                  </a:lnTo>
                  <a:lnTo>
                    <a:pt x="2811" y="603"/>
                  </a:lnTo>
                  <a:lnTo>
                    <a:pt x="2813" y="601"/>
                  </a:lnTo>
                  <a:lnTo>
                    <a:pt x="2811" y="601"/>
                  </a:lnTo>
                  <a:lnTo>
                    <a:pt x="2813" y="601"/>
                  </a:lnTo>
                  <a:lnTo>
                    <a:pt x="2815" y="601"/>
                  </a:lnTo>
                  <a:lnTo>
                    <a:pt x="2815" y="599"/>
                  </a:lnTo>
                  <a:lnTo>
                    <a:pt x="2815" y="599"/>
                  </a:lnTo>
                  <a:lnTo>
                    <a:pt x="2815" y="597"/>
                  </a:lnTo>
                  <a:lnTo>
                    <a:pt x="2815" y="595"/>
                  </a:lnTo>
                  <a:lnTo>
                    <a:pt x="2815" y="593"/>
                  </a:lnTo>
                  <a:lnTo>
                    <a:pt x="2817" y="591"/>
                  </a:lnTo>
                  <a:lnTo>
                    <a:pt x="2817" y="589"/>
                  </a:lnTo>
                  <a:lnTo>
                    <a:pt x="2817" y="589"/>
                  </a:lnTo>
                  <a:lnTo>
                    <a:pt x="2817" y="589"/>
                  </a:lnTo>
                  <a:lnTo>
                    <a:pt x="2815" y="587"/>
                  </a:lnTo>
                  <a:lnTo>
                    <a:pt x="2815" y="584"/>
                  </a:lnTo>
                  <a:lnTo>
                    <a:pt x="2815" y="584"/>
                  </a:lnTo>
                  <a:lnTo>
                    <a:pt x="2815" y="582"/>
                  </a:lnTo>
                  <a:lnTo>
                    <a:pt x="2817" y="584"/>
                  </a:lnTo>
                  <a:lnTo>
                    <a:pt x="2817" y="584"/>
                  </a:lnTo>
                  <a:lnTo>
                    <a:pt x="2819" y="584"/>
                  </a:lnTo>
                  <a:lnTo>
                    <a:pt x="2819" y="582"/>
                  </a:lnTo>
                  <a:lnTo>
                    <a:pt x="2821" y="582"/>
                  </a:lnTo>
                  <a:lnTo>
                    <a:pt x="2823" y="582"/>
                  </a:lnTo>
                  <a:lnTo>
                    <a:pt x="2823" y="580"/>
                  </a:lnTo>
                  <a:lnTo>
                    <a:pt x="2823" y="580"/>
                  </a:lnTo>
                  <a:lnTo>
                    <a:pt x="2823" y="580"/>
                  </a:lnTo>
                  <a:lnTo>
                    <a:pt x="2821" y="580"/>
                  </a:lnTo>
                  <a:lnTo>
                    <a:pt x="2823" y="578"/>
                  </a:lnTo>
                  <a:lnTo>
                    <a:pt x="2823" y="578"/>
                  </a:lnTo>
                  <a:lnTo>
                    <a:pt x="2823" y="576"/>
                  </a:lnTo>
                  <a:lnTo>
                    <a:pt x="2821" y="576"/>
                  </a:lnTo>
                  <a:lnTo>
                    <a:pt x="2821" y="574"/>
                  </a:lnTo>
                  <a:lnTo>
                    <a:pt x="2821" y="574"/>
                  </a:lnTo>
                  <a:lnTo>
                    <a:pt x="2823" y="576"/>
                  </a:lnTo>
                  <a:lnTo>
                    <a:pt x="2825" y="576"/>
                  </a:lnTo>
                  <a:lnTo>
                    <a:pt x="2825" y="576"/>
                  </a:lnTo>
                  <a:lnTo>
                    <a:pt x="2825" y="576"/>
                  </a:lnTo>
                  <a:lnTo>
                    <a:pt x="2825" y="576"/>
                  </a:lnTo>
                  <a:lnTo>
                    <a:pt x="2825" y="576"/>
                  </a:lnTo>
                  <a:lnTo>
                    <a:pt x="2827" y="576"/>
                  </a:lnTo>
                  <a:lnTo>
                    <a:pt x="2829" y="574"/>
                  </a:lnTo>
                  <a:lnTo>
                    <a:pt x="2829" y="574"/>
                  </a:lnTo>
                  <a:lnTo>
                    <a:pt x="2829" y="572"/>
                  </a:lnTo>
                  <a:lnTo>
                    <a:pt x="2829" y="572"/>
                  </a:lnTo>
                  <a:lnTo>
                    <a:pt x="2827" y="572"/>
                  </a:lnTo>
                  <a:lnTo>
                    <a:pt x="2827" y="572"/>
                  </a:lnTo>
                  <a:lnTo>
                    <a:pt x="2829" y="572"/>
                  </a:lnTo>
                  <a:lnTo>
                    <a:pt x="2831" y="570"/>
                  </a:lnTo>
                  <a:lnTo>
                    <a:pt x="2831" y="570"/>
                  </a:lnTo>
                  <a:lnTo>
                    <a:pt x="2831" y="568"/>
                  </a:lnTo>
                  <a:lnTo>
                    <a:pt x="2833" y="568"/>
                  </a:lnTo>
                  <a:lnTo>
                    <a:pt x="2833" y="568"/>
                  </a:lnTo>
                  <a:lnTo>
                    <a:pt x="2835" y="568"/>
                  </a:lnTo>
                  <a:lnTo>
                    <a:pt x="2835" y="568"/>
                  </a:lnTo>
                  <a:lnTo>
                    <a:pt x="2835" y="568"/>
                  </a:lnTo>
                  <a:lnTo>
                    <a:pt x="2833" y="566"/>
                  </a:lnTo>
                  <a:lnTo>
                    <a:pt x="2835" y="566"/>
                  </a:lnTo>
                  <a:lnTo>
                    <a:pt x="2837" y="566"/>
                  </a:lnTo>
                  <a:lnTo>
                    <a:pt x="2842" y="564"/>
                  </a:lnTo>
                  <a:lnTo>
                    <a:pt x="2842" y="562"/>
                  </a:lnTo>
                  <a:lnTo>
                    <a:pt x="2842" y="562"/>
                  </a:lnTo>
                  <a:lnTo>
                    <a:pt x="2844" y="562"/>
                  </a:lnTo>
                  <a:lnTo>
                    <a:pt x="2844" y="562"/>
                  </a:lnTo>
                  <a:lnTo>
                    <a:pt x="2844" y="562"/>
                  </a:lnTo>
                  <a:lnTo>
                    <a:pt x="2846" y="562"/>
                  </a:lnTo>
                  <a:lnTo>
                    <a:pt x="2846" y="562"/>
                  </a:lnTo>
                  <a:lnTo>
                    <a:pt x="2848" y="562"/>
                  </a:lnTo>
                  <a:lnTo>
                    <a:pt x="2848" y="560"/>
                  </a:lnTo>
                  <a:lnTo>
                    <a:pt x="2850" y="558"/>
                  </a:lnTo>
                  <a:lnTo>
                    <a:pt x="2854" y="558"/>
                  </a:lnTo>
                  <a:lnTo>
                    <a:pt x="2856" y="556"/>
                  </a:lnTo>
                  <a:lnTo>
                    <a:pt x="2858" y="556"/>
                  </a:lnTo>
                  <a:lnTo>
                    <a:pt x="2862" y="554"/>
                  </a:lnTo>
                  <a:lnTo>
                    <a:pt x="2862" y="554"/>
                  </a:lnTo>
                  <a:lnTo>
                    <a:pt x="2866" y="545"/>
                  </a:lnTo>
                  <a:lnTo>
                    <a:pt x="2870" y="543"/>
                  </a:lnTo>
                  <a:lnTo>
                    <a:pt x="2872" y="541"/>
                  </a:lnTo>
                  <a:lnTo>
                    <a:pt x="2872" y="541"/>
                  </a:lnTo>
                  <a:lnTo>
                    <a:pt x="2872" y="539"/>
                  </a:lnTo>
                  <a:lnTo>
                    <a:pt x="2870" y="537"/>
                  </a:lnTo>
                  <a:lnTo>
                    <a:pt x="2870" y="535"/>
                  </a:lnTo>
                  <a:lnTo>
                    <a:pt x="2870" y="533"/>
                  </a:lnTo>
                  <a:lnTo>
                    <a:pt x="2868" y="533"/>
                  </a:lnTo>
                  <a:lnTo>
                    <a:pt x="2868" y="531"/>
                  </a:lnTo>
                  <a:lnTo>
                    <a:pt x="2868" y="531"/>
                  </a:lnTo>
                  <a:lnTo>
                    <a:pt x="2870" y="529"/>
                  </a:lnTo>
                  <a:lnTo>
                    <a:pt x="2872" y="527"/>
                  </a:lnTo>
                  <a:lnTo>
                    <a:pt x="2875" y="525"/>
                  </a:lnTo>
                  <a:lnTo>
                    <a:pt x="2875" y="523"/>
                  </a:lnTo>
                  <a:lnTo>
                    <a:pt x="2875" y="523"/>
                  </a:lnTo>
                  <a:lnTo>
                    <a:pt x="2872" y="520"/>
                  </a:lnTo>
                  <a:lnTo>
                    <a:pt x="2872" y="520"/>
                  </a:lnTo>
                  <a:lnTo>
                    <a:pt x="2872" y="520"/>
                  </a:lnTo>
                  <a:lnTo>
                    <a:pt x="2872" y="520"/>
                  </a:lnTo>
                  <a:lnTo>
                    <a:pt x="2875" y="520"/>
                  </a:lnTo>
                  <a:lnTo>
                    <a:pt x="2875" y="520"/>
                  </a:lnTo>
                  <a:lnTo>
                    <a:pt x="2875" y="520"/>
                  </a:lnTo>
                  <a:lnTo>
                    <a:pt x="2875" y="520"/>
                  </a:lnTo>
                  <a:lnTo>
                    <a:pt x="2875" y="518"/>
                  </a:lnTo>
                  <a:lnTo>
                    <a:pt x="2872" y="518"/>
                  </a:lnTo>
                  <a:lnTo>
                    <a:pt x="2872" y="518"/>
                  </a:lnTo>
                  <a:lnTo>
                    <a:pt x="2875" y="518"/>
                  </a:lnTo>
                  <a:lnTo>
                    <a:pt x="2875" y="518"/>
                  </a:lnTo>
                  <a:lnTo>
                    <a:pt x="2879" y="516"/>
                  </a:lnTo>
                  <a:lnTo>
                    <a:pt x="2879" y="516"/>
                  </a:lnTo>
                  <a:lnTo>
                    <a:pt x="2879" y="516"/>
                  </a:lnTo>
                  <a:lnTo>
                    <a:pt x="2879" y="514"/>
                  </a:lnTo>
                  <a:lnTo>
                    <a:pt x="2879" y="514"/>
                  </a:lnTo>
                  <a:lnTo>
                    <a:pt x="2881" y="514"/>
                  </a:lnTo>
                  <a:lnTo>
                    <a:pt x="2883" y="514"/>
                  </a:lnTo>
                  <a:lnTo>
                    <a:pt x="2883" y="514"/>
                  </a:lnTo>
                  <a:lnTo>
                    <a:pt x="2881" y="514"/>
                  </a:lnTo>
                  <a:lnTo>
                    <a:pt x="2881" y="512"/>
                  </a:lnTo>
                  <a:lnTo>
                    <a:pt x="2883" y="512"/>
                  </a:lnTo>
                  <a:lnTo>
                    <a:pt x="2885" y="512"/>
                  </a:lnTo>
                  <a:lnTo>
                    <a:pt x="2885" y="510"/>
                  </a:lnTo>
                  <a:lnTo>
                    <a:pt x="2885" y="510"/>
                  </a:lnTo>
                  <a:lnTo>
                    <a:pt x="2885" y="508"/>
                  </a:lnTo>
                  <a:lnTo>
                    <a:pt x="2885" y="508"/>
                  </a:lnTo>
                  <a:lnTo>
                    <a:pt x="2885" y="506"/>
                  </a:lnTo>
                  <a:lnTo>
                    <a:pt x="2887" y="508"/>
                  </a:lnTo>
                  <a:lnTo>
                    <a:pt x="2887" y="508"/>
                  </a:lnTo>
                  <a:lnTo>
                    <a:pt x="2889" y="508"/>
                  </a:lnTo>
                  <a:lnTo>
                    <a:pt x="2891" y="506"/>
                  </a:lnTo>
                  <a:lnTo>
                    <a:pt x="2893" y="508"/>
                  </a:lnTo>
                  <a:lnTo>
                    <a:pt x="2895" y="510"/>
                  </a:lnTo>
                  <a:lnTo>
                    <a:pt x="2897" y="510"/>
                  </a:lnTo>
                  <a:lnTo>
                    <a:pt x="2897" y="508"/>
                  </a:lnTo>
                  <a:lnTo>
                    <a:pt x="2899" y="508"/>
                  </a:lnTo>
                  <a:lnTo>
                    <a:pt x="2903" y="508"/>
                  </a:lnTo>
                  <a:lnTo>
                    <a:pt x="2903" y="508"/>
                  </a:lnTo>
                  <a:lnTo>
                    <a:pt x="2908" y="508"/>
                  </a:lnTo>
                  <a:lnTo>
                    <a:pt x="2912" y="508"/>
                  </a:lnTo>
                  <a:lnTo>
                    <a:pt x="2912" y="508"/>
                  </a:lnTo>
                  <a:lnTo>
                    <a:pt x="2914" y="508"/>
                  </a:lnTo>
                  <a:lnTo>
                    <a:pt x="2916" y="508"/>
                  </a:lnTo>
                  <a:lnTo>
                    <a:pt x="2918" y="508"/>
                  </a:lnTo>
                  <a:lnTo>
                    <a:pt x="2918" y="508"/>
                  </a:lnTo>
                  <a:lnTo>
                    <a:pt x="2918" y="508"/>
                  </a:lnTo>
                  <a:lnTo>
                    <a:pt x="2918" y="510"/>
                  </a:lnTo>
                  <a:lnTo>
                    <a:pt x="2918" y="512"/>
                  </a:lnTo>
                  <a:lnTo>
                    <a:pt x="2920" y="512"/>
                  </a:lnTo>
                  <a:lnTo>
                    <a:pt x="2920" y="512"/>
                  </a:lnTo>
                  <a:lnTo>
                    <a:pt x="2926" y="514"/>
                  </a:lnTo>
                  <a:lnTo>
                    <a:pt x="2928" y="516"/>
                  </a:lnTo>
                  <a:lnTo>
                    <a:pt x="2928" y="518"/>
                  </a:lnTo>
                  <a:lnTo>
                    <a:pt x="2926" y="520"/>
                  </a:lnTo>
                  <a:lnTo>
                    <a:pt x="2926" y="525"/>
                  </a:lnTo>
                  <a:lnTo>
                    <a:pt x="2928" y="525"/>
                  </a:lnTo>
                  <a:lnTo>
                    <a:pt x="2928" y="525"/>
                  </a:lnTo>
                  <a:lnTo>
                    <a:pt x="2928" y="527"/>
                  </a:lnTo>
                  <a:lnTo>
                    <a:pt x="2926" y="527"/>
                  </a:lnTo>
                  <a:lnTo>
                    <a:pt x="2926" y="529"/>
                  </a:lnTo>
                  <a:lnTo>
                    <a:pt x="2926" y="529"/>
                  </a:lnTo>
                  <a:lnTo>
                    <a:pt x="2926" y="531"/>
                  </a:lnTo>
                  <a:lnTo>
                    <a:pt x="2926" y="531"/>
                  </a:lnTo>
                  <a:lnTo>
                    <a:pt x="2924" y="531"/>
                  </a:lnTo>
                  <a:lnTo>
                    <a:pt x="2922" y="529"/>
                  </a:lnTo>
                  <a:lnTo>
                    <a:pt x="2920" y="531"/>
                  </a:lnTo>
                  <a:lnTo>
                    <a:pt x="2918" y="531"/>
                  </a:lnTo>
                  <a:lnTo>
                    <a:pt x="2916" y="531"/>
                  </a:lnTo>
                  <a:lnTo>
                    <a:pt x="2916" y="533"/>
                  </a:lnTo>
                  <a:lnTo>
                    <a:pt x="2916" y="535"/>
                  </a:lnTo>
                  <a:lnTo>
                    <a:pt x="2912" y="539"/>
                  </a:lnTo>
                  <a:lnTo>
                    <a:pt x="2910" y="541"/>
                  </a:lnTo>
                  <a:lnTo>
                    <a:pt x="2908" y="543"/>
                  </a:lnTo>
                  <a:lnTo>
                    <a:pt x="2908" y="543"/>
                  </a:lnTo>
                  <a:lnTo>
                    <a:pt x="2903" y="547"/>
                  </a:lnTo>
                  <a:lnTo>
                    <a:pt x="2903" y="549"/>
                  </a:lnTo>
                  <a:lnTo>
                    <a:pt x="2901" y="549"/>
                  </a:lnTo>
                  <a:lnTo>
                    <a:pt x="2897" y="551"/>
                  </a:lnTo>
                  <a:lnTo>
                    <a:pt x="2895" y="554"/>
                  </a:lnTo>
                  <a:lnTo>
                    <a:pt x="2895" y="554"/>
                  </a:lnTo>
                  <a:lnTo>
                    <a:pt x="2891" y="558"/>
                  </a:lnTo>
                  <a:lnTo>
                    <a:pt x="2887" y="558"/>
                  </a:lnTo>
                  <a:lnTo>
                    <a:pt x="2887" y="560"/>
                  </a:lnTo>
                  <a:lnTo>
                    <a:pt x="2885" y="562"/>
                  </a:lnTo>
                  <a:lnTo>
                    <a:pt x="2885" y="562"/>
                  </a:lnTo>
                  <a:lnTo>
                    <a:pt x="2885" y="562"/>
                  </a:lnTo>
                  <a:lnTo>
                    <a:pt x="2885" y="562"/>
                  </a:lnTo>
                  <a:lnTo>
                    <a:pt x="2885" y="562"/>
                  </a:lnTo>
                  <a:lnTo>
                    <a:pt x="2883" y="562"/>
                  </a:lnTo>
                  <a:lnTo>
                    <a:pt x="2885" y="564"/>
                  </a:lnTo>
                  <a:lnTo>
                    <a:pt x="2885" y="564"/>
                  </a:lnTo>
                  <a:lnTo>
                    <a:pt x="2885" y="566"/>
                  </a:lnTo>
                  <a:lnTo>
                    <a:pt x="2881" y="566"/>
                  </a:lnTo>
                  <a:lnTo>
                    <a:pt x="2879" y="568"/>
                  </a:lnTo>
                  <a:lnTo>
                    <a:pt x="2877" y="566"/>
                  </a:lnTo>
                  <a:lnTo>
                    <a:pt x="2875" y="568"/>
                  </a:lnTo>
                  <a:lnTo>
                    <a:pt x="2875" y="568"/>
                  </a:lnTo>
                  <a:lnTo>
                    <a:pt x="2875" y="570"/>
                  </a:lnTo>
                  <a:lnTo>
                    <a:pt x="2875" y="572"/>
                  </a:lnTo>
                  <a:lnTo>
                    <a:pt x="2872" y="572"/>
                  </a:lnTo>
                  <a:lnTo>
                    <a:pt x="2872" y="574"/>
                  </a:lnTo>
                  <a:lnTo>
                    <a:pt x="2868" y="576"/>
                  </a:lnTo>
                  <a:lnTo>
                    <a:pt x="2868" y="578"/>
                  </a:lnTo>
                  <a:lnTo>
                    <a:pt x="2868" y="578"/>
                  </a:lnTo>
                  <a:lnTo>
                    <a:pt x="2866" y="580"/>
                  </a:lnTo>
                  <a:lnTo>
                    <a:pt x="2868" y="582"/>
                  </a:lnTo>
                  <a:lnTo>
                    <a:pt x="2868" y="584"/>
                  </a:lnTo>
                  <a:lnTo>
                    <a:pt x="2870" y="587"/>
                  </a:lnTo>
                  <a:lnTo>
                    <a:pt x="2870" y="589"/>
                  </a:lnTo>
                  <a:lnTo>
                    <a:pt x="2870" y="589"/>
                  </a:lnTo>
                  <a:lnTo>
                    <a:pt x="2870" y="591"/>
                  </a:lnTo>
                  <a:lnTo>
                    <a:pt x="2870" y="595"/>
                  </a:lnTo>
                  <a:lnTo>
                    <a:pt x="2870" y="597"/>
                  </a:lnTo>
                  <a:lnTo>
                    <a:pt x="2872" y="599"/>
                  </a:lnTo>
                  <a:lnTo>
                    <a:pt x="2875" y="601"/>
                  </a:lnTo>
                  <a:lnTo>
                    <a:pt x="2875" y="601"/>
                  </a:lnTo>
                  <a:lnTo>
                    <a:pt x="2875" y="603"/>
                  </a:lnTo>
                  <a:lnTo>
                    <a:pt x="2875" y="603"/>
                  </a:lnTo>
                  <a:lnTo>
                    <a:pt x="2875" y="603"/>
                  </a:lnTo>
                  <a:lnTo>
                    <a:pt x="2872" y="603"/>
                  </a:lnTo>
                  <a:lnTo>
                    <a:pt x="2872" y="603"/>
                  </a:lnTo>
                  <a:lnTo>
                    <a:pt x="2872" y="605"/>
                  </a:lnTo>
                  <a:lnTo>
                    <a:pt x="2875" y="605"/>
                  </a:lnTo>
                  <a:lnTo>
                    <a:pt x="2875" y="605"/>
                  </a:lnTo>
                  <a:lnTo>
                    <a:pt x="2872" y="605"/>
                  </a:lnTo>
                  <a:lnTo>
                    <a:pt x="2872" y="605"/>
                  </a:lnTo>
                  <a:lnTo>
                    <a:pt x="2872" y="607"/>
                  </a:lnTo>
                  <a:lnTo>
                    <a:pt x="2872" y="609"/>
                  </a:lnTo>
                  <a:lnTo>
                    <a:pt x="2872" y="611"/>
                  </a:lnTo>
                  <a:lnTo>
                    <a:pt x="2872" y="613"/>
                  </a:lnTo>
                  <a:lnTo>
                    <a:pt x="2870" y="615"/>
                  </a:lnTo>
                  <a:lnTo>
                    <a:pt x="2870" y="615"/>
                  </a:lnTo>
                  <a:lnTo>
                    <a:pt x="2870" y="620"/>
                  </a:lnTo>
                  <a:lnTo>
                    <a:pt x="2872" y="622"/>
                  </a:lnTo>
                  <a:lnTo>
                    <a:pt x="2872" y="622"/>
                  </a:lnTo>
                  <a:lnTo>
                    <a:pt x="2872" y="624"/>
                  </a:lnTo>
                  <a:lnTo>
                    <a:pt x="2872" y="624"/>
                  </a:lnTo>
                  <a:lnTo>
                    <a:pt x="2872" y="626"/>
                  </a:lnTo>
                  <a:lnTo>
                    <a:pt x="2875" y="626"/>
                  </a:lnTo>
                  <a:lnTo>
                    <a:pt x="2877" y="624"/>
                  </a:lnTo>
                  <a:lnTo>
                    <a:pt x="2877" y="624"/>
                  </a:lnTo>
                  <a:lnTo>
                    <a:pt x="2879" y="626"/>
                  </a:lnTo>
                  <a:lnTo>
                    <a:pt x="2879" y="626"/>
                  </a:lnTo>
                  <a:lnTo>
                    <a:pt x="2883" y="628"/>
                  </a:lnTo>
                  <a:lnTo>
                    <a:pt x="2887" y="630"/>
                  </a:lnTo>
                  <a:lnTo>
                    <a:pt x="2889" y="630"/>
                  </a:lnTo>
                  <a:lnTo>
                    <a:pt x="2889" y="630"/>
                  </a:lnTo>
                  <a:lnTo>
                    <a:pt x="2889" y="630"/>
                  </a:lnTo>
                  <a:lnTo>
                    <a:pt x="2887" y="632"/>
                  </a:lnTo>
                  <a:lnTo>
                    <a:pt x="2887" y="632"/>
                  </a:lnTo>
                  <a:lnTo>
                    <a:pt x="2889" y="632"/>
                  </a:lnTo>
                  <a:lnTo>
                    <a:pt x="2889" y="632"/>
                  </a:lnTo>
                  <a:lnTo>
                    <a:pt x="2889" y="632"/>
                  </a:lnTo>
                  <a:lnTo>
                    <a:pt x="2887" y="632"/>
                  </a:lnTo>
                  <a:lnTo>
                    <a:pt x="2887" y="632"/>
                  </a:lnTo>
                  <a:lnTo>
                    <a:pt x="2887" y="634"/>
                  </a:lnTo>
                  <a:lnTo>
                    <a:pt x="2887" y="634"/>
                  </a:lnTo>
                  <a:lnTo>
                    <a:pt x="2887" y="636"/>
                  </a:lnTo>
                  <a:lnTo>
                    <a:pt x="2887" y="636"/>
                  </a:lnTo>
                  <a:lnTo>
                    <a:pt x="2887" y="636"/>
                  </a:lnTo>
                  <a:lnTo>
                    <a:pt x="2889" y="636"/>
                  </a:lnTo>
                  <a:lnTo>
                    <a:pt x="2889" y="636"/>
                  </a:lnTo>
                  <a:lnTo>
                    <a:pt x="2891" y="636"/>
                  </a:lnTo>
                  <a:lnTo>
                    <a:pt x="2891" y="636"/>
                  </a:lnTo>
                  <a:lnTo>
                    <a:pt x="2891" y="634"/>
                  </a:lnTo>
                  <a:lnTo>
                    <a:pt x="2893" y="634"/>
                  </a:lnTo>
                  <a:lnTo>
                    <a:pt x="2893" y="632"/>
                  </a:lnTo>
                  <a:lnTo>
                    <a:pt x="2893" y="632"/>
                  </a:lnTo>
                  <a:lnTo>
                    <a:pt x="2895" y="634"/>
                  </a:lnTo>
                  <a:lnTo>
                    <a:pt x="2895" y="636"/>
                  </a:lnTo>
                  <a:lnTo>
                    <a:pt x="2897" y="636"/>
                  </a:lnTo>
                  <a:lnTo>
                    <a:pt x="2897" y="636"/>
                  </a:lnTo>
                  <a:lnTo>
                    <a:pt x="2897" y="638"/>
                  </a:lnTo>
                  <a:lnTo>
                    <a:pt x="2895" y="638"/>
                  </a:lnTo>
                  <a:lnTo>
                    <a:pt x="2895" y="640"/>
                  </a:lnTo>
                  <a:lnTo>
                    <a:pt x="2893" y="640"/>
                  </a:lnTo>
                  <a:lnTo>
                    <a:pt x="2895" y="640"/>
                  </a:lnTo>
                  <a:lnTo>
                    <a:pt x="2897" y="640"/>
                  </a:lnTo>
                  <a:lnTo>
                    <a:pt x="2899" y="638"/>
                  </a:lnTo>
                  <a:lnTo>
                    <a:pt x="2901" y="638"/>
                  </a:lnTo>
                  <a:lnTo>
                    <a:pt x="2903" y="638"/>
                  </a:lnTo>
                  <a:lnTo>
                    <a:pt x="2905" y="638"/>
                  </a:lnTo>
                  <a:lnTo>
                    <a:pt x="2910" y="636"/>
                  </a:lnTo>
                  <a:lnTo>
                    <a:pt x="2914" y="636"/>
                  </a:lnTo>
                  <a:lnTo>
                    <a:pt x="2916" y="636"/>
                  </a:lnTo>
                  <a:lnTo>
                    <a:pt x="2916" y="636"/>
                  </a:lnTo>
                  <a:lnTo>
                    <a:pt x="2918" y="634"/>
                  </a:lnTo>
                  <a:lnTo>
                    <a:pt x="2920" y="634"/>
                  </a:lnTo>
                  <a:lnTo>
                    <a:pt x="2922" y="634"/>
                  </a:lnTo>
                  <a:lnTo>
                    <a:pt x="2924" y="632"/>
                  </a:lnTo>
                  <a:lnTo>
                    <a:pt x="2926" y="632"/>
                  </a:lnTo>
                  <a:lnTo>
                    <a:pt x="2930" y="632"/>
                  </a:lnTo>
                  <a:lnTo>
                    <a:pt x="2930" y="630"/>
                  </a:lnTo>
                  <a:lnTo>
                    <a:pt x="2932" y="630"/>
                  </a:lnTo>
                  <a:lnTo>
                    <a:pt x="2932" y="632"/>
                  </a:lnTo>
                  <a:lnTo>
                    <a:pt x="2934" y="632"/>
                  </a:lnTo>
                  <a:lnTo>
                    <a:pt x="2934" y="630"/>
                  </a:lnTo>
                  <a:lnTo>
                    <a:pt x="2936" y="630"/>
                  </a:lnTo>
                  <a:lnTo>
                    <a:pt x="2938" y="630"/>
                  </a:lnTo>
                  <a:lnTo>
                    <a:pt x="2938" y="630"/>
                  </a:lnTo>
                  <a:lnTo>
                    <a:pt x="2936" y="628"/>
                  </a:lnTo>
                  <a:lnTo>
                    <a:pt x="2936" y="628"/>
                  </a:lnTo>
                  <a:lnTo>
                    <a:pt x="2938" y="628"/>
                  </a:lnTo>
                  <a:lnTo>
                    <a:pt x="2940" y="628"/>
                  </a:lnTo>
                  <a:lnTo>
                    <a:pt x="2943" y="628"/>
                  </a:lnTo>
                  <a:lnTo>
                    <a:pt x="2943" y="628"/>
                  </a:lnTo>
                  <a:lnTo>
                    <a:pt x="2945" y="626"/>
                  </a:lnTo>
                  <a:lnTo>
                    <a:pt x="2945" y="624"/>
                  </a:lnTo>
                  <a:lnTo>
                    <a:pt x="2947" y="624"/>
                  </a:lnTo>
                  <a:lnTo>
                    <a:pt x="2945" y="624"/>
                  </a:lnTo>
                  <a:lnTo>
                    <a:pt x="2945" y="626"/>
                  </a:lnTo>
                  <a:lnTo>
                    <a:pt x="2945" y="628"/>
                  </a:lnTo>
                  <a:lnTo>
                    <a:pt x="2945" y="628"/>
                  </a:lnTo>
                  <a:lnTo>
                    <a:pt x="2947" y="628"/>
                  </a:lnTo>
                  <a:lnTo>
                    <a:pt x="2947" y="628"/>
                  </a:lnTo>
                  <a:lnTo>
                    <a:pt x="2951" y="628"/>
                  </a:lnTo>
                  <a:lnTo>
                    <a:pt x="2953" y="626"/>
                  </a:lnTo>
                  <a:lnTo>
                    <a:pt x="2955" y="626"/>
                  </a:lnTo>
                  <a:lnTo>
                    <a:pt x="2955" y="626"/>
                  </a:lnTo>
                  <a:lnTo>
                    <a:pt x="2957" y="628"/>
                  </a:lnTo>
                  <a:lnTo>
                    <a:pt x="2959" y="626"/>
                  </a:lnTo>
                  <a:lnTo>
                    <a:pt x="2961" y="626"/>
                  </a:lnTo>
                  <a:lnTo>
                    <a:pt x="2961" y="626"/>
                  </a:lnTo>
                  <a:lnTo>
                    <a:pt x="2963" y="626"/>
                  </a:lnTo>
                  <a:lnTo>
                    <a:pt x="2967" y="626"/>
                  </a:lnTo>
                  <a:lnTo>
                    <a:pt x="2973" y="622"/>
                  </a:lnTo>
                  <a:lnTo>
                    <a:pt x="2973" y="624"/>
                  </a:lnTo>
                  <a:lnTo>
                    <a:pt x="2976" y="624"/>
                  </a:lnTo>
                  <a:lnTo>
                    <a:pt x="2976" y="626"/>
                  </a:lnTo>
                  <a:lnTo>
                    <a:pt x="2973" y="626"/>
                  </a:lnTo>
                  <a:lnTo>
                    <a:pt x="2973" y="626"/>
                  </a:lnTo>
                  <a:lnTo>
                    <a:pt x="2973" y="626"/>
                  </a:lnTo>
                  <a:lnTo>
                    <a:pt x="2976" y="630"/>
                  </a:lnTo>
                  <a:lnTo>
                    <a:pt x="2978" y="630"/>
                  </a:lnTo>
                  <a:lnTo>
                    <a:pt x="2982" y="632"/>
                  </a:lnTo>
                  <a:lnTo>
                    <a:pt x="2986" y="634"/>
                  </a:lnTo>
                  <a:lnTo>
                    <a:pt x="2988" y="632"/>
                  </a:lnTo>
                  <a:lnTo>
                    <a:pt x="2990" y="632"/>
                  </a:lnTo>
                  <a:lnTo>
                    <a:pt x="2992" y="634"/>
                  </a:lnTo>
                  <a:lnTo>
                    <a:pt x="2994" y="636"/>
                  </a:lnTo>
                  <a:lnTo>
                    <a:pt x="2994" y="636"/>
                  </a:lnTo>
                  <a:lnTo>
                    <a:pt x="2996" y="638"/>
                  </a:lnTo>
                  <a:lnTo>
                    <a:pt x="2996" y="638"/>
                  </a:lnTo>
                  <a:lnTo>
                    <a:pt x="2996" y="640"/>
                  </a:lnTo>
                  <a:lnTo>
                    <a:pt x="2990" y="638"/>
                  </a:lnTo>
                  <a:lnTo>
                    <a:pt x="2982" y="636"/>
                  </a:lnTo>
                  <a:lnTo>
                    <a:pt x="2982" y="638"/>
                  </a:lnTo>
                  <a:lnTo>
                    <a:pt x="2980" y="638"/>
                  </a:lnTo>
                  <a:lnTo>
                    <a:pt x="2980" y="640"/>
                  </a:lnTo>
                  <a:lnTo>
                    <a:pt x="2980" y="640"/>
                  </a:lnTo>
                  <a:lnTo>
                    <a:pt x="2978" y="640"/>
                  </a:lnTo>
                  <a:lnTo>
                    <a:pt x="2976" y="640"/>
                  </a:lnTo>
                  <a:lnTo>
                    <a:pt x="2973" y="640"/>
                  </a:lnTo>
                  <a:lnTo>
                    <a:pt x="2973" y="640"/>
                  </a:lnTo>
                  <a:lnTo>
                    <a:pt x="2971" y="640"/>
                  </a:lnTo>
                  <a:lnTo>
                    <a:pt x="2971" y="642"/>
                  </a:lnTo>
                  <a:lnTo>
                    <a:pt x="2969" y="644"/>
                  </a:lnTo>
                  <a:lnTo>
                    <a:pt x="2969" y="642"/>
                  </a:lnTo>
                  <a:lnTo>
                    <a:pt x="2967" y="642"/>
                  </a:lnTo>
                  <a:lnTo>
                    <a:pt x="2967" y="642"/>
                  </a:lnTo>
                  <a:lnTo>
                    <a:pt x="2965" y="642"/>
                  </a:lnTo>
                  <a:lnTo>
                    <a:pt x="2965" y="644"/>
                  </a:lnTo>
                  <a:lnTo>
                    <a:pt x="2967" y="646"/>
                  </a:lnTo>
                  <a:lnTo>
                    <a:pt x="2965" y="649"/>
                  </a:lnTo>
                  <a:lnTo>
                    <a:pt x="2965" y="649"/>
                  </a:lnTo>
                  <a:lnTo>
                    <a:pt x="2963" y="649"/>
                  </a:lnTo>
                  <a:lnTo>
                    <a:pt x="2957" y="649"/>
                  </a:lnTo>
                  <a:lnTo>
                    <a:pt x="2951" y="649"/>
                  </a:lnTo>
                  <a:lnTo>
                    <a:pt x="2949" y="649"/>
                  </a:lnTo>
                  <a:lnTo>
                    <a:pt x="2947" y="646"/>
                  </a:lnTo>
                  <a:lnTo>
                    <a:pt x="2945" y="646"/>
                  </a:lnTo>
                  <a:lnTo>
                    <a:pt x="2934" y="644"/>
                  </a:lnTo>
                  <a:lnTo>
                    <a:pt x="2932" y="644"/>
                  </a:lnTo>
                  <a:lnTo>
                    <a:pt x="2930" y="644"/>
                  </a:lnTo>
                  <a:lnTo>
                    <a:pt x="2930" y="646"/>
                  </a:lnTo>
                  <a:lnTo>
                    <a:pt x="2930" y="646"/>
                  </a:lnTo>
                  <a:lnTo>
                    <a:pt x="2928" y="646"/>
                  </a:lnTo>
                  <a:lnTo>
                    <a:pt x="2922" y="646"/>
                  </a:lnTo>
                  <a:lnTo>
                    <a:pt x="2918" y="649"/>
                  </a:lnTo>
                  <a:lnTo>
                    <a:pt x="2914" y="649"/>
                  </a:lnTo>
                  <a:lnTo>
                    <a:pt x="2912" y="651"/>
                  </a:lnTo>
                  <a:lnTo>
                    <a:pt x="2910" y="651"/>
                  </a:lnTo>
                  <a:lnTo>
                    <a:pt x="2910" y="653"/>
                  </a:lnTo>
                  <a:lnTo>
                    <a:pt x="2905" y="653"/>
                  </a:lnTo>
                  <a:lnTo>
                    <a:pt x="2903" y="653"/>
                  </a:lnTo>
                  <a:lnTo>
                    <a:pt x="2901" y="655"/>
                  </a:lnTo>
                  <a:lnTo>
                    <a:pt x="2901" y="657"/>
                  </a:lnTo>
                  <a:lnTo>
                    <a:pt x="2901" y="657"/>
                  </a:lnTo>
                  <a:lnTo>
                    <a:pt x="2901" y="657"/>
                  </a:lnTo>
                  <a:lnTo>
                    <a:pt x="2901" y="659"/>
                  </a:lnTo>
                  <a:lnTo>
                    <a:pt x="2901" y="659"/>
                  </a:lnTo>
                  <a:lnTo>
                    <a:pt x="2901" y="659"/>
                  </a:lnTo>
                  <a:lnTo>
                    <a:pt x="2901" y="661"/>
                  </a:lnTo>
                  <a:lnTo>
                    <a:pt x="2901" y="663"/>
                  </a:lnTo>
                  <a:lnTo>
                    <a:pt x="2901" y="663"/>
                  </a:lnTo>
                  <a:lnTo>
                    <a:pt x="2903" y="663"/>
                  </a:lnTo>
                  <a:lnTo>
                    <a:pt x="2903" y="663"/>
                  </a:lnTo>
                  <a:lnTo>
                    <a:pt x="2901" y="663"/>
                  </a:lnTo>
                  <a:lnTo>
                    <a:pt x="2901" y="665"/>
                  </a:lnTo>
                  <a:lnTo>
                    <a:pt x="2901" y="667"/>
                  </a:lnTo>
                  <a:lnTo>
                    <a:pt x="2903" y="669"/>
                  </a:lnTo>
                  <a:lnTo>
                    <a:pt x="2903" y="669"/>
                  </a:lnTo>
                  <a:lnTo>
                    <a:pt x="2905" y="671"/>
                  </a:lnTo>
                  <a:lnTo>
                    <a:pt x="2910" y="673"/>
                  </a:lnTo>
                  <a:lnTo>
                    <a:pt x="2910" y="673"/>
                  </a:lnTo>
                  <a:lnTo>
                    <a:pt x="2912" y="673"/>
                  </a:lnTo>
                  <a:lnTo>
                    <a:pt x="2912" y="671"/>
                  </a:lnTo>
                  <a:lnTo>
                    <a:pt x="2914" y="671"/>
                  </a:lnTo>
                  <a:lnTo>
                    <a:pt x="2914" y="671"/>
                  </a:lnTo>
                  <a:lnTo>
                    <a:pt x="2916" y="671"/>
                  </a:lnTo>
                  <a:lnTo>
                    <a:pt x="2916" y="673"/>
                  </a:lnTo>
                  <a:lnTo>
                    <a:pt x="2916" y="673"/>
                  </a:lnTo>
                  <a:lnTo>
                    <a:pt x="2916" y="673"/>
                  </a:lnTo>
                  <a:lnTo>
                    <a:pt x="2916" y="677"/>
                  </a:lnTo>
                  <a:lnTo>
                    <a:pt x="2914" y="682"/>
                  </a:lnTo>
                  <a:lnTo>
                    <a:pt x="2914" y="682"/>
                  </a:lnTo>
                  <a:lnTo>
                    <a:pt x="2914" y="684"/>
                  </a:lnTo>
                  <a:lnTo>
                    <a:pt x="2914" y="686"/>
                  </a:lnTo>
                  <a:lnTo>
                    <a:pt x="2914" y="692"/>
                  </a:lnTo>
                  <a:lnTo>
                    <a:pt x="2914" y="694"/>
                  </a:lnTo>
                  <a:lnTo>
                    <a:pt x="2912" y="696"/>
                  </a:lnTo>
                  <a:lnTo>
                    <a:pt x="2910" y="698"/>
                  </a:lnTo>
                  <a:lnTo>
                    <a:pt x="2908" y="698"/>
                  </a:lnTo>
                  <a:lnTo>
                    <a:pt x="2903" y="700"/>
                  </a:lnTo>
                  <a:lnTo>
                    <a:pt x="2899" y="698"/>
                  </a:lnTo>
                  <a:lnTo>
                    <a:pt x="2897" y="692"/>
                  </a:lnTo>
                  <a:lnTo>
                    <a:pt x="2895" y="692"/>
                  </a:lnTo>
                  <a:lnTo>
                    <a:pt x="2889" y="688"/>
                  </a:lnTo>
                  <a:lnTo>
                    <a:pt x="2889" y="686"/>
                  </a:lnTo>
                  <a:lnTo>
                    <a:pt x="2887" y="684"/>
                  </a:lnTo>
                  <a:lnTo>
                    <a:pt x="2883" y="686"/>
                  </a:lnTo>
                  <a:lnTo>
                    <a:pt x="2879" y="688"/>
                  </a:lnTo>
                  <a:lnTo>
                    <a:pt x="2877" y="688"/>
                  </a:lnTo>
                  <a:lnTo>
                    <a:pt x="2872" y="692"/>
                  </a:lnTo>
                  <a:lnTo>
                    <a:pt x="2872" y="694"/>
                  </a:lnTo>
                  <a:lnTo>
                    <a:pt x="2872" y="696"/>
                  </a:lnTo>
                  <a:lnTo>
                    <a:pt x="2870" y="698"/>
                  </a:lnTo>
                  <a:lnTo>
                    <a:pt x="2870" y="700"/>
                  </a:lnTo>
                  <a:lnTo>
                    <a:pt x="2866" y="702"/>
                  </a:lnTo>
                  <a:lnTo>
                    <a:pt x="2866" y="706"/>
                  </a:lnTo>
                  <a:lnTo>
                    <a:pt x="2866" y="715"/>
                  </a:lnTo>
                  <a:lnTo>
                    <a:pt x="2866" y="719"/>
                  </a:lnTo>
                  <a:lnTo>
                    <a:pt x="2866" y="719"/>
                  </a:lnTo>
                  <a:lnTo>
                    <a:pt x="2866" y="723"/>
                  </a:lnTo>
                  <a:lnTo>
                    <a:pt x="2868" y="727"/>
                  </a:lnTo>
                  <a:lnTo>
                    <a:pt x="2868" y="729"/>
                  </a:lnTo>
                  <a:lnTo>
                    <a:pt x="2868" y="731"/>
                  </a:lnTo>
                  <a:lnTo>
                    <a:pt x="2868" y="733"/>
                  </a:lnTo>
                  <a:lnTo>
                    <a:pt x="2868" y="737"/>
                  </a:lnTo>
                  <a:lnTo>
                    <a:pt x="2868" y="739"/>
                  </a:lnTo>
                  <a:lnTo>
                    <a:pt x="2866" y="741"/>
                  </a:lnTo>
                  <a:lnTo>
                    <a:pt x="2864" y="741"/>
                  </a:lnTo>
                  <a:lnTo>
                    <a:pt x="2862" y="739"/>
                  </a:lnTo>
                  <a:lnTo>
                    <a:pt x="2862" y="739"/>
                  </a:lnTo>
                  <a:lnTo>
                    <a:pt x="2860" y="739"/>
                  </a:lnTo>
                  <a:lnTo>
                    <a:pt x="2864" y="735"/>
                  </a:lnTo>
                  <a:lnTo>
                    <a:pt x="2866" y="731"/>
                  </a:lnTo>
                  <a:lnTo>
                    <a:pt x="2866" y="729"/>
                  </a:lnTo>
                  <a:lnTo>
                    <a:pt x="2868" y="727"/>
                  </a:lnTo>
                  <a:lnTo>
                    <a:pt x="2868" y="727"/>
                  </a:lnTo>
                  <a:lnTo>
                    <a:pt x="2866" y="727"/>
                  </a:lnTo>
                  <a:lnTo>
                    <a:pt x="2866" y="729"/>
                  </a:lnTo>
                  <a:lnTo>
                    <a:pt x="2866" y="731"/>
                  </a:lnTo>
                  <a:lnTo>
                    <a:pt x="2864" y="733"/>
                  </a:lnTo>
                  <a:lnTo>
                    <a:pt x="2864" y="735"/>
                  </a:lnTo>
                  <a:lnTo>
                    <a:pt x="2862" y="737"/>
                  </a:lnTo>
                  <a:lnTo>
                    <a:pt x="2858" y="739"/>
                  </a:lnTo>
                  <a:lnTo>
                    <a:pt x="2858" y="739"/>
                  </a:lnTo>
                  <a:lnTo>
                    <a:pt x="2854" y="739"/>
                  </a:lnTo>
                  <a:lnTo>
                    <a:pt x="2852" y="741"/>
                  </a:lnTo>
                  <a:lnTo>
                    <a:pt x="2852" y="741"/>
                  </a:lnTo>
                  <a:lnTo>
                    <a:pt x="2850" y="743"/>
                  </a:lnTo>
                  <a:lnTo>
                    <a:pt x="2850" y="746"/>
                  </a:lnTo>
                  <a:lnTo>
                    <a:pt x="2848" y="748"/>
                  </a:lnTo>
                  <a:lnTo>
                    <a:pt x="2846" y="750"/>
                  </a:lnTo>
                  <a:lnTo>
                    <a:pt x="2846" y="750"/>
                  </a:lnTo>
                  <a:lnTo>
                    <a:pt x="2844" y="752"/>
                  </a:lnTo>
                  <a:lnTo>
                    <a:pt x="2837" y="752"/>
                  </a:lnTo>
                  <a:lnTo>
                    <a:pt x="2835" y="752"/>
                  </a:lnTo>
                  <a:lnTo>
                    <a:pt x="2833" y="750"/>
                  </a:lnTo>
                  <a:lnTo>
                    <a:pt x="2831" y="748"/>
                  </a:lnTo>
                  <a:lnTo>
                    <a:pt x="2829" y="743"/>
                  </a:lnTo>
                  <a:lnTo>
                    <a:pt x="2829" y="743"/>
                  </a:lnTo>
                  <a:lnTo>
                    <a:pt x="2833" y="746"/>
                  </a:lnTo>
                  <a:lnTo>
                    <a:pt x="2835" y="746"/>
                  </a:lnTo>
                  <a:lnTo>
                    <a:pt x="2833" y="746"/>
                  </a:lnTo>
                  <a:lnTo>
                    <a:pt x="2831" y="743"/>
                  </a:lnTo>
                  <a:lnTo>
                    <a:pt x="2827" y="741"/>
                  </a:lnTo>
                  <a:lnTo>
                    <a:pt x="2825" y="741"/>
                  </a:lnTo>
                  <a:lnTo>
                    <a:pt x="2821" y="743"/>
                  </a:lnTo>
                  <a:lnTo>
                    <a:pt x="2813" y="743"/>
                  </a:lnTo>
                  <a:lnTo>
                    <a:pt x="2809" y="746"/>
                  </a:lnTo>
                  <a:lnTo>
                    <a:pt x="2806" y="748"/>
                  </a:lnTo>
                  <a:lnTo>
                    <a:pt x="2802" y="748"/>
                  </a:lnTo>
                  <a:lnTo>
                    <a:pt x="2800" y="750"/>
                  </a:lnTo>
                  <a:lnTo>
                    <a:pt x="2798" y="752"/>
                  </a:lnTo>
                  <a:lnTo>
                    <a:pt x="2798" y="752"/>
                  </a:lnTo>
                  <a:lnTo>
                    <a:pt x="2796" y="752"/>
                  </a:lnTo>
                  <a:lnTo>
                    <a:pt x="2794" y="754"/>
                  </a:lnTo>
                  <a:lnTo>
                    <a:pt x="2792" y="754"/>
                  </a:lnTo>
                  <a:lnTo>
                    <a:pt x="2784" y="756"/>
                  </a:lnTo>
                  <a:lnTo>
                    <a:pt x="2776" y="758"/>
                  </a:lnTo>
                  <a:lnTo>
                    <a:pt x="2771" y="760"/>
                  </a:lnTo>
                  <a:lnTo>
                    <a:pt x="2769" y="760"/>
                  </a:lnTo>
                  <a:lnTo>
                    <a:pt x="2769" y="760"/>
                  </a:lnTo>
                  <a:lnTo>
                    <a:pt x="2767" y="758"/>
                  </a:lnTo>
                  <a:lnTo>
                    <a:pt x="2763" y="756"/>
                  </a:lnTo>
                  <a:lnTo>
                    <a:pt x="2763" y="756"/>
                  </a:lnTo>
                  <a:lnTo>
                    <a:pt x="2763" y="758"/>
                  </a:lnTo>
                  <a:lnTo>
                    <a:pt x="2763" y="758"/>
                  </a:lnTo>
                  <a:lnTo>
                    <a:pt x="2765" y="758"/>
                  </a:lnTo>
                  <a:lnTo>
                    <a:pt x="2765" y="760"/>
                  </a:lnTo>
                  <a:lnTo>
                    <a:pt x="2765" y="760"/>
                  </a:lnTo>
                  <a:lnTo>
                    <a:pt x="2767" y="762"/>
                  </a:lnTo>
                  <a:lnTo>
                    <a:pt x="2769" y="760"/>
                  </a:lnTo>
                  <a:lnTo>
                    <a:pt x="2771" y="762"/>
                  </a:lnTo>
                  <a:lnTo>
                    <a:pt x="2773" y="762"/>
                  </a:lnTo>
                  <a:lnTo>
                    <a:pt x="2773" y="764"/>
                  </a:lnTo>
                  <a:lnTo>
                    <a:pt x="2773" y="764"/>
                  </a:lnTo>
                  <a:lnTo>
                    <a:pt x="2773" y="764"/>
                  </a:lnTo>
                  <a:lnTo>
                    <a:pt x="2773" y="766"/>
                  </a:lnTo>
                  <a:lnTo>
                    <a:pt x="2773" y="764"/>
                  </a:lnTo>
                  <a:lnTo>
                    <a:pt x="2769" y="764"/>
                  </a:lnTo>
                  <a:lnTo>
                    <a:pt x="2767" y="762"/>
                  </a:lnTo>
                  <a:lnTo>
                    <a:pt x="2765" y="762"/>
                  </a:lnTo>
                  <a:lnTo>
                    <a:pt x="2763" y="762"/>
                  </a:lnTo>
                  <a:lnTo>
                    <a:pt x="2763" y="758"/>
                  </a:lnTo>
                  <a:lnTo>
                    <a:pt x="2761" y="756"/>
                  </a:lnTo>
                  <a:lnTo>
                    <a:pt x="2759" y="756"/>
                  </a:lnTo>
                  <a:lnTo>
                    <a:pt x="2753" y="754"/>
                  </a:lnTo>
                  <a:lnTo>
                    <a:pt x="2753" y="750"/>
                  </a:lnTo>
                  <a:lnTo>
                    <a:pt x="2751" y="750"/>
                  </a:lnTo>
                  <a:lnTo>
                    <a:pt x="2749" y="750"/>
                  </a:lnTo>
                  <a:lnTo>
                    <a:pt x="2745" y="750"/>
                  </a:lnTo>
                  <a:lnTo>
                    <a:pt x="2743" y="752"/>
                  </a:lnTo>
                  <a:lnTo>
                    <a:pt x="2743" y="754"/>
                  </a:lnTo>
                  <a:lnTo>
                    <a:pt x="2740" y="754"/>
                  </a:lnTo>
                  <a:lnTo>
                    <a:pt x="2738" y="756"/>
                  </a:lnTo>
                  <a:lnTo>
                    <a:pt x="2734" y="756"/>
                  </a:lnTo>
                  <a:lnTo>
                    <a:pt x="2732" y="756"/>
                  </a:lnTo>
                  <a:lnTo>
                    <a:pt x="2730" y="760"/>
                  </a:lnTo>
                  <a:lnTo>
                    <a:pt x="2728" y="760"/>
                  </a:lnTo>
                  <a:lnTo>
                    <a:pt x="2724" y="758"/>
                  </a:lnTo>
                  <a:lnTo>
                    <a:pt x="2722" y="758"/>
                  </a:lnTo>
                  <a:lnTo>
                    <a:pt x="2722" y="758"/>
                  </a:lnTo>
                  <a:lnTo>
                    <a:pt x="2720" y="758"/>
                  </a:lnTo>
                  <a:lnTo>
                    <a:pt x="2724" y="756"/>
                  </a:lnTo>
                  <a:lnTo>
                    <a:pt x="2724" y="754"/>
                  </a:lnTo>
                  <a:lnTo>
                    <a:pt x="2724" y="752"/>
                  </a:lnTo>
                  <a:lnTo>
                    <a:pt x="2722" y="752"/>
                  </a:lnTo>
                  <a:lnTo>
                    <a:pt x="2720" y="752"/>
                  </a:lnTo>
                  <a:lnTo>
                    <a:pt x="2714" y="750"/>
                  </a:lnTo>
                  <a:lnTo>
                    <a:pt x="2712" y="750"/>
                  </a:lnTo>
                  <a:lnTo>
                    <a:pt x="2712" y="750"/>
                  </a:lnTo>
                  <a:lnTo>
                    <a:pt x="2712" y="750"/>
                  </a:lnTo>
                  <a:lnTo>
                    <a:pt x="2707" y="750"/>
                  </a:lnTo>
                  <a:lnTo>
                    <a:pt x="2707" y="748"/>
                  </a:lnTo>
                  <a:lnTo>
                    <a:pt x="2710" y="748"/>
                  </a:lnTo>
                  <a:lnTo>
                    <a:pt x="2710" y="746"/>
                  </a:lnTo>
                  <a:lnTo>
                    <a:pt x="2707" y="743"/>
                  </a:lnTo>
                  <a:lnTo>
                    <a:pt x="2707" y="743"/>
                  </a:lnTo>
                  <a:lnTo>
                    <a:pt x="2705" y="743"/>
                  </a:lnTo>
                  <a:lnTo>
                    <a:pt x="2705" y="739"/>
                  </a:lnTo>
                  <a:lnTo>
                    <a:pt x="2705" y="739"/>
                  </a:lnTo>
                  <a:lnTo>
                    <a:pt x="2705" y="739"/>
                  </a:lnTo>
                  <a:lnTo>
                    <a:pt x="2703" y="739"/>
                  </a:lnTo>
                  <a:lnTo>
                    <a:pt x="2703" y="737"/>
                  </a:lnTo>
                  <a:lnTo>
                    <a:pt x="2701" y="737"/>
                  </a:lnTo>
                  <a:lnTo>
                    <a:pt x="2701" y="737"/>
                  </a:lnTo>
                  <a:lnTo>
                    <a:pt x="2703" y="735"/>
                  </a:lnTo>
                  <a:lnTo>
                    <a:pt x="2703" y="733"/>
                  </a:lnTo>
                  <a:lnTo>
                    <a:pt x="2703" y="731"/>
                  </a:lnTo>
                  <a:lnTo>
                    <a:pt x="2703" y="731"/>
                  </a:lnTo>
                  <a:lnTo>
                    <a:pt x="2703" y="729"/>
                  </a:lnTo>
                  <a:lnTo>
                    <a:pt x="2703" y="727"/>
                  </a:lnTo>
                  <a:lnTo>
                    <a:pt x="2705" y="727"/>
                  </a:lnTo>
                  <a:lnTo>
                    <a:pt x="2705" y="727"/>
                  </a:lnTo>
                  <a:lnTo>
                    <a:pt x="2707" y="725"/>
                  </a:lnTo>
                  <a:lnTo>
                    <a:pt x="2710" y="725"/>
                  </a:lnTo>
                  <a:lnTo>
                    <a:pt x="2710" y="723"/>
                  </a:lnTo>
                  <a:lnTo>
                    <a:pt x="2707" y="723"/>
                  </a:lnTo>
                  <a:lnTo>
                    <a:pt x="2707" y="723"/>
                  </a:lnTo>
                  <a:lnTo>
                    <a:pt x="2710" y="721"/>
                  </a:lnTo>
                  <a:lnTo>
                    <a:pt x="2710" y="721"/>
                  </a:lnTo>
                  <a:lnTo>
                    <a:pt x="2712" y="723"/>
                  </a:lnTo>
                  <a:lnTo>
                    <a:pt x="2712" y="721"/>
                  </a:lnTo>
                  <a:lnTo>
                    <a:pt x="2712" y="719"/>
                  </a:lnTo>
                  <a:lnTo>
                    <a:pt x="2714" y="715"/>
                  </a:lnTo>
                  <a:lnTo>
                    <a:pt x="2714" y="715"/>
                  </a:lnTo>
                  <a:lnTo>
                    <a:pt x="2716" y="715"/>
                  </a:lnTo>
                  <a:lnTo>
                    <a:pt x="2716" y="715"/>
                  </a:lnTo>
                  <a:lnTo>
                    <a:pt x="2718" y="715"/>
                  </a:lnTo>
                  <a:lnTo>
                    <a:pt x="2720" y="715"/>
                  </a:lnTo>
                  <a:lnTo>
                    <a:pt x="2722" y="713"/>
                  </a:lnTo>
                  <a:lnTo>
                    <a:pt x="2722" y="713"/>
                  </a:lnTo>
                  <a:lnTo>
                    <a:pt x="2722" y="710"/>
                  </a:lnTo>
                  <a:lnTo>
                    <a:pt x="2722" y="708"/>
                  </a:lnTo>
                  <a:lnTo>
                    <a:pt x="2722" y="708"/>
                  </a:lnTo>
                  <a:lnTo>
                    <a:pt x="2716" y="708"/>
                  </a:lnTo>
                  <a:lnTo>
                    <a:pt x="2714" y="708"/>
                  </a:lnTo>
                  <a:lnTo>
                    <a:pt x="2714" y="706"/>
                  </a:lnTo>
                  <a:lnTo>
                    <a:pt x="2714" y="704"/>
                  </a:lnTo>
                  <a:lnTo>
                    <a:pt x="2714" y="702"/>
                  </a:lnTo>
                  <a:lnTo>
                    <a:pt x="2714" y="698"/>
                  </a:lnTo>
                  <a:lnTo>
                    <a:pt x="2714" y="698"/>
                  </a:lnTo>
                  <a:lnTo>
                    <a:pt x="2716" y="696"/>
                  </a:lnTo>
                  <a:lnTo>
                    <a:pt x="2716" y="694"/>
                  </a:lnTo>
                  <a:lnTo>
                    <a:pt x="2716" y="692"/>
                  </a:lnTo>
                  <a:lnTo>
                    <a:pt x="2716" y="690"/>
                  </a:lnTo>
                  <a:lnTo>
                    <a:pt x="2716" y="688"/>
                  </a:lnTo>
                  <a:lnTo>
                    <a:pt x="2716" y="686"/>
                  </a:lnTo>
                  <a:lnTo>
                    <a:pt x="2716" y="686"/>
                  </a:lnTo>
                  <a:lnTo>
                    <a:pt x="2718" y="684"/>
                  </a:lnTo>
                  <a:lnTo>
                    <a:pt x="2716" y="684"/>
                  </a:lnTo>
                  <a:lnTo>
                    <a:pt x="2712" y="686"/>
                  </a:lnTo>
                  <a:lnTo>
                    <a:pt x="2707" y="688"/>
                  </a:lnTo>
                  <a:lnTo>
                    <a:pt x="2705" y="690"/>
                  </a:lnTo>
                  <a:lnTo>
                    <a:pt x="2703" y="694"/>
                  </a:lnTo>
                  <a:lnTo>
                    <a:pt x="2701" y="696"/>
                  </a:lnTo>
                  <a:lnTo>
                    <a:pt x="2699" y="696"/>
                  </a:lnTo>
                  <a:lnTo>
                    <a:pt x="2695" y="696"/>
                  </a:lnTo>
                  <a:lnTo>
                    <a:pt x="2693" y="696"/>
                  </a:lnTo>
                  <a:lnTo>
                    <a:pt x="2691" y="696"/>
                  </a:lnTo>
                  <a:lnTo>
                    <a:pt x="2689" y="696"/>
                  </a:lnTo>
                  <a:lnTo>
                    <a:pt x="2687" y="700"/>
                  </a:lnTo>
                  <a:lnTo>
                    <a:pt x="2685" y="702"/>
                  </a:lnTo>
                  <a:lnTo>
                    <a:pt x="2685" y="702"/>
                  </a:lnTo>
                  <a:lnTo>
                    <a:pt x="2685" y="704"/>
                  </a:lnTo>
                  <a:lnTo>
                    <a:pt x="2685" y="704"/>
                  </a:lnTo>
                  <a:lnTo>
                    <a:pt x="2687" y="706"/>
                  </a:lnTo>
                  <a:lnTo>
                    <a:pt x="2689" y="704"/>
                  </a:lnTo>
                  <a:lnTo>
                    <a:pt x="2691" y="704"/>
                  </a:lnTo>
                  <a:lnTo>
                    <a:pt x="2693" y="702"/>
                  </a:lnTo>
                  <a:lnTo>
                    <a:pt x="2695" y="698"/>
                  </a:lnTo>
                  <a:lnTo>
                    <a:pt x="2697" y="698"/>
                  </a:lnTo>
                  <a:lnTo>
                    <a:pt x="2699" y="698"/>
                  </a:lnTo>
                  <a:lnTo>
                    <a:pt x="2697" y="702"/>
                  </a:lnTo>
                  <a:lnTo>
                    <a:pt x="2697" y="704"/>
                  </a:lnTo>
                  <a:lnTo>
                    <a:pt x="2697" y="704"/>
                  </a:lnTo>
                  <a:lnTo>
                    <a:pt x="2695" y="702"/>
                  </a:lnTo>
                  <a:lnTo>
                    <a:pt x="2695" y="704"/>
                  </a:lnTo>
                  <a:lnTo>
                    <a:pt x="2693" y="704"/>
                  </a:lnTo>
                  <a:lnTo>
                    <a:pt x="2691" y="706"/>
                  </a:lnTo>
                  <a:lnTo>
                    <a:pt x="2691" y="708"/>
                  </a:lnTo>
                  <a:lnTo>
                    <a:pt x="2691" y="708"/>
                  </a:lnTo>
                  <a:lnTo>
                    <a:pt x="2689" y="708"/>
                  </a:lnTo>
                  <a:lnTo>
                    <a:pt x="2689" y="708"/>
                  </a:lnTo>
                  <a:lnTo>
                    <a:pt x="2687" y="708"/>
                  </a:lnTo>
                  <a:lnTo>
                    <a:pt x="2685" y="706"/>
                  </a:lnTo>
                  <a:lnTo>
                    <a:pt x="2683" y="706"/>
                  </a:lnTo>
                  <a:lnTo>
                    <a:pt x="2683" y="706"/>
                  </a:lnTo>
                  <a:lnTo>
                    <a:pt x="2683" y="713"/>
                  </a:lnTo>
                  <a:lnTo>
                    <a:pt x="2683" y="717"/>
                  </a:lnTo>
                  <a:lnTo>
                    <a:pt x="2683" y="719"/>
                  </a:lnTo>
                  <a:lnTo>
                    <a:pt x="2683" y="721"/>
                  </a:lnTo>
                  <a:lnTo>
                    <a:pt x="2683" y="727"/>
                  </a:lnTo>
                  <a:lnTo>
                    <a:pt x="2685" y="729"/>
                  </a:lnTo>
                  <a:lnTo>
                    <a:pt x="2689" y="731"/>
                  </a:lnTo>
                  <a:lnTo>
                    <a:pt x="2689" y="733"/>
                  </a:lnTo>
                  <a:lnTo>
                    <a:pt x="2689" y="735"/>
                  </a:lnTo>
                  <a:lnTo>
                    <a:pt x="2689" y="735"/>
                  </a:lnTo>
                  <a:lnTo>
                    <a:pt x="2689" y="737"/>
                  </a:lnTo>
                  <a:lnTo>
                    <a:pt x="2689" y="739"/>
                  </a:lnTo>
                  <a:lnTo>
                    <a:pt x="2691" y="743"/>
                  </a:lnTo>
                  <a:lnTo>
                    <a:pt x="2691" y="746"/>
                  </a:lnTo>
                  <a:lnTo>
                    <a:pt x="2693" y="748"/>
                  </a:lnTo>
                  <a:lnTo>
                    <a:pt x="2693" y="748"/>
                  </a:lnTo>
                  <a:lnTo>
                    <a:pt x="2693" y="750"/>
                  </a:lnTo>
                  <a:lnTo>
                    <a:pt x="2693" y="750"/>
                  </a:lnTo>
                  <a:lnTo>
                    <a:pt x="2689" y="750"/>
                  </a:lnTo>
                  <a:lnTo>
                    <a:pt x="2689" y="752"/>
                  </a:lnTo>
                  <a:lnTo>
                    <a:pt x="2689" y="752"/>
                  </a:lnTo>
                  <a:lnTo>
                    <a:pt x="2691" y="752"/>
                  </a:lnTo>
                  <a:lnTo>
                    <a:pt x="2691" y="752"/>
                  </a:lnTo>
                  <a:lnTo>
                    <a:pt x="2693" y="752"/>
                  </a:lnTo>
                  <a:lnTo>
                    <a:pt x="2693" y="754"/>
                  </a:lnTo>
                  <a:lnTo>
                    <a:pt x="2693" y="758"/>
                  </a:lnTo>
                  <a:lnTo>
                    <a:pt x="2693" y="760"/>
                  </a:lnTo>
                  <a:lnTo>
                    <a:pt x="2695" y="760"/>
                  </a:lnTo>
                  <a:lnTo>
                    <a:pt x="2695" y="760"/>
                  </a:lnTo>
                  <a:lnTo>
                    <a:pt x="2697" y="760"/>
                  </a:lnTo>
                  <a:lnTo>
                    <a:pt x="2699" y="762"/>
                  </a:lnTo>
                  <a:lnTo>
                    <a:pt x="2703" y="766"/>
                  </a:lnTo>
                  <a:lnTo>
                    <a:pt x="2705" y="766"/>
                  </a:lnTo>
                  <a:lnTo>
                    <a:pt x="2703" y="766"/>
                  </a:lnTo>
                  <a:lnTo>
                    <a:pt x="2703" y="766"/>
                  </a:lnTo>
                  <a:lnTo>
                    <a:pt x="2699" y="762"/>
                  </a:lnTo>
                  <a:lnTo>
                    <a:pt x="2697" y="762"/>
                  </a:lnTo>
                  <a:lnTo>
                    <a:pt x="2693" y="762"/>
                  </a:lnTo>
                  <a:lnTo>
                    <a:pt x="2689" y="760"/>
                  </a:lnTo>
                  <a:lnTo>
                    <a:pt x="2689" y="762"/>
                  </a:lnTo>
                  <a:lnTo>
                    <a:pt x="2689" y="762"/>
                  </a:lnTo>
                  <a:lnTo>
                    <a:pt x="2687" y="764"/>
                  </a:lnTo>
                  <a:lnTo>
                    <a:pt x="2689" y="766"/>
                  </a:lnTo>
                  <a:lnTo>
                    <a:pt x="2687" y="770"/>
                  </a:lnTo>
                  <a:lnTo>
                    <a:pt x="2687" y="768"/>
                  </a:lnTo>
                  <a:lnTo>
                    <a:pt x="2687" y="766"/>
                  </a:lnTo>
                  <a:lnTo>
                    <a:pt x="2685" y="766"/>
                  </a:lnTo>
                  <a:lnTo>
                    <a:pt x="2685" y="766"/>
                  </a:lnTo>
                  <a:lnTo>
                    <a:pt x="2685" y="768"/>
                  </a:lnTo>
                  <a:lnTo>
                    <a:pt x="2685" y="768"/>
                  </a:lnTo>
                  <a:lnTo>
                    <a:pt x="2683" y="770"/>
                  </a:lnTo>
                  <a:lnTo>
                    <a:pt x="2683" y="768"/>
                  </a:lnTo>
                  <a:lnTo>
                    <a:pt x="2683" y="766"/>
                  </a:lnTo>
                  <a:lnTo>
                    <a:pt x="2681" y="764"/>
                  </a:lnTo>
                  <a:lnTo>
                    <a:pt x="2674" y="764"/>
                  </a:lnTo>
                  <a:lnTo>
                    <a:pt x="2670" y="764"/>
                  </a:lnTo>
                  <a:lnTo>
                    <a:pt x="2668" y="764"/>
                  </a:lnTo>
                  <a:lnTo>
                    <a:pt x="2668" y="766"/>
                  </a:lnTo>
                  <a:lnTo>
                    <a:pt x="2666" y="768"/>
                  </a:lnTo>
                  <a:lnTo>
                    <a:pt x="2666" y="770"/>
                  </a:lnTo>
                  <a:lnTo>
                    <a:pt x="2668" y="772"/>
                  </a:lnTo>
                  <a:lnTo>
                    <a:pt x="2668" y="772"/>
                  </a:lnTo>
                  <a:lnTo>
                    <a:pt x="2666" y="772"/>
                  </a:lnTo>
                  <a:lnTo>
                    <a:pt x="2666" y="772"/>
                  </a:lnTo>
                  <a:lnTo>
                    <a:pt x="2664" y="770"/>
                  </a:lnTo>
                  <a:lnTo>
                    <a:pt x="2664" y="768"/>
                  </a:lnTo>
                  <a:lnTo>
                    <a:pt x="2660" y="770"/>
                  </a:lnTo>
                  <a:lnTo>
                    <a:pt x="2656" y="770"/>
                  </a:lnTo>
                  <a:lnTo>
                    <a:pt x="2652" y="770"/>
                  </a:lnTo>
                  <a:lnTo>
                    <a:pt x="2650" y="770"/>
                  </a:lnTo>
                  <a:lnTo>
                    <a:pt x="2646" y="772"/>
                  </a:lnTo>
                  <a:lnTo>
                    <a:pt x="2644" y="774"/>
                  </a:lnTo>
                  <a:lnTo>
                    <a:pt x="2644" y="777"/>
                  </a:lnTo>
                  <a:lnTo>
                    <a:pt x="2639" y="779"/>
                  </a:lnTo>
                  <a:lnTo>
                    <a:pt x="2635" y="779"/>
                  </a:lnTo>
                  <a:lnTo>
                    <a:pt x="2635" y="779"/>
                  </a:lnTo>
                  <a:lnTo>
                    <a:pt x="2635" y="779"/>
                  </a:lnTo>
                  <a:lnTo>
                    <a:pt x="2633" y="781"/>
                  </a:lnTo>
                  <a:lnTo>
                    <a:pt x="2633" y="781"/>
                  </a:lnTo>
                  <a:lnTo>
                    <a:pt x="2631" y="789"/>
                  </a:lnTo>
                  <a:lnTo>
                    <a:pt x="2631" y="791"/>
                  </a:lnTo>
                  <a:lnTo>
                    <a:pt x="2629" y="793"/>
                  </a:lnTo>
                  <a:lnTo>
                    <a:pt x="2627" y="795"/>
                  </a:lnTo>
                  <a:lnTo>
                    <a:pt x="2625" y="797"/>
                  </a:lnTo>
                  <a:lnTo>
                    <a:pt x="2625" y="797"/>
                  </a:lnTo>
                  <a:lnTo>
                    <a:pt x="2623" y="797"/>
                  </a:lnTo>
                  <a:lnTo>
                    <a:pt x="2623" y="799"/>
                  </a:lnTo>
                  <a:lnTo>
                    <a:pt x="2623" y="801"/>
                  </a:lnTo>
                  <a:lnTo>
                    <a:pt x="2625" y="803"/>
                  </a:lnTo>
                  <a:lnTo>
                    <a:pt x="2625" y="803"/>
                  </a:lnTo>
                  <a:lnTo>
                    <a:pt x="2625" y="803"/>
                  </a:lnTo>
                  <a:lnTo>
                    <a:pt x="2623" y="803"/>
                  </a:lnTo>
                  <a:lnTo>
                    <a:pt x="2625" y="805"/>
                  </a:lnTo>
                  <a:lnTo>
                    <a:pt x="2625" y="805"/>
                  </a:lnTo>
                  <a:lnTo>
                    <a:pt x="2627" y="805"/>
                  </a:lnTo>
                  <a:lnTo>
                    <a:pt x="2627" y="808"/>
                  </a:lnTo>
                  <a:lnTo>
                    <a:pt x="2627" y="808"/>
                  </a:lnTo>
                  <a:lnTo>
                    <a:pt x="2625" y="808"/>
                  </a:lnTo>
                  <a:lnTo>
                    <a:pt x="2621" y="805"/>
                  </a:lnTo>
                  <a:lnTo>
                    <a:pt x="2619" y="803"/>
                  </a:lnTo>
                  <a:lnTo>
                    <a:pt x="2617" y="805"/>
                  </a:lnTo>
                  <a:lnTo>
                    <a:pt x="2617" y="805"/>
                  </a:lnTo>
                  <a:lnTo>
                    <a:pt x="2615" y="805"/>
                  </a:lnTo>
                  <a:lnTo>
                    <a:pt x="2617" y="805"/>
                  </a:lnTo>
                  <a:lnTo>
                    <a:pt x="2617" y="808"/>
                  </a:lnTo>
                  <a:lnTo>
                    <a:pt x="2619" y="808"/>
                  </a:lnTo>
                  <a:lnTo>
                    <a:pt x="2621" y="808"/>
                  </a:lnTo>
                  <a:lnTo>
                    <a:pt x="2623" y="808"/>
                  </a:lnTo>
                  <a:lnTo>
                    <a:pt x="2625" y="808"/>
                  </a:lnTo>
                  <a:lnTo>
                    <a:pt x="2627" y="808"/>
                  </a:lnTo>
                  <a:lnTo>
                    <a:pt x="2625" y="810"/>
                  </a:lnTo>
                  <a:lnTo>
                    <a:pt x="2623" y="808"/>
                  </a:lnTo>
                  <a:lnTo>
                    <a:pt x="2621" y="810"/>
                  </a:lnTo>
                  <a:lnTo>
                    <a:pt x="2619" y="810"/>
                  </a:lnTo>
                  <a:lnTo>
                    <a:pt x="2617" y="808"/>
                  </a:lnTo>
                  <a:lnTo>
                    <a:pt x="2615" y="808"/>
                  </a:lnTo>
                  <a:lnTo>
                    <a:pt x="2615" y="808"/>
                  </a:lnTo>
                  <a:lnTo>
                    <a:pt x="2613" y="810"/>
                  </a:lnTo>
                  <a:lnTo>
                    <a:pt x="2609" y="810"/>
                  </a:lnTo>
                  <a:lnTo>
                    <a:pt x="2600" y="814"/>
                  </a:lnTo>
                  <a:lnTo>
                    <a:pt x="2594" y="816"/>
                  </a:lnTo>
                  <a:lnTo>
                    <a:pt x="2592" y="816"/>
                  </a:lnTo>
                  <a:lnTo>
                    <a:pt x="2590" y="818"/>
                  </a:lnTo>
                  <a:lnTo>
                    <a:pt x="2590" y="818"/>
                  </a:lnTo>
                  <a:lnTo>
                    <a:pt x="2588" y="820"/>
                  </a:lnTo>
                  <a:lnTo>
                    <a:pt x="2588" y="828"/>
                  </a:lnTo>
                  <a:lnTo>
                    <a:pt x="2590" y="830"/>
                  </a:lnTo>
                  <a:lnTo>
                    <a:pt x="2588" y="830"/>
                  </a:lnTo>
                  <a:lnTo>
                    <a:pt x="2588" y="830"/>
                  </a:lnTo>
                  <a:lnTo>
                    <a:pt x="2586" y="832"/>
                  </a:lnTo>
                  <a:lnTo>
                    <a:pt x="2584" y="834"/>
                  </a:lnTo>
                  <a:lnTo>
                    <a:pt x="2580" y="836"/>
                  </a:lnTo>
                  <a:lnTo>
                    <a:pt x="2576" y="836"/>
                  </a:lnTo>
                  <a:lnTo>
                    <a:pt x="2569" y="841"/>
                  </a:lnTo>
                  <a:lnTo>
                    <a:pt x="2567" y="841"/>
                  </a:lnTo>
                  <a:lnTo>
                    <a:pt x="2567" y="843"/>
                  </a:lnTo>
                  <a:lnTo>
                    <a:pt x="2567" y="843"/>
                  </a:lnTo>
                  <a:lnTo>
                    <a:pt x="2569" y="845"/>
                  </a:lnTo>
                  <a:lnTo>
                    <a:pt x="2573" y="845"/>
                  </a:lnTo>
                  <a:lnTo>
                    <a:pt x="2571" y="845"/>
                  </a:lnTo>
                  <a:lnTo>
                    <a:pt x="2567" y="845"/>
                  </a:lnTo>
                  <a:lnTo>
                    <a:pt x="2565" y="847"/>
                  </a:lnTo>
                  <a:lnTo>
                    <a:pt x="2563" y="847"/>
                  </a:lnTo>
                  <a:lnTo>
                    <a:pt x="2559" y="847"/>
                  </a:lnTo>
                  <a:lnTo>
                    <a:pt x="2555" y="847"/>
                  </a:lnTo>
                  <a:lnTo>
                    <a:pt x="2553" y="845"/>
                  </a:lnTo>
                  <a:lnTo>
                    <a:pt x="2551" y="845"/>
                  </a:lnTo>
                  <a:lnTo>
                    <a:pt x="2549" y="845"/>
                  </a:lnTo>
                  <a:lnTo>
                    <a:pt x="2549" y="843"/>
                  </a:lnTo>
                  <a:lnTo>
                    <a:pt x="2549" y="841"/>
                  </a:lnTo>
                  <a:lnTo>
                    <a:pt x="2549" y="841"/>
                  </a:lnTo>
                  <a:lnTo>
                    <a:pt x="2547" y="838"/>
                  </a:lnTo>
                  <a:lnTo>
                    <a:pt x="2545" y="841"/>
                  </a:lnTo>
                  <a:lnTo>
                    <a:pt x="2543" y="841"/>
                  </a:lnTo>
                  <a:lnTo>
                    <a:pt x="2540" y="841"/>
                  </a:lnTo>
                  <a:lnTo>
                    <a:pt x="2540" y="841"/>
                  </a:lnTo>
                  <a:lnTo>
                    <a:pt x="2540" y="841"/>
                  </a:lnTo>
                  <a:lnTo>
                    <a:pt x="2540" y="843"/>
                  </a:lnTo>
                  <a:lnTo>
                    <a:pt x="2543" y="847"/>
                  </a:lnTo>
                  <a:lnTo>
                    <a:pt x="2545" y="849"/>
                  </a:lnTo>
                  <a:lnTo>
                    <a:pt x="2545" y="855"/>
                  </a:lnTo>
                  <a:lnTo>
                    <a:pt x="2545" y="857"/>
                  </a:lnTo>
                  <a:lnTo>
                    <a:pt x="2547" y="859"/>
                  </a:lnTo>
                  <a:lnTo>
                    <a:pt x="2547" y="859"/>
                  </a:lnTo>
                  <a:lnTo>
                    <a:pt x="2540" y="859"/>
                  </a:lnTo>
                  <a:lnTo>
                    <a:pt x="2540" y="859"/>
                  </a:lnTo>
                  <a:lnTo>
                    <a:pt x="2538" y="857"/>
                  </a:lnTo>
                  <a:lnTo>
                    <a:pt x="2538" y="859"/>
                  </a:lnTo>
                  <a:lnTo>
                    <a:pt x="2538" y="859"/>
                  </a:lnTo>
                  <a:lnTo>
                    <a:pt x="2536" y="859"/>
                  </a:lnTo>
                  <a:lnTo>
                    <a:pt x="2532" y="859"/>
                  </a:lnTo>
                  <a:lnTo>
                    <a:pt x="2528" y="861"/>
                  </a:lnTo>
                  <a:lnTo>
                    <a:pt x="2526" y="859"/>
                  </a:lnTo>
                  <a:lnTo>
                    <a:pt x="2524" y="857"/>
                  </a:lnTo>
                  <a:lnTo>
                    <a:pt x="2520" y="855"/>
                  </a:lnTo>
                  <a:lnTo>
                    <a:pt x="2518" y="855"/>
                  </a:lnTo>
                  <a:lnTo>
                    <a:pt x="2516" y="857"/>
                  </a:lnTo>
                  <a:lnTo>
                    <a:pt x="2514" y="857"/>
                  </a:lnTo>
                  <a:lnTo>
                    <a:pt x="2512" y="857"/>
                  </a:lnTo>
                  <a:lnTo>
                    <a:pt x="2507" y="857"/>
                  </a:lnTo>
                  <a:lnTo>
                    <a:pt x="2501" y="859"/>
                  </a:lnTo>
                  <a:lnTo>
                    <a:pt x="2499" y="861"/>
                  </a:lnTo>
                  <a:lnTo>
                    <a:pt x="2499" y="863"/>
                  </a:lnTo>
                  <a:lnTo>
                    <a:pt x="2499" y="863"/>
                  </a:lnTo>
                  <a:lnTo>
                    <a:pt x="2499" y="863"/>
                  </a:lnTo>
                  <a:lnTo>
                    <a:pt x="2501" y="863"/>
                  </a:lnTo>
                  <a:lnTo>
                    <a:pt x="2501" y="863"/>
                  </a:lnTo>
                  <a:lnTo>
                    <a:pt x="2503" y="863"/>
                  </a:lnTo>
                  <a:lnTo>
                    <a:pt x="2503" y="863"/>
                  </a:lnTo>
                  <a:lnTo>
                    <a:pt x="2505" y="863"/>
                  </a:lnTo>
                  <a:lnTo>
                    <a:pt x="2505" y="865"/>
                  </a:lnTo>
                  <a:lnTo>
                    <a:pt x="2503" y="865"/>
                  </a:lnTo>
                  <a:lnTo>
                    <a:pt x="2501" y="865"/>
                  </a:lnTo>
                  <a:lnTo>
                    <a:pt x="2501" y="865"/>
                  </a:lnTo>
                  <a:lnTo>
                    <a:pt x="2501" y="865"/>
                  </a:lnTo>
                  <a:lnTo>
                    <a:pt x="2501" y="865"/>
                  </a:lnTo>
                  <a:lnTo>
                    <a:pt x="2501" y="867"/>
                  </a:lnTo>
                  <a:lnTo>
                    <a:pt x="2503" y="867"/>
                  </a:lnTo>
                  <a:lnTo>
                    <a:pt x="2505" y="867"/>
                  </a:lnTo>
                  <a:lnTo>
                    <a:pt x="2503" y="867"/>
                  </a:lnTo>
                  <a:lnTo>
                    <a:pt x="2501" y="869"/>
                  </a:lnTo>
                  <a:lnTo>
                    <a:pt x="2501" y="869"/>
                  </a:lnTo>
                  <a:lnTo>
                    <a:pt x="2499" y="869"/>
                  </a:lnTo>
                  <a:lnTo>
                    <a:pt x="2503" y="872"/>
                  </a:lnTo>
                  <a:lnTo>
                    <a:pt x="2503" y="874"/>
                  </a:lnTo>
                  <a:lnTo>
                    <a:pt x="2505" y="874"/>
                  </a:lnTo>
                  <a:lnTo>
                    <a:pt x="2505" y="874"/>
                  </a:lnTo>
                  <a:lnTo>
                    <a:pt x="2507" y="874"/>
                  </a:lnTo>
                  <a:lnTo>
                    <a:pt x="2512" y="874"/>
                  </a:lnTo>
                  <a:lnTo>
                    <a:pt x="2516" y="876"/>
                  </a:lnTo>
                  <a:lnTo>
                    <a:pt x="2518" y="876"/>
                  </a:lnTo>
                  <a:lnTo>
                    <a:pt x="2518" y="876"/>
                  </a:lnTo>
                  <a:lnTo>
                    <a:pt x="2520" y="876"/>
                  </a:lnTo>
                  <a:lnTo>
                    <a:pt x="2520" y="876"/>
                  </a:lnTo>
                  <a:lnTo>
                    <a:pt x="2520" y="876"/>
                  </a:lnTo>
                  <a:lnTo>
                    <a:pt x="2522" y="876"/>
                  </a:lnTo>
                  <a:lnTo>
                    <a:pt x="2522" y="878"/>
                  </a:lnTo>
                  <a:lnTo>
                    <a:pt x="2524" y="878"/>
                  </a:lnTo>
                  <a:lnTo>
                    <a:pt x="2526" y="878"/>
                  </a:lnTo>
                  <a:lnTo>
                    <a:pt x="2526" y="878"/>
                  </a:lnTo>
                  <a:lnTo>
                    <a:pt x="2528" y="878"/>
                  </a:lnTo>
                  <a:lnTo>
                    <a:pt x="2526" y="880"/>
                  </a:lnTo>
                  <a:lnTo>
                    <a:pt x="2526" y="880"/>
                  </a:lnTo>
                  <a:lnTo>
                    <a:pt x="2528" y="880"/>
                  </a:lnTo>
                  <a:lnTo>
                    <a:pt x="2530" y="880"/>
                  </a:lnTo>
                  <a:lnTo>
                    <a:pt x="2530" y="880"/>
                  </a:lnTo>
                  <a:lnTo>
                    <a:pt x="2532" y="880"/>
                  </a:lnTo>
                  <a:lnTo>
                    <a:pt x="2530" y="882"/>
                  </a:lnTo>
                  <a:lnTo>
                    <a:pt x="2530" y="882"/>
                  </a:lnTo>
                  <a:lnTo>
                    <a:pt x="2530" y="884"/>
                  </a:lnTo>
                  <a:lnTo>
                    <a:pt x="2532" y="884"/>
                  </a:lnTo>
                  <a:lnTo>
                    <a:pt x="2532" y="884"/>
                  </a:lnTo>
                  <a:lnTo>
                    <a:pt x="2538" y="884"/>
                  </a:lnTo>
                  <a:lnTo>
                    <a:pt x="2540" y="884"/>
                  </a:lnTo>
                  <a:lnTo>
                    <a:pt x="2540" y="884"/>
                  </a:lnTo>
                  <a:lnTo>
                    <a:pt x="2538" y="884"/>
                  </a:lnTo>
                  <a:lnTo>
                    <a:pt x="2538" y="884"/>
                  </a:lnTo>
                  <a:lnTo>
                    <a:pt x="2536" y="884"/>
                  </a:lnTo>
                  <a:lnTo>
                    <a:pt x="2536" y="884"/>
                  </a:lnTo>
                  <a:lnTo>
                    <a:pt x="2534" y="886"/>
                  </a:lnTo>
                  <a:lnTo>
                    <a:pt x="2536" y="886"/>
                  </a:lnTo>
                  <a:lnTo>
                    <a:pt x="2536" y="886"/>
                  </a:lnTo>
                  <a:lnTo>
                    <a:pt x="2538" y="888"/>
                  </a:lnTo>
                  <a:lnTo>
                    <a:pt x="2536" y="890"/>
                  </a:lnTo>
                  <a:lnTo>
                    <a:pt x="2536" y="890"/>
                  </a:lnTo>
                  <a:lnTo>
                    <a:pt x="2536" y="892"/>
                  </a:lnTo>
                  <a:lnTo>
                    <a:pt x="2538" y="894"/>
                  </a:lnTo>
                  <a:lnTo>
                    <a:pt x="2540" y="896"/>
                  </a:lnTo>
                  <a:lnTo>
                    <a:pt x="2547" y="900"/>
                  </a:lnTo>
                  <a:lnTo>
                    <a:pt x="2547" y="900"/>
                  </a:lnTo>
                  <a:lnTo>
                    <a:pt x="2549" y="900"/>
                  </a:lnTo>
                  <a:lnTo>
                    <a:pt x="2551" y="900"/>
                  </a:lnTo>
                  <a:lnTo>
                    <a:pt x="2551" y="902"/>
                  </a:lnTo>
                  <a:lnTo>
                    <a:pt x="2551" y="902"/>
                  </a:lnTo>
                  <a:lnTo>
                    <a:pt x="2551" y="907"/>
                  </a:lnTo>
                  <a:lnTo>
                    <a:pt x="2551" y="909"/>
                  </a:lnTo>
                  <a:lnTo>
                    <a:pt x="2551" y="911"/>
                  </a:lnTo>
                  <a:lnTo>
                    <a:pt x="2551" y="911"/>
                  </a:lnTo>
                  <a:lnTo>
                    <a:pt x="2551" y="911"/>
                  </a:lnTo>
                  <a:lnTo>
                    <a:pt x="2549" y="911"/>
                  </a:lnTo>
                  <a:lnTo>
                    <a:pt x="2549" y="911"/>
                  </a:lnTo>
                  <a:lnTo>
                    <a:pt x="2549" y="911"/>
                  </a:lnTo>
                  <a:lnTo>
                    <a:pt x="2553" y="915"/>
                  </a:lnTo>
                  <a:lnTo>
                    <a:pt x="2555" y="915"/>
                  </a:lnTo>
                  <a:lnTo>
                    <a:pt x="2555" y="917"/>
                  </a:lnTo>
                  <a:lnTo>
                    <a:pt x="2557" y="923"/>
                  </a:lnTo>
                  <a:lnTo>
                    <a:pt x="2559" y="923"/>
                  </a:lnTo>
                  <a:lnTo>
                    <a:pt x="2559" y="923"/>
                  </a:lnTo>
                  <a:lnTo>
                    <a:pt x="2557" y="923"/>
                  </a:lnTo>
                  <a:lnTo>
                    <a:pt x="2557" y="923"/>
                  </a:lnTo>
                  <a:lnTo>
                    <a:pt x="2555" y="919"/>
                  </a:lnTo>
                  <a:lnTo>
                    <a:pt x="2555" y="917"/>
                  </a:lnTo>
                  <a:lnTo>
                    <a:pt x="2553" y="915"/>
                  </a:lnTo>
                  <a:lnTo>
                    <a:pt x="2551" y="915"/>
                  </a:lnTo>
                  <a:lnTo>
                    <a:pt x="2551" y="917"/>
                  </a:lnTo>
                  <a:lnTo>
                    <a:pt x="2549" y="921"/>
                  </a:lnTo>
                  <a:lnTo>
                    <a:pt x="2549" y="929"/>
                  </a:lnTo>
                  <a:lnTo>
                    <a:pt x="2549" y="929"/>
                  </a:lnTo>
                  <a:lnTo>
                    <a:pt x="2549" y="929"/>
                  </a:lnTo>
                  <a:lnTo>
                    <a:pt x="2551" y="927"/>
                  </a:lnTo>
                  <a:lnTo>
                    <a:pt x="2551" y="929"/>
                  </a:lnTo>
                  <a:lnTo>
                    <a:pt x="2549" y="929"/>
                  </a:lnTo>
                  <a:lnTo>
                    <a:pt x="2549" y="931"/>
                  </a:lnTo>
                  <a:lnTo>
                    <a:pt x="2547" y="942"/>
                  </a:lnTo>
                  <a:lnTo>
                    <a:pt x="2545" y="948"/>
                  </a:lnTo>
                  <a:lnTo>
                    <a:pt x="2543" y="950"/>
                  </a:lnTo>
                  <a:lnTo>
                    <a:pt x="2540" y="952"/>
                  </a:lnTo>
                  <a:lnTo>
                    <a:pt x="2540" y="952"/>
                  </a:lnTo>
                  <a:lnTo>
                    <a:pt x="2538" y="952"/>
                  </a:lnTo>
                  <a:lnTo>
                    <a:pt x="2534" y="952"/>
                  </a:lnTo>
                  <a:lnTo>
                    <a:pt x="2532" y="952"/>
                  </a:lnTo>
                  <a:lnTo>
                    <a:pt x="2530" y="952"/>
                  </a:lnTo>
                  <a:lnTo>
                    <a:pt x="2526" y="950"/>
                  </a:lnTo>
                  <a:lnTo>
                    <a:pt x="2524" y="950"/>
                  </a:lnTo>
                  <a:lnTo>
                    <a:pt x="2522" y="952"/>
                  </a:lnTo>
                  <a:lnTo>
                    <a:pt x="2518" y="950"/>
                  </a:lnTo>
                  <a:lnTo>
                    <a:pt x="2516" y="950"/>
                  </a:lnTo>
                  <a:lnTo>
                    <a:pt x="2516" y="950"/>
                  </a:lnTo>
                  <a:lnTo>
                    <a:pt x="2512" y="950"/>
                  </a:lnTo>
                  <a:lnTo>
                    <a:pt x="2512" y="950"/>
                  </a:lnTo>
                  <a:lnTo>
                    <a:pt x="2510" y="950"/>
                  </a:lnTo>
                  <a:lnTo>
                    <a:pt x="2505" y="952"/>
                  </a:lnTo>
                  <a:lnTo>
                    <a:pt x="2501" y="952"/>
                  </a:lnTo>
                  <a:lnTo>
                    <a:pt x="2493" y="950"/>
                  </a:lnTo>
                  <a:lnTo>
                    <a:pt x="2491" y="948"/>
                  </a:lnTo>
                  <a:lnTo>
                    <a:pt x="2485" y="948"/>
                  </a:lnTo>
                  <a:lnTo>
                    <a:pt x="2483" y="948"/>
                  </a:lnTo>
                  <a:lnTo>
                    <a:pt x="2481" y="948"/>
                  </a:lnTo>
                  <a:lnTo>
                    <a:pt x="2479" y="948"/>
                  </a:lnTo>
                  <a:lnTo>
                    <a:pt x="2474" y="948"/>
                  </a:lnTo>
                  <a:lnTo>
                    <a:pt x="2472" y="948"/>
                  </a:lnTo>
                  <a:lnTo>
                    <a:pt x="2468" y="948"/>
                  </a:lnTo>
                  <a:lnTo>
                    <a:pt x="2466" y="948"/>
                  </a:lnTo>
                  <a:lnTo>
                    <a:pt x="2462" y="948"/>
                  </a:lnTo>
                  <a:lnTo>
                    <a:pt x="2460" y="946"/>
                  </a:lnTo>
                  <a:lnTo>
                    <a:pt x="2460" y="946"/>
                  </a:lnTo>
                  <a:lnTo>
                    <a:pt x="2458" y="946"/>
                  </a:lnTo>
                  <a:lnTo>
                    <a:pt x="2456" y="946"/>
                  </a:lnTo>
                  <a:lnTo>
                    <a:pt x="2454" y="946"/>
                  </a:lnTo>
                  <a:lnTo>
                    <a:pt x="2452" y="946"/>
                  </a:lnTo>
                  <a:lnTo>
                    <a:pt x="2450" y="948"/>
                  </a:lnTo>
                  <a:lnTo>
                    <a:pt x="2448" y="948"/>
                  </a:lnTo>
                  <a:lnTo>
                    <a:pt x="2448" y="950"/>
                  </a:lnTo>
                  <a:lnTo>
                    <a:pt x="2448" y="950"/>
                  </a:lnTo>
                  <a:lnTo>
                    <a:pt x="2450" y="950"/>
                  </a:lnTo>
                  <a:lnTo>
                    <a:pt x="2448" y="952"/>
                  </a:lnTo>
                  <a:lnTo>
                    <a:pt x="2446" y="952"/>
                  </a:lnTo>
                  <a:lnTo>
                    <a:pt x="2446" y="952"/>
                  </a:lnTo>
                  <a:lnTo>
                    <a:pt x="2444" y="952"/>
                  </a:lnTo>
                  <a:lnTo>
                    <a:pt x="2439" y="952"/>
                  </a:lnTo>
                  <a:lnTo>
                    <a:pt x="2437" y="954"/>
                  </a:lnTo>
                  <a:lnTo>
                    <a:pt x="2437" y="954"/>
                  </a:lnTo>
                  <a:lnTo>
                    <a:pt x="2435" y="956"/>
                  </a:lnTo>
                  <a:lnTo>
                    <a:pt x="2435" y="958"/>
                  </a:lnTo>
                  <a:lnTo>
                    <a:pt x="2435" y="958"/>
                  </a:lnTo>
                  <a:lnTo>
                    <a:pt x="2435" y="960"/>
                  </a:lnTo>
                  <a:lnTo>
                    <a:pt x="2435" y="960"/>
                  </a:lnTo>
                  <a:lnTo>
                    <a:pt x="2437" y="962"/>
                  </a:lnTo>
                  <a:lnTo>
                    <a:pt x="2439" y="962"/>
                  </a:lnTo>
                  <a:lnTo>
                    <a:pt x="2439" y="962"/>
                  </a:lnTo>
                  <a:lnTo>
                    <a:pt x="2437" y="964"/>
                  </a:lnTo>
                  <a:lnTo>
                    <a:pt x="2437" y="964"/>
                  </a:lnTo>
                  <a:lnTo>
                    <a:pt x="2437" y="966"/>
                  </a:lnTo>
                  <a:lnTo>
                    <a:pt x="2441" y="964"/>
                  </a:lnTo>
                  <a:lnTo>
                    <a:pt x="2441" y="964"/>
                  </a:lnTo>
                  <a:lnTo>
                    <a:pt x="2441" y="966"/>
                  </a:lnTo>
                  <a:lnTo>
                    <a:pt x="2441" y="966"/>
                  </a:lnTo>
                  <a:lnTo>
                    <a:pt x="2441" y="969"/>
                  </a:lnTo>
                  <a:lnTo>
                    <a:pt x="2441" y="969"/>
                  </a:lnTo>
                  <a:lnTo>
                    <a:pt x="2441" y="969"/>
                  </a:lnTo>
                  <a:lnTo>
                    <a:pt x="2441" y="971"/>
                  </a:lnTo>
                  <a:lnTo>
                    <a:pt x="2441" y="971"/>
                  </a:lnTo>
                  <a:lnTo>
                    <a:pt x="2441" y="971"/>
                  </a:lnTo>
                  <a:lnTo>
                    <a:pt x="2441" y="971"/>
                  </a:lnTo>
                  <a:lnTo>
                    <a:pt x="2441" y="973"/>
                  </a:lnTo>
                  <a:lnTo>
                    <a:pt x="2439" y="973"/>
                  </a:lnTo>
                  <a:lnTo>
                    <a:pt x="2439" y="977"/>
                  </a:lnTo>
                  <a:lnTo>
                    <a:pt x="2439" y="977"/>
                  </a:lnTo>
                  <a:lnTo>
                    <a:pt x="2441" y="977"/>
                  </a:lnTo>
                  <a:lnTo>
                    <a:pt x="2439" y="979"/>
                  </a:lnTo>
                  <a:lnTo>
                    <a:pt x="2439" y="979"/>
                  </a:lnTo>
                  <a:lnTo>
                    <a:pt x="2439" y="981"/>
                  </a:lnTo>
                  <a:lnTo>
                    <a:pt x="2441" y="981"/>
                  </a:lnTo>
                  <a:lnTo>
                    <a:pt x="2441" y="981"/>
                  </a:lnTo>
                  <a:lnTo>
                    <a:pt x="2441" y="983"/>
                  </a:lnTo>
                  <a:lnTo>
                    <a:pt x="2441" y="987"/>
                  </a:lnTo>
                  <a:lnTo>
                    <a:pt x="2444" y="989"/>
                  </a:lnTo>
                  <a:lnTo>
                    <a:pt x="2444" y="991"/>
                  </a:lnTo>
                  <a:lnTo>
                    <a:pt x="2444" y="991"/>
                  </a:lnTo>
                  <a:lnTo>
                    <a:pt x="2444" y="993"/>
                  </a:lnTo>
                  <a:lnTo>
                    <a:pt x="2441" y="997"/>
                  </a:lnTo>
                  <a:lnTo>
                    <a:pt x="2441" y="997"/>
                  </a:lnTo>
                  <a:lnTo>
                    <a:pt x="2441" y="1000"/>
                  </a:lnTo>
                  <a:lnTo>
                    <a:pt x="2439" y="1006"/>
                  </a:lnTo>
                  <a:lnTo>
                    <a:pt x="2439" y="1006"/>
                  </a:lnTo>
                  <a:lnTo>
                    <a:pt x="2439" y="1006"/>
                  </a:lnTo>
                  <a:lnTo>
                    <a:pt x="2439" y="1008"/>
                  </a:lnTo>
                  <a:lnTo>
                    <a:pt x="2437" y="1012"/>
                  </a:lnTo>
                  <a:lnTo>
                    <a:pt x="2435" y="1016"/>
                  </a:lnTo>
                  <a:lnTo>
                    <a:pt x="2435" y="1018"/>
                  </a:lnTo>
                  <a:lnTo>
                    <a:pt x="2433" y="1020"/>
                  </a:lnTo>
                  <a:lnTo>
                    <a:pt x="2433" y="1020"/>
                  </a:lnTo>
                  <a:lnTo>
                    <a:pt x="2433" y="1020"/>
                  </a:lnTo>
                  <a:lnTo>
                    <a:pt x="2433" y="1022"/>
                  </a:lnTo>
                  <a:lnTo>
                    <a:pt x="2431" y="1024"/>
                  </a:lnTo>
                  <a:lnTo>
                    <a:pt x="2431" y="1026"/>
                  </a:lnTo>
                  <a:lnTo>
                    <a:pt x="2431" y="1028"/>
                  </a:lnTo>
                  <a:lnTo>
                    <a:pt x="2431" y="1028"/>
                  </a:lnTo>
                  <a:lnTo>
                    <a:pt x="2431" y="1031"/>
                  </a:lnTo>
                  <a:lnTo>
                    <a:pt x="2431" y="1031"/>
                  </a:lnTo>
                  <a:lnTo>
                    <a:pt x="2433" y="1031"/>
                  </a:lnTo>
                  <a:lnTo>
                    <a:pt x="2435" y="1031"/>
                  </a:lnTo>
                  <a:lnTo>
                    <a:pt x="2435" y="1031"/>
                  </a:lnTo>
                  <a:lnTo>
                    <a:pt x="2437" y="1028"/>
                  </a:lnTo>
                  <a:lnTo>
                    <a:pt x="2439" y="1026"/>
                  </a:lnTo>
                  <a:lnTo>
                    <a:pt x="2439" y="1024"/>
                  </a:lnTo>
                  <a:lnTo>
                    <a:pt x="2441" y="1024"/>
                  </a:lnTo>
                  <a:lnTo>
                    <a:pt x="2439" y="1026"/>
                  </a:lnTo>
                  <a:lnTo>
                    <a:pt x="2437" y="1026"/>
                  </a:lnTo>
                  <a:lnTo>
                    <a:pt x="2437" y="1028"/>
                  </a:lnTo>
                  <a:lnTo>
                    <a:pt x="2437" y="1031"/>
                  </a:lnTo>
                  <a:lnTo>
                    <a:pt x="2437" y="1031"/>
                  </a:lnTo>
                  <a:lnTo>
                    <a:pt x="2435" y="1031"/>
                  </a:lnTo>
                  <a:lnTo>
                    <a:pt x="2435" y="1031"/>
                  </a:lnTo>
                  <a:lnTo>
                    <a:pt x="2435" y="1033"/>
                  </a:lnTo>
                  <a:lnTo>
                    <a:pt x="2435" y="1035"/>
                  </a:lnTo>
                  <a:lnTo>
                    <a:pt x="2435" y="1035"/>
                  </a:lnTo>
                  <a:lnTo>
                    <a:pt x="2437" y="1035"/>
                  </a:lnTo>
                  <a:lnTo>
                    <a:pt x="2439" y="1035"/>
                  </a:lnTo>
                  <a:lnTo>
                    <a:pt x="2439" y="1035"/>
                  </a:lnTo>
                  <a:lnTo>
                    <a:pt x="2441" y="1035"/>
                  </a:lnTo>
                  <a:lnTo>
                    <a:pt x="2441" y="1035"/>
                  </a:lnTo>
                  <a:lnTo>
                    <a:pt x="2444" y="1035"/>
                  </a:lnTo>
                  <a:lnTo>
                    <a:pt x="2439" y="1035"/>
                  </a:lnTo>
                  <a:lnTo>
                    <a:pt x="2441" y="1037"/>
                  </a:lnTo>
                  <a:lnTo>
                    <a:pt x="2441" y="1039"/>
                  </a:lnTo>
                  <a:lnTo>
                    <a:pt x="2439" y="1043"/>
                  </a:lnTo>
                  <a:lnTo>
                    <a:pt x="2441" y="1045"/>
                  </a:lnTo>
                  <a:lnTo>
                    <a:pt x="2441" y="1047"/>
                  </a:lnTo>
                  <a:lnTo>
                    <a:pt x="2441" y="1049"/>
                  </a:lnTo>
                  <a:lnTo>
                    <a:pt x="2441" y="1051"/>
                  </a:lnTo>
                  <a:lnTo>
                    <a:pt x="2439" y="1055"/>
                  </a:lnTo>
                  <a:lnTo>
                    <a:pt x="2437" y="1057"/>
                  </a:lnTo>
                  <a:lnTo>
                    <a:pt x="2439" y="1057"/>
                  </a:lnTo>
                  <a:lnTo>
                    <a:pt x="2439" y="1057"/>
                  </a:lnTo>
                  <a:lnTo>
                    <a:pt x="2441" y="1057"/>
                  </a:lnTo>
                  <a:lnTo>
                    <a:pt x="2444" y="1057"/>
                  </a:lnTo>
                  <a:lnTo>
                    <a:pt x="2446" y="1057"/>
                  </a:lnTo>
                  <a:lnTo>
                    <a:pt x="2450" y="1057"/>
                  </a:lnTo>
                  <a:lnTo>
                    <a:pt x="2454" y="1059"/>
                  </a:lnTo>
                  <a:lnTo>
                    <a:pt x="2454" y="1059"/>
                  </a:lnTo>
                  <a:lnTo>
                    <a:pt x="2460" y="1055"/>
                  </a:lnTo>
                  <a:lnTo>
                    <a:pt x="2460" y="1055"/>
                  </a:lnTo>
                  <a:lnTo>
                    <a:pt x="2464" y="1055"/>
                  </a:lnTo>
                  <a:lnTo>
                    <a:pt x="2466" y="1055"/>
                  </a:lnTo>
                  <a:lnTo>
                    <a:pt x="2468" y="1055"/>
                  </a:lnTo>
                  <a:lnTo>
                    <a:pt x="2468" y="1053"/>
                  </a:lnTo>
                  <a:lnTo>
                    <a:pt x="2468" y="1055"/>
                  </a:lnTo>
                  <a:lnTo>
                    <a:pt x="2468" y="1055"/>
                  </a:lnTo>
                  <a:lnTo>
                    <a:pt x="2474" y="1059"/>
                  </a:lnTo>
                  <a:lnTo>
                    <a:pt x="2474" y="1061"/>
                  </a:lnTo>
                  <a:lnTo>
                    <a:pt x="2477" y="1059"/>
                  </a:lnTo>
                  <a:lnTo>
                    <a:pt x="2479" y="1059"/>
                  </a:lnTo>
                  <a:lnTo>
                    <a:pt x="2477" y="1059"/>
                  </a:lnTo>
                  <a:lnTo>
                    <a:pt x="2477" y="1061"/>
                  </a:lnTo>
                  <a:lnTo>
                    <a:pt x="2474" y="1064"/>
                  </a:lnTo>
                  <a:lnTo>
                    <a:pt x="2474" y="1064"/>
                  </a:lnTo>
                  <a:lnTo>
                    <a:pt x="2477" y="1066"/>
                  </a:lnTo>
                  <a:lnTo>
                    <a:pt x="2477" y="1066"/>
                  </a:lnTo>
                  <a:lnTo>
                    <a:pt x="2477" y="1066"/>
                  </a:lnTo>
                  <a:lnTo>
                    <a:pt x="2477" y="1068"/>
                  </a:lnTo>
                  <a:lnTo>
                    <a:pt x="2479" y="1070"/>
                  </a:lnTo>
                  <a:lnTo>
                    <a:pt x="2481" y="1072"/>
                  </a:lnTo>
                  <a:lnTo>
                    <a:pt x="2481" y="1072"/>
                  </a:lnTo>
                  <a:lnTo>
                    <a:pt x="2483" y="1074"/>
                  </a:lnTo>
                  <a:lnTo>
                    <a:pt x="2487" y="1074"/>
                  </a:lnTo>
                  <a:lnTo>
                    <a:pt x="2487" y="1074"/>
                  </a:lnTo>
                  <a:lnTo>
                    <a:pt x="2489" y="1074"/>
                  </a:lnTo>
                  <a:lnTo>
                    <a:pt x="2489" y="1072"/>
                  </a:lnTo>
                  <a:lnTo>
                    <a:pt x="2489" y="1072"/>
                  </a:lnTo>
                  <a:lnTo>
                    <a:pt x="2489" y="1072"/>
                  </a:lnTo>
                  <a:lnTo>
                    <a:pt x="2489" y="1072"/>
                  </a:lnTo>
                  <a:lnTo>
                    <a:pt x="2491" y="1072"/>
                  </a:lnTo>
                  <a:lnTo>
                    <a:pt x="2491" y="1068"/>
                  </a:lnTo>
                  <a:lnTo>
                    <a:pt x="2493" y="1068"/>
                  </a:lnTo>
                  <a:lnTo>
                    <a:pt x="2495" y="1066"/>
                  </a:lnTo>
                  <a:lnTo>
                    <a:pt x="2499" y="1066"/>
                  </a:lnTo>
                  <a:lnTo>
                    <a:pt x="2501" y="1064"/>
                  </a:lnTo>
                  <a:lnTo>
                    <a:pt x="2503" y="1064"/>
                  </a:lnTo>
                  <a:lnTo>
                    <a:pt x="2503" y="1064"/>
                  </a:lnTo>
                  <a:lnTo>
                    <a:pt x="2512" y="1061"/>
                  </a:lnTo>
                  <a:lnTo>
                    <a:pt x="2516" y="1064"/>
                  </a:lnTo>
                  <a:lnTo>
                    <a:pt x="2518" y="1064"/>
                  </a:lnTo>
                  <a:lnTo>
                    <a:pt x="2520" y="1061"/>
                  </a:lnTo>
                  <a:lnTo>
                    <a:pt x="2522" y="1061"/>
                  </a:lnTo>
                  <a:lnTo>
                    <a:pt x="2524" y="1064"/>
                  </a:lnTo>
                  <a:lnTo>
                    <a:pt x="2526" y="1064"/>
                  </a:lnTo>
                  <a:lnTo>
                    <a:pt x="2528" y="1064"/>
                  </a:lnTo>
                  <a:lnTo>
                    <a:pt x="2530" y="1061"/>
                  </a:lnTo>
                  <a:lnTo>
                    <a:pt x="2532" y="1061"/>
                  </a:lnTo>
                  <a:lnTo>
                    <a:pt x="2534" y="1061"/>
                  </a:lnTo>
                  <a:lnTo>
                    <a:pt x="2534" y="1064"/>
                  </a:lnTo>
                  <a:lnTo>
                    <a:pt x="2536" y="1061"/>
                  </a:lnTo>
                  <a:lnTo>
                    <a:pt x="2538" y="1059"/>
                  </a:lnTo>
                  <a:lnTo>
                    <a:pt x="2540" y="1055"/>
                  </a:lnTo>
                  <a:lnTo>
                    <a:pt x="2543" y="1051"/>
                  </a:lnTo>
                  <a:lnTo>
                    <a:pt x="2547" y="1049"/>
                  </a:lnTo>
                  <a:lnTo>
                    <a:pt x="2553" y="1049"/>
                  </a:lnTo>
                  <a:lnTo>
                    <a:pt x="2555" y="1049"/>
                  </a:lnTo>
                  <a:lnTo>
                    <a:pt x="2555" y="1049"/>
                  </a:lnTo>
                  <a:lnTo>
                    <a:pt x="2557" y="1049"/>
                  </a:lnTo>
                  <a:lnTo>
                    <a:pt x="2555" y="1047"/>
                  </a:lnTo>
                  <a:lnTo>
                    <a:pt x="2555" y="1045"/>
                  </a:lnTo>
                  <a:lnTo>
                    <a:pt x="2555" y="1045"/>
                  </a:lnTo>
                  <a:lnTo>
                    <a:pt x="2555" y="1045"/>
                  </a:lnTo>
                  <a:lnTo>
                    <a:pt x="2557" y="1043"/>
                  </a:lnTo>
                  <a:lnTo>
                    <a:pt x="2557" y="1039"/>
                  </a:lnTo>
                  <a:lnTo>
                    <a:pt x="2559" y="1039"/>
                  </a:lnTo>
                  <a:lnTo>
                    <a:pt x="2559" y="1037"/>
                  </a:lnTo>
                  <a:lnTo>
                    <a:pt x="2561" y="1035"/>
                  </a:lnTo>
                  <a:lnTo>
                    <a:pt x="2565" y="1033"/>
                  </a:lnTo>
                  <a:lnTo>
                    <a:pt x="2567" y="1031"/>
                  </a:lnTo>
                  <a:lnTo>
                    <a:pt x="2569" y="1031"/>
                  </a:lnTo>
                  <a:lnTo>
                    <a:pt x="2569" y="1028"/>
                  </a:lnTo>
                  <a:lnTo>
                    <a:pt x="2565" y="1028"/>
                  </a:lnTo>
                  <a:lnTo>
                    <a:pt x="2565" y="1026"/>
                  </a:lnTo>
                  <a:lnTo>
                    <a:pt x="2563" y="1024"/>
                  </a:lnTo>
                  <a:lnTo>
                    <a:pt x="2561" y="1018"/>
                  </a:lnTo>
                  <a:lnTo>
                    <a:pt x="2561" y="1018"/>
                  </a:lnTo>
                  <a:lnTo>
                    <a:pt x="2565" y="1012"/>
                  </a:lnTo>
                  <a:lnTo>
                    <a:pt x="2567" y="1010"/>
                  </a:lnTo>
                  <a:lnTo>
                    <a:pt x="2569" y="1008"/>
                  </a:lnTo>
                  <a:lnTo>
                    <a:pt x="2571" y="1004"/>
                  </a:lnTo>
                  <a:lnTo>
                    <a:pt x="2576" y="1000"/>
                  </a:lnTo>
                  <a:lnTo>
                    <a:pt x="2576" y="1000"/>
                  </a:lnTo>
                  <a:lnTo>
                    <a:pt x="2576" y="1000"/>
                  </a:lnTo>
                  <a:lnTo>
                    <a:pt x="2578" y="1000"/>
                  </a:lnTo>
                  <a:lnTo>
                    <a:pt x="2578" y="997"/>
                  </a:lnTo>
                  <a:lnTo>
                    <a:pt x="2580" y="997"/>
                  </a:lnTo>
                  <a:lnTo>
                    <a:pt x="2578" y="995"/>
                  </a:lnTo>
                  <a:lnTo>
                    <a:pt x="2576" y="995"/>
                  </a:lnTo>
                  <a:lnTo>
                    <a:pt x="2578" y="993"/>
                  </a:lnTo>
                  <a:lnTo>
                    <a:pt x="2582" y="991"/>
                  </a:lnTo>
                  <a:lnTo>
                    <a:pt x="2584" y="991"/>
                  </a:lnTo>
                  <a:lnTo>
                    <a:pt x="2588" y="989"/>
                  </a:lnTo>
                  <a:lnTo>
                    <a:pt x="2596" y="987"/>
                  </a:lnTo>
                  <a:lnTo>
                    <a:pt x="2596" y="987"/>
                  </a:lnTo>
                  <a:lnTo>
                    <a:pt x="2600" y="985"/>
                  </a:lnTo>
                  <a:lnTo>
                    <a:pt x="2609" y="979"/>
                  </a:lnTo>
                  <a:lnTo>
                    <a:pt x="2611" y="977"/>
                  </a:lnTo>
                  <a:lnTo>
                    <a:pt x="2613" y="977"/>
                  </a:lnTo>
                  <a:lnTo>
                    <a:pt x="2613" y="975"/>
                  </a:lnTo>
                  <a:lnTo>
                    <a:pt x="2613" y="973"/>
                  </a:lnTo>
                  <a:lnTo>
                    <a:pt x="2613" y="973"/>
                  </a:lnTo>
                  <a:lnTo>
                    <a:pt x="2611" y="973"/>
                  </a:lnTo>
                  <a:lnTo>
                    <a:pt x="2611" y="971"/>
                  </a:lnTo>
                  <a:lnTo>
                    <a:pt x="2613" y="971"/>
                  </a:lnTo>
                  <a:lnTo>
                    <a:pt x="2613" y="971"/>
                  </a:lnTo>
                  <a:lnTo>
                    <a:pt x="2613" y="971"/>
                  </a:lnTo>
                  <a:lnTo>
                    <a:pt x="2613" y="969"/>
                  </a:lnTo>
                  <a:lnTo>
                    <a:pt x="2613" y="969"/>
                  </a:lnTo>
                  <a:lnTo>
                    <a:pt x="2613" y="969"/>
                  </a:lnTo>
                  <a:lnTo>
                    <a:pt x="2611" y="964"/>
                  </a:lnTo>
                  <a:lnTo>
                    <a:pt x="2611" y="960"/>
                  </a:lnTo>
                  <a:lnTo>
                    <a:pt x="2611" y="960"/>
                  </a:lnTo>
                  <a:lnTo>
                    <a:pt x="2611" y="956"/>
                  </a:lnTo>
                  <a:lnTo>
                    <a:pt x="2613" y="954"/>
                  </a:lnTo>
                  <a:lnTo>
                    <a:pt x="2621" y="950"/>
                  </a:lnTo>
                  <a:lnTo>
                    <a:pt x="2621" y="950"/>
                  </a:lnTo>
                  <a:lnTo>
                    <a:pt x="2623" y="948"/>
                  </a:lnTo>
                  <a:lnTo>
                    <a:pt x="2625" y="948"/>
                  </a:lnTo>
                  <a:lnTo>
                    <a:pt x="2625" y="948"/>
                  </a:lnTo>
                  <a:lnTo>
                    <a:pt x="2625" y="948"/>
                  </a:lnTo>
                  <a:lnTo>
                    <a:pt x="2625" y="950"/>
                  </a:lnTo>
                  <a:lnTo>
                    <a:pt x="2627" y="950"/>
                  </a:lnTo>
                  <a:lnTo>
                    <a:pt x="2629" y="950"/>
                  </a:lnTo>
                  <a:lnTo>
                    <a:pt x="2629" y="950"/>
                  </a:lnTo>
                  <a:lnTo>
                    <a:pt x="2633" y="952"/>
                  </a:lnTo>
                  <a:lnTo>
                    <a:pt x="2633" y="952"/>
                  </a:lnTo>
                  <a:lnTo>
                    <a:pt x="2635" y="952"/>
                  </a:lnTo>
                  <a:lnTo>
                    <a:pt x="2635" y="952"/>
                  </a:lnTo>
                  <a:lnTo>
                    <a:pt x="2635" y="952"/>
                  </a:lnTo>
                  <a:lnTo>
                    <a:pt x="2635" y="952"/>
                  </a:lnTo>
                  <a:lnTo>
                    <a:pt x="2635" y="952"/>
                  </a:lnTo>
                  <a:lnTo>
                    <a:pt x="2637" y="952"/>
                  </a:lnTo>
                  <a:lnTo>
                    <a:pt x="2637" y="952"/>
                  </a:lnTo>
                  <a:lnTo>
                    <a:pt x="2639" y="950"/>
                  </a:lnTo>
                  <a:lnTo>
                    <a:pt x="2639" y="952"/>
                  </a:lnTo>
                  <a:lnTo>
                    <a:pt x="2639" y="952"/>
                  </a:lnTo>
                  <a:lnTo>
                    <a:pt x="2639" y="952"/>
                  </a:lnTo>
                  <a:lnTo>
                    <a:pt x="2639" y="952"/>
                  </a:lnTo>
                  <a:lnTo>
                    <a:pt x="2641" y="952"/>
                  </a:lnTo>
                  <a:lnTo>
                    <a:pt x="2644" y="954"/>
                  </a:lnTo>
                  <a:lnTo>
                    <a:pt x="2648" y="956"/>
                  </a:lnTo>
                  <a:lnTo>
                    <a:pt x="2650" y="956"/>
                  </a:lnTo>
                  <a:lnTo>
                    <a:pt x="2652" y="956"/>
                  </a:lnTo>
                  <a:lnTo>
                    <a:pt x="2654" y="956"/>
                  </a:lnTo>
                  <a:lnTo>
                    <a:pt x="2656" y="956"/>
                  </a:lnTo>
                  <a:lnTo>
                    <a:pt x="2658" y="956"/>
                  </a:lnTo>
                  <a:lnTo>
                    <a:pt x="2660" y="954"/>
                  </a:lnTo>
                  <a:lnTo>
                    <a:pt x="2662" y="954"/>
                  </a:lnTo>
                  <a:lnTo>
                    <a:pt x="2662" y="952"/>
                  </a:lnTo>
                  <a:lnTo>
                    <a:pt x="2662" y="952"/>
                  </a:lnTo>
                  <a:lnTo>
                    <a:pt x="2664" y="950"/>
                  </a:lnTo>
                  <a:lnTo>
                    <a:pt x="2668" y="948"/>
                  </a:lnTo>
                  <a:lnTo>
                    <a:pt x="2670" y="946"/>
                  </a:lnTo>
                  <a:lnTo>
                    <a:pt x="2672" y="946"/>
                  </a:lnTo>
                  <a:lnTo>
                    <a:pt x="2677" y="944"/>
                  </a:lnTo>
                  <a:lnTo>
                    <a:pt x="2681" y="944"/>
                  </a:lnTo>
                  <a:lnTo>
                    <a:pt x="2681" y="942"/>
                  </a:lnTo>
                  <a:lnTo>
                    <a:pt x="2685" y="940"/>
                  </a:lnTo>
                  <a:lnTo>
                    <a:pt x="2689" y="936"/>
                  </a:lnTo>
                  <a:lnTo>
                    <a:pt x="2691" y="933"/>
                  </a:lnTo>
                  <a:lnTo>
                    <a:pt x="2693" y="933"/>
                  </a:lnTo>
                  <a:lnTo>
                    <a:pt x="2697" y="936"/>
                  </a:lnTo>
                  <a:lnTo>
                    <a:pt x="2699" y="936"/>
                  </a:lnTo>
                  <a:lnTo>
                    <a:pt x="2705" y="940"/>
                  </a:lnTo>
                  <a:lnTo>
                    <a:pt x="2710" y="942"/>
                  </a:lnTo>
                  <a:lnTo>
                    <a:pt x="2712" y="942"/>
                  </a:lnTo>
                  <a:lnTo>
                    <a:pt x="2712" y="944"/>
                  </a:lnTo>
                  <a:lnTo>
                    <a:pt x="2714" y="950"/>
                  </a:lnTo>
                  <a:lnTo>
                    <a:pt x="2716" y="952"/>
                  </a:lnTo>
                  <a:lnTo>
                    <a:pt x="2716" y="954"/>
                  </a:lnTo>
                  <a:lnTo>
                    <a:pt x="2716" y="956"/>
                  </a:lnTo>
                  <a:lnTo>
                    <a:pt x="2716" y="958"/>
                  </a:lnTo>
                  <a:lnTo>
                    <a:pt x="2716" y="958"/>
                  </a:lnTo>
                  <a:lnTo>
                    <a:pt x="2718" y="958"/>
                  </a:lnTo>
                  <a:lnTo>
                    <a:pt x="2718" y="958"/>
                  </a:lnTo>
                  <a:lnTo>
                    <a:pt x="2720" y="960"/>
                  </a:lnTo>
                  <a:lnTo>
                    <a:pt x="2720" y="960"/>
                  </a:lnTo>
                  <a:lnTo>
                    <a:pt x="2720" y="960"/>
                  </a:lnTo>
                  <a:lnTo>
                    <a:pt x="2720" y="962"/>
                  </a:lnTo>
                  <a:lnTo>
                    <a:pt x="2722" y="962"/>
                  </a:lnTo>
                  <a:lnTo>
                    <a:pt x="2726" y="966"/>
                  </a:lnTo>
                  <a:lnTo>
                    <a:pt x="2726" y="969"/>
                  </a:lnTo>
                  <a:lnTo>
                    <a:pt x="2726" y="969"/>
                  </a:lnTo>
                  <a:lnTo>
                    <a:pt x="2724" y="969"/>
                  </a:lnTo>
                  <a:lnTo>
                    <a:pt x="2726" y="969"/>
                  </a:lnTo>
                  <a:lnTo>
                    <a:pt x="2726" y="969"/>
                  </a:lnTo>
                  <a:lnTo>
                    <a:pt x="2726" y="969"/>
                  </a:lnTo>
                  <a:lnTo>
                    <a:pt x="2728" y="969"/>
                  </a:lnTo>
                  <a:lnTo>
                    <a:pt x="2730" y="969"/>
                  </a:lnTo>
                  <a:lnTo>
                    <a:pt x="2732" y="971"/>
                  </a:lnTo>
                  <a:lnTo>
                    <a:pt x="2734" y="975"/>
                  </a:lnTo>
                  <a:lnTo>
                    <a:pt x="2738" y="977"/>
                  </a:lnTo>
                  <a:lnTo>
                    <a:pt x="2740" y="979"/>
                  </a:lnTo>
                  <a:lnTo>
                    <a:pt x="2747" y="985"/>
                  </a:lnTo>
                  <a:lnTo>
                    <a:pt x="2749" y="985"/>
                  </a:lnTo>
                  <a:lnTo>
                    <a:pt x="2753" y="987"/>
                  </a:lnTo>
                  <a:lnTo>
                    <a:pt x="2753" y="987"/>
                  </a:lnTo>
                  <a:lnTo>
                    <a:pt x="2753" y="989"/>
                  </a:lnTo>
                  <a:lnTo>
                    <a:pt x="2755" y="987"/>
                  </a:lnTo>
                  <a:lnTo>
                    <a:pt x="2755" y="987"/>
                  </a:lnTo>
                  <a:lnTo>
                    <a:pt x="2757" y="987"/>
                  </a:lnTo>
                  <a:lnTo>
                    <a:pt x="2759" y="989"/>
                  </a:lnTo>
                  <a:lnTo>
                    <a:pt x="2761" y="987"/>
                  </a:lnTo>
                  <a:lnTo>
                    <a:pt x="2763" y="989"/>
                  </a:lnTo>
                  <a:lnTo>
                    <a:pt x="2763" y="989"/>
                  </a:lnTo>
                  <a:lnTo>
                    <a:pt x="2767" y="995"/>
                  </a:lnTo>
                  <a:lnTo>
                    <a:pt x="2767" y="995"/>
                  </a:lnTo>
                  <a:lnTo>
                    <a:pt x="2767" y="995"/>
                  </a:lnTo>
                  <a:lnTo>
                    <a:pt x="2767" y="995"/>
                  </a:lnTo>
                  <a:lnTo>
                    <a:pt x="2767" y="995"/>
                  </a:lnTo>
                  <a:lnTo>
                    <a:pt x="2769" y="995"/>
                  </a:lnTo>
                  <a:lnTo>
                    <a:pt x="2771" y="995"/>
                  </a:lnTo>
                  <a:lnTo>
                    <a:pt x="2773" y="997"/>
                  </a:lnTo>
                  <a:lnTo>
                    <a:pt x="2771" y="1000"/>
                  </a:lnTo>
                  <a:lnTo>
                    <a:pt x="2771" y="1000"/>
                  </a:lnTo>
                  <a:lnTo>
                    <a:pt x="2773" y="1000"/>
                  </a:lnTo>
                  <a:lnTo>
                    <a:pt x="2773" y="1000"/>
                  </a:lnTo>
                  <a:lnTo>
                    <a:pt x="2776" y="997"/>
                  </a:lnTo>
                  <a:lnTo>
                    <a:pt x="2778" y="997"/>
                  </a:lnTo>
                  <a:lnTo>
                    <a:pt x="2778" y="1000"/>
                  </a:lnTo>
                  <a:lnTo>
                    <a:pt x="2780" y="1000"/>
                  </a:lnTo>
                  <a:lnTo>
                    <a:pt x="2780" y="1002"/>
                  </a:lnTo>
                  <a:lnTo>
                    <a:pt x="2780" y="1004"/>
                  </a:lnTo>
                  <a:lnTo>
                    <a:pt x="2780" y="1004"/>
                  </a:lnTo>
                  <a:lnTo>
                    <a:pt x="2780" y="1004"/>
                  </a:lnTo>
                  <a:lnTo>
                    <a:pt x="2780" y="1006"/>
                  </a:lnTo>
                  <a:lnTo>
                    <a:pt x="2784" y="1008"/>
                  </a:lnTo>
                  <a:lnTo>
                    <a:pt x="2786" y="1008"/>
                  </a:lnTo>
                  <a:lnTo>
                    <a:pt x="2788" y="1008"/>
                  </a:lnTo>
                  <a:lnTo>
                    <a:pt x="2790" y="1010"/>
                  </a:lnTo>
                  <a:lnTo>
                    <a:pt x="2792" y="1012"/>
                  </a:lnTo>
                  <a:lnTo>
                    <a:pt x="2792" y="1016"/>
                  </a:lnTo>
                  <a:lnTo>
                    <a:pt x="2794" y="1020"/>
                  </a:lnTo>
                  <a:lnTo>
                    <a:pt x="2796" y="1024"/>
                  </a:lnTo>
                  <a:lnTo>
                    <a:pt x="2796" y="1024"/>
                  </a:lnTo>
                  <a:lnTo>
                    <a:pt x="2798" y="1026"/>
                  </a:lnTo>
                  <a:lnTo>
                    <a:pt x="2798" y="1031"/>
                  </a:lnTo>
                  <a:lnTo>
                    <a:pt x="2796" y="1031"/>
                  </a:lnTo>
                  <a:lnTo>
                    <a:pt x="2794" y="1031"/>
                  </a:lnTo>
                  <a:lnTo>
                    <a:pt x="2794" y="1031"/>
                  </a:lnTo>
                  <a:lnTo>
                    <a:pt x="2792" y="1033"/>
                  </a:lnTo>
                  <a:lnTo>
                    <a:pt x="2794" y="1035"/>
                  </a:lnTo>
                  <a:lnTo>
                    <a:pt x="2792" y="1037"/>
                  </a:lnTo>
                  <a:lnTo>
                    <a:pt x="2790" y="1039"/>
                  </a:lnTo>
                  <a:lnTo>
                    <a:pt x="2790" y="1039"/>
                  </a:lnTo>
                  <a:lnTo>
                    <a:pt x="2790" y="1041"/>
                  </a:lnTo>
                  <a:lnTo>
                    <a:pt x="2790" y="1043"/>
                  </a:lnTo>
                  <a:lnTo>
                    <a:pt x="2796" y="1043"/>
                  </a:lnTo>
                  <a:lnTo>
                    <a:pt x="2796" y="1041"/>
                  </a:lnTo>
                  <a:lnTo>
                    <a:pt x="2796" y="1041"/>
                  </a:lnTo>
                  <a:lnTo>
                    <a:pt x="2798" y="1039"/>
                  </a:lnTo>
                  <a:lnTo>
                    <a:pt x="2802" y="1035"/>
                  </a:lnTo>
                  <a:lnTo>
                    <a:pt x="2802" y="1035"/>
                  </a:lnTo>
                  <a:lnTo>
                    <a:pt x="2802" y="1031"/>
                  </a:lnTo>
                  <a:lnTo>
                    <a:pt x="2802" y="1028"/>
                  </a:lnTo>
                  <a:lnTo>
                    <a:pt x="2804" y="1028"/>
                  </a:lnTo>
                  <a:lnTo>
                    <a:pt x="2809" y="1026"/>
                  </a:lnTo>
                  <a:lnTo>
                    <a:pt x="2811" y="1026"/>
                  </a:lnTo>
                  <a:lnTo>
                    <a:pt x="2811" y="1026"/>
                  </a:lnTo>
                  <a:lnTo>
                    <a:pt x="2811" y="1024"/>
                  </a:lnTo>
                  <a:lnTo>
                    <a:pt x="2811" y="1020"/>
                  </a:lnTo>
                  <a:lnTo>
                    <a:pt x="2809" y="1018"/>
                  </a:lnTo>
                  <a:lnTo>
                    <a:pt x="2806" y="1016"/>
                  </a:lnTo>
                  <a:lnTo>
                    <a:pt x="2802" y="1016"/>
                  </a:lnTo>
                  <a:lnTo>
                    <a:pt x="2802" y="1014"/>
                  </a:lnTo>
                  <a:lnTo>
                    <a:pt x="2802" y="1012"/>
                  </a:lnTo>
                  <a:lnTo>
                    <a:pt x="2804" y="1008"/>
                  </a:lnTo>
                  <a:lnTo>
                    <a:pt x="2806" y="1004"/>
                  </a:lnTo>
                  <a:lnTo>
                    <a:pt x="2809" y="1002"/>
                  </a:lnTo>
                  <a:lnTo>
                    <a:pt x="2809" y="1000"/>
                  </a:lnTo>
                  <a:lnTo>
                    <a:pt x="2811" y="1002"/>
                  </a:lnTo>
                  <a:lnTo>
                    <a:pt x="2813" y="1002"/>
                  </a:lnTo>
                  <a:lnTo>
                    <a:pt x="2813" y="1002"/>
                  </a:lnTo>
                  <a:lnTo>
                    <a:pt x="2813" y="1002"/>
                  </a:lnTo>
                  <a:lnTo>
                    <a:pt x="2815" y="1004"/>
                  </a:lnTo>
                  <a:lnTo>
                    <a:pt x="2815" y="1004"/>
                  </a:lnTo>
                  <a:lnTo>
                    <a:pt x="2821" y="1004"/>
                  </a:lnTo>
                  <a:lnTo>
                    <a:pt x="2825" y="1010"/>
                  </a:lnTo>
                  <a:lnTo>
                    <a:pt x="2827" y="1012"/>
                  </a:lnTo>
                  <a:lnTo>
                    <a:pt x="2827" y="1012"/>
                  </a:lnTo>
                  <a:lnTo>
                    <a:pt x="2829" y="1010"/>
                  </a:lnTo>
                  <a:lnTo>
                    <a:pt x="2829" y="1010"/>
                  </a:lnTo>
                  <a:lnTo>
                    <a:pt x="2829" y="1008"/>
                  </a:lnTo>
                  <a:lnTo>
                    <a:pt x="2829" y="1006"/>
                  </a:lnTo>
                  <a:lnTo>
                    <a:pt x="2827" y="1004"/>
                  </a:lnTo>
                  <a:lnTo>
                    <a:pt x="2823" y="1000"/>
                  </a:lnTo>
                  <a:lnTo>
                    <a:pt x="2823" y="997"/>
                  </a:lnTo>
                  <a:lnTo>
                    <a:pt x="2815" y="995"/>
                  </a:lnTo>
                  <a:lnTo>
                    <a:pt x="2813" y="993"/>
                  </a:lnTo>
                  <a:lnTo>
                    <a:pt x="2811" y="991"/>
                  </a:lnTo>
                  <a:lnTo>
                    <a:pt x="2802" y="989"/>
                  </a:lnTo>
                  <a:lnTo>
                    <a:pt x="2794" y="985"/>
                  </a:lnTo>
                  <a:lnTo>
                    <a:pt x="2792" y="983"/>
                  </a:lnTo>
                  <a:lnTo>
                    <a:pt x="2794" y="981"/>
                  </a:lnTo>
                  <a:lnTo>
                    <a:pt x="2794" y="981"/>
                  </a:lnTo>
                  <a:lnTo>
                    <a:pt x="2796" y="979"/>
                  </a:lnTo>
                  <a:lnTo>
                    <a:pt x="2796" y="979"/>
                  </a:lnTo>
                  <a:lnTo>
                    <a:pt x="2796" y="977"/>
                  </a:lnTo>
                  <a:lnTo>
                    <a:pt x="2796" y="977"/>
                  </a:lnTo>
                  <a:lnTo>
                    <a:pt x="2794" y="977"/>
                  </a:lnTo>
                  <a:lnTo>
                    <a:pt x="2786" y="977"/>
                  </a:lnTo>
                  <a:lnTo>
                    <a:pt x="2782" y="977"/>
                  </a:lnTo>
                  <a:lnTo>
                    <a:pt x="2778" y="975"/>
                  </a:lnTo>
                  <a:lnTo>
                    <a:pt x="2773" y="971"/>
                  </a:lnTo>
                  <a:lnTo>
                    <a:pt x="2769" y="966"/>
                  </a:lnTo>
                  <a:lnTo>
                    <a:pt x="2765" y="964"/>
                  </a:lnTo>
                  <a:lnTo>
                    <a:pt x="2765" y="960"/>
                  </a:lnTo>
                  <a:lnTo>
                    <a:pt x="2763" y="956"/>
                  </a:lnTo>
                  <a:lnTo>
                    <a:pt x="2761" y="952"/>
                  </a:lnTo>
                  <a:lnTo>
                    <a:pt x="2759" y="948"/>
                  </a:lnTo>
                  <a:lnTo>
                    <a:pt x="2759" y="948"/>
                  </a:lnTo>
                  <a:lnTo>
                    <a:pt x="2755" y="946"/>
                  </a:lnTo>
                  <a:lnTo>
                    <a:pt x="2751" y="942"/>
                  </a:lnTo>
                  <a:lnTo>
                    <a:pt x="2747" y="942"/>
                  </a:lnTo>
                  <a:lnTo>
                    <a:pt x="2745" y="940"/>
                  </a:lnTo>
                  <a:lnTo>
                    <a:pt x="2743" y="938"/>
                  </a:lnTo>
                  <a:lnTo>
                    <a:pt x="2743" y="933"/>
                  </a:lnTo>
                  <a:lnTo>
                    <a:pt x="2740" y="929"/>
                  </a:lnTo>
                  <a:lnTo>
                    <a:pt x="2740" y="927"/>
                  </a:lnTo>
                  <a:lnTo>
                    <a:pt x="2743" y="927"/>
                  </a:lnTo>
                  <a:lnTo>
                    <a:pt x="2743" y="927"/>
                  </a:lnTo>
                  <a:lnTo>
                    <a:pt x="2745" y="927"/>
                  </a:lnTo>
                  <a:lnTo>
                    <a:pt x="2745" y="925"/>
                  </a:lnTo>
                  <a:lnTo>
                    <a:pt x="2745" y="925"/>
                  </a:lnTo>
                  <a:lnTo>
                    <a:pt x="2743" y="923"/>
                  </a:lnTo>
                  <a:lnTo>
                    <a:pt x="2740" y="921"/>
                  </a:lnTo>
                  <a:lnTo>
                    <a:pt x="2740" y="919"/>
                  </a:lnTo>
                  <a:lnTo>
                    <a:pt x="2740" y="917"/>
                  </a:lnTo>
                  <a:lnTo>
                    <a:pt x="2740" y="917"/>
                  </a:lnTo>
                  <a:lnTo>
                    <a:pt x="2743" y="915"/>
                  </a:lnTo>
                  <a:lnTo>
                    <a:pt x="2745" y="915"/>
                  </a:lnTo>
                  <a:lnTo>
                    <a:pt x="2745" y="915"/>
                  </a:lnTo>
                  <a:lnTo>
                    <a:pt x="2745" y="915"/>
                  </a:lnTo>
                  <a:lnTo>
                    <a:pt x="2745" y="915"/>
                  </a:lnTo>
                  <a:lnTo>
                    <a:pt x="2747" y="915"/>
                  </a:lnTo>
                  <a:lnTo>
                    <a:pt x="2749" y="915"/>
                  </a:lnTo>
                  <a:lnTo>
                    <a:pt x="2751" y="913"/>
                  </a:lnTo>
                  <a:lnTo>
                    <a:pt x="2753" y="913"/>
                  </a:lnTo>
                  <a:lnTo>
                    <a:pt x="2753" y="911"/>
                  </a:lnTo>
                  <a:lnTo>
                    <a:pt x="2755" y="911"/>
                  </a:lnTo>
                  <a:lnTo>
                    <a:pt x="2755" y="911"/>
                  </a:lnTo>
                  <a:lnTo>
                    <a:pt x="2759" y="911"/>
                  </a:lnTo>
                  <a:lnTo>
                    <a:pt x="2759" y="911"/>
                  </a:lnTo>
                  <a:lnTo>
                    <a:pt x="2761" y="911"/>
                  </a:lnTo>
                  <a:lnTo>
                    <a:pt x="2763" y="913"/>
                  </a:lnTo>
                  <a:lnTo>
                    <a:pt x="2761" y="913"/>
                  </a:lnTo>
                  <a:lnTo>
                    <a:pt x="2761" y="915"/>
                  </a:lnTo>
                  <a:lnTo>
                    <a:pt x="2759" y="915"/>
                  </a:lnTo>
                  <a:lnTo>
                    <a:pt x="2759" y="915"/>
                  </a:lnTo>
                  <a:lnTo>
                    <a:pt x="2761" y="919"/>
                  </a:lnTo>
                  <a:lnTo>
                    <a:pt x="2761" y="921"/>
                  </a:lnTo>
                  <a:lnTo>
                    <a:pt x="2761" y="921"/>
                  </a:lnTo>
                  <a:lnTo>
                    <a:pt x="2763" y="923"/>
                  </a:lnTo>
                  <a:lnTo>
                    <a:pt x="2763" y="927"/>
                  </a:lnTo>
                  <a:lnTo>
                    <a:pt x="2765" y="927"/>
                  </a:lnTo>
                  <a:lnTo>
                    <a:pt x="2765" y="927"/>
                  </a:lnTo>
                  <a:lnTo>
                    <a:pt x="2767" y="925"/>
                  </a:lnTo>
                  <a:lnTo>
                    <a:pt x="2767" y="923"/>
                  </a:lnTo>
                  <a:lnTo>
                    <a:pt x="2769" y="921"/>
                  </a:lnTo>
                  <a:lnTo>
                    <a:pt x="2769" y="919"/>
                  </a:lnTo>
                  <a:lnTo>
                    <a:pt x="2771" y="917"/>
                  </a:lnTo>
                  <a:lnTo>
                    <a:pt x="2771" y="917"/>
                  </a:lnTo>
                  <a:lnTo>
                    <a:pt x="2773" y="919"/>
                  </a:lnTo>
                  <a:lnTo>
                    <a:pt x="2776" y="919"/>
                  </a:lnTo>
                  <a:lnTo>
                    <a:pt x="2778" y="923"/>
                  </a:lnTo>
                  <a:lnTo>
                    <a:pt x="2780" y="925"/>
                  </a:lnTo>
                  <a:lnTo>
                    <a:pt x="2778" y="927"/>
                  </a:lnTo>
                  <a:lnTo>
                    <a:pt x="2780" y="929"/>
                  </a:lnTo>
                  <a:lnTo>
                    <a:pt x="2780" y="931"/>
                  </a:lnTo>
                  <a:lnTo>
                    <a:pt x="2784" y="936"/>
                  </a:lnTo>
                  <a:lnTo>
                    <a:pt x="2786" y="936"/>
                  </a:lnTo>
                  <a:lnTo>
                    <a:pt x="2788" y="936"/>
                  </a:lnTo>
                  <a:lnTo>
                    <a:pt x="2786" y="936"/>
                  </a:lnTo>
                  <a:lnTo>
                    <a:pt x="2784" y="936"/>
                  </a:lnTo>
                  <a:lnTo>
                    <a:pt x="2784" y="936"/>
                  </a:lnTo>
                  <a:lnTo>
                    <a:pt x="2784" y="936"/>
                  </a:lnTo>
                  <a:lnTo>
                    <a:pt x="2782" y="938"/>
                  </a:lnTo>
                  <a:lnTo>
                    <a:pt x="2784" y="938"/>
                  </a:lnTo>
                  <a:lnTo>
                    <a:pt x="2788" y="944"/>
                  </a:lnTo>
                  <a:lnTo>
                    <a:pt x="2790" y="944"/>
                  </a:lnTo>
                  <a:lnTo>
                    <a:pt x="2792" y="946"/>
                  </a:lnTo>
                  <a:lnTo>
                    <a:pt x="2794" y="948"/>
                  </a:lnTo>
                  <a:lnTo>
                    <a:pt x="2794" y="948"/>
                  </a:lnTo>
                  <a:lnTo>
                    <a:pt x="2794" y="948"/>
                  </a:lnTo>
                  <a:lnTo>
                    <a:pt x="2794" y="950"/>
                  </a:lnTo>
                  <a:lnTo>
                    <a:pt x="2794" y="950"/>
                  </a:lnTo>
                  <a:lnTo>
                    <a:pt x="2796" y="950"/>
                  </a:lnTo>
                  <a:lnTo>
                    <a:pt x="2798" y="950"/>
                  </a:lnTo>
                  <a:lnTo>
                    <a:pt x="2800" y="950"/>
                  </a:lnTo>
                  <a:lnTo>
                    <a:pt x="2802" y="950"/>
                  </a:lnTo>
                  <a:lnTo>
                    <a:pt x="2806" y="952"/>
                  </a:lnTo>
                  <a:lnTo>
                    <a:pt x="2811" y="954"/>
                  </a:lnTo>
                  <a:lnTo>
                    <a:pt x="2813" y="956"/>
                  </a:lnTo>
                  <a:lnTo>
                    <a:pt x="2817" y="958"/>
                  </a:lnTo>
                  <a:lnTo>
                    <a:pt x="2817" y="960"/>
                  </a:lnTo>
                  <a:lnTo>
                    <a:pt x="2819" y="960"/>
                  </a:lnTo>
                  <a:lnTo>
                    <a:pt x="2819" y="960"/>
                  </a:lnTo>
                  <a:lnTo>
                    <a:pt x="2813" y="958"/>
                  </a:lnTo>
                  <a:lnTo>
                    <a:pt x="2811" y="958"/>
                  </a:lnTo>
                  <a:lnTo>
                    <a:pt x="2809" y="958"/>
                  </a:lnTo>
                  <a:lnTo>
                    <a:pt x="2813" y="958"/>
                  </a:lnTo>
                  <a:lnTo>
                    <a:pt x="2817" y="960"/>
                  </a:lnTo>
                  <a:lnTo>
                    <a:pt x="2821" y="962"/>
                  </a:lnTo>
                  <a:lnTo>
                    <a:pt x="2825" y="964"/>
                  </a:lnTo>
                  <a:lnTo>
                    <a:pt x="2827" y="966"/>
                  </a:lnTo>
                  <a:lnTo>
                    <a:pt x="2831" y="969"/>
                  </a:lnTo>
                  <a:lnTo>
                    <a:pt x="2831" y="969"/>
                  </a:lnTo>
                  <a:lnTo>
                    <a:pt x="2831" y="969"/>
                  </a:lnTo>
                  <a:lnTo>
                    <a:pt x="2831" y="969"/>
                  </a:lnTo>
                  <a:lnTo>
                    <a:pt x="2831" y="969"/>
                  </a:lnTo>
                  <a:lnTo>
                    <a:pt x="2831" y="969"/>
                  </a:lnTo>
                  <a:lnTo>
                    <a:pt x="2831" y="969"/>
                  </a:lnTo>
                  <a:lnTo>
                    <a:pt x="2835" y="971"/>
                  </a:lnTo>
                  <a:lnTo>
                    <a:pt x="2839" y="975"/>
                  </a:lnTo>
                  <a:lnTo>
                    <a:pt x="2839" y="977"/>
                  </a:lnTo>
                  <a:lnTo>
                    <a:pt x="2842" y="977"/>
                  </a:lnTo>
                  <a:lnTo>
                    <a:pt x="2844" y="979"/>
                  </a:lnTo>
                  <a:lnTo>
                    <a:pt x="2846" y="979"/>
                  </a:lnTo>
                  <a:lnTo>
                    <a:pt x="2846" y="981"/>
                  </a:lnTo>
                  <a:lnTo>
                    <a:pt x="2846" y="983"/>
                  </a:lnTo>
                  <a:lnTo>
                    <a:pt x="2844" y="983"/>
                  </a:lnTo>
                  <a:lnTo>
                    <a:pt x="2844" y="985"/>
                  </a:lnTo>
                  <a:lnTo>
                    <a:pt x="2844" y="987"/>
                  </a:lnTo>
                  <a:lnTo>
                    <a:pt x="2844" y="989"/>
                  </a:lnTo>
                  <a:lnTo>
                    <a:pt x="2844" y="991"/>
                  </a:lnTo>
                  <a:lnTo>
                    <a:pt x="2844" y="993"/>
                  </a:lnTo>
                  <a:lnTo>
                    <a:pt x="2844" y="995"/>
                  </a:lnTo>
                  <a:lnTo>
                    <a:pt x="2842" y="997"/>
                  </a:lnTo>
                  <a:lnTo>
                    <a:pt x="2842" y="1000"/>
                  </a:lnTo>
                  <a:lnTo>
                    <a:pt x="2844" y="1002"/>
                  </a:lnTo>
                  <a:lnTo>
                    <a:pt x="2844" y="1002"/>
                  </a:lnTo>
                  <a:lnTo>
                    <a:pt x="2844" y="1004"/>
                  </a:lnTo>
                  <a:lnTo>
                    <a:pt x="2844" y="1002"/>
                  </a:lnTo>
                  <a:lnTo>
                    <a:pt x="2842" y="1002"/>
                  </a:lnTo>
                  <a:lnTo>
                    <a:pt x="2842" y="1002"/>
                  </a:lnTo>
                  <a:lnTo>
                    <a:pt x="2842" y="1004"/>
                  </a:lnTo>
                  <a:lnTo>
                    <a:pt x="2844" y="1004"/>
                  </a:lnTo>
                  <a:lnTo>
                    <a:pt x="2844" y="1006"/>
                  </a:lnTo>
                  <a:lnTo>
                    <a:pt x="2850" y="1008"/>
                  </a:lnTo>
                  <a:lnTo>
                    <a:pt x="2852" y="1012"/>
                  </a:lnTo>
                  <a:lnTo>
                    <a:pt x="2852" y="1012"/>
                  </a:lnTo>
                  <a:lnTo>
                    <a:pt x="2852" y="1014"/>
                  </a:lnTo>
                  <a:lnTo>
                    <a:pt x="2854" y="1016"/>
                  </a:lnTo>
                  <a:lnTo>
                    <a:pt x="2854" y="1016"/>
                  </a:lnTo>
                  <a:lnTo>
                    <a:pt x="2856" y="1020"/>
                  </a:lnTo>
                  <a:lnTo>
                    <a:pt x="2858" y="1022"/>
                  </a:lnTo>
                  <a:lnTo>
                    <a:pt x="2860" y="1022"/>
                  </a:lnTo>
                  <a:lnTo>
                    <a:pt x="2862" y="1024"/>
                  </a:lnTo>
                  <a:lnTo>
                    <a:pt x="2862" y="1024"/>
                  </a:lnTo>
                  <a:lnTo>
                    <a:pt x="2862" y="1026"/>
                  </a:lnTo>
                  <a:lnTo>
                    <a:pt x="2864" y="1024"/>
                  </a:lnTo>
                  <a:lnTo>
                    <a:pt x="2866" y="1024"/>
                  </a:lnTo>
                  <a:lnTo>
                    <a:pt x="2866" y="1024"/>
                  </a:lnTo>
                  <a:lnTo>
                    <a:pt x="2868" y="1024"/>
                  </a:lnTo>
                  <a:lnTo>
                    <a:pt x="2868" y="1026"/>
                  </a:lnTo>
                  <a:lnTo>
                    <a:pt x="2868" y="1026"/>
                  </a:lnTo>
                  <a:lnTo>
                    <a:pt x="2868" y="1026"/>
                  </a:lnTo>
                  <a:lnTo>
                    <a:pt x="2866" y="1028"/>
                  </a:lnTo>
                  <a:lnTo>
                    <a:pt x="2864" y="1026"/>
                  </a:lnTo>
                  <a:lnTo>
                    <a:pt x="2862" y="1026"/>
                  </a:lnTo>
                  <a:lnTo>
                    <a:pt x="2862" y="1028"/>
                  </a:lnTo>
                  <a:lnTo>
                    <a:pt x="2862" y="1028"/>
                  </a:lnTo>
                  <a:lnTo>
                    <a:pt x="2864" y="1028"/>
                  </a:lnTo>
                  <a:lnTo>
                    <a:pt x="2866" y="1031"/>
                  </a:lnTo>
                  <a:lnTo>
                    <a:pt x="2866" y="1035"/>
                  </a:lnTo>
                  <a:lnTo>
                    <a:pt x="2868" y="1037"/>
                  </a:lnTo>
                  <a:lnTo>
                    <a:pt x="2868" y="1037"/>
                  </a:lnTo>
                  <a:lnTo>
                    <a:pt x="2870" y="1037"/>
                  </a:lnTo>
                  <a:lnTo>
                    <a:pt x="2870" y="1035"/>
                  </a:lnTo>
                  <a:lnTo>
                    <a:pt x="2870" y="1035"/>
                  </a:lnTo>
                  <a:lnTo>
                    <a:pt x="2870" y="1035"/>
                  </a:lnTo>
                  <a:lnTo>
                    <a:pt x="2870" y="1035"/>
                  </a:lnTo>
                  <a:lnTo>
                    <a:pt x="2872" y="1037"/>
                  </a:lnTo>
                  <a:lnTo>
                    <a:pt x="2875" y="1037"/>
                  </a:lnTo>
                  <a:lnTo>
                    <a:pt x="2875" y="1037"/>
                  </a:lnTo>
                  <a:lnTo>
                    <a:pt x="2877" y="1037"/>
                  </a:lnTo>
                  <a:lnTo>
                    <a:pt x="2877" y="1037"/>
                  </a:lnTo>
                  <a:lnTo>
                    <a:pt x="2879" y="1035"/>
                  </a:lnTo>
                  <a:lnTo>
                    <a:pt x="2883" y="1037"/>
                  </a:lnTo>
                  <a:lnTo>
                    <a:pt x="2885" y="1037"/>
                  </a:lnTo>
                  <a:lnTo>
                    <a:pt x="2885" y="1037"/>
                  </a:lnTo>
                  <a:lnTo>
                    <a:pt x="2887" y="1035"/>
                  </a:lnTo>
                  <a:lnTo>
                    <a:pt x="2889" y="1037"/>
                  </a:lnTo>
                  <a:lnTo>
                    <a:pt x="2891" y="1037"/>
                  </a:lnTo>
                  <a:lnTo>
                    <a:pt x="2891" y="1039"/>
                  </a:lnTo>
                  <a:lnTo>
                    <a:pt x="2891" y="1039"/>
                  </a:lnTo>
                  <a:lnTo>
                    <a:pt x="2893" y="1039"/>
                  </a:lnTo>
                  <a:lnTo>
                    <a:pt x="2895" y="1039"/>
                  </a:lnTo>
                  <a:lnTo>
                    <a:pt x="2895" y="1039"/>
                  </a:lnTo>
                  <a:lnTo>
                    <a:pt x="2895" y="1039"/>
                  </a:lnTo>
                  <a:lnTo>
                    <a:pt x="2897" y="1039"/>
                  </a:lnTo>
                  <a:lnTo>
                    <a:pt x="2897" y="1041"/>
                  </a:lnTo>
                  <a:lnTo>
                    <a:pt x="2897" y="1041"/>
                  </a:lnTo>
                  <a:lnTo>
                    <a:pt x="2895" y="1041"/>
                  </a:lnTo>
                  <a:lnTo>
                    <a:pt x="2893" y="1041"/>
                  </a:lnTo>
                  <a:lnTo>
                    <a:pt x="2893" y="1041"/>
                  </a:lnTo>
                  <a:lnTo>
                    <a:pt x="2893" y="1043"/>
                  </a:lnTo>
                  <a:lnTo>
                    <a:pt x="2893" y="1043"/>
                  </a:lnTo>
                  <a:lnTo>
                    <a:pt x="2893" y="1043"/>
                  </a:lnTo>
                  <a:lnTo>
                    <a:pt x="2891" y="1043"/>
                  </a:lnTo>
                  <a:lnTo>
                    <a:pt x="2891" y="1041"/>
                  </a:lnTo>
                  <a:lnTo>
                    <a:pt x="2887" y="1041"/>
                  </a:lnTo>
                  <a:lnTo>
                    <a:pt x="2883" y="1039"/>
                  </a:lnTo>
                  <a:lnTo>
                    <a:pt x="2879" y="1037"/>
                  </a:lnTo>
                  <a:lnTo>
                    <a:pt x="2877" y="1037"/>
                  </a:lnTo>
                  <a:lnTo>
                    <a:pt x="2877" y="1037"/>
                  </a:lnTo>
                  <a:lnTo>
                    <a:pt x="2875" y="1039"/>
                  </a:lnTo>
                  <a:lnTo>
                    <a:pt x="2875" y="1039"/>
                  </a:lnTo>
                  <a:lnTo>
                    <a:pt x="2872" y="1039"/>
                  </a:lnTo>
                  <a:lnTo>
                    <a:pt x="2872" y="1039"/>
                  </a:lnTo>
                  <a:lnTo>
                    <a:pt x="2870" y="1041"/>
                  </a:lnTo>
                  <a:lnTo>
                    <a:pt x="2868" y="1043"/>
                  </a:lnTo>
                  <a:lnTo>
                    <a:pt x="2868" y="1045"/>
                  </a:lnTo>
                  <a:lnTo>
                    <a:pt x="2868" y="1045"/>
                  </a:lnTo>
                  <a:lnTo>
                    <a:pt x="2868" y="1045"/>
                  </a:lnTo>
                  <a:lnTo>
                    <a:pt x="2870" y="1045"/>
                  </a:lnTo>
                  <a:lnTo>
                    <a:pt x="2870" y="1047"/>
                  </a:lnTo>
                  <a:lnTo>
                    <a:pt x="2872" y="1047"/>
                  </a:lnTo>
                  <a:lnTo>
                    <a:pt x="2875" y="1049"/>
                  </a:lnTo>
                  <a:lnTo>
                    <a:pt x="2875" y="1051"/>
                  </a:lnTo>
                  <a:lnTo>
                    <a:pt x="2877" y="1053"/>
                  </a:lnTo>
                  <a:lnTo>
                    <a:pt x="2875" y="1055"/>
                  </a:lnTo>
                  <a:lnTo>
                    <a:pt x="2875" y="1057"/>
                  </a:lnTo>
                  <a:lnTo>
                    <a:pt x="2877" y="1061"/>
                  </a:lnTo>
                  <a:lnTo>
                    <a:pt x="2879" y="1064"/>
                  </a:lnTo>
                  <a:lnTo>
                    <a:pt x="2879" y="1061"/>
                  </a:lnTo>
                  <a:lnTo>
                    <a:pt x="2879" y="1059"/>
                  </a:lnTo>
                  <a:lnTo>
                    <a:pt x="2879" y="1059"/>
                  </a:lnTo>
                  <a:lnTo>
                    <a:pt x="2881" y="1057"/>
                  </a:lnTo>
                  <a:lnTo>
                    <a:pt x="2881" y="1057"/>
                  </a:lnTo>
                  <a:lnTo>
                    <a:pt x="2883" y="1059"/>
                  </a:lnTo>
                  <a:lnTo>
                    <a:pt x="2883" y="1059"/>
                  </a:lnTo>
                  <a:lnTo>
                    <a:pt x="2883" y="1059"/>
                  </a:lnTo>
                  <a:lnTo>
                    <a:pt x="2885" y="1064"/>
                  </a:lnTo>
                  <a:lnTo>
                    <a:pt x="2885" y="1064"/>
                  </a:lnTo>
                  <a:lnTo>
                    <a:pt x="2885" y="1066"/>
                  </a:lnTo>
                  <a:lnTo>
                    <a:pt x="2887" y="1068"/>
                  </a:lnTo>
                  <a:lnTo>
                    <a:pt x="2887" y="1068"/>
                  </a:lnTo>
                  <a:lnTo>
                    <a:pt x="2887" y="1066"/>
                  </a:lnTo>
                  <a:lnTo>
                    <a:pt x="2889" y="1061"/>
                  </a:lnTo>
                  <a:lnTo>
                    <a:pt x="2891" y="1061"/>
                  </a:lnTo>
                  <a:lnTo>
                    <a:pt x="2891" y="1061"/>
                  </a:lnTo>
                  <a:lnTo>
                    <a:pt x="2891" y="1064"/>
                  </a:lnTo>
                  <a:lnTo>
                    <a:pt x="2893" y="1066"/>
                  </a:lnTo>
                  <a:lnTo>
                    <a:pt x="2895" y="1068"/>
                  </a:lnTo>
                  <a:lnTo>
                    <a:pt x="2895" y="1068"/>
                  </a:lnTo>
                  <a:lnTo>
                    <a:pt x="2897" y="1068"/>
                  </a:lnTo>
                  <a:lnTo>
                    <a:pt x="2895" y="1066"/>
                  </a:lnTo>
                  <a:lnTo>
                    <a:pt x="2895" y="1064"/>
                  </a:lnTo>
                  <a:lnTo>
                    <a:pt x="2895" y="1061"/>
                  </a:lnTo>
                  <a:lnTo>
                    <a:pt x="2895" y="1061"/>
                  </a:lnTo>
                  <a:lnTo>
                    <a:pt x="2895" y="1057"/>
                  </a:lnTo>
                  <a:lnTo>
                    <a:pt x="2893" y="1053"/>
                  </a:lnTo>
                  <a:lnTo>
                    <a:pt x="2891" y="1051"/>
                  </a:lnTo>
                  <a:lnTo>
                    <a:pt x="2891" y="1049"/>
                  </a:lnTo>
                  <a:lnTo>
                    <a:pt x="2891" y="1049"/>
                  </a:lnTo>
                  <a:lnTo>
                    <a:pt x="2893" y="1049"/>
                  </a:lnTo>
                  <a:lnTo>
                    <a:pt x="2893" y="1049"/>
                  </a:lnTo>
                  <a:lnTo>
                    <a:pt x="2895" y="1051"/>
                  </a:lnTo>
                  <a:lnTo>
                    <a:pt x="2895" y="1051"/>
                  </a:lnTo>
                  <a:lnTo>
                    <a:pt x="2895" y="1053"/>
                  </a:lnTo>
                  <a:lnTo>
                    <a:pt x="2897" y="1053"/>
                  </a:lnTo>
                  <a:lnTo>
                    <a:pt x="2897" y="1053"/>
                  </a:lnTo>
                  <a:lnTo>
                    <a:pt x="2897" y="1053"/>
                  </a:lnTo>
                  <a:lnTo>
                    <a:pt x="2901" y="1051"/>
                  </a:lnTo>
                  <a:lnTo>
                    <a:pt x="2901" y="1051"/>
                  </a:lnTo>
                  <a:lnTo>
                    <a:pt x="2901" y="1051"/>
                  </a:lnTo>
                  <a:lnTo>
                    <a:pt x="2899" y="1049"/>
                  </a:lnTo>
                  <a:lnTo>
                    <a:pt x="2899" y="1049"/>
                  </a:lnTo>
                  <a:lnTo>
                    <a:pt x="2899" y="1049"/>
                  </a:lnTo>
                  <a:lnTo>
                    <a:pt x="2897" y="1049"/>
                  </a:lnTo>
                  <a:lnTo>
                    <a:pt x="2897" y="1049"/>
                  </a:lnTo>
                  <a:lnTo>
                    <a:pt x="2897" y="1047"/>
                  </a:lnTo>
                  <a:lnTo>
                    <a:pt x="2897" y="1045"/>
                  </a:lnTo>
                  <a:lnTo>
                    <a:pt x="2895" y="1045"/>
                  </a:lnTo>
                  <a:lnTo>
                    <a:pt x="2895" y="1045"/>
                  </a:lnTo>
                  <a:lnTo>
                    <a:pt x="2895" y="1043"/>
                  </a:lnTo>
                  <a:lnTo>
                    <a:pt x="2895" y="1043"/>
                  </a:lnTo>
                  <a:lnTo>
                    <a:pt x="2897" y="1043"/>
                  </a:lnTo>
                  <a:lnTo>
                    <a:pt x="2899" y="1043"/>
                  </a:lnTo>
                  <a:lnTo>
                    <a:pt x="2901" y="1041"/>
                  </a:lnTo>
                  <a:lnTo>
                    <a:pt x="2901" y="1041"/>
                  </a:lnTo>
                  <a:lnTo>
                    <a:pt x="2903" y="1043"/>
                  </a:lnTo>
                  <a:lnTo>
                    <a:pt x="2905" y="1045"/>
                  </a:lnTo>
                  <a:lnTo>
                    <a:pt x="2908" y="1045"/>
                  </a:lnTo>
                  <a:lnTo>
                    <a:pt x="2908" y="1047"/>
                  </a:lnTo>
                  <a:lnTo>
                    <a:pt x="2910" y="1047"/>
                  </a:lnTo>
                  <a:lnTo>
                    <a:pt x="2910" y="1047"/>
                  </a:lnTo>
                  <a:lnTo>
                    <a:pt x="2910" y="1045"/>
                  </a:lnTo>
                  <a:lnTo>
                    <a:pt x="2910" y="1045"/>
                  </a:lnTo>
                  <a:lnTo>
                    <a:pt x="2910" y="1043"/>
                  </a:lnTo>
                  <a:lnTo>
                    <a:pt x="2910" y="1041"/>
                  </a:lnTo>
                  <a:lnTo>
                    <a:pt x="2910" y="1039"/>
                  </a:lnTo>
                  <a:lnTo>
                    <a:pt x="2908" y="1037"/>
                  </a:lnTo>
                  <a:lnTo>
                    <a:pt x="2905" y="1037"/>
                  </a:lnTo>
                  <a:lnTo>
                    <a:pt x="2903" y="1037"/>
                  </a:lnTo>
                  <a:lnTo>
                    <a:pt x="2903" y="1035"/>
                  </a:lnTo>
                  <a:lnTo>
                    <a:pt x="2899" y="1033"/>
                  </a:lnTo>
                  <a:lnTo>
                    <a:pt x="2897" y="1031"/>
                  </a:lnTo>
                  <a:lnTo>
                    <a:pt x="2897" y="1031"/>
                  </a:lnTo>
                  <a:lnTo>
                    <a:pt x="2895" y="1031"/>
                  </a:lnTo>
                  <a:lnTo>
                    <a:pt x="2891" y="1028"/>
                  </a:lnTo>
                  <a:lnTo>
                    <a:pt x="2889" y="1028"/>
                  </a:lnTo>
                  <a:lnTo>
                    <a:pt x="2889" y="1028"/>
                  </a:lnTo>
                  <a:lnTo>
                    <a:pt x="2889" y="1028"/>
                  </a:lnTo>
                  <a:lnTo>
                    <a:pt x="2889" y="1028"/>
                  </a:lnTo>
                  <a:lnTo>
                    <a:pt x="2889" y="1026"/>
                  </a:lnTo>
                  <a:lnTo>
                    <a:pt x="2891" y="1026"/>
                  </a:lnTo>
                  <a:lnTo>
                    <a:pt x="2893" y="1026"/>
                  </a:lnTo>
                  <a:lnTo>
                    <a:pt x="2895" y="1024"/>
                  </a:lnTo>
                  <a:lnTo>
                    <a:pt x="2893" y="1024"/>
                  </a:lnTo>
                  <a:lnTo>
                    <a:pt x="2893" y="1024"/>
                  </a:lnTo>
                  <a:lnTo>
                    <a:pt x="2893" y="1022"/>
                  </a:lnTo>
                  <a:lnTo>
                    <a:pt x="2891" y="1022"/>
                  </a:lnTo>
                  <a:lnTo>
                    <a:pt x="2893" y="1020"/>
                  </a:lnTo>
                  <a:lnTo>
                    <a:pt x="2895" y="1020"/>
                  </a:lnTo>
                  <a:lnTo>
                    <a:pt x="2897" y="1022"/>
                  </a:lnTo>
                  <a:lnTo>
                    <a:pt x="2897" y="1022"/>
                  </a:lnTo>
                  <a:lnTo>
                    <a:pt x="2895" y="1024"/>
                  </a:lnTo>
                  <a:lnTo>
                    <a:pt x="2897" y="1024"/>
                  </a:lnTo>
                  <a:lnTo>
                    <a:pt x="2897" y="1024"/>
                  </a:lnTo>
                  <a:lnTo>
                    <a:pt x="2899" y="1022"/>
                  </a:lnTo>
                  <a:lnTo>
                    <a:pt x="2899" y="1020"/>
                  </a:lnTo>
                  <a:lnTo>
                    <a:pt x="2897" y="1020"/>
                  </a:lnTo>
                  <a:lnTo>
                    <a:pt x="2895" y="1018"/>
                  </a:lnTo>
                  <a:lnTo>
                    <a:pt x="2893" y="1016"/>
                  </a:lnTo>
                  <a:lnTo>
                    <a:pt x="2893" y="1016"/>
                  </a:lnTo>
                  <a:lnTo>
                    <a:pt x="2891" y="1012"/>
                  </a:lnTo>
                  <a:lnTo>
                    <a:pt x="2889" y="1008"/>
                  </a:lnTo>
                  <a:lnTo>
                    <a:pt x="2889" y="1008"/>
                  </a:lnTo>
                  <a:lnTo>
                    <a:pt x="2889" y="1004"/>
                  </a:lnTo>
                  <a:lnTo>
                    <a:pt x="2889" y="1004"/>
                  </a:lnTo>
                  <a:lnTo>
                    <a:pt x="2889" y="1002"/>
                  </a:lnTo>
                  <a:lnTo>
                    <a:pt x="2889" y="1002"/>
                  </a:lnTo>
                  <a:lnTo>
                    <a:pt x="2891" y="1000"/>
                  </a:lnTo>
                  <a:lnTo>
                    <a:pt x="2891" y="1000"/>
                  </a:lnTo>
                  <a:lnTo>
                    <a:pt x="2893" y="1000"/>
                  </a:lnTo>
                  <a:lnTo>
                    <a:pt x="2893" y="1000"/>
                  </a:lnTo>
                  <a:lnTo>
                    <a:pt x="2893" y="1002"/>
                  </a:lnTo>
                  <a:lnTo>
                    <a:pt x="2893" y="1002"/>
                  </a:lnTo>
                  <a:lnTo>
                    <a:pt x="2895" y="1004"/>
                  </a:lnTo>
                  <a:lnTo>
                    <a:pt x="2899" y="1006"/>
                  </a:lnTo>
                  <a:lnTo>
                    <a:pt x="2899" y="1008"/>
                  </a:lnTo>
                  <a:lnTo>
                    <a:pt x="2899" y="1010"/>
                  </a:lnTo>
                  <a:lnTo>
                    <a:pt x="2903" y="1010"/>
                  </a:lnTo>
                  <a:lnTo>
                    <a:pt x="2903" y="1010"/>
                  </a:lnTo>
                  <a:lnTo>
                    <a:pt x="2903" y="1010"/>
                  </a:lnTo>
                  <a:lnTo>
                    <a:pt x="2901" y="1008"/>
                  </a:lnTo>
                  <a:lnTo>
                    <a:pt x="2901" y="1008"/>
                  </a:lnTo>
                  <a:lnTo>
                    <a:pt x="2899" y="1006"/>
                  </a:lnTo>
                  <a:lnTo>
                    <a:pt x="2901" y="1004"/>
                  </a:lnTo>
                  <a:lnTo>
                    <a:pt x="2903" y="1006"/>
                  </a:lnTo>
                  <a:lnTo>
                    <a:pt x="2905" y="1008"/>
                  </a:lnTo>
                  <a:lnTo>
                    <a:pt x="2908" y="1010"/>
                  </a:lnTo>
                  <a:lnTo>
                    <a:pt x="2908" y="1010"/>
                  </a:lnTo>
                  <a:lnTo>
                    <a:pt x="2908" y="1008"/>
                  </a:lnTo>
                  <a:lnTo>
                    <a:pt x="2908" y="1008"/>
                  </a:lnTo>
                  <a:lnTo>
                    <a:pt x="2908" y="1006"/>
                  </a:lnTo>
                  <a:lnTo>
                    <a:pt x="2905" y="1006"/>
                  </a:lnTo>
                  <a:lnTo>
                    <a:pt x="2905" y="1004"/>
                  </a:lnTo>
                  <a:lnTo>
                    <a:pt x="2905" y="1004"/>
                  </a:lnTo>
                  <a:lnTo>
                    <a:pt x="2905" y="1004"/>
                  </a:lnTo>
                  <a:lnTo>
                    <a:pt x="2908" y="1004"/>
                  </a:lnTo>
                  <a:lnTo>
                    <a:pt x="2910" y="1004"/>
                  </a:lnTo>
                  <a:lnTo>
                    <a:pt x="2912" y="1004"/>
                  </a:lnTo>
                  <a:lnTo>
                    <a:pt x="2912" y="1006"/>
                  </a:lnTo>
                  <a:lnTo>
                    <a:pt x="2914" y="1006"/>
                  </a:lnTo>
                  <a:lnTo>
                    <a:pt x="2914" y="1006"/>
                  </a:lnTo>
                  <a:lnTo>
                    <a:pt x="2912" y="1004"/>
                  </a:lnTo>
                  <a:lnTo>
                    <a:pt x="2910" y="1002"/>
                  </a:lnTo>
                  <a:lnTo>
                    <a:pt x="2908" y="1002"/>
                  </a:lnTo>
                  <a:lnTo>
                    <a:pt x="2908" y="1002"/>
                  </a:lnTo>
                  <a:lnTo>
                    <a:pt x="2905" y="1002"/>
                  </a:lnTo>
                  <a:lnTo>
                    <a:pt x="2908" y="1000"/>
                  </a:lnTo>
                  <a:lnTo>
                    <a:pt x="2905" y="1000"/>
                  </a:lnTo>
                  <a:lnTo>
                    <a:pt x="2905" y="997"/>
                  </a:lnTo>
                  <a:lnTo>
                    <a:pt x="2905" y="997"/>
                  </a:lnTo>
                  <a:lnTo>
                    <a:pt x="2908" y="997"/>
                  </a:lnTo>
                  <a:lnTo>
                    <a:pt x="2910" y="997"/>
                  </a:lnTo>
                  <a:lnTo>
                    <a:pt x="2912" y="995"/>
                  </a:lnTo>
                  <a:lnTo>
                    <a:pt x="2914" y="993"/>
                  </a:lnTo>
                  <a:lnTo>
                    <a:pt x="2916" y="993"/>
                  </a:lnTo>
                  <a:lnTo>
                    <a:pt x="2916" y="993"/>
                  </a:lnTo>
                  <a:lnTo>
                    <a:pt x="2918" y="995"/>
                  </a:lnTo>
                  <a:lnTo>
                    <a:pt x="2920" y="995"/>
                  </a:lnTo>
                  <a:lnTo>
                    <a:pt x="2922" y="993"/>
                  </a:lnTo>
                  <a:lnTo>
                    <a:pt x="2924" y="993"/>
                  </a:lnTo>
                  <a:lnTo>
                    <a:pt x="2926" y="993"/>
                  </a:lnTo>
                  <a:lnTo>
                    <a:pt x="2928" y="993"/>
                  </a:lnTo>
                  <a:lnTo>
                    <a:pt x="2930" y="993"/>
                  </a:lnTo>
                  <a:lnTo>
                    <a:pt x="2934" y="995"/>
                  </a:lnTo>
                  <a:lnTo>
                    <a:pt x="2936" y="995"/>
                  </a:lnTo>
                  <a:lnTo>
                    <a:pt x="2938" y="997"/>
                  </a:lnTo>
                  <a:lnTo>
                    <a:pt x="2938" y="997"/>
                  </a:lnTo>
                  <a:lnTo>
                    <a:pt x="2938" y="1000"/>
                  </a:lnTo>
                  <a:lnTo>
                    <a:pt x="2940" y="1000"/>
                  </a:lnTo>
                  <a:lnTo>
                    <a:pt x="2943" y="1000"/>
                  </a:lnTo>
                  <a:lnTo>
                    <a:pt x="2945" y="1000"/>
                  </a:lnTo>
                  <a:lnTo>
                    <a:pt x="2949" y="1000"/>
                  </a:lnTo>
                  <a:lnTo>
                    <a:pt x="2947" y="1000"/>
                  </a:lnTo>
                  <a:lnTo>
                    <a:pt x="2943" y="1002"/>
                  </a:lnTo>
                  <a:lnTo>
                    <a:pt x="2943" y="1002"/>
                  </a:lnTo>
                  <a:lnTo>
                    <a:pt x="2940" y="1004"/>
                  </a:lnTo>
                  <a:lnTo>
                    <a:pt x="2940" y="1006"/>
                  </a:lnTo>
                  <a:lnTo>
                    <a:pt x="2940" y="1006"/>
                  </a:lnTo>
                  <a:lnTo>
                    <a:pt x="2940" y="1006"/>
                  </a:lnTo>
                  <a:lnTo>
                    <a:pt x="2940" y="1008"/>
                  </a:lnTo>
                  <a:lnTo>
                    <a:pt x="2940" y="1008"/>
                  </a:lnTo>
                  <a:lnTo>
                    <a:pt x="2943" y="1008"/>
                  </a:lnTo>
                  <a:lnTo>
                    <a:pt x="2945" y="1006"/>
                  </a:lnTo>
                  <a:lnTo>
                    <a:pt x="2949" y="1002"/>
                  </a:lnTo>
                  <a:lnTo>
                    <a:pt x="2951" y="1000"/>
                  </a:lnTo>
                  <a:lnTo>
                    <a:pt x="2955" y="997"/>
                  </a:lnTo>
                  <a:lnTo>
                    <a:pt x="2957" y="995"/>
                  </a:lnTo>
                  <a:lnTo>
                    <a:pt x="2959" y="993"/>
                  </a:lnTo>
                  <a:lnTo>
                    <a:pt x="2961" y="991"/>
                  </a:lnTo>
                  <a:lnTo>
                    <a:pt x="2965" y="993"/>
                  </a:lnTo>
                  <a:lnTo>
                    <a:pt x="2967" y="991"/>
                  </a:lnTo>
                  <a:lnTo>
                    <a:pt x="2967" y="991"/>
                  </a:lnTo>
                  <a:lnTo>
                    <a:pt x="2969" y="991"/>
                  </a:lnTo>
                  <a:lnTo>
                    <a:pt x="2978" y="993"/>
                  </a:lnTo>
                  <a:lnTo>
                    <a:pt x="2980" y="991"/>
                  </a:lnTo>
                  <a:lnTo>
                    <a:pt x="2980" y="991"/>
                  </a:lnTo>
                  <a:lnTo>
                    <a:pt x="2980" y="989"/>
                  </a:lnTo>
                  <a:lnTo>
                    <a:pt x="2980" y="989"/>
                  </a:lnTo>
                  <a:lnTo>
                    <a:pt x="2980" y="987"/>
                  </a:lnTo>
                  <a:lnTo>
                    <a:pt x="2971" y="985"/>
                  </a:lnTo>
                  <a:lnTo>
                    <a:pt x="2969" y="983"/>
                  </a:lnTo>
                  <a:lnTo>
                    <a:pt x="2965" y="981"/>
                  </a:lnTo>
                  <a:lnTo>
                    <a:pt x="2965" y="979"/>
                  </a:lnTo>
                  <a:lnTo>
                    <a:pt x="2965" y="977"/>
                  </a:lnTo>
                  <a:lnTo>
                    <a:pt x="2965" y="975"/>
                  </a:lnTo>
                  <a:lnTo>
                    <a:pt x="2963" y="973"/>
                  </a:lnTo>
                  <a:lnTo>
                    <a:pt x="2961" y="969"/>
                  </a:lnTo>
                  <a:lnTo>
                    <a:pt x="2961" y="969"/>
                  </a:lnTo>
                  <a:lnTo>
                    <a:pt x="2959" y="966"/>
                  </a:lnTo>
                  <a:lnTo>
                    <a:pt x="2961" y="964"/>
                  </a:lnTo>
                  <a:lnTo>
                    <a:pt x="2963" y="962"/>
                  </a:lnTo>
                  <a:lnTo>
                    <a:pt x="2963" y="962"/>
                  </a:lnTo>
                  <a:lnTo>
                    <a:pt x="2963" y="958"/>
                  </a:lnTo>
                  <a:lnTo>
                    <a:pt x="2965" y="956"/>
                  </a:lnTo>
                  <a:lnTo>
                    <a:pt x="2965" y="954"/>
                  </a:lnTo>
                  <a:lnTo>
                    <a:pt x="2965" y="954"/>
                  </a:lnTo>
                  <a:lnTo>
                    <a:pt x="2967" y="952"/>
                  </a:lnTo>
                  <a:lnTo>
                    <a:pt x="2969" y="952"/>
                  </a:lnTo>
                  <a:lnTo>
                    <a:pt x="2971" y="952"/>
                  </a:lnTo>
                  <a:lnTo>
                    <a:pt x="2973" y="950"/>
                  </a:lnTo>
                  <a:lnTo>
                    <a:pt x="2973" y="946"/>
                  </a:lnTo>
                  <a:lnTo>
                    <a:pt x="2973" y="944"/>
                  </a:lnTo>
                  <a:lnTo>
                    <a:pt x="2976" y="942"/>
                  </a:lnTo>
                  <a:lnTo>
                    <a:pt x="2976" y="936"/>
                  </a:lnTo>
                  <a:lnTo>
                    <a:pt x="2976" y="936"/>
                  </a:lnTo>
                  <a:lnTo>
                    <a:pt x="2978" y="931"/>
                  </a:lnTo>
                  <a:lnTo>
                    <a:pt x="2978" y="931"/>
                  </a:lnTo>
                  <a:lnTo>
                    <a:pt x="2978" y="931"/>
                  </a:lnTo>
                  <a:lnTo>
                    <a:pt x="2978" y="931"/>
                  </a:lnTo>
                  <a:lnTo>
                    <a:pt x="2978" y="929"/>
                  </a:lnTo>
                  <a:lnTo>
                    <a:pt x="2978" y="929"/>
                  </a:lnTo>
                  <a:lnTo>
                    <a:pt x="2978" y="927"/>
                  </a:lnTo>
                  <a:lnTo>
                    <a:pt x="2980" y="927"/>
                  </a:lnTo>
                  <a:lnTo>
                    <a:pt x="2978" y="925"/>
                  </a:lnTo>
                  <a:lnTo>
                    <a:pt x="2980" y="925"/>
                  </a:lnTo>
                  <a:lnTo>
                    <a:pt x="2980" y="923"/>
                  </a:lnTo>
                  <a:lnTo>
                    <a:pt x="2982" y="925"/>
                  </a:lnTo>
                  <a:lnTo>
                    <a:pt x="2980" y="925"/>
                  </a:lnTo>
                  <a:lnTo>
                    <a:pt x="2982" y="925"/>
                  </a:lnTo>
                  <a:lnTo>
                    <a:pt x="2982" y="927"/>
                  </a:lnTo>
                  <a:lnTo>
                    <a:pt x="2980" y="927"/>
                  </a:lnTo>
                  <a:lnTo>
                    <a:pt x="2988" y="927"/>
                  </a:lnTo>
                  <a:lnTo>
                    <a:pt x="2988" y="925"/>
                  </a:lnTo>
                  <a:lnTo>
                    <a:pt x="2988" y="923"/>
                  </a:lnTo>
                  <a:lnTo>
                    <a:pt x="2990" y="921"/>
                  </a:lnTo>
                  <a:lnTo>
                    <a:pt x="2990" y="921"/>
                  </a:lnTo>
                  <a:lnTo>
                    <a:pt x="2990" y="919"/>
                  </a:lnTo>
                  <a:lnTo>
                    <a:pt x="2990" y="917"/>
                  </a:lnTo>
                  <a:lnTo>
                    <a:pt x="2990" y="915"/>
                  </a:lnTo>
                  <a:lnTo>
                    <a:pt x="2988" y="913"/>
                  </a:lnTo>
                  <a:lnTo>
                    <a:pt x="2988" y="913"/>
                  </a:lnTo>
                  <a:lnTo>
                    <a:pt x="2988" y="911"/>
                  </a:lnTo>
                  <a:lnTo>
                    <a:pt x="2990" y="911"/>
                  </a:lnTo>
                  <a:lnTo>
                    <a:pt x="2992" y="911"/>
                  </a:lnTo>
                  <a:lnTo>
                    <a:pt x="2992" y="911"/>
                  </a:lnTo>
                  <a:lnTo>
                    <a:pt x="2994" y="911"/>
                  </a:lnTo>
                  <a:lnTo>
                    <a:pt x="2996" y="909"/>
                  </a:lnTo>
                  <a:lnTo>
                    <a:pt x="2996" y="909"/>
                  </a:lnTo>
                  <a:lnTo>
                    <a:pt x="3000" y="905"/>
                  </a:lnTo>
                  <a:lnTo>
                    <a:pt x="3002" y="905"/>
                  </a:lnTo>
                  <a:lnTo>
                    <a:pt x="3004" y="902"/>
                  </a:lnTo>
                  <a:lnTo>
                    <a:pt x="3004" y="900"/>
                  </a:lnTo>
                  <a:lnTo>
                    <a:pt x="3004" y="900"/>
                  </a:lnTo>
                  <a:lnTo>
                    <a:pt x="3004" y="898"/>
                  </a:lnTo>
                  <a:lnTo>
                    <a:pt x="3004" y="896"/>
                  </a:lnTo>
                  <a:lnTo>
                    <a:pt x="3011" y="894"/>
                  </a:lnTo>
                  <a:lnTo>
                    <a:pt x="3013" y="896"/>
                  </a:lnTo>
                  <a:lnTo>
                    <a:pt x="3015" y="894"/>
                  </a:lnTo>
                  <a:lnTo>
                    <a:pt x="3015" y="892"/>
                  </a:lnTo>
                  <a:lnTo>
                    <a:pt x="3017" y="892"/>
                  </a:lnTo>
                  <a:lnTo>
                    <a:pt x="3017" y="894"/>
                  </a:lnTo>
                  <a:lnTo>
                    <a:pt x="3017" y="894"/>
                  </a:lnTo>
                  <a:lnTo>
                    <a:pt x="3019" y="894"/>
                  </a:lnTo>
                  <a:lnTo>
                    <a:pt x="3021" y="894"/>
                  </a:lnTo>
                  <a:lnTo>
                    <a:pt x="3021" y="894"/>
                  </a:lnTo>
                  <a:lnTo>
                    <a:pt x="3021" y="890"/>
                  </a:lnTo>
                  <a:lnTo>
                    <a:pt x="3021" y="888"/>
                  </a:lnTo>
                  <a:lnTo>
                    <a:pt x="3021" y="886"/>
                  </a:lnTo>
                  <a:lnTo>
                    <a:pt x="3019" y="884"/>
                  </a:lnTo>
                  <a:lnTo>
                    <a:pt x="3021" y="886"/>
                  </a:lnTo>
                  <a:lnTo>
                    <a:pt x="3021" y="886"/>
                  </a:lnTo>
                  <a:lnTo>
                    <a:pt x="3021" y="888"/>
                  </a:lnTo>
                  <a:lnTo>
                    <a:pt x="3023" y="890"/>
                  </a:lnTo>
                  <a:lnTo>
                    <a:pt x="3021" y="892"/>
                  </a:lnTo>
                  <a:lnTo>
                    <a:pt x="3023" y="894"/>
                  </a:lnTo>
                  <a:lnTo>
                    <a:pt x="3023" y="894"/>
                  </a:lnTo>
                  <a:lnTo>
                    <a:pt x="3025" y="896"/>
                  </a:lnTo>
                  <a:lnTo>
                    <a:pt x="3027" y="896"/>
                  </a:lnTo>
                  <a:lnTo>
                    <a:pt x="3031" y="896"/>
                  </a:lnTo>
                  <a:lnTo>
                    <a:pt x="3031" y="896"/>
                  </a:lnTo>
                  <a:lnTo>
                    <a:pt x="3029" y="896"/>
                  </a:lnTo>
                  <a:lnTo>
                    <a:pt x="3027" y="898"/>
                  </a:lnTo>
                  <a:lnTo>
                    <a:pt x="3025" y="896"/>
                  </a:lnTo>
                  <a:lnTo>
                    <a:pt x="3021" y="896"/>
                  </a:lnTo>
                  <a:lnTo>
                    <a:pt x="3019" y="896"/>
                  </a:lnTo>
                  <a:lnTo>
                    <a:pt x="3017" y="896"/>
                  </a:lnTo>
                  <a:lnTo>
                    <a:pt x="3017" y="896"/>
                  </a:lnTo>
                  <a:lnTo>
                    <a:pt x="3019" y="898"/>
                  </a:lnTo>
                  <a:lnTo>
                    <a:pt x="3021" y="898"/>
                  </a:lnTo>
                  <a:lnTo>
                    <a:pt x="3023" y="898"/>
                  </a:lnTo>
                  <a:lnTo>
                    <a:pt x="3023" y="898"/>
                  </a:lnTo>
                  <a:lnTo>
                    <a:pt x="3023" y="900"/>
                  </a:lnTo>
                  <a:lnTo>
                    <a:pt x="3021" y="900"/>
                  </a:lnTo>
                  <a:lnTo>
                    <a:pt x="3021" y="900"/>
                  </a:lnTo>
                  <a:lnTo>
                    <a:pt x="3019" y="900"/>
                  </a:lnTo>
                  <a:lnTo>
                    <a:pt x="3021" y="900"/>
                  </a:lnTo>
                  <a:lnTo>
                    <a:pt x="3021" y="900"/>
                  </a:lnTo>
                  <a:lnTo>
                    <a:pt x="3023" y="902"/>
                  </a:lnTo>
                  <a:lnTo>
                    <a:pt x="3027" y="905"/>
                  </a:lnTo>
                  <a:lnTo>
                    <a:pt x="3029" y="905"/>
                  </a:lnTo>
                  <a:lnTo>
                    <a:pt x="3033" y="905"/>
                  </a:lnTo>
                  <a:lnTo>
                    <a:pt x="3035" y="905"/>
                  </a:lnTo>
                  <a:lnTo>
                    <a:pt x="3039" y="902"/>
                  </a:lnTo>
                  <a:lnTo>
                    <a:pt x="3042" y="905"/>
                  </a:lnTo>
                  <a:lnTo>
                    <a:pt x="3044" y="905"/>
                  </a:lnTo>
                  <a:lnTo>
                    <a:pt x="3044" y="905"/>
                  </a:lnTo>
                  <a:lnTo>
                    <a:pt x="3046" y="905"/>
                  </a:lnTo>
                  <a:lnTo>
                    <a:pt x="3046" y="907"/>
                  </a:lnTo>
                  <a:lnTo>
                    <a:pt x="3046" y="907"/>
                  </a:lnTo>
                  <a:lnTo>
                    <a:pt x="3044" y="909"/>
                  </a:lnTo>
                  <a:lnTo>
                    <a:pt x="3042" y="911"/>
                  </a:lnTo>
                  <a:lnTo>
                    <a:pt x="3039" y="911"/>
                  </a:lnTo>
                  <a:lnTo>
                    <a:pt x="3035" y="913"/>
                  </a:lnTo>
                  <a:lnTo>
                    <a:pt x="3029" y="917"/>
                  </a:lnTo>
                  <a:lnTo>
                    <a:pt x="3031" y="917"/>
                  </a:lnTo>
                  <a:lnTo>
                    <a:pt x="3031" y="919"/>
                  </a:lnTo>
                  <a:lnTo>
                    <a:pt x="3033" y="917"/>
                  </a:lnTo>
                  <a:lnTo>
                    <a:pt x="3035" y="917"/>
                  </a:lnTo>
                  <a:lnTo>
                    <a:pt x="3039" y="921"/>
                  </a:lnTo>
                  <a:lnTo>
                    <a:pt x="3042" y="921"/>
                  </a:lnTo>
                  <a:lnTo>
                    <a:pt x="3042" y="921"/>
                  </a:lnTo>
                  <a:lnTo>
                    <a:pt x="3046" y="921"/>
                  </a:lnTo>
                  <a:lnTo>
                    <a:pt x="3046" y="923"/>
                  </a:lnTo>
                  <a:lnTo>
                    <a:pt x="3046" y="925"/>
                  </a:lnTo>
                  <a:lnTo>
                    <a:pt x="3044" y="929"/>
                  </a:lnTo>
                  <a:lnTo>
                    <a:pt x="3044" y="931"/>
                  </a:lnTo>
                  <a:lnTo>
                    <a:pt x="3044" y="931"/>
                  </a:lnTo>
                  <a:lnTo>
                    <a:pt x="3044" y="931"/>
                  </a:lnTo>
                  <a:lnTo>
                    <a:pt x="3046" y="933"/>
                  </a:lnTo>
                  <a:lnTo>
                    <a:pt x="3048" y="933"/>
                  </a:lnTo>
                  <a:lnTo>
                    <a:pt x="3050" y="933"/>
                  </a:lnTo>
                  <a:lnTo>
                    <a:pt x="3052" y="933"/>
                  </a:lnTo>
                  <a:lnTo>
                    <a:pt x="3056" y="931"/>
                  </a:lnTo>
                  <a:lnTo>
                    <a:pt x="3058" y="929"/>
                  </a:lnTo>
                  <a:lnTo>
                    <a:pt x="3062" y="927"/>
                  </a:lnTo>
                  <a:lnTo>
                    <a:pt x="3064" y="927"/>
                  </a:lnTo>
                  <a:lnTo>
                    <a:pt x="3066" y="927"/>
                  </a:lnTo>
                  <a:lnTo>
                    <a:pt x="3068" y="925"/>
                  </a:lnTo>
                  <a:lnTo>
                    <a:pt x="3070" y="925"/>
                  </a:lnTo>
                  <a:lnTo>
                    <a:pt x="3072" y="921"/>
                  </a:lnTo>
                  <a:lnTo>
                    <a:pt x="3072" y="921"/>
                  </a:lnTo>
                  <a:lnTo>
                    <a:pt x="3075" y="921"/>
                  </a:lnTo>
                  <a:lnTo>
                    <a:pt x="3077" y="923"/>
                  </a:lnTo>
                  <a:lnTo>
                    <a:pt x="3077" y="923"/>
                  </a:lnTo>
                  <a:lnTo>
                    <a:pt x="3079" y="923"/>
                  </a:lnTo>
                  <a:lnTo>
                    <a:pt x="3081" y="923"/>
                  </a:lnTo>
                  <a:lnTo>
                    <a:pt x="3083" y="923"/>
                  </a:lnTo>
                  <a:lnTo>
                    <a:pt x="3085" y="923"/>
                  </a:lnTo>
                  <a:lnTo>
                    <a:pt x="3085" y="921"/>
                  </a:lnTo>
                  <a:lnTo>
                    <a:pt x="3087" y="919"/>
                  </a:lnTo>
                  <a:lnTo>
                    <a:pt x="3087" y="919"/>
                  </a:lnTo>
                  <a:lnTo>
                    <a:pt x="3087" y="917"/>
                  </a:lnTo>
                  <a:lnTo>
                    <a:pt x="3085" y="917"/>
                  </a:lnTo>
                  <a:lnTo>
                    <a:pt x="3083" y="915"/>
                  </a:lnTo>
                  <a:lnTo>
                    <a:pt x="3083" y="915"/>
                  </a:lnTo>
                  <a:lnTo>
                    <a:pt x="3081" y="917"/>
                  </a:lnTo>
                  <a:lnTo>
                    <a:pt x="3081" y="917"/>
                  </a:lnTo>
                  <a:lnTo>
                    <a:pt x="3077" y="917"/>
                  </a:lnTo>
                  <a:lnTo>
                    <a:pt x="3077" y="917"/>
                  </a:lnTo>
                  <a:lnTo>
                    <a:pt x="3072" y="919"/>
                  </a:lnTo>
                  <a:lnTo>
                    <a:pt x="3072" y="919"/>
                  </a:lnTo>
                  <a:lnTo>
                    <a:pt x="3070" y="917"/>
                  </a:lnTo>
                  <a:lnTo>
                    <a:pt x="3068" y="917"/>
                  </a:lnTo>
                  <a:lnTo>
                    <a:pt x="3066" y="911"/>
                  </a:lnTo>
                  <a:lnTo>
                    <a:pt x="3064" y="909"/>
                  </a:lnTo>
                  <a:lnTo>
                    <a:pt x="3064" y="907"/>
                  </a:lnTo>
                  <a:lnTo>
                    <a:pt x="3062" y="905"/>
                  </a:lnTo>
                  <a:lnTo>
                    <a:pt x="3062" y="902"/>
                  </a:lnTo>
                  <a:lnTo>
                    <a:pt x="3064" y="902"/>
                  </a:lnTo>
                  <a:lnTo>
                    <a:pt x="3066" y="902"/>
                  </a:lnTo>
                  <a:lnTo>
                    <a:pt x="3068" y="898"/>
                  </a:lnTo>
                  <a:lnTo>
                    <a:pt x="3070" y="900"/>
                  </a:lnTo>
                  <a:lnTo>
                    <a:pt x="3070" y="900"/>
                  </a:lnTo>
                  <a:lnTo>
                    <a:pt x="3068" y="900"/>
                  </a:lnTo>
                  <a:lnTo>
                    <a:pt x="3068" y="902"/>
                  </a:lnTo>
                  <a:lnTo>
                    <a:pt x="3066" y="905"/>
                  </a:lnTo>
                  <a:lnTo>
                    <a:pt x="3066" y="905"/>
                  </a:lnTo>
                  <a:lnTo>
                    <a:pt x="3066" y="905"/>
                  </a:lnTo>
                  <a:lnTo>
                    <a:pt x="3068" y="902"/>
                  </a:lnTo>
                  <a:lnTo>
                    <a:pt x="3068" y="902"/>
                  </a:lnTo>
                  <a:lnTo>
                    <a:pt x="3070" y="900"/>
                  </a:lnTo>
                  <a:lnTo>
                    <a:pt x="3077" y="894"/>
                  </a:lnTo>
                  <a:lnTo>
                    <a:pt x="3081" y="894"/>
                  </a:lnTo>
                  <a:lnTo>
                    <a:pt x="3083" y="894"/>
                  </a:lnTo>
                  <a:lnTo>
                    <a:pt x="3083" y="894"/>
                  </a:lnTo>
                  <a:lnTo>
                    <a:pt x="3085" y="894"/>
                  </a:lnTo>
                  <a:lnTo>
                    <a:pt x="3087" y="892"/>
                  </a:lnTo>
                  <a:lnTo>
                    <a:pt x="3089" y="892"/>
                  </a:lnTo>
                  <a:lnTo>
                    <a:pt x="3091" y="894"/>
                  </a:lnTo>
                  <a:lnTo>
                    <a:pt x="3093" y="892"/>
                  </a:lnTo>
                  <a:lnTo>
                    <a:pt x="3095" y="890"/>
                  </a:lnTo>
                  <a:lnTo>
                    <a:pt x="3097" y="890"/>
                  </a:lnTo>
                  <a:lnTo>
                    <a:pt x="3099" y="890"/>
                  </a:lnTo>
                  <a:lnTo>
                    <a:pt x="3101" y="888"/>
                  </a:lnTo>
                  <a:lnTo>
                    <a:pt x="3105" y="886"/>
                  </a:lnTo>
                  <a:lnTo>
                    <a:pt x="3112" y="888"/>
                  </a:lnTo>
                  <a:lnTo>
                    <a:pt x="3112" y="886"/>
                  </a:lnTo>
                  <a:lnTo>
                    <a:pt x="3116" y="886"/>
                  </a:lnTo>
                  <a:lnTo>
                    <a:pt x="3116" y="884"/>
                  </a:lnTo>
                  <a:lnTo>
                    <a:pt x="3120" y="884"/>
                  </a:lnTo>
                  <a:lnTo>
                    <a:pt x="3118" y="884"/>
                  </a:lnTo>
                  <a:lnTo>
                    <a:pt x="3118" y="884"/>
                  </a:lnTo>
                  <a:lnTo>
                    <a:pt x="3116" y="886"/>
                  </a:lnTo>
                  <a:lnTo>
                    <a:pt x="3118" y="886"/>
                  </a:lnTo>
                  <a:lnTo>
                    <a:pt x="3122" y="886"/>
                  </a:lnTo>
                  <a:lnTo>
                    <a:pt x="3122" y="884"/>
                  </a:lnTo>
                  <a:lnTo>
                    <a:pt x="3126" y="884"/>
                  </a:lnTo>
                  <a:lnTo>
                    <a:pt x="3126" y="884"/>
                  </a:lnTo>
                  <a:lnTo>
                    <a:pt x="3126" y="886"/>
                  </a:lnTo>
                  <a:lnTo>
                    <a:pt x="3126" y="888"/>
                  </a:lnTo>
                  <a:lnTo>
                    <a:pt x="3126" y="888"/>
                  </a:lnTo>
                  <a:lnTo>
                    <a:pt x="3124" y="888"/>
                  </a:lnTo>
                  <a:lnTo>
                    <a:pt x="3120" y="890"/>
                  </a:lnTo>
                  <a:lnTo>
                    <a:pt x="3118" y="890"/>
                  </a:lnTo>
                  <a:lnTo>
                    <a:pt x="3114" y="892"/>
                  </a:lnTo>
                  <a:lnTo>
                    <a:pt x="3116" y="894"/>
                  </a:lnTo>
                  <a:lnTo>
                    <a:pt x="3116" y="894"/>
                  </a:lnTo>
                  <a:lnTo>
                    <a:pt x="3114" y="894"/>
                  </a:lnTo>
                  <a:lnTo>
                    <a:pt x="3112" y="894"/>
                  </a:lnTo>
                  <a:lnTo>
                    <a:pt x="3110" y="894"/>
                  </a:lnTo>
                  <a:lnTo>
                    <a:pt x="3108" y="896"/>
                  </a:lnTo>
                  <a:lnTo>
                    <a:pt x="3105" y="894"/>
                  </a:lnTo>
                  <a:lnTo>
                    <a:pt x="3105" y="894"/>
                  </a:lnTo>
                  <a:lnTo>
                    <a:pt x="3105" y="896"/>
                  </a:lnTo>
                  <a:lnTo>
                    <a:pt x="3108" y="898"/>
                  </a:lnTo>
                  <a:lnTo>
                    <a:pt x="3108" y="900"/>
                  </a:lnTo>
                  <a:lnTo>
                    <a:pt x="3110" y="898"/>
                  </a:lnTo>
                  <a:lnTo>
                    <a:pt x="3112" y="902"/>
                  </a:lnTo>
                  <a:lnTo>
                    <a:pt x="3116" y="905"/>
                  </a:lnTo>
                  <a:lnTo>
                    <a:pt x="3114" y="905"/>
                  </a:lnTo>
                  <a:lnTo>
                    <a:pt x="3112" y="905"/>
                  </a:lnTo>
                  <a:lnTo>
                    <a:pt x="3112" y="905"/>
                  </a:lnTo>
                  <a:lnTo>
                    <a:pt x="3110" y="907"/>
                  </a:lnTo>
                  <a:lnTo>
                    <a:pt x="3110" y="907"/>
                  </a:lnTo>
                  <a:lnTo>
                    <a:pt x="3110" y="907"/>
                  </a:lnTo>
                  <a:lnTo>
                    <a:pt x="3110" y="907"/>
                  </a:lnTo>
                  <a:lnTo>
                    <a:pt x="3108" y="905"/>
                  </a:lnTo>
                  <a:lnTo>
                    <a:pt x="3108" y="907"/>
                  </a:lnTo>
                  <a:lnTo>
                    <a:pt x="3105" y="911"/>
                  </a:lnTo>
                  <a:lnTo>
                    <a:pt x="3103" y="913"/>
                  </a:lnTo>
                  <a:lnTo>
                    <a:pt x="3103" y="915"/>
                  </a:lnTo>
                  <a:lnTo>
                    <a:pt x="3103" y="915"/>
                  </a:lnTo>
                  <a:lnTo>
                    <a:pt x="3103" y="915"/>
                  </a:lnTo>
                  <a:lnTo>
                    <a:pt x="3103" y="915"/>
                  </a:lnTo>
                  <a:lnTo>
                    <a:pt x="3103" y="917"/>
                  </a:lnTo>
                  <a:lnTo>
                    <a:pt x="3103" y="917"/>
                  </a:lnTo>
                  <a:lnTo>
                    <a:pt x="3097" y="919"/>
                  </a:lnTo>
                  <a:lnTo>
                    <a:pt x="3097" y="919"/>
                  </a:lnTo>
                  <a:lnTo>
                    <a:pt x="3095" y="919"/>
                  </a:lnTo>
                  <a:lnTo>
                    <a:pt x="3093" y="917"/>
                  </a:lnTo>
                  <a:lnTo>
                    <a:pt x="3091" y="917"/>
                  </a:lnTo>
                  <a:lnTo>
                    <a:pt x="3091" y="917"/>
                  </a:lnTo>
                  <a:lnTo>
                    <a:pt x="3089" y="917"/>
                  </a:lnTo>
                  <a:lnTo>
                    <a:pt x="3091" y="917"/>
                  </a:lnTo>
                  <a:lnTo>
                    <a:pt x="3091" y="917"/>
                  </a:lnTo>
                  <a:lnTo>
                    <a:pt x="3093" y="919"/>
                  </a:lnTo>
                  <a:lnTo>
                    <a:pt x="3091" y="919"/>
                  </a:lnTo>
                  <a:lnTo>
                    <a:pt x="3089" y="921"/>
                  </a:lnTo>
                  <a:lnTo>
                    <a:pt x="3089" y="921"/>
                  </a:lnTo>
                  <a:lnTo>
                    <a:pt x="3089" y="921"/>
                  </a:lnTo>
                  <a:lnTo>
                    <a:pt x="3093" y="923"/>
                  </a:lnTo>
                  <a:lnTo>
                    <a:pt x="3097" y="925"/>
                  </a:lnTo>
                  <a:lnTo>
                    <a:pt x="3097" y="925"/>
                  </a:lnTo>
                  <a:lnTo>
                    <a:pt x="3099" y="927"/>
                  </a:lnTo>
                  <a:lnTo>
                    <a:pt x="3099" y="929"/>
                  </a:lnTo>
                  <a:lnTo>
                    <a:pt x="3101" y="929"/>
                  </a:lnTo>
                  <a:lnTo>
                    <a:pt x="3101" y="929"/>
                  </a:lnTo>
                  <a:lnTo>
                    <a:pt x="3103" y="929"/>
                  </a:lnTo>
                  <a:lnTo>
                    <a:pt x="3105" y="929"/>
                  </a:lnTo>
                  <a:lnTo>
                    <a:pt x="3112" y="933"/>
                  </a:lnTo>
                  <a:lnTo>
                    <a:pt x="3112" y="936"/>
                  </a:lnTo>
                  <a:lnTo>
                    <a:pt x="3118" y="936"/>
                  </a:lnTo>
                  <a:lnTo>
                    <a:pt x="3118" y="936"/>
                  </a:lnTo>
                  <a:lnTo>
                    <a:pt x="3126" y="944"/>
                  </a:lnTo>
                  <a:lnTo>
                    <a:pt x="3130" y="946"/>
                  </a:lnTo>
                  <a:lnTo>
                    <a:pt x="3134" y="950"/>
                  </a:lnTo>
                  <a:lnTo>
                    <a:pt x="3136" y="952"/>
                  </a:lnTo>
                  <a:lnTo>
                    <a:pt x="3138" y="952"/>
                  </a:lnTo>
                  <a:lnTo>
                    <a:pt x="3143" y="956"/>
                  </a:lnTo>
                  <a:lnTo>
                    <a:pt x="3145" y="956"/>
                  </a:lnTo>
                  <a:lnTo>
                    <a:pt x="3149" y="958"/>
                  </a:lnTo>
                  <a:lnTo>
                    <a:pt x="3151" y="960"/>
                  </a:lnTo>
                  <a:lnTo>
                    <a:pt x="3153" y="962"/>
                  </a:lnTo>
                  <a:lnTo>
                    <a:pt x="3157" y="962"/>
                  </a:lnTo>
                  <a:lnTo>
                    <a:pt x="3157" y="964"/>
                  </a:lnTo>
                  <a:lnTo>
                    <a:pt x="3159" y="969"/>
                  </a:lnTo>
                  <a:lnTo>
                    <a:pt x="3161" y="973"/>
                  </a:lnTo>
                  <a:lnTo>
                    <a:pt x="3161" y="977"/>
                  </a:lnTo>
                  <a:lnTo>
                    <a:pt x="3161" y="977"/>
                  </a:lnTo>
                  <a:lnTo>
                    <a:pt x="3161" y="979"/>
                  </a:lnTo>
                  <a:lnTo>
                    <a:pt x="3161" y="981"/>
                  </a:lnTo>
                  <a:lnTo>
                    <a:pt x="3159" y="983"/>
                  </a:lnTo>
                  <a:lnTo>
                    <a:pt x="3157" y="985"/>
                  </a:lnTo>
                  <a:lnTo>
                    <a:pt x="3153" y="987"/>
                  </a:lnTo>
                  <a:lnTo>
                    <a:pt x="3151" y="989"/>
                  </a:lnTo>
                  <a:lnTo>
                    <a:pt x="3149" y="989"/>
                  </a:lnTo>
                  <a:lnTo>
                    <a:pt x="3147" y="991"/>
                  </a:lnTo>
                  <a:lnTo>
                    <a:pt x="3141" y="993"/>
                  </a:lnTo>
                  <a:lnTo>
                    <a:pt x="3138" y="993"/>
                  </a:lnTo>
                  <a:lnTo>
                    <a:pt x="3136" y="993"/>
                  </a:lnTo>
                  <a:lnTo>
                    <a:pt x="3134" y="993"/>
                  </a:lnTo>
                  <a:lnTo>
                    <a:pt x="3134" y="993"/>
                  </a:lnTo>
                  <a:lnTo>
                    <a:pt x="3128" y="991"/>
                  </a:lnTo>
                  <a:lnTo>
                    <a:pt x="3120" y="991"/>
                  </a:lnTo>
                  <a:lnTo>
                    <a:pt x="3116" y="993"/>
                  </a:lnTo>
                  <a:lnTo>
                    <a:pt x="3114" y="993"/>
                  </a:lnTo>
                  <a:lnTo>
                    <a:pt x="3108" y="993"/>
                  </a:lnTo>
                  <a:lnTo>
                    <a:pt x="3105" y="991"/>
                  </a:lnTo>
                  <a:lnTo>
                    <a:pt x="3099" y="991"/>
                  </a:lnTo>
                  <a:lnTo>
                    <a:pt x="3095" y="989"/>
                  </a:lnTo>
                  <a:lnTo>
                    <a:pt x="3093" y="987"/>
                  </a:lnTo>
                  <a:lnTo>
                    <a:pt x="3091" y="987"/>
                  </a:lnTo>
                  <a:lnTo>
                    <a:pt x="3089" y="987"/>
                  </a:lnTo>
                  <a:lnTo>
                    <a:pt x="3089" y="987"/>
                  </a:lnTo>
                  <a:lnTo>
                    <a:pt x="3087" y="987"/>
                  </a:lnTo>
                  <a:lnTo>
                    <a:pt x="3085" y="987"/>
                  </a:lnTo>
                  <a:lnTo>
                    <a:pt x="3083" y="987"/>
                  </a:lnTo>
                  <a:lnTo>
                    <a:pt x="3083" y="985"/>
                  </a:lnTo>
                  <a:lnTo>
                    <a:pt x="3081" y="981"/>
                  </a:lnTo>
                  <a:lnTo>
                    <a:pt x="3079" y="981"/>
                  </a:lnTo>
                  <a:lnTo>
                    <a:pt x="3079" y="981"/>
                  </a:lnTo>
                  <a:lnTo>
                    <a:pt x="3072" y="981"/>
                  </a:lnTo>
                  <a:lnTo>
                    <a:pt x="3070" y="981"/>
                  </a:lnTo>
                  <a:lnTo>
                    <a:pt x="3068" y="979"/>
                  </a:lnTo>
                  <a:lnTo>
                    <a:pt x="3066" y="977"/>
                  </a:lnTo>
                  <a:lnTo>
                    <a:pt x="3066" y="977"/>
                  </a:lnTo>
                  <a:lnTo>
                    <a:pt x="3068" y="975"/>
                  </a:lnTo>
                  <a:lnTo>
                    <a:pt x="3068" y="975"/>
                  </a:lnTo>
                  <a:lnTo>
                    <a:pt x="3066" y="975"/>
                  </a:lnTo>
                  <a:lnTo>
                    <a:pt x="3062" y="977"/>
                  </a:lnTo>
                  <a:lnTo>
                    <a:pt x="3054" y="977"/>
                  </a:lnTo>
                  <a:lnTo>
                    <a:pt x="3042" y="975"/>
                  </a:lnTo>
                  <a:lnTo>
                    <a:pt x="3042" y="975"/>
                  </a:lnTo>
                  <a:lnTo>
                    <a:pt x="3035" y="977"/>
                  </a:lnTo>
                  <a:lnTo>
                    <a:pt x="3031" y="979"/>
                  </a:lnTo>
                  <a:lnTo>
                    <a:pt x="3027" y="981"/>
                  </a:lnTo>
                  <a:lnTo>
                    <a:pt x="3023" y="983"/>
                  </a:lnTo>
                  <a:lnTo>
                    <a:pt x="3015" y="987"/>
                  </a:lnTo>
                  <a:lnTo>
                    <a:pt x="3013" y="989"/>
                  </a:lnTo>
                  <a:lnTo>
                    <a:pt x="3013" y="991"/>
                  </a:lnTo>
                  <a:lnTo>
                    <a:pt x="3006" y="991"/>
                  </a:lnTo>
                  <a:lnTo>
                    <a:pt x="2998" y="989"/>
                  </a:lnTo>
                  <a:lnTo>
                    <a:pt x="2992" y="989"/>
                  </a:lnTo>
                  <a:lnTo>
                    <a:pt x="2984" y="989"/>
                  </a:lnTo>
                  <a:lnTo>
                    <a:pt x="2982" y="989"/>
                  </a:lnTo>
                  <a:lnTo>
                    <a:pt x="2982" y="989"/>
                  </a:lnTo>
                  <a:lnTo>
                    <a:pt x="2982" y="991"/>
                  </a:lnTo>
                  <a:lnTo>
                    <a:pt x="2980" y="991"/>
                  </a:lnTo>
                  <a:lnTo>
                    <a:pt x="2982" y="993"/>
                  </a:lnTo>
                  <a:lnTo>
                    <a:pt x="2982" y="993"/>
                  </a:lnTo>
                  <a:lnTo>
                    <a:pt x="2984" y="995"/>
                  </a:lnTo>
                  <a:lnTo>
                    <a:pt x="2986" y="995"/>
                  </a:lnTo>
                  <a:lnTo>
                    <a:pt x="2992" y="995"/>
                  </a:lnTo>
                  <a:lnTo>
                    <a:pt x="2992" y="995"/>
                  </a:lnTo>
                  <a:lnTo>
                    <a:pt x="2992" y="997"/>
                  </a:lnTo>
                  <a:lnTo>
                    <a:pt x="2988" y="997"/>
                  </a:lnTo>
                  <a:lnTo>
                    <a:pt x="2980" y="997"/>
                  </a:lnTo>
                  <a:lnTo>
                    <a:pt x="2980" y="1000"/>
                  </a:lnTo>
                  <a:lnTo>
                    <a:pt x="2978" y="1000"/>
                  </a:lnTo>
                  <a:lnTo>
                    <a:pt x="2978" y="1002"/>
                  </a:lnTo>
                  <a:lnTo>
                    <a:pt x="2978" y="1002"/>
                  </a:lnTo>
                  <a:lnTo>
                    <a:pt x="2980" y="1002"/>
                  </a:lnTo>
                  <a:lnTo>
                    <a:pt x="2980" y="1002"/>
                  </a:lnTo>
                  <a:lnTo>
                    <a:pt x="2980" y="1002"/>
                  </a:lnTo>
                  <a:lnTo>
                    <a:pt x="2976" y="1002"/>
                  </a:lnTo>
                  <a:lnTo>
                    <a:pt x="2973" y="1004"/>
                  </a:lnTo>
                  <a:lnTo>
                    <a:pt x="2969" y="1002"/>
                  </a:lnTo>
                  <a:lnTo>
                    <a:pt x="2965" y="1004"/>
                  </a:lnTo>
                  <a:lnTo>
                    <a:pt x="2965" y="1004"/>
                  </a:lnTo>
                  <a:lnTo>
                    <a:pt x="2965" y="1002"/>
                  </a:lnTo>
                  <a:lnTo>
                    <a:pt x="2965" y="1002"/>
                  </a:lnTo>
                  <a:lnTo>
                    <a:pt x="2965" y="1002"/>
                  </a:lnTo>
                  <a:lnTo>
                    <a:pt x="2963" y="1000"/>
                  </a:lnTo>
                  <a:lnTo>
                    <a:pt x="2963" y="1002"/>
                  </a:lnTo>
                  <a:lnTo>
                    <a:pt x="2961" y="1002"/>
                  </a:lnTo>
                  <a:lnTo>
                    <a:pt x="2963" y="1004"/>
                  </a:lnTo>
                  <a:lnTo>
                    <a:pt x="2963" y="1004"/>
                  </a:lnTo>
                  <a:lnTo>
                    <a:pt x="2961" y="1004"/>
                  </a:lnTo>
                  <a:lnTo>
                    <a:pt x="2959" y="1004"/>
                  </a:lnTo>
                  <a:lnTo>
                    <a:pt x="2957" y="1004"/>
                  </a:lnTo>
                  <a:lnTo>
                    <a:pt x="2955" y="1002"/>
                  </a:lnTo>
                  <a:lnTo>
                    <a:pt x="2955" y="1002"/>
                  </a:lnTo>
                  <a:lnTo>
                    <a:pt x="2953" y="1002"/>
                  </a:lnTo>
                  <a:lnTo>
                    <a:pt x="2951" y="1002"/>
                  </a:lnTo>
                  <a:lnTo>
                    <a:pt x="2947" y="1002"/>
                  </a:lnTo>
                  <a:lnTo>
                    <a:pt x="2945" y="1006"/>
                  </a:lnTo>
                  <a:lnTo>
                    <a:pt x="2940" y="1008"/>
                  </a:lnTo>
                  <a:lnTo>
                    <a:pt x="2940" y="1010"/>
                  </a:lnTo>
                  <a:lnTo>
                    <a:pt x="2938" y="1012"/>
                  </a:lnTo>
                  <a:lnTo>
                    <a:pt x="2938" y="1014"/>
                  </a:lnTo>
                  <a:lnTo>
                    <a:pt x="2938" y="1016"/>
                  </a:lnTo>
                  <a:lnTo>
                    <a:pt x="2938" y="1016"/>
                  </a:lnTo>
                  <a:lnTo>
                    <a:pt x="2938" y="1018"/>
                  </a:lnTo>
                  <a:lnTo>
                    <a:pt x="2943" y="1018"/>
                  </a:lnTo>
                  <a:lnTo>
                    <a:pt x="2945" y="1016"/>
                  </a:lnTo>
                  <a:lnTo>
                    <a:pt x="2949" y="1016"/>
                  </a:lnTo>
                  <a:lnTo>
                    <a:pt x="2951" y="1016"/>
                  </a:lnTo>
                  <a:lnTo>
                    <a:pt x="2951" y="1018"/>
                  </a:lnTo>
                  <a:lnTo>
                    <a:pt x="2949" y="1018"/>
                  </a:lnTo>
                  <a:lnTo>
                    <a:pt x="2947" y="1020"/>
                  </a:lnTo>
                  <a:lnTo>
                    <a:pt x="2947" y="1020"/>
                  </a:lnTo>
                  <a:lnTo>
                    <a:pt x="2947" y="1022"/>
                  </a:lnTo>
                  <a:lnTo>
                    <a:pt x="2949" y="1024"/>
                  </a:lnTo>
                  <a:lnTo>
                    <a:pt x="2949" y="1024"/>
                  </a:lnTo>
                  <a:lnTo>
                    <a:pt x="2949" y="1026"/>
                  </a:lnTo>
                  <a:lnTo>
                    <a:pt x="2949" y="1026"/>
                  </a:lnTo>
                  <a:lnTo>
                    <a:pt x="2949" y="1026"/>
                  </a:lnTo>
                  <a:lnTo>
                    <a:pt x="2951" y="1026"/>
                  </a:lnTo>
                  <a:lnTo>
                    <a:pt x="2951" y="1026"/>
                  </a:lnTo>
                  <a:lnTo>
                    <a:pt x="2951" y="1028"/>
                  </a:lnTo>
                  <a:lnTo>
                    <a:pt x="2951" y="1028"/>
                  </a:lnTo>
                  <a:lnTo>
                    <a:pt x="2949" y="1031"/>
                  </a:lnTo>
                  <a:lnTo>
                    <a:pt x="2949" y="1031"/>
                  </a:lnTo>
                  <a:lnTo>
                    <a:pt x="2949" y="1031"/>
                  </a:lnTo>
                  <a:lnTo>
                    <a:pt x="2949" y="1033"/>
                  </a:lnTo>
                  <a:lnTo>
                    <a:pt x="2949" y="1033"/>
                  </a:lnTo>
                  <a:lnTo>
                    <a:pt x="2951" y="1035"/>
                  </a:lnTo>
                  <a:lnTo>
                    <a:pt x="2951" y="1035"/>
                  </a:lnTo>
                  <a:lnTo>
                    <a:pt x="2953" y="1035"/>
                  </a:lnTo>
                  <a:lnTo>
                    <a:pt x="2953" y="1035"/>
                  </a:lnTo>
                  <a:lnTo>
                    <a:pt x="2949" y="1037"/>
                  </a:lnTo>
                  <a:lnTo>
                    <a:pt x="2949" y="1037"/>
                  </a:lnTo>
                  <a:lnTo>
                    <a:pt x="2947" y="1035"/>
                  </a:lnTo>
                  <a:lnTo>
                    <a:pt x="2947" y="1035"/>
                  </a:lnTo>
                  <a:lnTo>
                    <a:pt x="2947" y="1037"/>
                  </a:lnTo>
                  <a:lnTo>
                    <a:pt x="2947" y="1037"/>
                  </a:lnTo>
                  <a:lnTo>
                    <a:pt x="2945" y="1035"/>
                  </a:lnTo>
                  <a:lnTo>
                    <a:pt x="2947" y="1035"/>
                  </a:lnTo>
                  <a:lnTo>
                    <a:pt x="2945" y="1033"/>
                  </a:lnTo>
                  <a:lnTo>
                    <a:pt x="2945" y="1033"/>
                  </a:lnTo>
                  <a:lnTo>
                    <a:pt x="2943" y="1033"/>
                  </a:lnTo>
                  <a:lnTo>
                    <a:pt x="2943" y="1033"/>
                  </a:lnTo>
                  <a:lnTo>
                    <a:pt x="2943" y="1033"/>
                  </a:lnTo>
                  <a:lnTo>
                    <a:pt x="2943" y="1035"/>
                  </a:lnTo>
                  <a:lnTo>
                    <a:pt x="2943" y="1037"/>
                  </a:lnTo>
                  <a:lnTo>
                    <a:pt x="2943" y="1037"/>
                  </a:lnTo>
                  <a:lnTo>
                    <a:pt x="2940" y="1037"/>
                  </a:lnTo>
                  <a:lnTo>
                    <a:pt x="2943" y="1039"/>
                  </a:lnTo>
                  <a:lnTo>
                    <a:pt x="2943" y="1039"/>
                  </a:lnTo>
                  <a:lnTo>
                    <a:pt x="2945" y="1039"/>
                  </a:lnTo>
                  <a:lnTo>
                    <a:pt x="2945" y="1039"/>
                  </a:lnTo>
                  <a:lnTo>
                    <a:pt x="2947" y="1039"/>
                  </a:lnTo>
                  <a:lnTo>
                    <a:pt x="2947" y="1039"/>
                  </a:lnTo>
                  <a:lnTo>
                    <a:pt x="2949" y="1041"/>
                  </a:lnTo>
                  <a:lnTo>
                    <a:pt x="2949" y="1041"/>
                  </a:lnTo>
                  <a:lnTo>
                    <a:pt x="2951" y="1041"/>
                  </a:lnTo>
                  <a:lnTo>
                    <a:pt x="2953" y="1043"/>
                  </a:lnTo>
                  <a:lnTo>
                    <a:pt x="2955" y="1043"/>
                  </a:lnTo>
                  <a:lnTo>
                    <a:pt x="2955" y="1045"/>
                  </a:lnTo>
                  <a:lnTo>
                    <a:pt x="2955" y="1047"/>
                  </a:lnTo>
                  <a:lnTo>
                    <a:pt x="2953" y="1047"/>
                  </a:lnTo>
                  <a:lnTo>
                    <a:pt x="2953" y="1047"/>
                  </a:lnTo>
                  <a:lnTo>
                    <a:pt x="2953" y="1049"/>
                  </a:lnTo>
                  <a:lnTo>
                    <a:pt x="2955" y="1051"/>
                  </a:lnTo>
                  <a:lnTo>
                    <a:pt x="2955" y="1051"/>
                  </a:lnTo>
                  <a:lnTo>
                    <a:pt x="2955" y="1053"/>
                  </a:lnTo>
                  <a:lnTo>
                    <a:pt x="2957" y="1053"/>
                  </a:lnTo>
                  <a:lnTo>
                    <a:pt x="2957" y="1053"/>
                  </a:lnTo>
                  <a:lnTo>
                    <a:pt x="2959" y="1055"/>
                  </a:lnTo>
                  <a:lnTo>
                    <a:pt x="2959" y="1055"/>
                  </a:lnTo>
                  <a:lnTo>
                    <a:pt x="2957" y="1057"/>
                  </a:lnTo>
                  <a:lnTo>
                    <a:pt x="2955" y="1057"/>
                  </a:lnTo>
                  <a:lnTo>
                    <a:pt x="2955" y="1057"/>
                  </a:lnTo>
                  <a:lnTo>
                    <a:pt x="2955" y="1059"/>
                  </a:lnTo>
                  <a:lnTo>
                    <a:pt x="2955" y="1059"/>
                  </a:lnTo>
                  <a:lnTo>
                    <a:pt x="2957" y="1057"/>
                  </a:lnTo>
                  <a:lnTo>
                    <a:pt x="2961" y="1057"/>
                  </a:lnTo>
                  <a:lnTo>
                    <a:pt x="2967" y="1057"/>
                  </a:lnTo>
                  <a:lnTo>
                    <a:pt x="2969" y="1057"/>
                  </a:lnTo>
                  <a:lnTo>
                    <a:pt x="2969" y="1059"/>
                  </a:lnTo>
                  <a:lnTo>
                    <a:pt x="2967" y="1059"/>
                  </a:lnTo>
                  <a:lnTo>
                    <a:pt x="2965" y="1061"/>
                  </a:lnTo>
                  <a:lnTo>
                    <a:pt x="2965" y="1061"/>
                  </a:lnTo>
                  <a:lnTo>
                    <a:pt x="2961" y="1061"/>
                  </a:lnTo>
                  <a:lnTo>
                    <a:pt x="2959" y="1061"/>
                  </a:lnTo>
                  <a:lnTo>
                    <a:pt x="2957" y="1064"/>
                  </a:lnTo>
                  <a:lnTo>
                    <a:pt x="2957" y="1064"/>
                  </a:lnTo>
                  <a:lnTo>
                    <a:pt x="2959" y="1064"/>
                  </a:lnTo>
                  <a:lnTo>
                    <a:pt x="2961" y="1064"/>
                  </a:lnTo>
                  <a:lnTo>
                    <a:pt x="2963" y="1064"/>
                  </a:lnTo>
                  <a:lnTo>
                    <a:pt x="2967" y="1064"/>
                  </a:lnTo>
                  <a:lnTo>
                    <a:pt x="2965" y="1064"/>
                  </a:lnTo>
                  <a:lnTo>
                    <a:pt x="2965" y="1064"/>
                  </a:lnTo>
                  <a:lnTo>
                    <a:pt x="2967" y="1064"/>
                  </a:lnTo>
                  <a:lnTo>
                    <a:pt x="2967" y="1064"/>
                  </a:lnTo>
                  <a:lnTo>
                    <a:pt x="2969" y="1061"/>
                  </a:lnTo>
                  <a:lnTo>
                    <a:pt x="2971" y="1061"/>
                  </a:lnTo>
                  <a:lnTo>
                    <a:pt x="2976" y="1064"/>
                  </a:lnTo>
                  <a:lnTo>
                    <a:pt x="2978" y="1064"/>
                  </a:lnTo>
                  <a:lnTo>
                    <a:pt x="2978" y="1064"/>
                  </a:lnTo>
                  <a:lnTo>
                    <a:pt x="2980" y="1064"/>
                  </a:lnTo>
                  <a:lnTo>
                    <a:pt x="2980" y="1064"/>
                  </a:lnTo>
                  <a:lnTo>
                    <a:pt x="2980" y="1064"/>
                  </a:lnTo>
                  <a:lnTo>
                    <a:pt x="2982" y="1066"/>
                  </a:lnTo>
                  <a:lnTo>
                    <a:pt x="2982" y="1066"/>
                  </a:lnTo>
                  <a:lnTo>
                    <a:pt x="2982" y="1068"/>
                  </a:lnTo>
                  <a:lnTo>
                    <a:pt x="2984" y="1070"/>
                  </a:lnTo>
                  <a:lnTo>
                    <a:pt x="2984" y="1070"/>
                  </a:lnTo>
                  <a:lnTo>
                    <a:pt x="2990" y="1072"/>
                  </a:lnTo>
                  <a:lnTo>
                    <a:pt x="2992" y="1072"/>
                  </a:lnTo>
                  <a:lnTo>
                    <a:pt x="2996" y="1070"/>
                  </a:lnTo>
                  <a:lnTo>
                    <a:pt x="2998" y="1070"/>
                  </a:lnTo>
                  <a:lnTo>
                    <a:pt x="2998" y="1070"/>
                  </a:lnTo>
                  <a:lnTo>
                    <a:pt x="3000" y="1070"/>
                  </a:lnTo>
                  <a:lnTo>
                    <a:pt x="3000" y="1070"/>
                  </a:lnTo>
                  <a:lnTo>
                    <a:pt x="3000" y="1070"/>
                  </a:lnTo>
                  <a:lnTo>
                    <a:pt x="3000" y="1068"/>
                  </a:lnTo>
                  <a:lnTo>
                    <a:pt x="3002" y="1066"/>
                  </a:lnTo>
                  <a:lnTo>
                    <a:pt x="3002" y="1061"/>
                  </a:lnTo>
                  <a:lnTo>
                    <a:pt x="3002" y="1061"/>
                  </a:lnTo>
                  <a:lnTo>
                    <a:pt x="3009" y="1061"/>
                  </a:lnTo>
                  <a:lnTo>
                    <a:pt x="3013" y="1061"/>
                  </a:lnTo>
                  <a:lnTo>
                    <a:pt x="3013" y="1061"/>
                  </a:lnTo>
                  <a:lnTo>
                    <a:pt x="3019" y="1066"/>
                  </a:lnTo>
                  <a:lnTo>
                    <a:pt x="3023" y="1066"/>
                  </a:lnTo>
                  <a:lnTo>
                    <a:pt x="3025" y="1068"/>
                  </a:lnTo>
                  <a:lnTo>
                    <a:pt x="3027" y="1070"/>
                  </a:lnTo>
                  <a:lnTo>
                    <a:pt x="3027" y="1072"/>
                  </a:lnTo>
                  <a:lnTo>
                    <a:pt x="3029" y="1074"/>
                  </a:lnTo>
                  <a:lnTo>
                    <a:pt x="3033" y="1074"/>
                  </a:lnTo>
                  <a:lnTo>
                    <a:pt x="3035" y="1074"/>
                  </a:lnTo>
                  <a:lnTo>
                    <a:pt x="3037" y="1074"/>
                  </a:lnTo>
                  <a:lnTo>
                    <a:pt x="3044" y="1072"/>
                  </a:lnTo>
                  <a:lnTo>
                    <a:pt x="3044" y="1072"/>
                  </a:lnTo>
                  <a:lnTo>
                    <a:pt x="3048" y="1072"/>
                  </a:lnTo>
                  <a:lnTo>
                    <a:pt x="3050" y="1070"/>
                  </a:lnTo>
                  <a:lnTo>
                    <a:pt x="3052" y="1070"/>
                  </a:lnTo>
                  <a:lnTo>
                    <a:pt x="3056" y="1066"/>
                  </a:lnTo>
                  <a:lnTo>
                    <a:pt x="3060" y="1061"/>
                  </a:lnTo>
                  <a:lnTo>
                    <a:pt x="3060" y="1061"/>
                  </a:lnTo>
                  <a:lnTo>
                    <a:pt x="3062" y="1061"/>
                  </a:lnTo>
                  <a:lnTo>
                    <a:pt x="3064" y="1064"/>
                  </a:lnTo>
                  <a:lnTo>
                    <a:pt x="3068" y="1064"/>
                  </a:lnTo>
                  <a:lnTo>
                    <a:pt x="3070" y="1066"/>
                  </a:lnTo>
                  <a:lnTo>
                    <a:pt x="3072" y="1066"/>
                  </a:lnTo>
                  <a:lnTo>
                    <a:pt x="3075" y="1064"/>
                  </a:lnTo>
                  <a:lnTo>
                    <a:pt x="3075" y="1064"/>
                  </a:lnTo>
                  <a:lnTo>
                    <a:pt x="3077" y="1061"/>
                  </a:lnTo>
                  <a:lnTo>
                    <a:pt x="3077" y="1061"/>
                  </a:lnTo>
                  <a:lnTo>
                    <a:pt x="3079" y="1061"/>
                  </a:lnTo>
                  <a:lnTo>
                    <a:pt x="3081" y="1059"/>
                  </a:lnTo>
                  <a:lnTo>
                    <a:pt x="3081" y="1061"/>
                  </a:lnTo>
                  <a:lnTo>
                    <a:pt x="3083" y="1061"/>
                  </a:lnTo>
                  <a:lnTo>
                    <a:pt x="3083" y="1064"/>
                  </a:lnTo>
                  <a:lnTo>
                    <a:pt x="3083" y="1064"/>
                  </a:lnTo>
                  <a:lnTo>
                    <a:pt x="3081" y="1066"/>
                  </a:lnTo>
                  <a:lnTo>
                    <a:pt x="3079" y="1068"/>
                  </a:lnTo>
                  <a:lnTo>
                    <a:pt x="3077" y="1070"/>
                  </a:lnTo>
                  <a:lnTo>
                    <a:pt x="3079" y="1072"/>
                  </a:lnTo>
                  <a:lnTo>
                    <a:pt x="3079" y="1074"/>
                  </a:lnTo>
                  <a:lnTo>
                    <a:pt x="3079" y="1076"/>
                  </a:lnTo>
                  <a:lnTo>
                    <a:pt x="3077" y="1078"/>
                  </a:lnTo>
                  <a:lnTo>
                    <a:pt x="3077" y="1082"/>
                  </a:lnTo>
                  <a:lnTo>
                    <a:pt x="3079" y="1084"/>
                  </a:lnTo>
                  <a:lnTo>
                    <a:pt x="3079" y="1084"/>
                  </a:lnTo>
                  <a:lnTo>
                    <a:pt x="3079" y="1086"/>
                  </a:lnTo>
                  <a:lnTo>
                    <a:pt x="3079" y="1086"/>
                  </a:lnTo>
                  <a:lnTo>
                    <a:pt x="3079" y="1090"/>
                  </a:lnTo>
                  <a:lnTo>
                    <a:pt x="3079" y="1092"/>
                  </a:lnTo>
                  <a:lnTo>
                    <a:pt x="3079" y="1092"/>
                  </a:lnTo>
                  <a:lnTo>
                    <a:pt x="3079" y="1097"/>
                  </a:lnTo>
                  <a:lnTo>
                    <a:pt x="3079" y="1099"/>
                  </a:lnTo>
                  <a:lnTo>
                    <a:pt x="3079" y="1099"/>
                  </a:lnTo>
                  <a:lnTo>
                    <a:pt x="3077" y="1101"/>
                  </a:lnTo>
                  <a:lnTo>
                    <a:pt x="3075" y="1103"/>
                  </a:lnTo>
                  <a:lnTo>
                    <a:pt x="3075" y="1107"/>
                  </a:lnTo>
                  <a:lnTo>
                    <a:pt x="3072" y="1109"/>
                  </a:lnTo>
                  <a:lnTo>
                    <a:pt x="3070" y="1115"/>
                  </a:lnTo>
                  <a:lnTo>
                    <a:pt x="3068" y="1117"/>
                  </a:lnTo>
                  <a:lnTo>
                    <a:pt x="3068" y="1119"/>
                  </a:lnTo>
                  <a:lnTo>
                    <a:pt x="3068" y="1119"/>
                  </a:lnTo>
                  <a:lnTo>
                    <a:pt x="3066" y="1121"/>
                  </a:lnTo>
                  <a:lnTo>
                    <a:pt x="3066" y="1123"/>
                  </a:lnTo>
                  <a:lnTo>
                    <a:pt x="3066" y="1125"/>
                  </a:lnTo>
                  <a:lnTo>
                    <a:pt x="3064" y="1130"/>
                  </a:lnTo>
                  <a:lnTo>
                    <a:pt x="3062" y="1136"/>
                  </a:lnTo>
                  <a:lnTo>
                    <a:pt x="3060" y="1140"/>
                  </a:lnTo>
                  <a:lnTo>
                    <a:pt x="3058" y="1144"/>
                  </a:lnTo>
                  <a:lnTo>
                    <a:pt x="3058" y="1144"/>
                  </a:lnTo>
                  <a:lnTo>
                    <a:pt x="3056" y="1146"/>
                  </a:lnTo>
                  <a:lnTo>
                    <a:pt x="3054" y="1148"/>
                  </a:lnTo>
                  <a:lnTo>
                    <a:pt x="3054" y="1148"/>
                  </a:lnTo>
                  <a:lnTo>
                    <a:pt x="3050" y="1150"/>
                  </a:lnTo>
                  <a:lnTo>
                    <a:pt x="3046" y="1152"/>
                  </a:lnTo>
                  <a:lnTo>
                    <a:pt x="3042" y="1152"/>
                  </a:lnTo>
                  <a:lnTo>
                    <a:pt x="3039" y="1152"/>
                  </a:lnTo>
                  <a:lnTo>
                    <a:pt x="3039" y="1152"/>
                  </a:lnTo>
                  <a:lnTo>
                    <a:pt x="3039" y="1150"/>
                  </a:lnTo>
                  <a:lnTo>
                    <a:pt x="3035" y="1152"/>
                  </a:lnTo>
                  <a:lnTo>
                    <a:pt x="3035" y="1152"/>
                  </a:lnTo>
                  <a:lnTo>
                    <a:pt x="3033" y="1152"/>
                  </a:lnTo>
                  <a:lnTo>
                    <a:pt x="3031" y="1152"/>
                  </a:lnTo>
                  <a:lnTo>
                    <a:pt x="3029" y="1152"/>
                  </a:lnTo>
                  <a:lnTo>
                    <a:pt x="3027" y="1150"/>
                  </a:lnTo>
                  <a:lnTo>
                    <a:pt x="3027" y="1150"/>
                  </a:lnTo>
                  <a:lnTo>
                    <a:pt x="3025" y="1150"/>
                  </a:lnTo>
                  <a:lnTo>
                    <a:pt x="3025" y="1150"/>
                  </a:lnTo>
                  <a:lnTo>
                    <a:pt x="3027" y="1150"/>
                  </a:lnTo>
                  <a:lnTo>
                    <a:pt x="3025" y="1152"/>
                  </a:lnTo>
                  <a:lnTo>
                    <a:pt x="3023" y="1152"/>
                  </a:lnTo>
                  <a:lnTo>
                    <a:pt x="3023" y="1152"/>
                  </a:lnTo>
                  <a:lnTo>
                    <a:pt x="3023" y="1150"/>
                  </a:lnTo>
                  <a:lnTo>
                    <a:pt x="3021" y="1150"/>
                  </a:lnTo>
                  <a:lnTo>
                    <a:pt x="3019" y="1150"/>
                  </a:lnTo>
                  <a:lnTo>
                    <a:pt x="3021" y="1148"/>
                  </a:lnTo>
                  <a:lnTo>
                    <a:pt x="3021" y="1146"/>
                  </a:lnTo>
                  <a:lnTo>
                    <a:pt x="3023" y="1148"/>
                  </a:lnTo>
                  <a:lnTo>
                    <a:pt x="3025" y="1148"/>
                  </a:lnTo>
                  <a:lnTo>
                    <a:pt x="3023" y="1146"/>
                  </a:lnTo>
                  <a:lnTo>
                    <a:pt x="3021" y="1146"/>
                  </a:lnTo>
                  <a:lnTo>
                    <a:pt x="3021" y="1146"/>
                  </a:lnTo>
                  <a:lnTo>
                    <a:pt x="3017" y="1146"/>
                  </a:lnTo>
                  <a:lnTo>
                    <a:pt x="3017" y="1146"/>
                  </a:lnTo>
                  <a:lnTo>
                    <a:pt x="3011" y="1144"/>
                  </a:lnTo>
                  <a:lnTo>
                    <a:pt x="3009" y="1144"/>
                  </a:lnTo>
                  <a:lnTo>
                    <a:pt x="3009" y="1144"/>
                  </a:lnTo>
                  <a:lnTo>
                    <a:pt x="3009" y="1146"/>
                  </a:lnTo>
                  <a:lnTo>
                    <a:pt x="3009" y="1146"/>
                  </a:lnTo>
                  <a:lnTo>
                    <a:pt x="3006" y="1146"/>
                  </a:lnTo>
                  <a:lnTo>
                    <a:pt x="3004" y="1148"/>
                  </a:lnTo>
                  <a:lnTo>
                    <a:pt x="3002" y="1148"/>
                  </a:lnTo>
                  <a:lnTo>
                    <a:pt x="3006" y="1146"/>
                  </a:lnTo>
                  <a:lnTo>
                    <a:pt x="3006" y="1144"/>
                  </a:lnTo>
                  <a:lnTo>
                    <a:pt x="3002" y="1146"/>
                  </a:lnTo>
                  <a:lnTo>
                    <a:pt x="3000" y="1146"/>
                  </a:lnTo>
                  <a:lnTo>
                    <a:pt x="2998" y="1148"/>
                  </a:lnTo>
                  <a:lnTo>
                    <a:pt x="2998" y="1148"/>
                  </a:lnTo>
                  <a:lnTo>
                    <a:pt x="2998" y="1148"/>
                  </a:lnTo>
                  <a:lnTo>
                    <a:pt x="2998" y="1150"/>
                  </a:lnTo>
                  <a:lnTo>
                    <a:pt x="2996" y="1150"/>
                  </a:lnTo>
                  <a:lnTo>
                    <a:pt x="2994" y="1150"/>
                  </a:lnTo>
                  <a:lnTo>
                    <a:pt x="2992" y="1150"/>
                  </a:lnTo>
                  <a:lnTo>
                    <a:pt x="2988" y="1154"/>
                  </a:lnTo>
                  <a:lnTo>
                    <a:pt x="2986" y="1154"/>
                  </a:lnTo>
                  <a:lnTo>
                    <a:pt x="2984" y="1156"/>
                  </a:lnTo>
                  <a:lnTo>
                    <a:pt x="2982" y="1156"/>
                  </a:lnTo>
                  <a:lnTo>
                    <a:pt x="2982" y="1156"/>
                  </a:lnTo>
                  <a:lnTo>
                    <a:pt x="2980" y="1156"/>
                  </a:lnTo>
                  <a:lnTo>
                    <a:pt x="2978" y="1154"/>
                  </a:lnTo>
                  <a:lnTo>
                    <a:pt x="2973" y="1152"/>
                  </a:lnTo>
                  <a:lnTo>
                    <a:pt x="2965" y="1152"/>
                  </a:lnTo>
                  <a:lnTo>
                    <a:pt x="2963" y="1150"/>
                  </a:lnTo>
                  <a:lnTo>
                    <a:pt x="2961" y="1150"/>
                  </a:lnTo>
                  <a:lnTo>
                    <a:pt x="2959" y="1150"/>
                  </a:lnTo>
                  <a:lnTo>
                    <a:pt x="2955" y="1148"/>
                  </a:lnTo>
                  <a:lnTo>
                    <a:pt x="2949" y="1146"/>
                  </a:lnTo>
                  <a:lnTo>
                    <a:pt x="2943" y="1146"/>
                  </a:lnTo>
                  <a:lnTo>
                    <a:pt x="2936" y="1144"/>
                  </a:lnTo>
                  <a:lnTo>
                    <a:pt x="2928" y="1146"/>
                  </a:lnTo>
                  <a:lnTo>
                    <a:pt x="2926" y="1146"/>
                  </a:lnTo>
                  <a:lnTo>
                    <a:pt x="2924" y="1144"/>
                  </a:lnTo>
                  <a:lnTo>
                    <a:pt x="2924" y="1142"/>
                  </a:lnTo>
                  <a:lnTo>
                    <a:pt x="2924" y="1140"/>
                  </a:lnTo>
                  <a:lnTo>
                    <a:pt x="2922" y="1140"/>
                  </a:lnTo>
                  <a:lnTo>
                    <a:pt x="2922" y="1138"/>
                  </a:lnTo>
                  <a:lnTo>
                    <a:pt x="2918" y="1138"/>
                  </a:lnTo>
                  <a:lnTo>
                    <a:pt x="2916" y="1138"/>
                  </a:lnTo>
                  <a:lnTo>
                    <a:pt x="2910" y="1138"/>
                  </a:lnTo>
                  <a:lnTo>
                    <a:pt x="2910" y="1138"/>
                  </a:lnTo>
                  <a:lnTo>
                    <a:pt x="2908" y="1136"/>
                  </a:lnTo>
                  <a:lnTo>
                    <a:pt x="2905" y="1136"/>
                  </a:lnTo>
                  <a:lnTo>
                    <a:pt x="2899" y="1136"/>
                  </a:lnTo>
                  <a:lnTo>
                    <a:pt x="2895" y="1134"/>
                  </a:lnTo>
                  <a:lnTo>
                    <a:pt x="2895" y="1132"/>
                  </a:lnTo>
                  <a:lnTo>
                    <a:pt x="2895" y="1132"/>
                  </a:lnTo>
                  <a:lnTo>
                    <a:pt x="2895" y="1128"/>
                  </a:lnTo>
                  <a:lnTo>
                    <a:pt x="2893" y="1128"/>
                  </a:lnTo>
                  <a:lnTo>
                    <a:pt x="2891" y="1128"/>
                  </a:lnTo>
                  <a:lnTo>
                    <a:pt x="2887" y="1125"/>
                  </a:lnTo>
                  <a:lnTo>
                    <a:pt x="2885" y="1123"/>
                  </a:lnTo>
                  <a:lnTo>
                    <a:pt x="2883" y="1123"/>
                  </a:lnTo>
                  <a:lnTo>
                    <a:pt x="2879" y="1123"/>
                  </a:lnTo>
                  <a:lnTo>
                    <a:pt x="2877" y="1123"/>
                  </a:lnTo>
                  <a:lnTo>
                    <a:pt x="2875" y="1123"/>
                  </a:lnTo>
                  <a:lnTo>
                    <a:pt x="2872" y="1125"/>
                  </a:lnTo>
                  <a:lnTo>
                    <a:pt x="2870" y="1125"/>
                  </a:lnTo>
                  <a:lnTo>
                    <a:pt x="2866" y="1125"/>
                  </a:lnTo>
                  <a:lnTo>
                    <a:pt x="2860" y="1130"/>
                  </a:lnTo>
                  <a:lnTo>
                    <a:pt x="2856" y="1132"/>
                  </a:lnTo>
                  <a:lnTo>
                    <a:pt x="2854" y="1136"/>
                  </a:lnTo>
                  <a:lnTo>
                    <a:pt x="2852" y="1136"/>
                  </a:lnTo>
                  <a:lnTo>
                    <a:pt x="2852" y="1138"/>
                  </a:lnTo>
                  <a:lnTo>
                    <a:pt x="2850" y="1142"/>
                  </a:lnTo>
                  <a:lnTo>
                    <a:pt x="2852" y="1146"/>
                  </a:lnTo>
                  <a:lnTo>
                    <a:pt x="2852" y="1148"/>
                  </a:lnTo>
                  <a:lnTo>
                    <a:pt x="2854" y="1148"/>
                  </a:lnTo>
                  <a:lnTo>
                    <a:pt x="2854" y="1150"/>
                  </a:lnTo>
                  <a:lnTo>
                    <a:pt x="2854" y="1152"/>
                  </a:lnTo>
                  <a:lnTo>
                    <a:pt x="2854" y="1154"/>
                  </a:lnTo>
                  <a:lnTo>
                    <a:pt x="2852" y="1156"/>
                  </a:lnTo>
                  <a:lnTo>
                    <a:pt x="2848" y="1163"/>
                  </a:lnTo>
                  <a:lnTo>
                    <a:pt x="2846" y="1163"/>
                  </a:lnTo>
                  <a:lnTo>
                    <a:pt x="2842" y="1165"/>
                  </a:lnTo>
                  <a:lnTo>
                    <a:pt x="2839" y="1165"/>
                  </a:lnTo>
                  <a:lnTo>
                    <a:pt x="2835" y="1165"/>
                  </a:lnTo>
                  <a:lnTo>
                    <a:pt x="2833" y="1163"/>
                  </a:lnTo>
                  <a:lnTo>
                    <a:pt x="2825" y="1156"/>
                  </a:lnTo>
                  <a:lnTo>
                    <a:pt x="2823" y="1156"/>
                  </a:lnTo>
                  <a:lnTo>
                    <a:pt x="2821" y="1154"/>
                  </a:lnTo>
                  <a:lnTo>
                    <a:pt x="2815" y="1152"/>
                  </a:lnTo>
                  <a:lnTo>
                    <a:pt x="2806" y="1150"/>
                  </a:lnTo>
                  <a:lnTo>
                    <a:pt x="2800" y="1150"/>
                  </a:lnTo>
                  <a:lnTo>
                    <a:pt x="2796" y="1150"/>
                  </a:lnTo>
                  <a:lnTo>
                    <a:pt x="2792" y="1148"/>
                  </a:lnTo>
                  <a:lnTo>
                    <a:pt x="2790" y="1148"/>
                  </a:lnTo>
                  <a:lnTo>
                    <a:pt x="2788" y="1146"/>
                  </a:lnTo>
                  <a:lnTo>
                    <a:pt x="2788" y="1144"/>
                  </a:lnTo>
                  <a:lnTo>
                    <a:pt x="2786" y="1140"/>
                  </a:lnTo>
                  <a:lnTo>
                    <a:pt x="2786" y="1138"/>
                  </a:lnTo>
                  <a:lnTo>
                    <a:pt x="2786" y="1136"/>
                  </a:lnTo>
                  <a:lnTo>
                    <a:pt x="2784" y="1134"/>
                  </a:lnTo>
                  <a:lnTo>
                    <a:pt x="2782" y="1132"/>
                  </a:lnTo>
                  <a:lnTo>
                    <a:pt x="2773" y="1130"/>
                  </a:lnTo>
                  <a:lnTo>
                    <a:pt x="2771" y="1130"/>
                  </a:lnTo>
                  <a:lnTo>
                    <a:pt x="2769" y="1128"/>
                  </a:lnTo>
                  <a:lnTo>
                    <a:pt x="2767" y="1128"/>
                  </a:lnTo>
                  <a:lnTo>
                    <a:pt x="2763" y="1125"/>
                  </a:lnTo>
                  <a:lnTo>
                    <a:pt x="2761" y="1125"/>
                  </a:lnTo>
                  <a:lnTo>
                    <a:pt x="2759" y="1125"/>
                  </a:lnTo>
                  <a:lnTo>
                    <a:pt x="2755" y="1123"/>
                  </a:lnTo>
                  <a:lnTo>
                    <a:pt x="2753" y="1123"/>
                  </a:lnTo>
                  <a:lnTo>
                    <a:pt x="2749" y="1125"/>
                  </a:lnTo>
                  <a:lnTo>
                    <a:pt x="2743" y="1125"/>
                  </a:lnTo>
                  <a:lnTo>
                    <a:pt x="2740" y="1125"/>
                  </a:lnTo>
                  <a:lnTo>
                    <a:pt x="2734" y="1121"/>
                  </a:lnTo>
                  <a:lnTo>
                    <a:pt x="2732" y="1121"/>
                  </a:lnTo>
                  <a:lnTo>
                    <a:pt x="2730" y="1119"/>
                  </a:lnTo>
                  <a:lnTo>
                    <a:pt x="2728" y="1119"/>
                  </a:lnTo>
                  <a:lnTo>
                    <a:pt x="2728" y="1119"/>
                  </a:lnTo>
                  <a:lnTo>
                    <a:pt x="2726" y="1119"/>
                  </a:lnTo>
                  <a:lnTo>
                    <a:pt x="2726" y="1119"/>
                  </a:lnTo>
                  <a:lnTo>
                    <a:pt x="2726" y="1117"/>
                  </a:lnTo>
                  <a:lnTo>
                    <a:pt x="2726" y="1117"/>
                  </a:lnTo>
                  <a:lnTo>
                    <a:pt x="2726" y="1117"/>
                  </a:lnTo>
                  <a:lnTo>
                    <a:pt x="2726" y="1117"/>
                  </a:lnTo>
                  <a:lnTo>
                    <a:pt x="2724" y="1113"/>
                  </a:lnTo>
                  <a:lnTo>
                    <a:pt x="2722" y="1113"/>
                  </a:lnTo>
                  <a:lnTo>
                    <a:pt x="2722" y="1113"/>
                  </a:lnTo>
                  <a:lnTo>
                    <a:pt x="2720" y="1115"/>
                  </a:lnTo>
                  <a:lnTo>
                    <a:pt x="2720" y="1115"/>
                  </a:lnTo>
                  <a:lnTo>
                    <a:pt x="2720" y="1113"/>
                  </a:lnTo>
                  <a:lnTo>
                    <a:pt x="2720" y="1111"/>
                  </a:lnTo>
                  <a:lnTo>
                    <a:pt x="2716" y="1111"/>
                  </a:lnTo>
                  <a:lnTo>
                    <a:pt x="2714" y="1111"/>
                  </a:lnTo>
                  <a:lnTo>
                    <a:pt x="2712" y="1109"/>
                  </a:lnTo>
                  <a:lnTo>
                    <a:pt x="2710" y="1105"/>
                  </a:lnTo>
                  <a:lnTo>
                    <a:pt x="2710" y="1105"/>
                  </a:lnTo>
                  <a:lnTo>
                    <a:pt x="2710" y="1103"/>
                  </a:lnTo>
                  <a:lnTo>
                    <a:pt x="2712" y="1103"/>
                  </a:lnTo>
                  <a:lnTo>
                    <a:pt x="2712" y="1101"/>
                  </a:lnTo>
                  <a:lnTo>
                    <a:pt x="2716" y="1099"/>
                  </a:lnTo>
                  <a:lnTo>
                    <a:pt x="2718" y="1097"/>
                  </a:lnTo>
                  <a:lnTo>
                    <a:pt x="2722" y="1092"/>
                  </a:lnTo>
                  <a:lnTo>
                    <a:pt x="2722" y="1090"/>
                  </a:lnTo>
                  <a:lnTo>
                    <a:pt x="2724" y="1086"/>
                  </a:lnTo>
                  <a:lnTo>
                    <a:pt x="2724" y="1086"/>
                  </a:lnTo>
                  <a:lnTo>
                    <a:pt x="2724" y="1084"/>
                  </a:lnTo>
                  <a:lnTo>
                    <a:pt x="2724" y="1082"/>
                  </a:lnTo>
                  <a:lnTo>
                    <a:pt x="2724" y="1080"/>
                  </a:lnTo>
                  <a:lnTo>
                    <a:pt x="2720" y="1078"/>
                  </a:lnTo>
                  <a:lnTo>
                    <a:pt x="2718" y="1078"/>
                  </a:lnTo>
                  <a:lnTo>
                    <a:pt x="2718" y="1076"/>
                  </a:lnTo>
                  <a:lnTo>
                    <a:pt x="2716" y="1074"/>
                  </a:lnTo>
                  <a:lnTo>
                    <a:pt x="2716" y="1072"/>
                  </a:lnTo>
                  <a:lnTo>
                    <a:pt x="2716" y="1070"/>
                  </a:lnTo>
                  <a:lnTo>
                    <a:pt x="2716" y="1070"/>
                  </a:lnTo>
                  <a:lnTo>
                    <a:pt x="2718" y="1068"/>
                  </a:lnTo>
                  <a:lnTo>
                    <a:pt x="2720" y="1068"/>
                  </a:lnTo>
                  <a:lnTo>
                    <a:pt x="2722" y="1064"/>
                  </a:lnTo>
                  <a:lnTo>
                    <a:pt x="2724" y="1061"/>
                  </a:lnTo>
                  <a:lnTo>
                    <a:pt x="2724" y="1061"/>
                  </a:lnTo>
                  <a:lnTo>
                    <a:pt x="2724" y="1059"/>
                  </a:lnTo>
                  <a:lnTo>
                    <a:pt x="2724" y="1057"/>
                  </a:lnTo>
                  <a:lnTo>
                    <a:pt x="2722" y="1057"/>
                  </a:lnTo>
                  <a:lnTo>
                    <a:pt x="2720" y="1059"/>
                  </a:lnTo>
                  <a:lnTo>
                    <a:pt x="2718" y="1059"/>
                  </a:lnTo>
                  <a:lnTo>
                    <a:pt x="2716" y="1061"/>
                  </a:lnTo>
                  <a:lnTo>
                    <a:pt x="2716" y="1064"/>
                  </a:lnTo>
                  <a:lnTo>
                    <a:pt x="2714" y="1061"/>
                  </a:lnTo>
                  <a:lnTo>
                    <a:pt x="2714" y="1061"/>
                  </a:lnTo>
                  <a:lnTo>
                    <a:pt x="2712" y="1057"/>
                  </a:lnTo>
                  <a:lnTo>
                    <a:pt x="2712" y="1055"/>
                  </a:lnTo>
                  <a:lnTo>
                    <a:pt x="2710" y="1055"/>
                  </a:lnTo>
                  <a:lnTo>
                    <a:pt x="2710" y="1055"/>
                  </a:lnTo>
                  <a:lnTo>
                    <a:pt x="2707" y="1055"/>
                  </a:lnTo>
                  <a:lnTo>
                    <a:pt x="2707" y="1055"/>
                  </a:lnTo>
                  <a:lnTo>
                    <a:pt x="2707" y="1055"/>
                  </a:lnTo>
                  <a:lnTo>
                    <a:pt x="2707" y="1055"/>
                  </a:lnTo>
                  <a:lnTo>
                    <a:pt x="2705" y="1055"/>
                  </a:lnTo>
                  <a:lnTo>
                    <a:pt x="2705" y="1055"/>
                  </a:lnTo>
                  <a:lnTo>
                    <a:pt x="2707" y="1053"/>
                  </a:lnTo>
                  <a:lnTo>
                    <a:pt x="2705" y="1053"/>
                  </a:lnTo>
                  <a:lnTo>
                    <a:pt x="2705" y="1053"/>
                  </a:lnTo>
                  <a:lnTo>
                    <a:pt x="2697" y="1055"/>
                  </a:lnTo>
                  <a:lnTo>
                    <a:pt x="2695" y="1055"/>
                  </a:lnTo>
                  <a:lnTo>
                    <a:pt x="2693" y="1059"/>
                  </a:lnTo>
                  <a:lnTo>
                    <a:pt x="2689" y="1059"/>
                  </a:lnTo>
                  <a:lnTo>
                    <a:pt x="2683" y="1059"/>
                  </a:lnTo>
                  <a:lnTo>
                    <a:pt x="2679" y="1061"/>
                  </a:lnTo>
                  <a:lnTo>
                    <a:pt x="2677" y="1059"/>
                  </a:lnTo>
                  <a:lnTo>
                    <a:pt x="2674" y="1059"/>
                  </a:lnTo>
                  <a:lnTo>
                    <a:pt x="2672" y="1057"/>
                  </a:lnTo>
                  <a:lnTo>
                    <a:pt x="2668" y="1057"/>
                  </a:lnTo>
                  <a:lnTo>
                    <a:pt x="2670" y="1059"/>
                  </a:lnTo>
                  <a:lnTo>
                    <a:pt x="2668" y="1059"/>
                  </a:lnTo>
                  <a:lnTo>
                    <a:pt x="2664" y="1059"/>
                  </a:lnTo>
                  <a:lnTo>
                    <a:pt x="2660" y="1059"/>
                  </a:lnTo>
                  <a:lnTo>
                    <a:pt x="2658" y="1057"/>
                  </a:lnTo>
                  <a:lnTo>
                    <a:pt x="2656" y="1057"/>
                  </a:lnTo>
                  <a:lnTo>
                    <a:pt x="2656" y="1059"/>
                  </a:lnTo>
                  <a:lnTo>
                    <a:pt x="2652" y="1061"/>
                  </a:lnTo>
                  <a:lnTo>
                    <a:pt x="2648" y="1061"/>
                  </a:lnTo>
                  <a:lnTo>
                    <a:pt x="2644" y="1064"/>
                  </a:lnTo>
                  <a:lnTo>
                    <a:pt x="2641" y="1064"/>
                  </a:lnTo>
                  <a:lnTo>
                    <a:pt x="2639" y="1064"/>
                  </a:lnTo>
                  <a:lnTo>
                    <a:pt x="2637" y="1061"/>
                  </a:lnTo>
                  <a:lnTo>
                    <a:pt x="2635" y="1061"/>
                  </a:lnTo>
                  <a:lnTo>
                    <a:pt x="2633" y="1059"/>
                  </a:lnTo>
                  <a:lnTo>
                    <a:pt x="2621" y="1059"/>
                  </a:lnTo>
                  <a:lnTo>
                    <a:pt x="2617" y="1061"/>
                  </a:lnTo>
                  <a:lnTo>
                    <a:pt x="2609" y="1061"/>
                  </a:lnTo>
                  <a:lnTo>
                    <a:pt x="2606" y="1064"/>
                  </a:lnTo>
                  <a:lnTo>
                    <a:pt x="2602" y="1066"/>
                  </a:lnTo>
                  <a:lnTo>
                    <a:pt x="2600" y="1066"/>
                  </a:lnTo>
                  <a:lnTo>
                    <a:pt x="2594" y="1066"/>
                  </a:lnTo>
                  <a:lnTo>
                    <a:pt x="2584" y="1066"/>
                  </a:lnTo>
                  <a:lnTo>
                    <a:pt x="2580" y="1068"/>
                  </a:lnTo>
                  <a:lnTo>
                    <a:pt x="2578" y="1070"/>
                  </a:lnTo>
                  <a:lnTo>
                    <a:pt x="2573" y="1070"/>
                  </a:lnTo>
                  <a:lnTo>
                    <a:pt x="2571" y="1072"/>
                  </a:lnTo>
                  <a:lnTo>
                    <a:pt x="2569" y="1074"/>
                  </a:lnTo>
                  <a:lnTo>
                    <a:pt x="2567" y="1076"/>
                  </a:lnTo>
                  <a:lnTo>
                    <a:pt x="2565" y="1078"/>
                  </a:lnTo>
                  <a:lnTo>
                    <a:pt x="2563" y="1078"/>
                  </a:lnTo>
                  <a:lnTo>
                    <a:pt x="2561" y="1076"/>
                  </a:lnTo>
                  <a:lnTo>
                    <a:pt x="2561" y="1076"/>
                  </a:lnTo>
                  <a:lnTo>
                    <a:pt x="2553" y="1080"/>
                  </a:lnTo>
                  <a:lnTo>
                    <a:pt x="2551" y="1082"/>
                  </a:lnTo>
                  <a:lnTo>
                    <a:pt x="2549" y="1082"/>
                  </a:lnTo>
                  <a:lnTo>
                    <a:pt x="2547" y="1084"/>
                  </a:lnTo>
                  <a:lnTo>
                    <a:pt x="2545" y="1086"/>
                  </a:lnTo>
                  <a:lnTo>
                    <a:pt x="2543" y="1088"/>
                  </a:lnTo>
                  <a:lnTo>
                    <a:pt x="2538" y="1088"/>
                  </a:lnTo>
                  <a:lnTo>
                    <a:pt x="2538" y="1090"/>
                  </a:lnTo>
                  <a:lnTo>
                    <a:pt x="2534" y="1088"/>
                  </a:lnTo>
                  <a:lnTo>
                    <a:pt x="2532" y="1088"/>
                  </a:lnTo>
                  <a:lnTo>
                    <a:pt x="2528" y="1088"/>
                  </a:lnTo>
                  <a:lnTo>
                    <a:pt x="2528" y="1088"/>
                  </a:lnTo>
                  <a:lnTo>
                    <a:pt x="2526" y="1088"/>
                  </a:lnTo>
                  <a:lnTo>
                    <a:pt x="2526" y="1088"/>
                  </a:lnTo>
                  <a:lnTo>
                    <a:pt x="2524" y="1086"/>
                  </a:lnTo>
                  <a:lnTo>
                    <a:pt x="2524" y="1086"/>
                  </a:lnTo>
                  <a:lnTo>
                    <a:pt x="2524" y="1084"/>
                  </a:lnTo>
                  <a:lnTo>
                    <a:pt x="2524" y="1084"/>
                  </a:lnTo>
                  <a:lnTo>
                    <a:pt x="2522" y="1086"/>
                  </a:lnTo>
                  <a:lnTo>
                    <a:pt x="2520" y="1086"/>
                  </a:lnTo>
                  <a:lnTo>
                    <a:pt x="2518" y="1088"/>
                  </a:lnTo>
                  <a:lnTo>
                    <a:pt x="2516" y="1086"/>
                  </a:lnTo>
                  <a:lnTo>
                    <a:pt x="2514" y="1086"/>
                  </a:lnTo>
                  <a:lnTo>
                    <a:pt x="2512" y="1086"/>
                  </a:lnTo>
                  <a:lnTo>
                    <a:pt x="2510" y="1086"/>
                  </a:lnTo>
                  <a:lnTo>
                    <a:pt x="2505" y="1088"/>
                  </a:lnTo>
                  <a:lnTo>
                    <a:pt x="2501" y="1088"/>
                  </a:lnTo>
                  <a:lnTo>
                    <a:pt x="2497" y="1086"/>
                  </a:lnTo>
                  <a:lnTo>
                    <a:pt x="2493" y="1084"/>
                  </a:lnTo>
                  <a:lnTo>
                    <a:pt x="2491" y="1080"/>
                  </a:lnTo>
                  <a:lnTo>
                    <a:pt x="2491" y="1078"/>
                  </a:lnTo>
                  <a:lnTo>
                    <a:pt x="2491" y="1078"/>
                  </a:lnTo>
                  <a:lnTo>
                    <a:pt x="2491" y="1076"/>
                  </a:lnTo>
                  <a:lnTo>
                    <a:pt x="2489" y="1076"/>
                  </a:lnTo>
                  <a:lnTo>
                    <a:pt x="2487" y="1076"/>
                  </a:lnTo>
                  <a:lnTo>
                    <a:pt x="2487" y="1078"/>
                  </a:lnTo>
                  <a:lnTo>
                    <a:pt x="2485" y="1078"/>
                  </a:lnTo>
                  <a:lnTo>
                    <a:pt x="2483" y="1078"/>
                  </a:lnTo>
                  <a:lnTo>
                    <a:pt x="2481" y="1080"/>
                  </a:lnTo>
                  <a:lnTo>
                    <a:pt x="2477" y="1095"/>
                  </a:lnTo>
                  <a:lnTo>
                    <a:pt x="2470" y="1105"/>
                  </a:lnTo>
                  <a:lnTo>
                    <a:pt x="2468" y="1107"/>
                  </a:lnTo>
                  <a:lnTo>
                    <a:pt x="2464" y="1109"/>
                  </a:lnTo>
                  <a:lnTo>
                    <a:pt x="2458" y="1113"/>
                  </a:lnTo>
                  <a:lnTo>
                    <a:pt x="2448" y="1117"/>
                  </a:lnTo>
                  <a:lnTo>
                    <a:pt x="2446" y="1119"/>
                  </a:lnTo>
                  <a:lnTo>
                    <a:pt x="2444" y="1119"/>
                  </a:lnTo>
                  <a:lnTo>
                    <a:pt x="2439" y="1123"/>
                  </a:lnTo>
                  <a:lnTo>
                    <a:pt x="2435" y="1130"/>
                  </a:lnTo>
                  <a:lnTo>
                    <a:pt x="2435" y="1130"/>
                  </a:lnTo>
                  <a:lnTo>
                    <a:pt x="2433" y="1134"/>
                  </a:lnTo>
                  <a:lnTo>
                    <a:pt x="2433" y="1138"/>
                  </a:lnTo>
                  <a:lnTo>
                    <a:pt x="2429" y="1142"/>
                  </a:lnTo>
                  <a:lnTo>
                    <a:pt x="2427" y="1148"/>
                  </a:lnTo>
                  <a:lnTo>
                    <a:pt x="2427" y="1152"/>
                  </a:lnTo>
                  <a:lnTo>
                    <a:pt x="2427" y="1156"/>
                  </a:lnTo>
                  <a:lnTo>
                    <a:pt x="2425" y="1159"/>
                  </a:lnTo>
                  <a:lnTo>
                    <a:pt x="2425" y="1159"/>
                  </a:lnTo>
                  <a:lnTo>
                    <a:pt x="2427" y="1161"/>
                  </a:lnTo>
                  <a:lnTo>
                    <a:pt x="2429" y="1163"/>
                  </a:lnTo>
                  <a:lnTo>
                    <a:pt x="2429" y="1165"/>
                  </a:lnTo>
                  <a:lnTo>
                    <a:pt x="2429" y="1167"/>
                  </a:lnTo>
                  <a:lnTo>
                    <a:pt x="2427" y="1171"/>
                  </a:lnTo>
                  <a:lnTo>
                    <a:pt x="2425" y="1173"/>
                  </a:lnTo>
                  <a:lnTo>
                    <a:pt x="2423" y="1175"/>
                  </a:lnTo>
                  <a:lnTo>
                    <a:pt x="2421" y="1179"/>
                  </a:lnTo>
                  <a:lnTo>
                    <a:pt x="2417" y="1183"/>
                  </a:lnTo>
                  <a:lnTo>
                    <a:pt x="2415" y="1185"/>
                  </a:lnTo>
                  <a:lnTo>
                    <a:pt x="2408" y="1189"/>
                  </a:lnTo>
                  <a:lnTo>
                    <a:pt x="2404" y="1192"/>
                  </a:lnTo>
                  <a:lnTo>
                    <a:pt x="2404" y="1194"/>
                  </a:lnTo>
                  <a:lnTo>
                    <a:pt x="2402" y="1196"/>
                  </a:lnTo>
                  <a:lnTo>
                    <a:pt x="2396" y="1198"/>
                  </a:lnTo>
                  <a:lnTo>
                    <a:pt x="2388" y="1200"/>
                  </a:lnTo>
                  <a:lnTo>
                    <a:pt x="2384" y="1200"/>
                  </a:lnTo>
                  <a:lnTo>
                    <a:pt x="2382" y="1202"/>
                  </a:lnTo>
                  <a:lnTo>
                    <a:pt x="2380" y="1204"/>
                  </a:lnTo>
                  <a:lnTo>
                    <a:pt x="2378" y="1206"/>
                  </a:lnTo>
                  <a:lnTo>
                    <a:pt x="2378" y="1208"/>
                  </a:lnTo>
                  <a:lnTo>
                    <a:pt x="2375" y="1212"/>
                  </a:lnTo>
                  <a:lnTo>
                    <a:pt x="2373" y="1216"/>
                  </a:lnTo>
                  <a:lnTo>
                    <a:pt x="2373" y="1220"/>
                  </a:lnTo>
                  <a:lnTo>
                    <a:pt x="2371" y="1220"/>
                  </a:lnTo>
                  <a:lnTo>
                    <a:pt x="2367" y="1223"/>
                  </a:lnTo>
                  <a:lnTo>
                    <a:pt x="2365" y="1225"/>
                  </a:lnTo>
                  <a:lnTo>
                    <a:pt x="2363" y="1227"/>
                  </a:lnTo>
                  <a:lnTo>
                    <a:pt x="2361" y="1227"/>
                  </a:lnTo>
                  <a:lnTo>
                    <a:pt x="2359" y="1229"/>
                  </a:lnTo>
                  <a:lnTo>
                    <a:pt x="2359" y="1231"/>
                  </a:lnTo>
                  <a:lnTo>
                    <a:pt x="2359" y="1233"/>
                  </a:lnTo>
                  <a:lnTo>
                    <a:pt x="2357" y="1237"/>
                  </a:lnTo>
                  <a:lnTo>
                    <a:pt x="2355" y="1239"/>
                  </a:lnTo>
                  <a:lnTo>
                    <a:pt x="2355" y="1243"/>
                  </a:lnTo>
                  <a:lnTo>
                    <a:pt x="2355" y="1247"/>
                  </a:lnTo>
                  <a:lnTo>
                    <a:pt x="2353" y="1249"/>
                  </a:lnTo>
                  <a:lnTo>
                    <a:pt x="2353" y="1251"/>
                  </a:lnTo>
                  <a:lnTo>
                    <a:pt x="2351" y="1254"/>
                  </a:lnTo>
                  <a:lnTo>
                    <a:pt x="2345" y="1260"/>
                  </a:lnTo>
                  <a:lnTo>
                    <a:pt x="2340" y="1262"/>
                  </a:lnTo>
                  <a:lnTo>
                    <a:pt x="2340" y="1264"/>
                  </a:lnTo>
                  <a:lnTo>
                    <a:pt x="2338" y="1264"/>
                  </a:lnTo>
                  <a:lnTo>
                    <a:pt x="2338" y="1266"/>
                  </a:lnTo>
                  <a:lnTo>
                    <a:pt x="2340" y="1264"/>
                  </a:lnTo>
                  <a:lnTo>
                    <a:pt x="2340" y="1264"/>
                  </a:lnTo>
                  <a:lnTo>
                    <a:pt x="2340" y="1264"/>
                  </a:lnTo>
                  <a:lnTo>
                    <a:pt x="2340" y="1264"/>
                  </a:lnTo>
                  <a:lnTo>
                    <a:pt x="2340" y="1264"/>
                  </a:lnTo>
                  <a:lnTo>
                    <a:pt x="2338" y="1268"/>
                  </a:lnTo>
                  <a:lnTo>
                    <a:pt x="2338" y="1270"/>
                  </a:lnTo>
                  <a:lnTo>
                    <a:pt x="2336" y="1272"/>
                  </a:lnTo>
                  <a:lnTo>
                    <a:pt x="2334" y="1274"/>
                  </a:lnTo>
                  <a:lnTo>
                    <a:pt x="2336" y="1274"/>
                  </a:lnTo>
                  <a:lnTo>
                    <a:pt x="2336" y="1276"/>
                  </a:lnTo>
                  <a:lnTo>
                    <a:pt x="2334" y="1278"/>
                  </a:lnTo>
                  <a:lnTo>
                    <a:pt x="2332" y="1282"/>
                  </a:lnTo>
                  <a:lnTo>
                    <a:pt x="2330" y="1287"/>
                  </a:lnTo>
                  <a:lnTo>
                    <a:pt x="2328" y="1287"/>
                  </a:lnTo>
                  <a:lnTo>
                    <a:pt x="2326" y="1289"/>
                  </a:lnTo>
                  <a:lnTo>
                    <a:pt x="2324" y="1293"/>
                  </a:lnTo>
                  <a:lnTo>
                    <a:pt x="2324" y="1299"/>
                  </a:lnTo>
                  <a:lnTo>
                    <a:pt x="2322" y="1307"/>
                  </a:lnTo>
                  <a:lnTo>
                    <a:pt x="2324" y="1307"/>
                  </a:lnTo>
                  <a:lnTo>
                    <a:pt x="2324" y="1305"/>
                  </a:lnTo>
                  <a:lnTo>
                    <a:pt x="2324" y="1305"/>
                  </a:lnTo>
                  <a:lnTo>
                    <a:pt x="2326" y="1303"/>
                  </a:lnTo>
                  <a:lnTo>
                    <a:pt x="2326" y="1303"/>
                  </a:lnTo>
                  <a:lnTo>
                    <a:pt x="2328" y="1307"/>
                  </a:lnTo>
                  <a:lnTo>
                    <a:pt x="2330" y="1311"/>
                  </a:lnTo>
                  <a:lnTo>
                    <a:pt x="2330" y="1311"/>
                  </a:lnTo>
                  <a:lnTo>
                    <a:pt x="2330" y="1311"/>
                  </a:lnTo>
                  <a:lnTo>
                    <a:pt x="2330" y="1309"/>
                  </a:lnTo>
                  <a:lnTo>
                    <a:pt x="2332" y="1309"/>
                  </a:lnTo>
                  <a:lnTo>
                    <a:pt x="2332" y="1311"/>
                  </a:lnTo>
                  <a:lnTo>
                    <a:pt x="2334" y="1313"/>
                  </a:lnTo>
                  <a:lnTo>
                    <a:pt x="2334" y="1318"/>
                  </a:lnTo>
                  <a:lnTo>
                    <a:pt x="2334" y="1318"/>
                  </a:lnTo>
                  <a:lnTo>
                    <a:pt x="2334" y="1320"/>
                  </a:lnTo>
                  <a:lnTo>
                    <a:pt x="2334" y="1324"/>
                  </a:lnTo>
                  <a:lnTo>
                    <a:pt x="2332" y="1328"/>
                  </a:lnTo>
                  <a:lnTo>
                    <a:pt x="2334" y="1328"/>
                  </a:lnTo>
                  <a:lnTo>
                    <a:pt x="2332" y="1328"/>
                  </a:lnTo>
                  <a:lnTo>
                    <a:pt x="2332" y="1330"/>
                  </a:lnTo>
                  <a:lnTo>
                    <a:pt x="2330" y="1330"/>
                  </a:lnTo>
                  <a:lnTo>
                    <a:pt x="2332" y="1330"/>
                  </a:lnTo>
                  <a:lnTo>
                    <a:pt x="2334" y="1332"/>
                  </a:lnTo>
                  <a:lnTo>
                    <a:pt x="2334" y="1334"/>
                  </a:lnTo>
                  <a:lnTo>
                    <a:pt x="2336" y="1338"/>
                  </a:lnTo>
                  <a:lnTo>
                    <a:pt x="2336" y="1342"/>
                  </a:lnTo>
                  <a:lnTo>
                    <a:pt x="2338" y="1346"/>
                  </a:lnTo>
                  <a:lnTo>
                    <a:pt x="2338" y="1351"/>
                  </a:lnTo>
                  <a:lnTo>
                    <a:pt x="2336" y="1357"/>
                  </a:lnTo>
                  <a:lnTo>
                    <a:pt x="2334" y="1361"/>
                  </a:lnTo>
                  <a:lnTo>
                    <a:pt x="2334" y="1365"/>
                  </a:lnTo>
                  <a:lnTo>
                    <a:pt x="2332" y="1369"/>
                  </a:lnTo>
                  <a:lnTo>
                    <a:pt x="2332" y="1371"/>
                  </a:lnTo>
                  <a:lnTo>
                    <a:pt x="2330" y="1373"/>
                  </a:lnTo>
                  <a:lnTo>
                    <a:pt x="2330" y="1382"/>
                  </a:lnTo>
                  <a:lnTo>
                    <a:pt x="2330" y="1382"/>
                  </a:lnTo>
                  <a:lnTo>
                    <a:pt x="2326" y="1388"/>
                  </a:lnTo>
                  <a:lnTo>
                    <a:pt x="2322" y="1394"/>
                  </a:lnTo>
                  <a:lnTo>
                    <a:pt x="2318" y="1396"/>
                  </a:lnTo>
                  <a:lnTo>
                    <a:pt x="2316" y="1396"/>
                  </a:lnTo>
                  <a:lnTo>
                    <a:pt x="2318" y="1398"/>
                  </a:lnTo>
                  <a:lnTo>
                    <a:pt x="2318" y="1396"/>
                  </a:lnTo>
                  <a:lnTo>
                    <a:pt x="2320" y="1396"/>
                  </a:lnTo>
                  <a:lnTo>
                    <a:pt x="2320" y="1398"/>
                  </a:lnTo>
                  <a:lnTo>
                    <a:pt x="2322" y="1398"/>
                  </a:lnTo>
                  <a:lnTo>
                    <a:pt x="2322" y="1400"/>
                  </a:lnTo>
                  <a:lnTo>
                    <a:pt x="2324" y="1402"/>
                  </a:lnTo>
                  <a:lnTo>
                    <a:pt x="2326" y="1404"/>
                  </a:lnTo>
                  <a:lnTo>
                    <a:pt x="2326" y="1406"/>
                  </a:lnTo>
                  <a:lnTo>
                    <a:pt x="2326" y="1406"/>
                  </a:lnTo>
                  <a:lnTo>
                    <a:pt x="2328" y="1406"/>
                  </a:lnTo>
                  <a:lnTo>
                    <a:pt x="2328" y="1406"/>
                  </a:lnTo>
                  <a:lnTo>
                    <a:pt x="2330" y="1406"/>
                  </a:lnTo>
                  <a:lnTo>
                    <a:pt x="2328" y="1406"/>
                  </a:lnTo>
                  <a:lnTo>
                    <a:pt x="2328" y="1408"/>
                  </a:lnTo>
                  <a:lnTo>
                    <a:pt x="2328" y="1408"/>
                  </a:lnTo>
                  <a:lnTo>
                    <a:pt x="2328" y="1410"/>
                  </a:lnTo>
                  <a:lnTo>
                    <a:pt x="2328" y="1410"/>
                  </a:lnTo>
                  <a:lnTo>
                    <a:pt x="2330" y="1412"/>
                  </a:lnTo>
                  <a:lnTo>
                    <a:pt x="2330" y="1412"/>
                  </a:lnTo>
                  <a:lnTo>
                    <a:pt x="2330" y="1415"/>
                  </a:lnTo>
                  <a:lnTo>
                    <a:pt x="2332" y="1417"/>
                  </a:lnTo>
                  <a:lnTo>
                    <a:pt x="2332" y="1417"/>
                  </a:lnTo>
                  <a:lnTo>
                    <a:pt x="2336" y="1415"/>
                  </a:lnTo>
                  <a:lnTo>
                    <a:pt x="2340" y="1415"/>
                  </a:lnTo>
                  <a:lnTo>
                    <a:pt x="2345" y="1415"/>
                  </a:lnTo>
                  <a:lnTo>
                    <a:pt x="2347" y="1415"/>
                  </a:lnTo>
                  <a:lnTo>
                    <a:pt x="2347" y="1415"/>
                  </a:lnTo>
                  <a:lnTo>
                    <a:pt x="2347" y="1415"/>
                  </a:lnTo>
                  <a:lnTo>
                    <a:pt x="2345" y="1415"/>
                  </a:lnTo>
                  <a:lnTo>
                    <a:pt x="2340" y="1415"/>
                  </a:lnTo>
                  <a:lnTo>
                    <a:pt x="2338" y="1417"/>
                  </a:lnTo>
                  <a:lnTo>
                    <a:pt x="2336" y="1417"/>
                  </a:lnTo>
                  <a:lnTo>
                    <a:pt x="2336" y="1417"/>
                  </a:lnTo>
                  <a:lnTo>
                    <a:pt x="2336" y="1417"/>
                  </a:lnTo>
                  <a:lnTo>
                    <a:pt x="2334" y="1417"/>
                  </a:lnTo>
                  <a:lnTo>
                    <a:pt x="2332" y="1419"/>
                  </a:lnTo>
                  <a:lnTo>
                    <a:pt x="2330" y="1417"/>
                  </a:lnTo>
                  <a:lnTo>
                    <a:pt x="2330" y="1417"/>
                  </a:lnTo>
                  <a:lnTo>
                    <a:pt x="2330" y="1415"/>
                  </a:lnTo>
                  <a:lnTo>
                    <a:pt x="2328" y="1415"/>
                  </a:lnTo>
                  <a:lnTo>
                    <a:pt x="2328" y="1415"/>
                  </a:lnTo>
                  <a:lnTo>
                    <a:pt x="2326" y="1417"/>
                  </a:lnTo>
                  <a:lnTo>
                    <a:pt x="2328" y="1419"/>
                  </a:lnTo>
                  <a:lnTo>
                    <a:pt x="2328" y="1421"/>
                  </a:lnTo>
                  <a:lnTo>
                    <a:pt x="2328" y="1423"/>
                  </a:lnTo>
                  <a:lnTo>
                    <a:pt x="2328" y="1423"/>
                  </a:lnTo>
                  <a:lnTo>
                    <a:pt x="2328" y="1427"/>
                  </a:lnTo>
                  <a:lnTo>
                    <a:pt x="2328" y="1427"/>
                  </a:lnTo>
                  <a:lnTo>
                    <a:pt x="2328" y="1427"/>
                  </a:lnTo>
                  <a:lnTo>
                    <a:pt x="2328" y="1427"/>
                  </a:lnTo>
                  <a:lnTo>
                    <a:pt x="2328" y="1427"/>
                  </a:lnTo>
                  <a:lnTo>
                    <a:pt x="2328" y="1427"/>
                  </a:lnTo>
                  <a:lnTo>
                    <a:pt x="2330" y="1427"/>
                  </a:lnTo>
                  <a:lnTo>
                    <a:pt x="2330" y="1425"/>
                  </a:lnTo>
                  <a:lnTo>
                    <a:pt x="2330" y="1427"/>
                  </a:lnTo>
                  <a:lnTo>
                    <a:pt x="2332" y="1427"/>
                  </a:lnTo>
                  <a:lnTo>
                    <a:pt x="2332" y="1427"/>
                  </a:lnTo>
                  <a:lnTo>
                    <a:pt x="2332" y="1427"/>
                  </a:lnTo>
                  <a:lnTo>
                    <a:pt x="2332" y="1427"/>
                  </a:lnTo>
                  <a:lnTo>
                    <a:pt x="2330" y="1427"/>
                  </a:lnTo>
                  <a:lnTo>
                    <a:pt x="2328" y="1429"/>
                  </a:lnTo>
                  <a:lnTo>
                    <a:pt x="2328" y="1429"/>
                  </a:lnTo>
                  <a:lnTo>
                    <a:pt x="2326" y="1429"/>
                  </a:lnTo>
                  <a:lnTo>
                    <a:pt x="2328" y="1431"/>
                  </a:lnTo>
                  <a:lnTo>
                    <a:pt x="2328" y="1431"/>
                  </a:lnTo>
                  <a:lnTo>
                    <a:pt x="2332" y="1433"/>
                  </a:lnTo>
                  <a:lnTo>
                    <a:pt x="2334" y="1433"/>
                  </a:lnTo>
                  <a:lnTo>
                    <a:pt x="2334" y="1433"/>
                  </a:lnTo>
                  <a:lnTo>
                    <a:pt x="2334" y="1433"/>
                  </a:lnTo>
                  <a:lnTo>
                    <a:pt x="2334" y="1433"/>
                  </a:lnTo>
                  <a:lnTo>
                    <a:pt x="2334" y="1435"/>
                  </a:lnTo>
                  <a:lnTo>
                    <a:pt x="2334" y="1437"/>
                  </a:lnTo>
                  <a:lnTo>
                    <a:pt x="2336" y="1437"/>
                  </a:lnTo>
                  <a:lnTo>
                    <a:pt x="2338" y="1437"/>
                  </a:lnTo>
                  <a:lnTo>
                    <a:pt x="2338" y="1437"/>
                  </a:lnTo>
                  <a:lnTo>
                    <a:pt x="2340" y="1437"/>
                  </a:lnTo>
                  <a:lnTo>
                    <a:pt x="2338" y="1439"/>
                  </a:lnTo>
                  <a:lnTo>
                    <a:pt x="2340" y="1439"/>
                  </a:lnTo>
                  <a:lnTo>
                    <a:pt x="2342" y="1439"/>
                  </a:lnTo>
                  <a:lnTo>
                    <a:pt x="2345" y="1437"/>
                  </a:lnTo>
                  <a:lnTo>
                    <a:pt x="2347" y="1437"/>
                  </a:lnTo>
                  <a:lnTo>
                    <a:pt x="2351" y="1437"/>
                  </a:lnTo>
                  <a:lnTo>
                    <a:pt x="2351" y="1437"/>
                  </a:lnTo>
                  <a:lnTo>
                    <a:pt x="2351" y="1437"/>
                  </a:lnTo>
                  <a:lnTo>
                    <a:pt x="2351" y="1437"/>
                  </a:lnTo>
                  <a:lnTo>
                    <a:pt x="2351" y="1437"/>
                  </a:lnTo>
                  <a:lnTo>
                    <a:pt x="2351" y="1437"/>
                  </a:lnTo>
                  <a:lnTo>
                    <a:pt x="2349" y="1437"/>
                  </a:lnTo>
                  <a:lnTo>
                    <a:pt x="2347" y="1437"/>
                  </a:lnTo>
                  <a:lnTo>
                    <a:pt x="2347" y="1439"/>
                  </a:lnTo>
                  <a:lnTo>
                    <a:pt x="2345" y="1439"/>
                  </a:lnTo>
                  <a:lnTo>
                    <a:pt x="2345" y="1439"/>
                  </a:lnTo>
                  <a:lnTo>
                    <a:pt x="2347" y="1441"/>
                  </a:lnTo>
                  <a:lnTo>
                    <a:pt x="2347" y="1441"/>
                  </a:lnTo>
                  <a:lnTo>
                    <a:pt x="2349" y="1441"/>
                  </a:lnTo>
                  <a:lnTo>
                    <a:pt x="2349" y="1441"/>
                  </a:lnTo>
                  <a:lnTo>
                    <a:pt x="2351" y="1441"/>
                  </a:lnTo>
                  <a:lnTo>
                    <a:pt x="2351" y="1441"/>
                  </a:lnTo>
                  <a:lnTo>
                    <a:pt x="2351" y="1441"/>
                  </a:lnTo>
                  <a:lnTo>
                    <a:pt x="2349" y="1441"/>
                  </a:lnTo>
                  <a:lnTo>
                    <a:pt x="2347" y="1443"/>
                  </a:lnTo>
                  <a:lnTo>
                    <a:pt x="2347" y="1446"/>
                  </a:lnTo>
                  <a:lnTo>
                    <a:pt x="2347" y="1446"/>
                  </a:lnTo>
                  <a:lnTo>
                    <a:pt x="2347" y="1446"/>
                  </a:lnTo>
                  <a:lnTo>
                    <a:pt x="2347" y="1446"/>
                  </a:lnTo>
                  <a:lnTo>
                    <a:pt x="2347" y="1446"/>
                  </a:lnTo>
                  <a:lnTo>
                    <a:pt x="2347" y="1446"/>
                  </a:lnTo>
                  <a:lnTo>
                    <a:pt x="2347" y="1448"/>
                  </a:lnTo>
                  <a:lnTo>
                    <a:pt x="2347" y="1448"/>
                  </a:lnTo>
                  <a:lnTo>
                    <a:pt x="2349" y="1448"/>
                  </a:lnTo>
                  <a:lnTo>
                    <a:pt x="2349" y="1448"/>
                  </a:lnTo>
                  <a:lnTo>
                    <a:pt x="2349" y="1448"/>
                  </a:lnTo>
                  <a:lnTo>
                    <a:pt x="2349" y="1450"/>
                  </a:lnTo>
                  <a:lnTo>
                    <a:pt x="2351" y="1450"/>
                  </a:lnTo>
                  <a:lnTo>
                    <a:pt x="2351" y="1448"/>
                  </a:lnTo>
                  <a:lnTo>
                    <a:pt x="2351" y="1448"/>
                  </a:lnTo>
                  <a:lnTo>
                    <a:pt x="2351" y="1450"/>
                  </a:lnTo>
                  <a:lnTo>
                    <a:pt x="2353" y="1452"/>
                  </a:lnTo>
                  <a:lnTo>
                    <a:pt x="2351" y="1452"/>
                  </a:lnTo>
                  <a:lnTo>
                    <a:pt x="2353" y="1454"/>
                  </a:lnTo>
                  <a:lnTo>
                    <a:pt x="2353" y="1454"/>
                  </a:lnTo>
                  <a:lnTo>
                    <a:pt x="2353" y="1452"/>
                  </a:lnTo>
                  <a:lnTo>
                    <a:pt x="2355" y="1452"/>
                  </a:lnTo>
                  <a:lnTo>
                    <a:pt x="2355" y="1452"/>
                  </a:lnTo>
                  <a:lnTo>
                    <a:pt x="2355" y="1452"/>
                  </a:lnTo>
                  <a:lnTo>
                    <a:pt x="2357" y="1452"/>
                  </a:lnTo>
                  <a:lnTo>
                    <a:pt x="2357" y="1454"/>
                  </a:lnTo>
                  <a:lnTo>
                    <a:pt x="2357" y="1456"/>
                  </a:lnTo>
                  <a:lnTo>
                    <a:pt x="2359" y="1454"/>
                  </a:lnTo>
                  <a:lnTo>
                    <a:pt x="2359" y="1454"/>
                  </a:lnTo>
                  <a:lnTo>
                    <a:pt x="2359" y="1456"/>
                  </a:lnTo>
                  <a:lnTo>
                    <a:pt x="2359" y="1456"/>
                  </a:lnTo>
                  <a:lnTo>
                    <a:pt x="2361" y="1462"/>
                  </a:lnTo>
                  <a:lnTo>
                    <a:pt x="2365" y="1462"/>
                  </a:lnTo>
                  <a:lnTo>
                    <a:pt x="2365" y="1462"/>
                  </a:lnTo>
                  <a:lnTo>
                    <a:pt x="2365" y="1462"/>
                  </a:lnTo>
                  <a:lnTo>
                    <a:pt x="2367" y="1462"/>
                  </a:lnTo>
                  <a:lnTo>
                    <a:pt x="2367" y="1464"/>
                  </a:lnTo>
                  <a:lnTo>
                    <a:pt x="2367" y="1464"/>
                  </a:lnTo>
                  <a:lnTo>
                    <a:pt x="2369" y="1466"/>
                  </a:lnTo>
                  <a:lnTo>
                    <a:pt x="2369" y="1466"/>
                  </a:lnTo>
                  <a:lnTo>
                    <a:pt x="2371" y="1466"/>
                  </a:lnTo>
                  <a:lnTo>
                    <a:pt x="2371" y="1466"/>
                  </a:lnTo>
                  <a:lnTo>
                    <a:pt x="2371" y="1466"/>
                  </a:lnTo>
                  <a:lnTo>
                    <a:pt x="2371" y="1468"/>
                  </a:lnTo>
                  <a:lnTo>
                    <a:pt x="2371" y="1470"/>
                  </a:lnTo>
                  <a:lnTo>
                    <a:pt x="2371" y="1470"/>
                  </a:lnTo>
                  <a:lnTo>
                    <a:pt x="2373" y="1470"/>
                  </a:lnTo>
                  <a:lnTo>
                    <a:pt x="2375" y="1472"/>
                  </a:lnTo>
                  <a:lnTo>
                    <a:pt x="2375" y="1474"/>
                  </a:lnTo>
                  <a:lnTo>
                    <a:pt x="2375" y="1474"/>
                  </a:lnTo>
                  <a:lnTo>
                    <a:pt x="2378" y="1477"/>
                  </a:lnTo>
                  <a:lnTo>
                    <a:pt x="2378" y="1477"/>
                  </a:lnTo>
                  <a:lnTo>
                    <a:pt x="2378" y="1479"/>
                  </a:lnTo>
                  <a:lnTo>
                    <a:pt x="2378" y="1479"/>
                  </a:lnTo>
                  <a:lnTo>
                    <a:pt x="2378" y="1479"/>
                  </a:lnTo>
                  <a:lnTo>
                    <a:pt x="2380" y="1481"/>
                  </a:lnTo>
                  <a:lnTo>
                    <a:pt x="2380" y="1481"/>
                  </a:lnTo>
                  <a:lnTo>
                    <a:pt x="2380" y="1481"/>
                  </a:lnTo>
                  <a:lnTo>
                    <a:pt x="2378" y="1481"/>
                  </a:lnTo>
                  <a:lnTo>
                    <a:pt x="2378" y="1483"/>
                  </a:lnTo>
                  <a:lnTo>
                    <a:pt x="2378" y="1483"/>
                  </a:lnTo>
                  <a:lnTo>
                    <a:pt x="2378" y="1485"/>
                  </a:lnTo>
                  <a:lnTo>
                    <a:pt x="2380" y="1485"/>
                  </a:lnTo>
                  <a:lnTo>
                    <a:pt x="2380" y="1485"/>
                  </a:lnTo>
                  <a:lnTo>
                    <a:pt x="2382" y="1485"/>
                  </a:lnTo>
                  <a:lnTo>
                    <a:pt x="2382" y="1485"/>
                  </a:lnTo>
                  <a:lnTo>
                    <a:pt x="2382" y="1485"/>
                  </a:lnTo>
                  <a:lnTo>
                    <a:pt x="2382" y="1485"/>
                  </a:lnTo>
                  <a:lnTo>
                    <a:pt x="2382" y="1485"/>
                  </a:lnTo>
                  <a:lnTo>
                    <a:pt x="2380" y="1487"/>
                  </a:lnTo>
                  <a:lnTo>
                    <a:pt x="2380" y="1487"/>
                  </a:lnTo>
                  <a:lnTo>
                    <a:pt x="2378" y="1487"/>
                  </a:lnTo>
                  <a:lnTo>
                    <a:pt x="2378" y="1487"/>
                  </a:lnTo>
                  <a:lnTo>
                    <a:pt x="2378" y="1487"/>
                  </a:lnTo>
                  <a:lnTo>
                    <a:pt x="2378" y="1489"/>
                  </a:lnTo>
                  <a:lnTo>
                    <a:pt x="2380" y="1491"/>
                  </a:lnTo>
                  <a:lnTo>
                    <a:pt x="2382" y="1491"/>
                  </a:lnTo>
                  <a:lnTo>
                    <a:pt x="2382" y="1491"/>
                  </a:lnTo>
                  <a:lnTo>
                    <a:pt x="2382" y="1493"/>
                  </a:lnTo>
                  <a:lnTo>
                    <a:pt x="2382" y="1495"/>
                  </a:lnTo>
                  <a:lnTo>
                    <a:pt x="2384" y="1495"/>
                  </a:lnTo>
                  <a:lnTo>
                    <a:pt x="2384" y="1497"/>
                  </a:lnTo>
                  <a:lnTo>
                    <a:pt x="2386" y="1497"/>
                  </a:lnTo>
                  <a:lnTo>
                    <a:pt x="2388" y="1497"/>
                  </a:lnTo>
                  <a:lnTo>
                    <a:pt x="2388" y="1497"/>
                  </a:lnTo>
                  <a:lnTo>
                    <a:pt x="2388" y="1497"/>
                  </a:lnTo>
                  <a:lnTo>
                    <a:pt x="2388" y="1497"/>
                  </a:lnTo>
                  <a:lnTo>
                    <a:pt x="2390" y="1499"/>
                  </a:lnTo>
                  <a:lnTo>
                    <a:pt x="2388" y="1501"/>
                  </a:lnTo>
                  <a:lnTo>
                    <a:pt x="2388" y="1501"/>
                  </a:lnTo>
                  <a:lnTo>
                    <a:pt x="2390" y="1503"/>
                  </a:lnTo>
                  <a:lnTo>
                    <a:pt x="2396" y="1505"/>
                  </a:lnTo>
                  <a:lnTo>
                    <a:pt x="2398" y="1505"/>
                  </a:lnTo>
                  <a:lnTo>
                    <a:pt x="2402" y="1507"/>
                  </a:lnTo>
                  <a:lnTo>
                    <a:pt x="2402" y="1510"/>
                  </a:lnTo>
                  <a:lnTo>
                    <a:pt x="2404" y="1512"/>
                  </a:lnTo>
                  <a:lnTo>
                    <a:pt x="2408" y="1514"/>
                  </a:lnTo>
                  <a:lnTo>
                    <a:pt x="2413" y="1516"/>
                  </a:lnTo>
                  <a:lnTo>
                    <a:pt x="2413" y="1518"/>
                  </a:lnTo>
                  <a:lnTo>
                    <a:pt x="2415" y="1518"/>
                  </a:lnTo>
                  <a:lnTo>
                    <a:pt x="2415" y="1518"/>
                  </a:lnTo>
                  <a:lnTo>
                    <a:pt x="2419" y="1520"/>
                  </a:lnTo>
                  <a:lnTo>
                    <a:pt x="2419" y="1520"/>
                  </a:lnTo>
                  <a:lnTo>
                    <a:pt x="2429" y="1528"/>
                  </a:lnTo>
                  <a:lnTo>
                    <a:pt x="2433" y="1532"/>
                  </a:lnTo>
                  <a:lnTo>
                    <a:pt x="2435" y="1534"/>
                  </a:lnTo>
                  <a:lnTo>
                    <a:pt x="2448" y="1543"/>
                  </a:lnTo>
                  <a:lnTo>
                    <a:pt x="2452" y="1543"/>
                  </a:lnTo>
                  <a:lnTo>
                    <a:pt x="2458" y="1545"/>
                  </a:lnTo>
                  <a:lnTo>
                    <a:pt x="2458" y="1545"/>
                  </a:lnTo>
                  <a:lnTo>
                    <a:pt x="2460" y="1545"/>
                  </a:lnTo>
                  <a:lnTo>
                    <a:pt x="2464" y="1543"/>
                  </a:lnTo>
                  <a:lnTo>
                    <a:pt x="2466" y="1543"/>
                  </a:lnTo>
                  <a:lnTo>
                    <a:pt x="2468" y="1541"/>
                  </a:lnTo>
                  <a:lnTo>
                    <a:pt x="2468" y="1541"/>
                  </a:lnTo>
                  <a:lnTo>
                    <a:pt x="2472" y="1538"/>
                  </a:lnTo>
                  <a:lnTo>
                    <a:pt x="2481" y="1536"/>
                  </a:lnTo>
                  <a:lnTo>
                    <a:pt x="2483" y="1536"/>
                  </a:lnTo>
                  <a:lnTo>
                    <a:pt x="2487" y="1534"/>
                  </a:lnTo>
                  <a:lnTo>
                    <a:pt x="2495" y="1534"/>
                  </a:lnTo>
                  <a:lnTo>
                    <a:pt x="2493" y="1534"/>
                  </a:lnTo>
                  <a:lnTo>
                    <a:pt x="2491" y="1534"/>
                  </a:lnTo>
                  <a:lnTo>
                    <a:pt x="2489" y="1534"/>
                  </a:lnTo>
                  <a:lnTo>
                    <a:pt x="2491" y="1532"/>
                  </a:lnTo>
                  <a:lnTo>
                    <a:pt x="2491" y="1532"/>
                  </a:lnTo>
                  <a:lnTo>
                    <a:pt x="2495" y="1532"/>
                  </a:lnTo>
                  <a:lnTo>
                    <a:pt x="2495" y="1534"/>
                  </a:lnTo>
                  <a:lnTo>
                    <a:pt x="2497" y="1534"/>
                  </a:lnTo>
                  <a:lnTo>
                    <a:pt x="2499" y="1534"/>
                  </a:lnTo>
                  <a:lnTo>
                    <a:pt x="2510" y="1532"/>
                  </a:lnTo>
                  <a:lnTo>
                    <a:pt x="2507" y="1532"/>
                  </a:lnTo>
                  <a:lnTo>
                    <a:pt x="2507" y="1532"/>
                  </a:lnTo>
                  <a:lnTo>
                    <a:pt x="2501" y="1532"/>
                  </a:lnTo>
                  <a:lnTo>
                    <a:pt x="2501" y="1532"/>
                  </a:lnTo>
                  <a:lnTo>
                    <a:pt x="2503" y="1532"/>
                  </a:lnTo>
                  <a:lnTo>
                    <a:pt x="2507" y="1532"/>
                  </a:lnTo>
                  <a:lnTo>
                    <a:pt x="2510" y="1532"/>
                  </a:lnTo>
                  <a:lnTo>
                    <a:pt x="2512" y="1532"/>
                  </a:lnTo>
                  <a:lnTo>
                    <a:pt x="2518" y="1534"/>
                  </a:lnTo>
                  <a:lnTo>
                    <a:pt x="2520" y="1534"/>
                  </a:lnTo>
                  <a:lnTo>
                    <a:pt x="2520" y="1530"/>
                  </a:lnTo>
                  <a:lnTo>
                    <a:pt x="2520" y="1530"/>
                  </a:lnTo>
                  <a:lnTo>
                    <a:pt x="2522" y="1530"/>
                  </a:lnTo>
                  <a:lnTo>
                    <a:pt x="2522" y="1532"/>
                  </a:lnTo>
                  <a:lnTo>
                    <a:pt x="2522" y="1534"/>
                  </a:lnTo>
                  <a:lnTo>
                    <a:pt x="2524" y="1534"/>
                  </a:lnTo>
                  <a:lnTo>
                    <a:pt x="2524" y="1534"/>
                  </a:lnTo>
                  <a:lnTo>
                    <a:pt x="2522" y="1534"/>
                  </a:lnTo>
                  <a:lnTo>
                    <a:pt x="2520" y="1534"/>
                  </a:lnTo>
                  <a:lnTo>
                    <a:pt x="2520" y="1534"/>
                  </a:lnTo>
                  <a:lnTo>
                    <a:pt x="2522" y="1534"/>
                  </a:lnTo>
                  <a:lnTo>
                    <a:pt x="2522" y="1534"/>
                  </a:lnTo>
                  <a:lnTo>
                    <a:pt x="2524" y="1534"/>
                  </a:lnTo>
                  <a:lnTo>
                    <a:pt x="2528" y="1536"/>
                  </a:lnTo>
                  <a:lnTo>
                    <a:pt x="2532" y="1536"/>
                  </a:lnTo>
                  <a:lnTo>
                    <a:pt x="2534" y="1538"/>
                  </a:lnTo>
                  <a:lnTo>
                    <a:pt x="2536" y="1538"/>
                  </a:lnTo>
                  <a:lnTo>
                    <a:pt x="2538" y="1538"/>
                  </a:lnTo>
                  <a:lnTo>
                    <a:pt x="2540" y="1538"/>
                  </a:lnTo>
                  <a:lnTo>
                    <a:pt x="2543" y="1536"/>
                  </a:lnTo>
                  <a:lnTo>
                    <a:pt x="2545" y="1534"/>
                  </a:lnTo>
                  <a:lnTo>
                    <a:pt x="2551" y="1532"/>
                  </a:lnTo>
                  <a:lnTo>
                    <a:pt x="2555" y="1532"/>
                  </a:lnTo>
                  <a:lnTo>
                    <a:pt x="2557" y="1532"/>
                  </a:lnTo>
                  <a:lnTo>
                    <a:pt x="2559" y="1530"/>
                  </a:lnTo>
                  <a:lnTo>
                    <a:pt x="2561" y="1528"/>
                  </a:lnTo>
                  <a:lnTo>
                    <a:pt x="2565" y="1528"/>
                  </a:lnTo>
                  <a:lnTo>
                    <a:pt x="2569" y="1526"/>
                  </a:lnTo>
                  <a:lnTo>
                    <a:pt x="2576" y="1524"/>
                  </a:lnTo>
                  <a:lnTo>
                    <a:pt x="2578" y="1524"/>
                  </a:lnTo>
                  <a:lnTo>
                    <a:pt x="2580" y="1524"/>
                  </a:lnTo>
                  <a:lnTo>
                    <a:pt x="2582" y="1522"/>
                  </a:lnTo>
                  <a:lnTo>
                    <a:pt x="2582" y="1522"/>
                  </a:lnTo>
                  <a:lnTo>
                    <a:pt x="2582" y="1520"/>
                  </a:lnTo>
                  <a:lnTo>
                    <a:pt x="2584" y="1520"/>
                  </a:lnTo>
                  <a:lnTo>
                    <a:pt x="2586" y="1520"/>
                  </a:lnTo>
                  <a:lnTo>
                    <a:pt x="2590" y="1518"/>
                  </a:lnTo>
                  <a:lnTo>
                    <a:pt x="2592" y="1518"/>
                  </a:lnTo>
                  <a:lnTo>
                    <a:pt x="2598" y="1518"/>
                  </a:lnTo>
                  <a:lnTo>
                    <a:pt x="2604" y="1516"/>
                  </a:lnTo>
                  <a:lnTo>
                    <a:pt x="2606" y="1516"/>
                  </a:lnTo>
                  <a:lnTo>
                    <a:pt x="2615" y="1516"/>
                  </a:lnTo>
                  <a:lnTo>
                    <a:pt x="2615" y="1514"/>
                  </a:lnTo>
                  <a:lnTo>
                    <a:pt x="2617" y="1514"/>
                  </a:lnTo>
                  <a:lnTo>
                    <a:pt x="2619" y="1514"/>
                  </a:lnTo>
                  <a:lnTo>
                    <a:pt x="2619" y="1514"/>
                  </a:lnTo>
                  <a:lnTo>
                    <a:pt x="2617" y="1516"/>
                  </a:lnTo>
                  <a:lnTo>
                    <a:pt x="2617" y="1516"/>
                  </a:lnTo>
                  <a:lnTo>
                    <a:pt x="2615" y="1516"/>
                  </a:lnTo>
                  <a:lnTo>
                    <a:pt x="2617" y="1516"/>
                  </a:lnTo>
                  <a:lnTo>
                    <a:pt x="2625" y="1516"/>
                  </a:lnTo>
                  <a:lnTo>
                    <a:pt x="2629" y="1516"/>
                  </a:lnTo>
                  <a:lnTo>
                    <a:pt x="2633" y="1518"/>
                  </a:lnTo>
                  <a:lnTo>
                    <a:pt x="2635" y="1522"/>
                  </a:lnTo>
                  <a:lnTo>
                    <a:pt x="2637" y="1524"/>
                  </a:lnTo>
                  <a:lnTo>
                    <a:pt x="2639" y="1524"/>
                  </a:lnTo>
                  <a:lnTo>
                    <a:pt x="2639" y="1526"/>
                  </a:lnTo>
                  <a:lnTo>
                    <a:pt x="2639" y="1526"/>
                  </a:lnTo>
                  <a:lnTo>
                    <a:pt x="2639" y="1528"/>
                  </a:lnTo>
                  <a:lnTo>
                    <a:pt x="2641" y="1526"/>
                  </a:lnTo>
                  <a:lnTo>
                    <a:pt x="2641" y="1526"/>
                  </a:lnTo>
                  <a:lnTo>
                    <a:pt x="2641" y="1526"/>
                  </a:lnTo>
                  <a:lnTo>
                    <a:pt x="2641" y="1526"/>
                  </a:lnTo>
                  <a:lnTo>
                    <a:pt x="2644" y="1526"/>
                  </a:lnTo>
                  <a:lnTo>
                    <a:pt x="2644" y="1526"/>
                  </a:lnTo>
                  <a:lnTo>
                    <a:pt x="2644" y="1528"/>
                  </a:lnTo>
                  <a:lnTo>
                    <a:pt x="2644" y="1528"/>
                  </a:lnTo>
                  <a:lnTo>
                    <a:pt x="2641" y="1528"/>
                  </a:lnTo>
                  <a:lnTo>
                    <a:pt x="2641" y="1528"/>
                  </a:lnTo>
                  <a:lnTo>
                    <a:pt x="2639" y="1528"/>
                  </a:lnTo>
                  <a:lnTo>
                    <a:pt x="2641" y="1528"/>
                  </a:lnTo>
                  <a:lnTo>
                    <a:pt x="2644" y="1530"/>
                  </a:lnTo>
                  <a:lnTo>
                    <a:pt x="2646" y="1528"/>
                  </a:lnTo>
                  <a:lnTo>
                    <a:pt x="2646" y="1530"/>
                  </a:lnTo>
                  <a:lnTo>
                    <a:pt x="2646" y="1530"/>
                  </a:lnTo>
                  <a:lnTo>
                    <a:pt x="2644" y="1530"/>
                  </a:lnTo>
                  <a:lnTo>
                    <a:pt x="2644" y="1530"/>
                  </a:lnTo>
                  <a:lnTo>
                    <a:pt x="2644" y="1532"/>
                  </a:lnTo>
                  <a:lnTo>
                    <a:pt x="2644" y="1532"/>
                  </a:lnTo>
                  <a:lnTo>
                    <a:pt x="2644" y="1534"/>
                  </a:lnTo>
                  <a:lnTo>
                    <a:pt x="2644" y="1534"/>
                  </a:lnTo>
                  <a:lnTo>
                    <a:pt x="2644" y="1534"/>
                  </a:lnTo>
                  <a:lnTo>
                    <a:pt x="2644" y="1534"/>
                  </a:lnTo>
                  <a:lnTo>
                    <a:pt x="2644" y="1534"/>
                  </a:lnTo>
                  <a:lnTo>
                    <a:pt x="2644" y="1536"/>
                  </a:lnTo>
                  <a:lnTo>
                    <a:pt x="2646" y="1538"/>
                  </a:lnTo>
                  <a:lnTo>
                    <a:pt x="2646" y="1541"/>
                  </a:lnTo>
                  <a:lnTo>
                    <a:pt x="2646" y="1541"/>
                  </a:lnTo>
                  <a:lnTo>
                    <a:pt x="2650" y="1543"/>
                  </a:lnTo>
                  <a:lnTo>
                    <a:pt x="2650" y="1545"/>
                  </a:lnTo>
                  <a:lnTo>
                    <a:pt x="2652" y="1545"/>
                  </a:lnTo>
                  <a:lnTo>
                    <a:pt x="2654" y="1547"/>
                  </a:lnTo>
                  <a:lnTo>
                    <a:pt x="2654" y="1547"/>
                  </a:lnTo>
                  <a:lnTo>
                    <a:pt x="2654" y="1547"/>
                  </a:lnTo>
                  <a:lnTo>
                    <a:pt x="2656" y="1545"/>
                  </a:lnTo>
                  <a:lnTo>
                    <a:pt x="2656" y="1545"/>
                  </a:lnTo>
                  <a:lnTo>
                    <a:pt x="2656" y="1545"/>
                  </a:lnTo>
                  <a:lnTo>
                    <a:pt x="2656" y="1545"/>
                  </a:lnTo>
                  <a:lnTo>
                    <a:pt x="2656" y="1545"/>
                  </a:lnTo>
                  <a:lnTo>
                    <a:pt x="2656" y="1545"/>
                  </a:lnTo>
                  <a:lnTo>
                    <a:pt x="2658" y="1545"/>
                  </a:lnTo>
                  <a:lnTo>
                    <a:pt x="2658" y="1545"/>
                  </a:lnTo>
                  <a:lnTo>
                    <a:pt x="2660" y="1545"/>
                  </a:lnTo>
                  <a:lnTo>
                    <a:pt x="2660" y="1543"/>
                  </a:lnTo>
                  <a:lnTo>
                    <a:pt x="2660" y="1543"/>
                  </a:lnTo>
                  <a:lnTo>
                    <a:pt x="2660" y="1545"/>
                  </a:lnTo>
                  <a:lnTo>
                    <a:pt x="2660" y="1545"/>
                  </a:lnTo>
                  <a:lnTo>
                    <a:pt x="2662" y="1545"/>
                  </a:lnTo>
                  <a:lnTo>
                    <a:pt x="2662" y="1545"/>
                  </a:lnTo>
                  <a:lnTo>
                    <a:pt x="2664" y="1545"/>
                  </a:lnTo>
                  <a:lnTo>
                    <a:pt x="2664" y="1543"/>
                  </a:lnTo>
                  <a:lnTo>
                    <a:pt x="2664" y="1541"/>
                  </a:lnTo>
                  <a:lnTo>
                    <a:pt x="2662" y="1541"/>
                  </a:lnTo>
                  <a:lnTo>
                    <a:pt x="2662" y="1541"/>
                  </a:lnTo>
                  <a:lnTo>
                    <a:pt x="2662" y="1541"/>
                  </a:lnTo>
                  <a:lnTo>
                    <a:pt x="2664" y="1541"/>
                  </a:lnTo>
                  <a:lnTo>
                    <a:pt x="2664" y="1543"/>
                  </a:lnTo>
                  <a:lnTo>
                    <a:pt x="2664" y="1545"/>
                  </a:lnTo>
                  <a:lnTo>
                    <a:pt x="2664" y="1545"/>
                  </a:lnTo>
                  <a:lnTo>
                    <a:pt x="2666" y="1545"/>
                  </a:lnTo>
                  <a:lnTo>
                    <a:pt x="2668" y="1543"/>
                  </a:lnTo>
                  <a:lnTo>
                    <a:pt x="2668" y="1541"/>
                  </a:lnTo>
                  <a:lnTo>
                    <a:pt x="2668" y="1541"/>
                  </a:lnTo>
                  <a:lnTo>
                    <a:pt x="2666" y="1541"/>
                  </a:lnTo>
                  <a:lnTo>
                    <a:pt x="2668" y="1541"/>
                  </a:lnTo>
                  <a:lnTo>
                    <a:pt x="2668" y="1541"/>
                  </a:lnTo>
                  <a:lnTo>
                    <a:pt x="2670" y="1543"/>
                  </a:lnTo>
                  <a:lnTo>
                    <a:pt x="2672" y="1543"/>
                  </a:lnTo>
                  <a:lnTo>
                    <a:pt x="2672" y="1541"/>
                  </a:lnTo>
                  <a:lnTo>
                    <a:pt x="2674" y="1541"/>
                  </a:lnTo>
                  <a:lnTo>
                    <a:pt x="2674" y="1541"/>
                  </a:lnTo>
                  <a:lnTo>
                    <a:pt x="2674" y="1543"/>
                  </a:lnTo>
                  <a:lnTo>
                    <a:pt x="2674" y="1543"/>
                  </a:lnTo>
                  <a:lnTo>
                    <a:pt x="2677" y="1543"/>
                  </a:lnTo>
                  <a:lnTo>
                    <a:pt x="2681" y="1543"/>
                  </a:lnTo>
                  <a:lnTo>
                    <a:pt x="2685" y="1543"/>
                  </a:lnTo>
                  <a:lnTo>
                    <a:pt x="2685" y="1541"/>
                  </a:lnTo>
                  <a:lnTo>
                    <a:pt x="2683" y="1536"/>
                  </a:lnTo>
                  <a:lnTo>
                    <a:pt x="2685" y="1536"/>
                  </a:lnTo>
                  <a:lnTo>
                    <a:pt x="2685" y="1538"/>
                  </a:lnTo>
                  <a:lnTo>
                    <a:pt x="2687" y="1538"/>
                  </a:lnTo>
                  <a:lnTo>
                    <a:pt x="2687" y="1538"/>
                  </a:lnTo>
                  <a:lnTo>
                    <a:pt x="2687" y="1541"/>
                  </a:lnTo>
                  <a:lnTo>
                    <a:pt x="2689" y="1538"/>
                  </a:lnTo>
                  <a:lnTo>
                    <a:pt x="2689" y="1538"/>
                  </a:lnTo>
                  <a:lnTo>
                    <a:pt x="2689" y="1538"/>
                  </a:lnTo>
                  <a:lnTo>
                    <a:pt x="2689" y="1541"/>
                  </a:lnTo>
                  <a:lnTo>
                    <a:pt x="2689" y="1543"/>
                  </a:lnTo>
                  <a:lnTo>
                    <a:pt x="2689" y="1543"/>
                  </a:lnTo>
                  <a:lnTo>
                    <a:pt x="2689" y="1543"/>
                  </a:lnTo>
                  <a:lnTo>
                    <a:pt x="2691" y="1543"/>
                  </a:lnTo>
                  <a:lnTo>
                    <a:pt x="2689" y="1541"/>
                  </a:lnTo>
                  <a:lnTo>
                    <a:pt x="2691" y="1541"/>
                  </a:lnTo>
                  <a:lnTo>
                    <a:pt x="2691" y="1543"/>
                  </a:lnTo>
                  <a:lnTo>
                    <a:pt x="2691" y="1543"/>
                  </a:lnTo>
                  <a:lnTo>
                    <a:pt x="2693" y="1543"/>
                  </a:lnTo>
                  <a:lnTo>
                    <a:pt x="2693" y="1543"/>
                  </a:lnTo>
                  <a:lnTo>
                    <a:pt x="2693" y="1543"/>
                  </a:lnTo>
                  <a:lnTo>
                    <a:pt x="2693" y="1545"/>
                  </a:lnTo>
                  <a:lnTo>
                    <a:pt x="2693" y="1545"/>
                  </a:lnTo>
                  <a:lnTo>
                    <a:pt x="2693" y="1547"/>
                  </a:lnTo>
                  <a:lnTo>
                    <a:pt x="2695" y="1547"/>
                  </a:lnTo>
                  <a:lnTo>
                    <a:pt x="2695" y="1549"/>
                  </a:lnTo>
                  <a:lnTo>
                    <a:pt x="2697" y="1549"/>
                  </a:lnTo>
                  <a:lnTo>
                    <a:pt x="2699" y="1551"/>
                  </a:lnTo>
                  <a:lnTo>
                    <a:pt x="2699" y="1551"/>
                  </a:lnTo>
                  <a:lnTo>
                    <a:pt x="2699" y="1551"/>
                  </a:lnTo>
                  <a:lnTo>
                    <a:pt x="2699" y="1551"/>
                  </a:lnTo>
                  <a:lnTo>
                    <a:pt x="2701" y="1551"/>
                  </a:lnTo>
                  <a:lnTo>
                    <a:pt x="2701" y="1551"/>
                  </a:lnTo>
                  <a:lnTo>
                    <a:pt x="2701" y="1551"/>
                  </a:lnTo>
                  <a:lnTo>
                    <a:pt x="2701" y="1549"/>
                  </a:lnTo>
                  <a:lnTo>
                    <a:pt x="2701" y="1549"/>
                  </a:lnTo>
                  <a:lnTo>
                    <a:pt x="2703" y="1549"/>
                  </a:lnTo>
                  <a:lnTo>
                    <a:pt x="2703" y="1549"/>
                  </a:lnTo>
                  <a:lnTo>
                    <a:pt x="2703" y="1549"/>
                  </a:lnTo>
                  <a:lnTo>
                    <a:pt x="2705" y="1549"/>
                  </a:lnTo>
                  <a:lnTo>
                    <a:pt x="2703" y="1551"/>
                  </a:lnTo>
                  <a:lnTo>
                    <a:pt x="2703" y="1551"/>
                  </a:lnTo>
                  <a:lnTo>
                    <a:pt x="2705" y="1551"/>
                  </a:lnTo>
                  <a:lnTo>
                    <a:pt x="2705" y="1553"/>
                  </a:lnTo>
                  <a:lnTo>
                    <a:pt x="2703" y="1551"/>
                  </a:lnTo>
                  <a:lnTo>
                    <a:pt x="2703" y="1553"/>
                  </a:lnTo>
                  <a:lnTo>
                    <a:pt x="2703" y="1553"/>
                  </a:lnTo>
                  <a:lnTo>
                    <a:pt x="2703" y="1555"/>
                  </a:lnTo>
                  <a:lnTo>
                    <a:pt x="2703" y="1555"/>
                  </a:lnTo>
                  <a:lnTo>
                    <a:pt x="2705" y="1555"/>
                  </a:lnTo>
                  <a:lnTo>
                    <a:pt x="2703" y="1557"/>
                  </a:lnTo>
                  <a:lnTo>
                    <a:pt x="2707" y="1559"/>
                  </a:lnTo>
                  <a:lnTo>
                    <a:pt x="2707" y="1561"/>
                  </a:lnTo>
                  <a:lnTo>
                    <a:pt x="2707" y="1563"/>
                  </a:lnTo>
                  <a:lnTo>
                    <a:pt x="2707" y="1565"/>
                  </a:lnTo>
                  <a:lnTo>
                    <a:pt x="2707" y="1567"/>
                  </a:lnTo>
                  <a:lnTo>
                    <a:pt x="2705" y="1571"/>
                  </a:lnTo>
                  <a:lnTo>
                    <a:pt x="2705" y="1574"/>
                  </a:lnTo>
                  <a:lnTo>
                    <a:pt x="2705" y="1578"/>
                  </a:lnTo>
                  <a:lnTo>
                    <a:pt x="2705" y="1580"/>
                  </a:lnTo>
                  <a:lnTo>
                    <a:pt x="2705" y="1582"/>
                  </a:lnTo>
                  <a:lnTo>
                    <a:pt x="2703" y="1584"/>
                  </a:lnTo>
                  <a:lnTo>
                    <a:pt x="2703" y="1584"/>
                  </a:lnTo>
                  <a:lnTo>
                    <a:pt x="2703" y="1584"/>
                  </a:lnTo>
                  <a:lnTo>
                    <a:pt x="2701" y="1586"/>
                  </a:lnTo>
                  <a:lnTo>
                    <a:pt x="2701" y="1588"/>
                  </a:lnTo>
                  <a:lnTo>
                    <a:pt x="2699" y="1590"/>
                  </a:lnTo>
                  <a:lnTo>
                    <a:pt x="2701" y="1590"/>
                  </a:lnTo>
                  <a:lnTo>
                    <a:pt x="2701" y="1590"/>
                  </a:lnTo>
                  <a:lnTo>
                    <a:pt x="2703" y="1592"/>
                  </a:lnTo>
                  <a:lnTo>
                    <a:pt x="2703" y="1592"/>
                  </a:lnTo>
                  <a:lnTo>
                    <a:pt x="2703" y="1592"/>
                  </a:lnTo>
                  <a:lnTo>
                    <a:pt x="2703" y="1596"/>
                  </a:lnTo>
                  <a:lnTo>
                    <a:pt x="2703" y="1598"/>
                  </a:lnTo>
                  <a:lnTo>
                    <a:pt x="2703" y="1598"/>
                  </a:lnTo>
                  <a:lnTo>
                    <a:pt x="2703" y="1598"/>
                  </a:lnTo>
                  <a:lnTo>
                    <a:pt x="2703" y="1598"/>
                  </a:lnTo>
                  <a:lnTo>
                    <a:pt x="2701" y="1596"/>
                  </a:lnTo>
                  <a:lnTo>
                    <a:pt x="2701" y="1596"/>
                  </a:lnTo>
                  <a:lnTo>
                    <a:pt x="2699" y="1598"/>
                  </a:lnTo>
                  <a:lnTo>
                    <a:pt x="2699" y="1598"/>
                  </a:lnTo>
                  <a:lnTo>
                    <a:pt x="2701" y="1600"/>
                  </a:lnTo>
                  <a:lnTo>
                    <a:pt x="2701" y="1600"/>
                  </a:lnTo>
                  <a:lnTo>
                    <a:pt x="2703" y="1602"/>
                  </a:lnTo>
                  <a:lnTo>
                    <a:pt x="2705" y="1605"/>
                  </a:lnTo>
                  <a:lnTo>
                    <a:pt x="2707" y="1602"/>
                  </a:lnTo>
                  <a:lnTo>
                    <a:pt x="2710" y="1605"/>
                  </a:lnTo>
                  <a:lnTo>
                    <a:pt x="2705" y="1605"/>
                  </a:lnTo>
                  <a:lnTo>
                    <a:pt x="2705" y="1607"/>
                  </a:lnTo>
                  <a:lnTo>
                    <a:pt x="2705" y="1605"/>
                  </a:lnTo>
                  <a:lnTo>
                    <a:pt x="2703" y="1605"/>
                  </a:lnTo>
                  <a:lnTo>
                    <a:pt x="2701" y="1605"/>
                  </a:lnTo>
                  <a:lnTo>
                    <a:pt x="2701" y="1605"/>
                  </a:lnTo>
                  <a:lnTo>
                    <a:pt x="2699" y="1602"/>
                  </a:lnTo>
                  <a:lnTo>
                    <a:pt x="2699" y="1602"/>
                  </a:lnTo>
                  <a:lnTo>
                    <a:pt x="2699" y="1602"/>
                  </a:lnTo>
                  <a:lnTo>
                    <a:pt x="2699" y="1602"/>
                  </a:lnTo>
                  <a:lnTo>
                    <a:pt x="2699" y="1605"/>
                  </a:lnTo>
                  <a:lnTo>
                    <a:pt x="2699" y="1607"/>
                  </a:lnTo>
                  <a:lnTo>
                    <a:pt x="2699" y="1611"/>
                  </a:lnTo>
                  <a:lnTo>
                    <a:pt x="2697" y="1615"/>
                  </a:lnTo>
                  <a:lnTo>
                    <a:pt x="2695" y="1615"/>
                  </a:lnTo>
                  <a:lnTo>
                    <a:pt x="2695" y="1615"/>
                  </a:lnTo>
                  <a:lnTo>
                    <a:pt x="2695" y="1615"/>
                  </a:lnTo>
                  <a:lnTo>
                    <a:pt x="2693" y="1617"/>
                  </a:lnTo>
                  <a:lnTo>
                    <a:pt x="2693" y="1617"/>
                  </a:lnTo>
                  <a:lnTo>
                    <a:pt x="2691" y="1615"/>
                  </a:lnTo>
                  <a:lnTo>
                    <a:pt x="2691" y="1615"/>
                  </a:lnTo>
                  <a:lnTo>
                    <a:pt x="2693" y="1619"/>
                  </a:lnTo>
                  <a:lnTo>
                    <a:pt x="2693" y="1619"/>
                  </a:lnTo>
                  <a:lnTo>
                    <a:pt x="2693" y="1621"/>
                  </a:lnTo>
                  <a:lnTo>
                    <a:pt x="2693" y="1621"/>
                  </a:lnTo>
                  <a:lnTo>
                    <a:pt x="2695" y="1625"/>
                  </a:lnTo>
                  <a:lnTo>
                    <a:pt x="2697" y="1625"/>
                  </a:lnTo>
                  <a:lnTo>
                    <a:pt x="2699" y="1625"/>
                  </a:lnTo>
                  <a:lnTo>
                    <a:pt x="2699" y="1625"/>
                  </a:lnTo>
                  <a:lnTo>
                    <a:pt x="2699" y="1625"/>
                  </a:lnTo>
                  <a:lnTo>
                    <a:pt x="2699" y="1625"/>
                  </a:lnTo>
                  <a:lnTo>
                    <a:pt x="2699" y="1627"/>
                  </a:lnTo>
                  <a:lnTo>
                    <a:pt x="2699" y="1627"/>
                  </a:lnTo>
                  <a:lnTo>
                    <a:pt x="2699" y="1627"/>
                  </a:lnTo>
                  <a:lnTo>
                    <a:pt x="2701" y="1627"/>
                  </a:lnTo>
                  <a:lnTo>
                    <a:pt x="2701" y="1627"/>
                  </a:lnTo>
                  <a:lnTo>
                    <a:pt x="2701" y="1629"/>
                  </a:lnTo>
                  <a:lnTo>
                    <a:pt x="2701" y="1629"/>
                  </a:lnTo>
                  <a:lnTo>
                    <a:pt x="2701" y="1629"/>
                  </a:lnTo>
                  <a:lnTo>
                    <a:pt x="2699" y="1629"/>
                  </a:lnTo>
                  <a:lnTo>
                    <a:pt x="2699" y="1629"/>
                  </a:lnTo>
                  <a:lnTo>
                    <a:pt x="2695" y="1625"/>
                  </a:lnTo>
                  <a:lnTo>
                    <a:pt x="2695" y="1625"/>
                  </a:lnTo>
                  <a:lnTo>
                    <a:pt x="2697" y="1627"/>
                  </a:lnTo>
                  <a:lnTo>
                    <a:pt x="2699" y="1631"/>
                  </a:lnTo>
                  <a:lnTo>
                    <a:pt x="2697" y="1631"/>
                  </a:lnTo>
                  <a:lnTo>
                    <a:pt x="2699" y="1631"/>
                  </a:lnTo>
                  <a:lnTo>
                    <a:pt x="2699" y="1631"/>
                  </a:lnTo>
                  <a:lnTo>
                    <a:pt x="2701" y="1633"/>
                  </a:lnTo>
                  <a:lnTo>
                    <a:pt x="2701" y="1633"/>
                  </a:lnTo>
                  <a:lnTo>
                    <a:pt x="2701" y="1633"/>
                  </a:lnTo>
                  <a:lnTo>
                    <a:pt x="2699" y="1633"/>
                  </a:lnTo>
                  <a:lnTo>
                    <a:pt x="2699" y="1633"/>
                  </a:lnTo>
                  <a:lnTo>
                    <a:pt x="2699" y="1633"/>
                  </a:lnTo>
                  <a:lnTo>
                    <a:pt x="2701" y="1636"/>
                  </a:lnTo>
                  <a:lnTo>
                    <a:pt x="2701" y="1638"/>
                  </a:lnTo>
                  <a:lnTo>
                    <a:pt x="2703" y="1638"/>
                  </a:lnTo>
                  <a:lnTo>
                    <a:pt x="2703" y="1640"/>
                  </a:lnTo>
                  <a:lnTo>
                    <a:pt x="2703" y="1640"/>
                  </a:lnTo>
                  <a:lnTo>
                    <a:pt x="2703" y="1642"/>
                  </a:lnTo>
                  <a:lnTo>
                    <a:pt x="2705" y="1640"/>
                  </a:lnTo>
                  <a:lnTo>
                    <a:pt x="2707" y="1642"/>
                  </a:lnTo>
                  <a:lnTo>
                    <a:pt x="2707" y="1642"/>
                  </a:lnTo>
                  <a:lnTo>
                    <a:pt x="2710" y="1642"/>
                  </a:lnTo>
                  <a:lnTo>
                    <a:pt x="2710" y="1644"/>
                  </a:lnTo>
                  <a:lnTo>
                    <a:pt x="2710" y="1644"/>
                  </a:lnTo>
                  <a:lnTo>
                    <a:pt x="2705" y="1642"/>
                  </a:lnTo>
                  <a:lnTo>
                    <a:pt x="2705" y="1642"/>
                  </a:lnTo>
                  <a:lnTo>
                    <a:pt x="2705" y="1642"/>
                  </a:lnTo>
                  <a:lnTo>
                    <a:pt x="2710" y="1646"/>
                  </a:lnTo>
                  <a:lnTo>
                    <a:pt x="2714" y="1650"/>
                  </a:lnTo>
                  <a:lnTo>
                    <a:pt x="2718" y="1652"/>
                  </a:lnTo>
                  <a:lnTo>
                    <a:pt x="2718" y="1654"/>
                  </a:lnTo>
                  <a:lnTo>
                    <a:pt x="2722" y="1656"/>
                  </a:lnTo>
                  <a:lnTo>
                    <a:pt x="2722" y="1658"/>
                  </a:lnTo>
                  <a:lnTo>
                    <a:pt x="2724" y="1660"/>
                  </a:lnTo>
                  <a:lnTo>
                    <a:pt x="2726" y="1662"/>
                  </a:lnTo>
                  <a:lnTo>
                    <a:pt x="2728" y="1664"/>
                  </a:lnTo>
                  <a:lnTo>
                    <a:pt x="2728" y="1666"/>
                  </a:lnTo>
                  <a:lnTo>
                    <a:pt x="2732" y="1669"/>
                  </a:lnTo>
                  <a:lnTo>
                    <a:pt x="2734" y="1671"/>
                  </a:lnTo>
                  <a:lnTo>
                    <a:pt x="2734" y="1673"/>
                  </a:lnTo>
                  <a:lnTo>
                    <a:pt x="2734" y="1673"/>
                  </a:lnTo>
                  <a:lnTo>
                    <a:pt x="2734" y="1675"/>
                  </a:lnTo>
                  <a:lnTo>
                    <a:pt x="2736" y="1675"/>
                  </a:lnTo>
                  <a:lnTo>
                    <a:pt x="2736" y="1677"/>
                  </a:lnTo>
                  <a:lnTo>
                    <a:pt x="2738" y="1677"/>
                  </a:lnTo>
                  <a:lnTo>
                    <a:pt x="2738" y="1677"/>
                  </a:lnTo>
                  <a:lnTo>
                    <a:pt x="2738" y="1677"/>
                  </a:lnTo>
                  <a:lnTo>
                    <a:pt x="2738" y="1681"/>
                  </a:lnTo>
                  <a:lnTo>
                    <a:pt x="2740" y="1681"/>
                  </a:lnTo>
                  <a:lnTo>
                    <a:pt x="2740" y="1683"/>
                  </a:lnTo>
                  <a:lnTo>
                    <a:pt x="2740" y="1685"/>
                  </a:lnTo>
                  <a:lnTo>
                    <a:pt x="2740" y="1687"/>
                  </a:lnTo>
                  <a:lnTo>
                    <a:pt x="2740" y="1687"/>
                  </a:lnTo>
                  <a:lnTo>
                    <a:pt x="2740" y="1689"/>
                  </a:lnTo>
                  <a:lnTo>
                    <a:pt x="2743" y="1689"/>
                  </a:lnTo>
                  <a:lnTo>
                    <a:pt x="2743" y="1691"/>
                  </a:lnTo>
                  <a:lnTo>
                    <a:pt x="2745" y="1691"/>
                  </a:lnTo>
                  <a:lnTo>
                    <a:pt x="2745" y="1691"/>
                  </a:lnTo>
                  <a:lnTo>
                    <a:pt x="2747" y="1691"/>
                  </a:lnTo>
                  <a:lnTo>
                    <a:pt x="2749" y="1689"/>
                  </a:lnTo>
                  <a:lnTo>
                    <a:pt x="2749" y="1689"/>
                  </a:lnTo>
                  <a:lnTo>
                    <a:pt x="2751" y="1689"/>
                  </a:lnTo>
                  <a:lnTo>
                    <a:pt x="2753" y="1689"/>
                  </a:lnTo>
                  <a:lnTo>
                    <a:pt x="2751" y="1689"/>
                  </a:lnTo>
                  <a:lnTo>
                    <a:pt x="2749" y="1691"/>
                  </a:lnTo>
                  <a:lnTo>
                    <a:pt x="2745" y="1691"/>
                  </a:lnTo>
                  <a:lnTo>
                    <a:pt x="2743" y="1693"/>
                  </a:lnTo>
                  <a:lnTo>
                    <a:pt x="2743" y="1693"/>
                  </a:lnTo>
                  <a:lnTo>
                    <a:pt x="2740" y="1693"/>
                  </a:lnTo>
                  <a:lnTo>
                    <a:pt x="2743" y="1693"/>
                  </a:lnTo>
                  <a:lnTo>
                    <a:pt x="2743" y="1697"/>
                  </a:lnTo>
                  <a:lnTo>
                    <a:pt x="2745" y="1700"/>
                  </a:lnTo>
                  <a:lnTo>
                    <a:pt x="2749" y="1706"/>
                  </a:lnTo>
                  <a:lnTo>
                    <a:pt x="2749" y="1710"/>
                  </a:lnTo>
                  <a:lnTo>
                    <a:pt x="2753" y="1716"/>
                  </a:lnTo>
                  <a:lnTo>
                    <a:pt x="2757" y="1724"/>
                  </a:lnTo>
                  <a:lnTo>
                    <a:pt x="2757" y="1726"/>
                  </a:lnTo>
                  <a:lnTo>
                    <a:pt x="2757" y="1728"/>
                  </a:lnTo>
                  <a:lnTo>
                    <a:pt x="2757" y="1728"/>
                  </a:lnTo>
                  <a:lnTo>
                    <a:pt x="2757" y="1730"/>
                  </a:lnTo>
                  <a:lnTo>
                    <a:pt x="2753" y="1735"/>
                  </a:lnTo>
                  <a:lnTo>
                    <a:pt x="2753" y="1735"/>
                  </a:lnTo>
                  <a:lnTo>
                    <a:pt x="2753" y="1733"/>
                  </a:lnTo>
                  <a:lnTo>
                    <a:pt x="2753" y="1733"/>
                  </a:lnTo>
                  <a:lnTo>
                    <a:pt x="2753" y="1733"/>
                  </a:lnTo>
                  <a:lnTo>
                    <a:pt x="2751" y="1735"/>
                  </a:lnTo>
                  <a:lnTo>
                    <a:pt x="2751" y="1735"/>
                  </a:lnTo>
                  <a:lnTo>
                    <a:pt x="2753" y="1737"/>
                  </a:lnTo>
                  <a:lnTo>
                    <a:pt x="2755" y="1739"/>
                  </a:lnTo>
                  <a:lnTo>
                    <a:pt x="2755" y="1743"/>
                  </a:lnTo>
                  <a:lnTo>
                    <a:pt x="2755" y="1745"/>
                  </a:lnTo>
                  <a:lnTo>
                    <a:pt x="2755" y="1745"/>
                  </a:lnTo>
                  <a:lnTo>
                    <a:pt x="2757" y="1749"/>
                  </a:lnTo>
                  <a:lnTo>
                    <a:pt x="2759" y="1751"/>
                  </a:lnTo>
                  <a:lnTo>
                    <a:pt x="2759" y="1755"/>
                  </a:lnTo>
                  <a:lnTo>
                    <a:pt x="2761" y="1755"/>
                  </a:lnTo>
                  <a:lnTo>
                    <a:pt x="2761" y="1757"/>
                  </a:lnTo>
                  <a:lnTo>
                    <a:pt x="2763" y="1759"/>
                  </a:lnTo>
                  <a:lnTo>
                    <a:pt x="2763" y="1761"/>
                  </a:lnTo>
                  <a:lnTo>
                    <a:pt x="2763" y="1764"/>
                  </a:lnTo>
                  <a:lnTo>
                    <a:pt x="2763" y="1770"/>
                  </a:lnTo>
                  <a:lnTo>
                    <a:pt x="2763" y="1774"/>
                  </a:lnTo>
                  <a:lnTo>
                    <a:pt x="2761" y="1778"/>
                  </a:lnTo>
                  <a:lnTo>
                    <a:pt x="2761" y="1780"/>
                  </a:lnTo>
                  <a:lnTo>
                    <a:pt x="2757" y="1784"/>
                  </a:lnTo>
                  <a:lnTo>
                    <a:pt x="2755" y="1786"/>
                  </a:lnTo>
                  <a:lnTo>
                    <a:pt x="2751" y="1788"/>
                  </a:lnTo>
                  <a:lnTo>
                    <a:pt x="2751" y="1792"/>
                  </a:lnTo>
                  <a:lnTo>
                    <a:pt x="2745" y="1799"/>
                  </a:lnTo>
                  <a:lnTo>
                    <a:pt x="2745" y="1803"/>
                  </a:lnTo>
                  <a:lnTo>
                    <a:pt x="2743" y="1807"/>
                  </a:lnTo>
                  <a:lnTo>
                    <a:pt x="2740" y="1815"/>
                  </a:lnTo>
                  <a:lnTo>
                    <a:pt x="2738" y="1823"/>
                  </a:lnTo>
                  <a:lnTo>
                    <a:pt x="2738" y="1828"/>
                  </a:lnTo>
                  <a:lnTo>
                    <a:pt x="2736" y="1830"/>
                  </a:lnTo>
                  <a:lnTo>
                    <a:pt x="2736" y="1830"/>
                  </a:lnTo>
                  <a:lnTo>
                    <a:pt x="2734" y="1832"/>
                  </a:lnTo>
                  <a:lnTo>
                    <a:pt x="2734" y="1832"/>
                  </a:lnTo>
                  <a:lnTo>
                    <a:pt x="2734" y="1834"/>
                  </a:lnTo>
                  <a:lnTo>
                    <a:pt x="2734" y="1834"/>
                  </a:lnTo>
                  <a:lnTo>
                    <a:pt x="2734" y="1842"/>
                  </a:lnTo>
                  <a:lnTo>
                    <a:pt x="2734" y="1844"/>
                  </a:lnTo>
                  <a:lnTo>
                    <a:pt x="2734" y="1848"/>
                  </a:lnTo>
                  <a:lnTo>
                    <a:pt x="2734" y="1852"/>
                  </a:lnTo>
                  <a:lnTo>
                    <a:pt x="2734" y="1856"/>
                  </a:lnTo>
                  <a:lnTo>
                    <a:pt x="2734" y="1861"/>
                  </a:lnTo>
                  <a:lnTo>
                    <a:pt x="2734" y="1865"/>
                  </a:lnTo>
                  <a:lnTo>
                    <a:pt x="2736" y="1867"/>
                  </a:lnTo>
                  <a:lnTo>
                    <a:pt x="2738" y="1871"/>
                  </a:lnTo>
                  <a:lnTo>
                    <a:pt x="2738" y="1871"/>
                  </a:lnTo>
                  <a:lnTo>
                    <a:pt x="2743" y="1875"/>
                  </a:lnTo>
                  <a:lnTo>
                    <a:pt x="2745" y="1877"/>
                  </a:lnTo>
                  <a:lnTo>
                    <a:pt x="2753" y="1894"/>
                  </a:lnTo>
                  <a:lnTo>
                    <a:pt x="2755" y="1896"/>
                  </a:lnTo>
                  <a:lnTo>
                    <a:pt x="2755" y="1900"/>
                  </a:lnTo>
                  <a:lnTo>
                    <a:pt x="2759" y="1906"/>
                  </a:lnTo>
                  <a:lnTo>
                    <a:pt x="2763" y="1914"/>
                  </a:lnTo>
                  <a:lnTo>
                    <a:pt x="2765" y="1916"/>
                  </a:lnTo>
                  <a:lnTo>
                    <a:pt x="2765" y="1918"/>
                  </a:lnTo>
                  <a:lnTo>
                    <a:pt x="2771" y="1925"/>
                  </a:lnTo>
                  <a:lnTo>
                    <a:pt x="2773" y="1929"/>
                  </a:lnTo>
                  <a:lnTo>
                    <a:pt x="2773" y="1933"/>
                  </a:lnTo>
                  <a:lnTo>
                    <a:pt x="2773" y="1935"/>
                  </a:lnTo>
                  <a:lnTo>
                    <a:pt x="2773" y="1937"/>
                  </a:lnTo>
                  <a:lnTo>
                    <a:pt x="2773" y="1937"/>
                  </a:lnTo>
                  <a:lnTo>
                    <a:pt x="2771" y="1935"/>
                  </a:lnTo>
                  <a:lnTo>
                    <a:pt x="2771" y="1937"/>
                  </a:lnTo>
                  <a:lnTo>
                    <a:pt x="2771" y="1939"/>
                  </a:lnTo>
                  <a:lnTo>
                    <a:pt x="2773" y="1941"/>
                  </a:lnTo>
                  <a:lnTo>
                    <a:pt x="2773" y="1945"/>
                  </a:lnTo>
                  <a:lnTo>
                    <a:pt x="2773" y="1947"/>
                  </a:lnTo>
                  <a:lnTo>
                    <a:pt x="2773" y="1953"/>
                  </a:lnTo>
                  <a:lnTo>
                    <a:pt x="2773" y="1956"/>
                  </a:lnTo>
                  <a:lnTo>
                    <a:pt x="2776" y="1960"/>
                  </a:lnTo>
                  <a:lnTo>
                    <a:pt x="2778" y="1964"/>
                  </a:lnTo>
                  <a:lnTo>
                    <a:pt x="2778" y="1968"/>
                  </a:lnTo>
                  <a:lnTo>
                    <a:pt x="2778" y="1972"/>
                  </a:lnTo>
                  <a:lnTo>
                    <a:pt x="2778" y="1972"/>
                  </a:lnTo>
                  <a:lnTo>
                    <a:pt x="2778" y="1976"/>
                  </a:lnTo>
                  <a:lnTo>
                    <a:pt x="2778" y="1978"/>
                  </a:lnTo>
                  <a:lnTo>
                    <a:pt x="2780" y="1982"/>
                  </a:lnTo>
                  <a:lnTo>
                    <a:pt x="2780" y="1987"/>
                  </a:lnTo>
                  <a:lnTo>
                    <a:pt x="2782" y="1989"/>
                  </a:lnTo>
                  <a:lnTo>
                    <a:pt x="2782" y="1991"/>
                  </a:lnTo>
                  <a:lnTo>
                    <a:pt x="2782" y="1991"/>
                  </a:lnTo>
                  <a:lnTo>
                    <a:pt x="2782" y="1993"/>
                  </a:lnTo>
                  <a:lnTo>
                    <a:pt x="2782" y="1995"/>
                  </a:lnTo>
                  <a:lnTo>
                    <a:pt x="2784" y="1997"/>
                  </a:lnTo>
                  <a:lnTo>
                    <a:pt x="2784" y="2001"/>
                  </a:lnTo>
                  <a:lnTo>
                    <a:pt x="2786" y="2003"/>
                  </a:lnTo>
                  <a:lnTo>
                    <a:pt x="2790" y="2011"/>
                  </a:lnTo>
                  <a:lnTo>
                    <a:pt x="2792" y="2015"/>
                  </a:lnTo>
                  <a:lnTo>
                    <a:pt x="2794" y="2015"/>
                  </a:lnTo>
                  <a:lnTo>
                    <a:pt x="2798" y="2022"/>
                  </a:lnTo>
                  <a:lnTo>
                    <a:pt x="2800" y="2022"/>
                  </a:lnTo>
                  <a:lnTo>
                    <a:pt x="2800" y="2024"/>
                  </a:lnTo>
                  <a:lnTo>
                    <a:pt x="2804" y="2028"/>
                  </a:lnTo>
                  <a:lnTo>
                    <a:pt x="2809" y="2034"/>
                  </a:lnTo>
                  <a:lnTo>
                    <a:pt x="2811" y="2044"/>
                  </a:lnTo>
                  <a:lnTo>
                    <a:pt x="2813" y="2051"/>
                  </a:lnTo>
                  <a:lnTo>
                    <a:pt x="2819" y="2059"/>
                  </a:lnTo>
                  <a:lnTo>
                    <a:pt x="2823" y="2065"/>
                  </a:lnTo>
                  <a:lnTo>
                    <a:pt x="2825" y="2069"/>
                  </a:lnTo>
                  <a:lnTo>
                    <a:pt x="2825" y="2071"/>
                  </a:lnTo>
                  <a:lnTo>
                    <a:pt x="2827" y="2077"/>
                  </a:lnTo>
                  <a:lnTo>
                    <a:pt x="2827" y="2079"/>
                  </a:lnTo>
                  <a:lnTo>
                    <a:pt x="2827" y="2084"/>
                  </a:lnTo>
                  <a:lnTo>
                    <a:pt x="2827" y="2086"/>
                  </a:lnTo>
                  <a:lnTo>
                    <a:pt x="2825" y="2086"/>
                  </a:lnTo>
                  <a:lnTo>
                    <a:pt x="2823" y="2088"/>
                  </a:lnTo>
                  <a:lnTo>
                    <a:pt x="2823" y="2086"/>
                  </a:lnTo>
                  <a:lnTo>
                    <a:pt x="2821" y="2086"/>
                  </a:lnTo>
                  <a:lnTo>
                    <a:pt x="2821" y="2088"/>
                  </a:lnTo>
                  <a:lnTo>
                    <a:pt x="2821" y="2090"/>
                  </a:lnTo>
                  <a:lnTo>
                    <a:pt x="2823" y="2092"/>
                  </a:lnTo>
                  <a:lnTo>
                    <a:pt x="2823" y="2094"/>
                  </a:lnTo>
                  <a:lnTo>
                    <a:pt x="2825" y="2094"/>
                  </a:lnTo>
                  <a:lnTo>
                    <a:pt x="2825" y="2096"/>
                  </a:lnTo>
                  <a:lnTo>
                    <a:pt x="2827" y="2098"/>
                  </a:lnTo>
                  <a:lnTo>
                    <a:pt x="2827" y="2098"/>
                  </a:lnTo>
                  <a:lnTo>
                    <a:pt x="2829" y="2102"/>
                  </a:lnTo>
                  <a:lnTo>
                    <a:pt x="2829" y="2102"/>
                  </a:lnTo>
                  <a:lnTo>
                    <a:pt x="2829" y="2104"/>
                  </a:lnTo>
                  <a:lnTo>
                    <a:pt x="2827" y="2106"/>
                  </a:lnTo>
                  <a:lnTo>
                    <a:pt x="2827" y="2108"/>
                  </a:lnTo>
                  <a:lnTo>
                    <a:pt x="2827" y="2108"/>
                  </a:lnTo>
                  <a:lnTo>
                    <a:pt x="2829" y="2110"/>
                  </a:lnTo>
                  <a:lnTo>
                    <a:pt x="2829" y="2112"/>
                  </a:lnTo>
                  <a:lnTo>
                    <a:pt x="2829" y="2108"/>
                  </a:lnTo>
                  <a:lnTo>
                    <a:pt x="2829" y="2108"/>
                  </a:lnTo>
                  <a:lnTo>
                    <a:pt x="2831" y="2108"/>
                  </a:lnTo>
                  <a:lnTo>
                    <a:pt x="2831" y="2108"/>
                  </a:lnTo>
                  <a:lnTo>
                    <a:pt x="2833" y="2108"/>
                  </a:lnTo>
                  <a:lnTo>
                    <a:pt x="2833" y="2108"/>
                  </a:lnTo>
                  <a:lnTo>
                    <a:pt x="2835" y="2108"/>
                  </a:lnTo>
                  <a:lnTo>
                    <a:pt x="2835" y="2108"/>
                  </a:lnTo>
                  <a:lnTo>
                    <a:pt x="2835" y="2110"/>
                  </a:lnTo>
                  <a:lnTo>
                    <a:pt x="2835" y="2110"/>
                  </a:lnTo>
                  <a:lnTo>
                    <a:pt x="2835" y="2112"/>
                  </a:lnTo>
                  <a:lnTo>
                    <a:pt x="2835" y="2112"/>
                  </a:lnTo>
                  <a:lnTo>
                    <a:pt x="2837" y="2112"/>
                  </a:lnTo>
                  <a:lnTo>
                    <a:pt x="2839" y="2112"/>
                  </a:lnTo>
                  <a:lnTo>
                    <a:pt x="2839" y="2112"/>
                  </a:lnTo>
                  <a:lnTo>
                    <a:pt x="2842" y="2112"/>
                  </a:lnTo>
                  <a:lnTo>
                    <a:pt x="2842" y="2112"/>
                  </a:lnTo>
                  <a:lnTo>
                    <a:pt x="2842" y="2115"/>
                  </a:lnTo>
                  <a:lnTo>
                    <a:pt x="2842" y="2115"/>
                  </a:lnTo>
                  <a:lnTo>
                    <a:pt x="2842" y="2117"/>
                  </a:lnTo>
                  <a:lnTo>
                    <a:pt x="2844" y="2117"/>
                  </a:lnTo>
                  <a:lnTo>
                    <a:pt x="2846" y="2119"/>
                  </a:lnTo>
                  <a:lnTo>
                    <a:pt x="2850" y="2119"/>
                  </a:lnTo>
                  <a:lnTo>
                    <a:pt x="2850" y="2119"/>
                  </a:lnTo>
                  <a:lnTo>
                    <a:pt x="2852" y="2119"/>
                  </a:lnTo>
                  <a:lnTo>
                    <a:pt x="2858" y="2115"/>
                  </a:lnTo>
                  <a:lnTo>
                    <a:pt x="2858" y="2115"/>
                  </a:lnTo>
                  <a:lnTo>
                    <a:pt x="2862" y="2112"/>
                  </a:lnTo>
                  <a:lnTo>
                    <a:pt x="2864" y="2112"/>
                  </a:lnTo>
                  <a:lnTo>
                    <a:pt x="2866" y="2112"/>
                  </a:lnTo>
                  <a:lnTo>
                    <a:pt x="2866" y="2112"/>
                  </a:lnTo>
                  <a:lnTo>
                    <a:pt x="2868" y="2112"/>
                  </a:lnTo>
                  <a:lnTo>
                    <a:pt x="2870" y="2112"/>
                  </a:lnTo>
                  <a:lnTo>
                    <a:pt x="2875" y="2112"/>
                  </a:lnTo>
                  <a:lnTo>
                    <a:pt x="2877" y="2112"/>
                  </a:lnTo>
                  <a:lnTo>
                    <a:pt x="2883" y="2108"/>
                  </a:lnTo>
                  <a:lnTo>
                    <a:pt x="2887" y="2106"/>
                  </a:lnTo>
                  <a:lnTo>
                    <a:pt x="2887" y="2106"/>
                  </a:lnTo>
                  <a:lnTo>
                    <a:pt x="2891" y="2106"/>
                  </a:lnTo>
                  <a:lnTo>
                    <a:pt x="2893" y="2108"/>
                  </a:lnTo>
                  <a:lnTo>
                    <a:pt x="2897" y="2108"/>
                  </a:lnTo>
                  <a:lnTo>
                    <a:pt x="2899" y="2108"/>
                  </a:lnTo>
                  <a:lnTo>
                    <a:pt x="2903" y="2106"/>
                  </a:lnTo>
                  <a:lnTo>
                    <a:pt x="2903" y="2106"/>
                  </a:lnTo>
                  <a:lnTo>
                    <a:pt x="2912" y="2106"/>
                  </a:lnTo>
                  <a:lnTo>
                    <a:pt x="2918" y="2108"/>
                  </a:lnTo>
                  <a:lnTo>
                    <a:pt x="2920" y="2108"/>
                  </a:lnTo>
                  <a:lnTo>
                    <a:pt x="2922" y="2106"/>
                  </a:lnTo>
                  <a:lnTo>
                    <a:pt x="2922" y="2106"/>
                  </a:lnTo>
                  <a:lnTo>
                    <a:pt x="2926" y="2106"/>
                  </a:lnTo>
                  <a:lnTo>
                    <a:pt x="2930" y="2106"/>
                  </a:lnTo>
                  <a:lnTo>
                    <a:pt x="2930" y="2106"/>
                  </a:lnTo>
                  <a:lnTo>
                    <a:pt x="2932" y="2106"/>
                  </a:lnTo>
                  <a:lnTo>
                    <a:pt x="2932" y="2104"/>
                  </a:lnTo>
                  <a:lnTo>
                    <a:pt x="2934" y="2102"/>
                  </a:lnTo>
                  <a:lnTo>
                    <a:pt x="2936" y="2102"/>
                  </a:lnTo>
                  <a:lnTo>
                    <a:pt x="2943" y="2102"/>
                  </a:lnTo>
                  <a:lnTo>
                    <a:pt x="2947" y="2102"/>
                  </a:lnTo>
                  <a:lnTo>
                    <a:pt x="2953" y="2098"/>
                  </a:lnTo>
                  <a:lnTo>
                    <a:pt x="2957" y="2096"/>
                  </a:lnTo>
                  <a:lnTo>
                    <a:pt x="2961" y="2092"/>
                  </a:lnTo>
                  <a:lnTo>
                    <a:pt x="2963" y="2092"/>
                  </a:lnTo>
                  <a:lnTo>
                    <a:pt x="2969" y="2088"/>
                  </a:lnTo>
                  <a:lnTo>
                    <a:pt x="2971" y="2084"/>
                  </a:lnTo>
                  <a:lnTo>
                    <a:pt x="2978" y="2079"/>
                  </a:lnTo>
                  <a:lnTo>
                    <a:pt x="2982" y="2075"/>
                  </a:lnTo>
                  <a:lnTo>
                    <a:pt x="2986" y="2069"/>
                  </a:lnTo>
                  <a:lnTo>
                    <a:pt x="2990" y="2067"/>
                  </a:lnTo>
                  <a:lnTo>
                    <a:pt x="2992" y="2065"/>
                  </a:lnTo>
                  <a:lnTo>
                    <a:pt x="2994" y="2065"/>
                  </a:lnTo>
                  <a:lnTo>
                    <a:pt x="2998" y="2059"/>
                  </a:lnTo>
                  <a:lnTo>
                    <a:pt x="3000" y="2055"/>
                  </a:lnTo>
                  <a:lnTo>
                    <a:pt x="3004" y="2051"/>
                  </a:lnTo>
                  <a:lnTo>
                    <a:pt x="3006" y="2044"/>
                  </a:lnTo>
                  <a:lnTo>
                    <a:pt x="3009" y="2042"/>
                  </a:lnTo>
                  <a:lnTo>
                    <a:pt x="3011" y="2038"/>
                  </a:lnTo>
                  <a:lnTo>
                    <a:pt x="3013" y="2034"/>
                  </a:lnTo>
                  <a:lnTo>
                    <a:pt x="3019" y="2028"/>
                  </a:lnTo>
                  <a:lnTo>
                    <a:pt x="3021" y="2028"/>
                  </a:lnTo>
                  <a:lnTo>
                    <a:pt x="3021" y="2026"/>
                  </a:lnTo>
                  <a:lnTo>
                    <a:pt x="3023" y="2026"/>
                  </a:lnTo>
                  <a:lnTo>
                    <a:pt x="3027" y="2022"/>
                  </a:lnTo>
                  <a:lnTo>
                    <a:pt x="3027" y="2020"/>
                  </a:lnTo>
                  <a:lnTo>
                    <a:pt x="3029" y="2015"/>
                  </a:lnTo>
                  <a:lnTo>
                    <a:pt x="3031" y="2007"/>
                  </a:lnTo>
                  <a:lnTo>
                    <a:pt x="3033" y="2005"/>
                  </a:lnTo>
                  <a:lnTo>
                    <a:pt x="3035" y="1999"/>
                  </a:lnTo>
                  <a:lnTo>
                    <a:pt x="3035" y="1995"/>
                  </a:lnTo>
                  <a:lnTo>
                    <a:pt x="3035" y="1995"/>
                  </a:lnTo>
                  <a:lnTo>
                    <a:pt x="3035" y="1987"/>
                  </a:lnTo>
                  <a:lnTo>
                    <a:pt x="3035" y="1984"/>
                  </a:lnTo>
                  <a:lnTo>
                    <a:pt x="3035" y="1984"/>
                  </a:lnTo>
                  <a:lnTo>
                    <a:pt x="3035" y="1984"/>
                  </a:lnTo>
                  <a:lnTo>
                    <a:pt x="3035" y="1987"/>
                  </a:lnTo>
                  <a:lnTo>
                    <a:pt x="3033" y="1987"/>
                  </a:lnTo>
                  <a:lnTo>
                    <a:pt x="3033" y="1987"/>
                  </a:lnTo>
                  <a:lnTo>
                    <a:pt x="3033" y="1984"/>
                  </a:lnTo>
                  <a:lnTo>
                    <a:pt x="3031" y="1984"/>
                  </a:lnTo>
                  <a:lnTo>
                    <a:pt x="3031" y="1982"/>
                  </a:lnTo>
                  <a:lnTo>
                    <a:pt x="3031" y="1980"/>
                  </a:lnTo>
                  <a:lnTo>
                    <a:pt x="3033" y="1980"/>
                  </a:lnTo>
                  <a:lnTo>
                    <a:pt x="3033" y="1976"/>
                  </a:lnTo>
                  <a:lnTo>
                    <a:pt x="3035" y="1974"/>
                  </a:lnTo>
                  <a:lnTo>
                    <a:pt x="3042" y="1972"/>
                  </a:lnTo>
                  <a:lnTo>
                    <a:pt x="3044" y="1970"/>
                  </a:lnTo>
                  <a:lnTo>
                    <a:pt x="3048" y="1968"/>
                  </a:lnTo>
                  <a:lnTo>
                    <a:pt x="3060" y="1964"/>
                  </a:lnTo>
                  <a:lnTo>
                    <a:pt x="3064" y="1962"/>
                  </a:lnTo>
                  <a:lnTo>
                    <a:pt x="3068" y="1960"/>
                  </a:lnTo>
                  <a:lnTo>
                    <a:pt x="3068" y="1960"/>
                  </a:lnTo>
                  <a:lnTo>
                    <a:pt x="3072" y="1956"/>
                  </a:lnTo>
                  <a:lnTo>
                    <a:pt x="3072" y="1953"/>
                  </a:lnTo>
                  <a:lnTo>
                    <a:pt x="3072" y="1949"/>
                  </a:lnTo>
                  <a:lnTo>
                    <a:pt x="3072" y="1949"/>
                  </a:lnTo>
                  <a:lnTo>
                    <a:pt x="3072" y="1949"/>
                  </a:lnTo>
                  <a:lnTo>
                    <a:pt x="3072" y="1949"/>
                  </a:lnTo>
                  <a:lnTo>
                    <a:pt x="3070" y="1949"/>
                  </a:lnTo>
                  <a:lnTo>
                    <a:pt x="3070" y="1949"/>
                  </a:lnTo>
                  <a:lnTo>
                    <a:pt x="3070" y="1947"/>
                  </a:lnTo>
                  <a:lnTo>
                    <a:pt x="3072" y="1941"/>
                  </a:lnTo>
                  <a:lnTo>
                    <a:pt x="3075" y="1937"/>
                  </a:lnTo>
                  <a:lnTo>
                    <a:pt x="3072" y="1935"/>
                  </a:lnTo>
                  <a:lnTo>
                    <a:pt x="3072" y="1933"/>
                  </a:lnTo>
                  <a:lnTo>
                    <a:pt x="3072" y="1929"/>
                  </a:lnTo>
                  <a:lnTo>
                    <a:pt x="3072" y="1927"/>
                  </a:lnTo>
                  <a:lnTo>
                    <a:pt x="3072" y="1927"/>
                  </a:lnTo>
                  <a:lnTo>
                    <a:pt x="3072" y="1925"/>
                  </a:lnTo>
                  <a:lnTo>
                    <a:pt x="3072" y="1925"/>
                  </a:lnTo>
                  <a:lnTo>
                    <a:pt x="3072" y="1925"/>
                  </a:lnTo>
                  <a:lnTo>
                    <a:pt x="3070" y="1925"/>
                  </a:lnTo>
                  <a:lnTo>
                    <a:pt x="3070" y="1927"/>
                  </a:lnTo>
                  <a:lnTo>
                    <a:pt x="3070" y="1929"/>
                  </a:lnTo>
                  <a:lnTo>
                    <a:pt x="3070" y="1929"/>
                  </a:lnTo>
                  <a:lnTo>
                    <a:pt x="3070" y="1929"/>
                  </a:lnTo>
                  <a:lnTo>
                    <a:pt x="3070" y="1927"/>
                  </a:lnTo>
                  <a:lnTo>
                    <a:pt x="3070" y="1923"/>
                  </a:lnTo>
                  <a:lnTo>
                    <a:pt x="3068" y="1918"/>
                  </a:lnTo>
                  <a:lnTo>
                    <a:pt x="3068" y="1918"/>
                  </a:lnTo>
                  <a:lnTo>
                    <a:pt x="3066" y="1914"/>
                  </a:lnTo>
                  <a:lnTo>
                    <a:pt x="3066" y="1910"/>
                  </a:lnTo>
                  <a:lnTo>
                    <a:pt x="3064" y="1904"/>
                  </a:lnTo>
                  <a:lnTo>
                    <a:pt x="3064" y="1902"/>
                  </a:lnTo>
                  <a:lnTo>
                    <a:pt x="3062" y="1902"/>
                  </a:lnTo>
                  <a:lnTo>
                    <a:pt x="3060" y="1900"/>
                  </a:lnTo>
                  <a:lnTo>
                    <a:pt x="3060" y="1900"/>
                  </a:lnTo>
                  <a:lnTo>
                    <a:pt x="3062" y="1894"/>
                  </a:lnTo>
                  <a:lnTo>
                    <a:pt x="3062" y="1892"/>
                  </a:lnTo>
                  <a:lnTo>
                    <a:pt x="3062" y="1889"/>
                  </a:lnTo>
                  <a:lnTo>
                    <a:pt x="3062" y="1889"/>
                  </a:lnTo>
                  <a:lnTo>
                    <a:pt x="3060" y="1889"/>
                  </a:lnTo>
                  <a:lnTo>
                    <a:pt x="3062" y="1889"/>
                  </a:lnTo>
                  <a:lnTo>
                    <a:pt x="3064" y="1889"/>
                  </a:lnTo>
                  <a:lnTo>
                    <a:pt x="3064" y="1889"/>
                  </a:lnTo>
                  <a:lnTo>
                    <a:pt x="3064" y="1889"/>
                  </a:lnTo>
                  <a:lnTo>
                    <a:pt x="3070" y="1885"/>
                  </a:lnTo>
                  <a:lnTo>
                    <a:pt x="3075" y="1881"/>
                  </a:lnTo>
                  <a:lnTo>
                    <a:pt x="3077" y="1879"/>
                  </a:lnTo>
                  <a:lnTo>
                    <a:pt x="3079" y="1877"/>
                  </a:lnTo>
                  <a:lnTo>
                    <a:pt x="3081" y="1875"/>
                  </a:lnTo>
                  <a:lnTo>
                    <a:pt x="3083" y="1877"/>
                  </a:lnTo>
                  <a:lnTo>
                    <a:pt x="3083" y="1877"/>
                  </a:lnTo>
                  <a:lnTo>
                    <a:pt x="3083" y="1875"/>
                  </a:lnTo>
                  <a:lnTo>
                    <a:pt x="3085" y="1875"/>
                  </a:lnTo>
                  <a:lnTo>
                    <a:pt x="3085" y="1875"/>
                  </a:lnTo>
                  <a:lnTo>
                    <a:pt x="3085" y="1873"/>
                  </a:lnTo>
                  <a:lnTo>
                    <a:pt x="3087" y="1873"/>
                  </a:lnTo>
                  <a:lnTo>
                    <a:pt x="3087" y="1871"/>
                  </a:lnTo>
                  <a:lnTo>
                    <a:pt x="3091" y="1869"/>
                  </a:lnTo>
                  <a:lnTo>
                    <a:pt x="3093" y="1865"/>
                  </a:lnTo>
                  <a:lnTo>
                    <a:pt x="3093" y="1865"/>
                  </a:lnTo>
                  <a:lnTo>
                    <a:pt x="3093" y="1863"/>
                  </a:lnTo>
                  <a:lnTo>
                    <a:pt x="3093" y="1863"/>
                  </a:lnTo>
                  <a:lnTo>
                    <a:pt x="3095" y="1863"/>
                  </a:lnTo>
                  <a:lnTo>
                    <a:pt x="3097" y="1861"/>
                  </a:lnTo>
                  <a:lnTo>
                    <a:pt x="3101" y="1856"/>
                  </a:lnTo>
                  <a:lnTo>
                    <a:pt x="3105" y="1854"/>
                  </a:lnTo>
                  <a:lnTo>
                    <a:pt x="3110" y="1854"/>
                  </a:lnTo>
                  <a:lnTo>
                    <a:pt x="3110" y="1852"/>
                  </a:lnTo>
                  <a:lnTo>
                    <a:pt x="3110" y="1852"/>
                  </a:lnTo>
                  <a:lnTo>
                    <a:pt x="3114" y="1852"/>
                  </a:lnTo>
                  <a:lnTo>
                    <a:pt x="3118" y="1850"/>
                  </a:lnTo>
                  <a:lnTo>
                    <a:pt x="3118" y="1850"/>
                  </a:lnTo>
                  <a:lnTo>
                    <a:pt x="3118" y="1850"/>
                  </a:lnTo>
                  <a:lnTo>
                    <a:pt x="3120" y="1850"/>
                  </a:lnTo>
                  <a:lnTo>
                    <a:pt x="3120" y="1850"/>
                  </a:lnTo>
                  <a:lnTo>
                    <a:pt x="3122" y="1850"/>
                  </a:lnTo>
                  <a:lnTo>
                    <a:pt x="3124" y="1848"/>
                  </a:lnTo>
                  <a:lnTo>
                    <a:pt x="3124" y="1846"/>
                  </a:lnTo>
                  <a:lnTo>
                    <a:pt x="3126" y="1846"/>
                  </a:lnTo>
                  <a:lnTo>
                    <a:pt x="3132" y="1844"/>
                  </a:lnTo>
                  <a:lnTo>
                    <a:pt x="3132" y="1842"/>
                  </a:lnTo>
                  <a:lnTo>
                    <a:pt x="3134" y="1840"/>
                  </a:lnTo>
                  <a:lnTo>
                    <a:pt x="3134" y="1840"/>
                  </a:lnTo>
                  <a:lnTo>
                    <a:pt x="3134" y="1838"/>
                  </a:lnTo>
                  <a:lnTo>
                    <a:pt x="3136" y="1838"/>
                  </a:lnTo>
                  <a:lnTo>
                    <a:pt x="3138" y="1836"/>
                  </a:lnTo>
                  <a:lnTo>
                    <a:pt x="3138" y="1836"/>
                  </a:lnTo>
                  <a:lnTo>
                    <a:pt x="3138" y="1834"/>
                  </a:lnTo>
                  <a:lnTo>
                    <a:pt x="3141" y="1834"/>
                  </a:lnTo>
                  <a:lnTo>
                    <a:pt x="3141" y="1832"/>
                  </a:lnTo>
                  <a:lnTo>
                    <a:pt x="3145" y="1828"/>
                  </a:lnTo>
                  <a:lnTo>
                    <a:pt x="3147" y="1823"/>
                  </a:lnTo>
                  <a:lnTo>
                    <a:pt x="3147" y="1823"/>
                  </a:lnTo>
                  <a:lnTo>
                    <a:pt x="3145" y="1821"/>
                  </a:lnTo>
                  <a:lnTo>
                    <a:pt x="3147" y="1821"/>
                  </a:lnTo>
                  <a:lnTo>
                    <a:pt x="3147" y="1821"/>
                  </a:lnTo>
                  <a:lnTo>
                    <a:pt x="3147" y="1821"/>
                  </a:lnTo>
                  <a:lnTo>
                    <a:pt x="3147" y="1819"/>
                  </a:lnTo>
                  <a:lnTo>
                    <a:pt x="3147" y="1817"/>
                  </a:lnTo>
                  <a:lnTo>
                    <a:pt x="3149" y="1817"/>
                  </a:lnTo>
                  <a:lnTo>
                    <a:pt x="3149" y="1815"/>
                  </a:lnTo>
                  <a:lnTo>
                    <a:pt x="3149" y="1815"/>
                  </a:lnTo>
                  <a:lnTo>
                    <a:pt x="3149" y="1813"/>
                  </a:lnTo>
                  <a:lnTo>
                    <a:pt x="3149" y="1813"/>
                  </a:lnTo>
                  <a:lnTo>
                    <a:pt x="3149" y="1813"/>
                  </a:lnTo>
                  <a:lnTo>
                    <a:pt x="3147" y="1811"/>
                  </a:lnTo>
                  <a:lnTo>
                    <a:pt x="3147" y="1811"/>
                  </a:lnTo>
                  <a:lnTo>
                    <a:pt x="3147" y="1813"/>
                  </a:lnTo>
                  <a:lnTo>
                    <a:pt x="3147" y="1813"/>
                  </a:lnTo>
                  <a:lnTo>
                    <a:pt x="3147" y="1811"/>
                  </a:lnTo>
                  <a:lnTo>
                    <a:pt x="3147" y="1809"/>
                  </a:lnTo>
                  <a:lnTo>
                    <a:pt x="3147" y="1809"/>
                  </a:lnTo>
                  <a:lnTo>
                    <a:pt x="3147" y="1809"/>
                  </a:lnTo>
                  <a:lnTo>
                    <a:pt x="3145" y="1809"/>
                  </a:lnTo>
                  <a:lnTo>
                    <a:pt x="3145" y="1807"/>
                  </a:lnTo>
                  <a:lnTo>
                    <a:pt x="3145" y="1803"/>
                  </a:lnTo>
                  <a:lnTo>
                    <a:pt x="3145" y="1801"/>
                  </a:lnTo>
                  <a:lnTo>
                    <a:pt x="3145" y="1799"/>
                  </a:lnTo>
                  <a:lnTo>
                    <a:pt x="3145" y="1799"/>
                  </a:lnTo>
                  <a:lnTo>
                    <a:pt x="3145" y="1797"/>
                  </a:lnTo>
                  <a:lnTo>
                    <a:pt x="3145" y="1797"/>
                  </a:lnTo>
                  <a:lnTo>
                    <a:pt x="3145" y="1794"/>
                  </a:lnTo>
                  <a:lnTo>
                    <a:pt x="3145" y="1792"/>
                  </a:lnTo>
                  <a:lnTo>
                    <a:pt x="3145" y="1792"/>
                  </a:lnTo>
                  <a:lnTo>
                    <a:pt x="3145" y="1790"/>
                  </a:lnTo>
                  <a:lnTo>
                    <a:pt x="3143" y="1790"/>
                  </a:lnTo>
                  <a:lnTo>
                    <a:pt x="3143" y="1790"/>
                  </a:lnTo>
                  <a:lnTo>
                    <a:pt x="3143" y="1790"/>
                  </a:lnTo>
                  <a:lnTo>
                    <a:pt x="3145" y="1788"/>
                  </a:lnTo>
                  <a:lnTo>
                    <a:pt x="3145" y="1788"/>
                  </a:lnTo>
                  <a:lnTo>
                    <a:pt x="3145" y="1786"/>
                  </a:lnTo>
                  <a:lnTo>
                    <a:pt x="3145" y="1784"/>
                  </a:lnTo>
                  <a:lnTo>
                    <a:pt x="3143" y="1784"/>
                  </a:lnTo>
                  <a:lnTo>
                    <a:pt x="3145" y="1782"/>
                  </a:lnTo>
                  <a:lnTo>
                    <a:pt x="3145" y="1782"/>
                  </a:lnTo>
                  <a:lnTo>
                    <a:pt x="3145" y="1778"/>
                  </a:lnTo>
                  <a:lnTo>
                    <a:pt x="3145" y="1778"/>
                  </a:lnTo>
                  <a:lnTo>
                    <a:pt x="3145" y="1776"/>
                  </a:lnTo>
                  <a:lnTo>
                    <a:pt x="3145" y="1774"/>
                  </a:lnTo>
                  <a:lnTo>
                    <a:pt x="3143" y="1772"/>
                  </a:lnTo>
                  <a:lnTo>
                    <a:pt x="3143" y="1770"/>
                  </a:lnTo>
                  <a:lnTo>
                    <a:pt x="3143" y="1768"/>
                  </a:lnTo>
                  <a:lnTo>
                    <a:pt x="3143" y="1766"/>
                  </a:lnTo>
                  <a:lnTo>
                    <a:pt x="3145" y="1766"/>
                  </a:lnTo>
                  <a:lnTo>
                    <a:pt x="3145" y="1764"/>
                  </a:lnTo>
                  <a:lnTo>
                    <a:pt x="3145" y="1764"/>
                  </a:lnTo>
                  <a:lnTo>
                    <a:pt x="3145" y="1764"/>
                  </a:lnTo>
                  <a:lnTo>
                    <a:pt x="3145" y="1761"/>
                  </a:lnTo>
                  <a:lnTo>
                    <a:pt x="3145" y="1759"/>
                  </a:lnTo>
                  <a:lnTo>
                    <a:pt x="3143" y="1759"/>
                  </a:lnTo>
                  <a:lnTo>
                    <a:pt x="3145" y="1759"/>
                  </a:lnTo>
                  <a:lnTo>
                    <a:pt x="3145" y="1757"/>
                  </a:lnTo>
                  <a:lnTo>
                    <a:pt x="3145" y="1757"/>
                  </a:lnTo>
                  <a:lnTo>
                    <a:pt x="3143" y="1755"/>
                  </a:lnTo>
                  <a:lnTo>
                    <a:pt x="3143" y="1755"/>
                  </a:lnTo>
                  <a:lnTo>
                    <a:pt x="3143" y="1753"/>
                  </a:lnTo>
                  <a:lnTo>
                    <a:pt x="3143" y="1753"/>
                  </a:lnTo>
                  <a:lnTo>
                    <a:pt x="3141" y="1751"/>
                  </a:lnTo>
                  <a:lnTo>
                    <a:pt x="3138" y="1751"/>
                  </a:lnTo>
                  <a:lnTo>
                    <a:pt x="3138" y="1751"/>
                  </a:lnTo>
                  <a:lnTo>
                    <a:pt x="3136" y="1751"/>
                  </a:lnTo>
                  <a:lnTo>
                    <a:pt x="3136" y="1749"/>
                  </a:lnTo>
                  <a:lnTo>
                    <a:pt x="3134" y="1749"/>
                  </a:lnTo>
                  <a:lnTo>
                    <a:pt x="3132" y="1749"/>
                  </a:lnTo>
                  <a:lnTo>
                    <a:pt x="3134" y="1747"/>
                  </a:lnTo>
                  <a:lnTo>
                    <a:pt x="3134" y="1747"/>
                  </a:lnTo>
                  <a:lnTo>
                    <a:pt x="3132" y="1745"/>
                  </a:lnTo>
                  <a:lnTo>
                    <a:pt x="3132" y="1743"/>
                  </a:lnTo>
                  <a:lnTo>
                    <a:pt x="3132" y="1741"/>
                  </a:lnTo>
                  <a:lnTo>
                    <a:pt x="3132" y="1737"/>
                  </a:lnTo>
                  <a:lnTo>
                    <a:pt x="3128" y="1733"/>
                  </a:lnTo>
                  <a:lnTo>
                    <a:pt x="3130" y="1733"/>
                  </a:lnTo>
                  <a:lnTo>
                    <a:pt x="3130" y="1733"/>
                  </a:lnTo>
                  <a:lnTo>
                    <a:pt x="3128" y="1730"/>
                  </a:lnTo>
                  <a:lnTo>
                    <a:pt x="3126" y="1726"/>
                  </a:lnTo>
                  <a:lnTo>
                    <a:pt x="3126" y="1724"/>
                  </a:lnTo>
                  <a:lnTo>
                    <a:pt x="3128" y="1724"/>
                  </a:lnTo>
                  <a:lnTo>
                    <a:pt x="3128" y="1720"/>
                  </a:lnTo>
                  <a:lnTo>
                    <a:pt x="3128" y="1718"/>
                  </a:lnTo>
                  <a:lnTo>
                    <a:pt x="3126" y="1716"/>
                  </a:lnTo>
                  <a:lnTo>
                    <a:pt x="3126" y="1716"/>
                  </a:lnTo>
                  <a:lnTo>
                    <a:pt x="3126" y="1714"/>
                  </a:lnTo>
                  <a:lnTo>
                    <a:pt x="3128" y="1710"/>
                  </a:lnTo>
                  <a:lnTo>
                    <a:pt x="3128" y="1708"/>
                  </a:lnTo>
                  <a:lnTo>
                    <a:pt x="3130" y="1708"/>
                  </a:lnTo>
                  <a:lnTo>
                    <a:pt x="3130" y="1706"/>
                  </a:lnTo>
                  <a:lnTo>
                    <a:pt x="3128" y="1704"/>
                  </a:lnTo>
                  <a:lnTo>
                    <a:pt x="3126" y="1704"/>
                  </a:lnTo>
                  <a:lnTo>
                    <a:pt x="3126" y="1702"/>
                  </a:lnTo>
                  <a:lnTo>
                    <a:pt x="3124" y="1700"/>
                  </a:lnTo>
                  <a:lnTo>
                    <a:pt x="3124" y="1700"/>
                  </a:lnTo>
                  <a:lnTo>
                    <a:pt x="3122" y="1697"/>
                  </a:lnTo>
                  <a:lnTo>
                    <a:pt x="3120" y="1695"/>
                  </a:lnTo>
                  <a:lnTo>
                    <a:pt x="3120" y="1693"/>
                  </a:lnTo>
                  <a:lnTo>
                    <a:pt x="3120" y="1693"/>
                  </a:lnTo>
                  <a:lnTo>
                    <a:pt x="3120" y="1689"/>
                  </a:lnTo>
                  <a:lnTo>
                    <a:pt x="3122" y="1687"/>
                  </a:lnTo>
                  <a:lnTo>
                    <a:pt x="3122" y="1685"/>
                  </a:lnTo>
                  <a:lnTo>
                    <a:pt x="3124" y="1681"/>
                  </a:lnTo>
                  <a:lnTo>
                    <a:pt x="3124" y="1679"/>
                  </a:lnTo>
                  <a:lnTo>
                    <a:pt x="3124" y="1679"/>
                  </a:lnTo>
                  <a:lnTo>
                    <a:pt x="3124" y="1677"/>
                  </a:lnTo>
                  <a:lnTo>
                    <a:pt x="3126" y="1675"/>
                  </a:lnTo>
                  <a:lnTo>
                    <a:pt x="3126" y="1673"/>
                  </a:lnTo>
                  <a:lnTo>
                    <a:pt x="3126" y="1673"/>
                  </a:lnTo>
                  <a:lnTo>
                    <a:pt x="3126" y="1673"/>
                  </a:lnTo>
                  <a:lnTo>
                    <a:pt x="3128" y="1673"/>
                  </a:lnTo>
                  <a:lnTo>
                    <a:pt x="3130" y="1671"/>
                  </a:lnTo>
                  <a:lnTo>
                    <a:pt x="3132" y="1664"/>
                  </a:lnTo>
                  <a:lnTo>
                    <a:pt x="3132" y="1664"/>
                  </a:lnTo>
                  <a:lnTo>
                    <a:pt x="3132" y="1664"/>
                  </a:lnTo>
                  <a:lnTo>
                    <a:pt x="3132" y="1662"/>
                  </a:lnTo>
                  <a:lnTo>
                    <a:pt x="3132" y="1662"/>
                  </a:lnTo>
                  <a:lnTo>
                    <a:pt x="3132" y="1662"/>
                  </a:lnTo>
                  <a:lnTo>
                    <a:pt x="3134" y="1660"/>
                  </a:lnTo>
                  <a:lnTo>
                    <a:pt x="3134" y="1656"/>
                  </a:lnTo>
                  <a:lnTo>
                    <a:pt x="3134" y="1656"/>
                  </a:lnTo>
                  <a:lnTo>
                    <a:pt x="3136" y="1656"/>
                  </a:lnTo>
                  <a:lnTo>
                    <a:pt x="3136" y="1654"/>
                  </a:lnTo>
                  <a:lnTo>
                    <a:pt x="3138" y="1652"/>
                  </a:lnTo>
                  <a:lnTo>
                    <a:pt x="3138" y="1652"/>
                  </a:lnTo>
                  <a:lnTo>
                    <a:pt x="3138" y="1650"/>
                  </a:lnTo>
                  <a:lnTo>
                    <a:pt x="3138" y="1646"/>
                  </a:lnTo>
                  <a:lnTo>
                    <a:pt x="3141" y="1644"/>
                  </a:lnTo>
                  <a:lnTo>
                    <a:pt x="3141" y="1644"/>
                  </a:lnTo>
                  <a:lnTo>
                    <a:pt x="3143" y="1642"/>
                  </a:lnTo>
                  <a:lnTo>
                    <a:pt x="3147" y="1642"/>
                  </a:lnTo>
                  <a:lnTo>
                    <a:pt x="3149" y="1640"/>
                  </a:lnTo>
                  <a:lnTo>
                    <a:pt x="3149" y="1640"/>
                  </a:lnTo>
                  <a:lnTo>
                    <a:pt x="3149" y="1640"/>
                  </a:lnTo>
                  <a:lnTo>
                    <a:pt x="3149" y="1638"/>
                  </a:lnTo>
                  <a:lnTo>
                    <a:pt x="3149" y="1638"/>
                  </a:lnTo>
                  <a:lnTo>
                    <a:pt x="3149" y="1636"/>
                  </a:lnTo>
                  <a:lnTo>
                    <a:pt x="3149" y="1636"/>
                  </a:lnTo>
                  <a:lnTo>
                    <a:pt x="3151" y="1636"/>
                  </a:lnTo>
                  <a:lnTo>
                    <a:pt x="3151" y="1636"/>
                  </a:lnTo>
                  <a:lnTo>
                    <a:pt x="3151" y="1633"/>
                  </a:lnTo>
                  <a:lnTo>
                    <a:pt x="3151" y="1633"/>
                  </a:lnTo>
                  <a:lnTo>
                    <a:pt x="3153" y="1636"/>
                  </a:lnTo>
                  <a:lnTo>
                    <a:pt x="3155" y="1633"/>
                  </a:lnTo>
                  <a:lnTo>
                    <a:pt x="3157" y="1633"/>
                  </a:lnTo>
                  <a:lnTo>
                    <a:pt x="3159" y="1631"/>
                  </a:lnTo>
                  <a:lnTo>
                    <a:pt x="3159" y="1629"/>
                  </a:lnTo>
                  <a:lnTo>
                    <a:pt x="3161" y="1627"/>
                  </a:lnTo>
                  <a:lnTo>
                    <a:pt x="3163" y="1623"/>
                  </a:lnTo>
                  <a:lnTo>
                    <a:pt x="3163" y="1623"/>
                  </a:lnTo>
                  <a:lnTo>
                    <a:pt x="3163" y="1621"/>
                  </a:lnTo>
                  <a:lnTo>
                    <a:pt x="3165" y="1621"/>
                  </a:lnTo>
                  <a:lnTo>
                    <a:pt x="3167" y="1619"/>
                  </a:lnTo>
                  <a:lnTo>
                    <a:pt x="3167" y="1617"/>
                  </a:lnTo>
                  <a:lnTo>
                    <a:pt x="3171" y="1613"/>
                  </a:lnTo>
                  <a:lnTo>
                    <a:pt x="3171" y="1613"/>
                  </a:lnTo>
                  <a:lnTo>
                    <a:pt x="3174" y="1611"/>
                  </a:lnTo>
                  <a:lnTo>
                    <a:pt x="3174" y="1611"/>
                  </a:lnTo>
                  <a:lnTo>
                    <a:pt x="3176" y="1609"/>
                  </a:lnTo>
                  <a:lnTo>
                    <a:pt x="3186" y="1598"/>
                  </a:lnTo>
                  <a:lnTo>
                    <a:pt x="3190" y="1594"/>
                  </a:lnTo>
                  <a:lnTo>
                    <a:pt x="3194" y="1590"/>
                  </a:lnTo>
                  <a:lnTo>
                    <a:pt x="3198" y="1586"/>
                  </a:lnTo>
                  <a:lnTo>
                    <a:pt x="3207" y="1582"/>
                  </a:lnTo>
                  <a:lnTo>
                    <a:pt x="3219" y="1574"/>
                  </a:lnTo>
                  <a:lnTo>
                    <a:pt x="3223" y="1571"/>
                  </a:lnTo>
                  <a:lnTo>
                    <a:pt x="3235" y="1559"/>
                  </a:lnTo>
                  <a:lnTo>
                    <a:pt x="3244" y="1551"/>
                  </a:lnTo>
                  <a:lnTo>
                    <a:pt x="3250" y="1543"/>
                  </a:lnTo>
                  <a:lnTo>
                    <a:pt x="3254" y="1536"/>
                  </a:lnTo>
                  <a:lnTo>
                    <a:pt x="3260" y="1528"/>
                  </a:lnTo>
                  <a:lnTo>
                    <a:pt x="3266" y="1520"/>
                  </a:lnTo>
                  <a:lnTo>
                    <a:pt x="3266" y="1516"/>
                  </a:lnTo>
                  <a:lnTo>
                    <a:pt x="3268" y="1510"/>
                  </a:lnTo>
                  <a:lnTo>
                    <a:pt x="3270" y="1507"/>
                  </a:lnTo>
                  <a:lnTo>
                    <a:pt x="3272" y="1503"/>
                  </a:lnTo>
                  <a:lnTo>
                    <a:pt x="3275" y="1501"/>
                  </a:lnTo>
                  <a:lnTo>
                    <a:pt x="3277" y="1497"/>
                  </a:lnTo>
                  <a:lnTo>
                    <a:pt x="3277" y="1493"/>
                  </a:lnTo>
                  <a:lnTo>
                    <a:pt x="3281" y="1491"/>
                  </a:lnTo>
                  <a:lnTo>
                    <a:pt x="3283" y="1487"/>
                  </a:lnTo>
                  <a:lnTo>
                    <a:pt x="3283" y="1485"/>
                  </a:lnTo>
                  <a:lnTo>
                    <a:pt x="3285" y="1481"/>
                  </a:lnTo>
                  <a:lnTo>
                    <a:pt x="3289" y="1477"/>
                  </a:lnTo>
                  <a:lnTo>
                    <a:pt x="3289" y="1477"/>
                  </a:lnTo>
                  <a:lnTo>
                    <a:pt x="3291" y="1472"/>
                  </a:lnTo>
                  <a:lnTo>
                    <a:pt x="3291" y="1468"/>
                  </a:lnTo>
                  <a:lnTo>
                    <a:pt x="3291" y="1466"/>
                  </a:lnTo>
                  <a:lnTo>
                    <a:pt x="3291" y="1462"/>
                  </a:lnTo>
                  <a:lnTo>
                    <a:pt x="3293" y="1460"/>
                  </a:lnTo>
                  <a:lnTo>
                    <a:pt x="3293" y="1460"/>
                  </a:lnTo>
                  <a:lnTo>
                    <a:pt x="3297" y="1458"/>
                  </a:lnTo>
                  <a:lnTo>
                    <a:pt x="3297" y="1458"/>
                  </a:lnTo>
                  <a:lnTo>
                    <a:pt x="3299" y="1460"/>
                  </a:lnTo>
                  <a:lnTo>
                    <a:pt x="3299" y="1458"/>
                  </a:lnTo>
                  <a:lnTo>
                    <a:pt x="3299" y="1458"/>
                  </a:lnTo>
                  <a:lnTo>
                    <a:pt x="3297" y="1458"/>
                  </a:lnTo>
                  <a:lnTo>
                    <a:pt x="3295" y="1456"/>
                  </a:lnTo>
                  <a:lnTo>
                    <a:pt x="3295" y="1458"/>
                  </a:lnTo>
                  <a:lnTo>
                    <a:pt x="3295" y="1458"/>
                  </a:lnTo>
                  <a:lnTo>
                    <a:pt x="3295" y="1458"/>
                  </a:lnTo>
                  <a:lnTo>
                    <a:pt x="3293" y="1458"/>
                  </a:lnTo>
                  <a:lnTo>
                    <a:pt x="3295" y="1458"/>
                  </a:lnTo>
                  <a:lnTo>
                    <a:pt x="3295" y="1458"/>
                  </a:lnTo>
                  <a:lnTo>
                    <a:pt x="3295" y="1458"/>
                  </a:lnTo>
                  <a:lnTo>
                    <a:pt x="3295" y="1456"/>
                  </a:lnTo>
                  <a:lnTo>
                    <a:pt x="3295" y="1456"/>
                  </a:lnTo>
                  <a:lnTo>
                    <a:pt x="3295" y="1450"/>
                  </a:lnTo>
                  <a:lnTo>
                    <a:pt x="3295" y="1446"/>
                  </a:lnTo>
                  <a:lnTo>
                    <a:pt x="3295" y="1443"/>
                  </a:lnTo>
                  <a:lnTo>
                    <a:pt x="3297" y="1441"/>
                  </a:lnTo>
                  <a:lnTo>
                    <a:pt x="3297" y="1439"/>
                  </a:lnTo>
                  <a:lnTo>
                    <a:pt x="3297" y="1439"/>
                  </a:lnTo>
                  <a:lnTo>
                    <a:pt x="3295" y="1439"/>
                  </a:lnTo>
                  <a:lnTo>
                    <a:pt x="3291" y="1437"/>
                  </a:lnTo>
                  <a:lnTo>
                    <a:pt x="3289" y="1437"/>
                  </a:lnTo>
                  <a:lnTo>
                    <a:pt x="3287" y="1439"/>
                  </a:lnTo>
                  <a:lnTo>
                    <a:pt x="3285" y="1439"/>
                  </a:lnTo>
                  <a:lnTo>
                    <a:pt x="3281" y="1443"/>
                  </a:lnTo>
                  <a:lnTo>
                    <a:pt x="3275" y="1443"/>
                  </a:lnTo>
                  <a:lnTo>
                    <a:pt x="3270" y="1446"/>
                  </a:lnTo>
                  <a:lnTo>
                    <a:pt x="3266" y="1446"/>
                  </a:lnTo>
                  <a:lnTo>
                    <a:pt x="3264" y="1448"/>
                  </a:lnTo>
                  <a:lnTo>
                    <a:pt x="3264" y="1448"/>
                  </a:lnTo>
                  <a:lnTo>
                    <a:pt x="3260" y="1446"/>
                  </a:lnTo>
                  <a:lnTo>
                    <a:pt x="3258" y="1446"/>
                  </a:lnTo>
                  <a:lnTo>
                    <a:pt x="3256" y="1446"/>
                  </a:lnTo>
                  <a:lnTo>
                    <a:pt x="3252" y="1448"/>
                  </a:lnTo>
                  <a:lnTo>
                    <a:pt x="3246" y="1450"/>
                  </a:lnTo>
                  <a:lnTo>
                    <a:pt x="3244" y="1448"/>
                  </a:lnTo>
                  <a:lnTo>
                    <a:pt x="3242" y="1448"/>
                  </a:lnTo>
                  <a:lnTo>
                    <a:pt x="3240" y="1450"/>
                  </a:lnTo>
                  <a:lnTo>
                    <a:pt x="3235" y="1452"/>
                  </a:lnTo>
                  <a:lnTo>
                    <a:pt x="3229" y="1454"/>
                  </a:lnTo>
                  <a:lnTo>
                    <a:pt x="3229" y="1454"/>
                  </a:lnTo>
                  <a:lnTo>
                    <a:pt x="3225" y="1454"/>
                  </a:lnTo>
                  <a:lnTo>
                    <a:pt x="3223" y="1454"/>
                  </a:lnTo>
                  <a:lnTo>
                    <a:pt x="3219" y="1452"/>
                  </a:lnTo>
                  <a:lnTo>
                    <a:pt x="3217" y="1454"/>
                  </a:lnTo>
                  <a:lnTo>
                    <a:pt x="3213" y="1456"/>
                  </a:lnTo>
                  <a:lnTo>
                    <a:pt x="3207" y="1458"/>
                  </a:lnTo>
                  <a:lnTo>
                    <a:pt x="3198" y="1458"/>
                  </a:lnTo>
                  <a:lnTo>
                    <a:pt x="3198" y="1458"/>
                  </a:lnTo>
                  <a:lnTo>
                    <a:pt x="3196" y="1456"/>
                  </a:lnTo>
                  <a:lnTo>
                    <a:pt x="3192" y="1454"/>
                  </a:lnTo>
                  <a:lnTo>
                    <a:pt x="3188" y="1450"/>
                  </a:lnTo>
                  <a:lnTo>
                    <a:pt x="3186" y="1446"/>
                  </a:lnTo>
                  <a:lnTo>
                    <a:pt x="3184" y="1443"/>
                  </a:lnTo>
                  <a:lnTo>
                    <a:pt x="3182" y="1441"/>
                  </a:lnTo>
                  <a:lnTo>
                    <a:pt x="3180" y="1441"/>
                  </a:lnTo>
                  <a:lnTo>
                    <a:pt x="3178" y="1441"/>
                  </a:lnTo>
                  <a:lnTo>
                    <a:pt x="3176" y="1441"/>
                  </a:lnTo>
                  <a:lnTo>
                    <a:pt x="3174" y="1443"/>
                  </a:lnTo>
                  <a:lnTo>
                    <a:pt x="3174" y="1443"/>
                  </a:lnTo>
                  <a:lnTo>
                    <a:pt x="3174" y="1443"/>
                  </a:lnTo>
                  <a:lnTo>
                    <a:pt x="3174" y="1441"/>
                  </a:lnTo>
                  <a:lnTo>
                    <a:pt x="3174" y="1441"/>
                  </a:lnTo>
                  <a:lnTo>
                    <a:pt x="3176" y="1439"/>
                  </a:lnTo>
                  <a:lnTo>
                    <a:pt x="3180" y="1439"/>
                  </a:lnTo>
                  <a:lnTo>
                    <a:pt x="3184" y="1437"/>
                  </a:lnTo>
                  <a:lnTo>
                    <a:pt x="3184" y="1435"/>
                  </a:lnTo>
                  <a:lnTo>
                    <a:pt x="3184" y="1435"/>
                  </a:lnTo>
                  <a:lnTo>
                    <a:pt x="3186" y="1433"/>
                  </a:lnTo>
                  <a:lnTo>
                    <a:pt x="3184" y="1431"/>
                  </a:lnTo>
                  <a:lnTo>
                    <a:pt x="3184" y="1429"/>
                  </a:lnTo>
                  <a:lnTo>
                    <a:pt x="3182" y="1427"/>
                  </a:lnTo>
                  <a:lnTo>
                    <a:pt x="3182" y="1425"/>
                  </a:lnTo>
                  <a:lnTo>
                    <a:pt x="3180" y="1425"/>
                  </a:lnTo>
                  <a:lnTo>
                    <a:pt x="3180" y="1423"/>
                  </a:lnTo>
                  <a:lnTo>
                    <a:pt x="3180" y="1425"/>
                  </a:lnTo>
                  <a:lnTo>
                    <a:pt x="3176" y="1423"/>
                  </a:lnTo>
                  <a:lnTo>
                    <a:pt x="3176" y="1421"/>
                  </a:lnTo>
                  <a:lnTo>
                    <a:pt x="3174" y="1419"/>
                  </a:lnTo>
                  <a:lnTo>
                    <a:pt x="3171" y="1419"/>
                  </a:lnTo>
                  <a:lnTo>
                    <a:pt x="3169" y="1417"/>
                  </a:lnTo>
                  <a:lnTo>
                    <a:pt x="3169" y="1412"/>
                  </a:lnTo>
                  <a:lnTo>
                    <a:pt x="3161" y="1408"/>
                  </a:lnTo>
                  <a:lnTo>
                    <a:pt x="3157" y="1404"/>
                  </a:lnTo>
                  <a:lnTo>
                    <a:pt x="3153" y="1398"/>
                  </a:lnTo>
                  <a:lnTo>
                    <a:pt x="3149" y="1396"/>
                  </a:lnTo>
                  <a:lnTo>
                    <a:pt x="3147" y="1394"/>
                  </a:lnTo>
                  <a:lnTo>
                    <a:pt x="3145" y="1394"/>
                  </a:lnTo>
                  <a:lnTo>
                    <a:pt x="3143" y="1394"/>
                  </a:lnTo>
                  <a:lnTo>
                    <a:pt x="3141" y="1394"/>
                  </a:lnTo>
                  <a:lnTo>
                    <a:pt x="3141" y="1392"/>
                  </a:lnTo>
                  <a:lnTo>
                    <a:pt x="3138" y="1390"/>
                  </a:lnTo>
                  <a:lnTo>
                    <a:pt x="3138" y="1390"/>
                  </a:lnTo>
                  <a:lnTo>
                    <a:pt x="3136" y="1388"/>
                  </a:lnTo>
                  <a:lnTo>
                    <a:pt x="3136" y="1388"/>
                  </a:lnTo>
                  <a:lnTo>
                    <a:pt x="3134" y="1386"/>
                  </a:lnTo>
                  <a:lnTo>
                    <a:pt x="3134" y="1388"/>
                  </a:lnTo>
                  <a:lnTo>
                    <a:pt x="3134" y="1388"/>
                  </a:lnTo>
                  <a:lnTo>
                    <a:pt x="3134" y="1390"/>
                  </a:lnTo>
                  <a:lnTo>
                    <a:pt x="3134" y="1390"/>
                  </a:lnTo>
                  <a:lnTo>
                    <a:pt x="3134" y="1392"/>
                  </a:lnTo>
                  <a:lnTo>
                    <a:pt x="3132" y="1390"/>
                  </a:lnTo>
                  <a:lnTo>
                    <a:pt x="3132" y="1386"/>
                  </a:lnTo>
                  <a:lnTo>
                    <a:pt x="3130" y="1386"/>
                  </a:lnTo>
                  <a:lnTo>
                    <a:pt x="3130" y="1386"/>
                  </a:lnTo>
                  <a:lnTo>
                    <a:pt x="3128" y="1382"/>
                  </a:lnTo>
                  <a:lnTo>
                    <a:pt x="3126" y="1379"/>
                  </a:lnTo>
                  <a:lnTo>
                    <a:pt x="3126" y="1375"/>
                  </a:lnTo>
                  <a:lnTo>
                    <a:pt x="3124" y="1367"/>
                  </a:lnTo>
                  <a:lnTo>
                    <a:pt x="3122" y="1363"/>
                  </a:lnTo>
                  <a:lnTo>
                    <a:pt x="3122" y="1357"/>
                  </a:lnTo>
                  <a:lnTo>
                    <a:pt x="3116" y="1348"/>
                  </a:lnTo>
                  <a:lnTo>
                    <a:pt x="3116" y="1348"/>
                  </a:lnTo>
                  <a:lnTo>
                    <a:pt x="3114" y="1346"/>
                  </a:lnTo>
                  <a:lnTo>
                    <a:pt x="3112" y="1344"/>
                  </a:lnTo>
                  <a:lnTo>
                    <a:pt x="3112" y="1346"/>
                  </a:lnTo>
                  <a:lnTo>
                    <a:pt x="3112" y="1346"/>
                  </a:lnTo>
                  <a:lnTo>
                    <a:pt x="3110" y="1344"/>
                  </a:lnTo>
                  <a:lnTo>
                    <a:pt x="3110" y="1344"/>
                  </a:lnTo>
                  <a:lnTo>
                    <a:pt x="3108" y="1340"/>
                  </a:lnTo>
                  <a:lnTo>
                    <a:pt x="3103" y="1338"/>
                  </a:lnTo>
                  <a:lnTo>
                    <a:pt x="3103" y="1338"/>
                  </a:lnTo>
                  <a:lnTo>
                    <a:pt x="3101" y="1338"/>
                  </a:lnTo>
                  <a:lnTo>
                    <a:pt x="3101" y="1338"/>
                  </a:lnTo>
                  <a:lnTo>
                    <a:pt x="3099" y="1334"/>
                  </a:lnTo>
                  <a:lnTo>
                    <a:pt x="3097" y="1326"/>
                  </a:lnTo>
                  <a:lnTo>
                    <a:pt x="3097" y="1324"/>
                  </a:lnTo>
                  <a:lnTo>
                    <a:pt x="3097" y="1318"/>
                  </a:lnTo>
                  <a:lnTo>
                    <a:pt x="3097" y="1313"/>
                  </a:lnTo>
                  <a:lnTo>
                    <a:pt x="3097" y="1311"/>
                  </a:lnTo>
                  <a:lnTo>
                    <a:pt x="3097" y="1309"/>
                  </a:lnTo>
                  <a:lnTo>
                    <a:pt x="3095" y="1307"/>
                  </a:lnTo>
                  <a:lnTo>
                    <a:pt x="3095" y="1305"/>
                  </a:lnTo>
                  <a:lnTo>
                    <a:pt x="3095" y="1303"/>
                  </a:lnTo>
                  <a:lnTo>
                    <a:pt x="3097" y="1305"/>
                  </a:lnTo>
                  <a:lnTo>
                    <a:pt x="3097" y="1305"/>
                  </a:lnTo>
                  <a:lnTo>
                    <a:pt x="3097" y="1305"/>
                  </a:lnTo>
                  <a:lnTo>
                    <a:pt x="3097" y="1303"/>
                  </a:lnTo>
                  <a:lnTo>
                    <a:pt x="3097" y="1303"/>
                  </a:lnTo>
                  <a:lnTo>
                    <a:pt x="3095" y="1301"/>
                  </a:lnTo>
                  <a:lnTo>
                    <a:pt x="3093" y="1297"/>
                  </a:lnTo>
                  <a:lnTo>
                    <a:pt x="3093" y="1295"/>
                  </a:lnTo>
                  <a:lnTo>
                    <a:pt x="3091" y="1291"/>
                  </a:lnTo>
                  <a:lnTo>
                    <a:pt x="3091" y="1291"/>
                  </a:lnTo>
                  <a:lnTo>
                    <a:pt x="3091" y="1289"/>
                  </a:lnTo>
                  <a:lnTo>
                    <a:pt x="3085" y="1284"/>
                  </a:lnTo>
                  <a:lnTo>
                    <a:pt x="3083" y="1280"/>
                  </a:lnTo>
                  <a:lnTo>
                    <a:pt x="3079" y="1280"/>
                  </a:lnTo>
                  <a:lnTo>
                    <a:pt x="3077" y="1278"/>
                  </a:lnTo>
                  <a:lnTo>
                    <a:pt x="3077" y="1278"/>
                  </a:lnTo>
                  <a:lnTo>
                    <a:pt x="3075" y="1276"/>
                  </a:lnTo>
                  <a:lnTo>
                    <a:pt x="3072" y="1272"/>
                  </a:lnTo>
                  <a:lnTo>
                    <a:pt x="3072" y="1270"/>
                  </a:lnTo>
                  <a:lnTo>
                    <a:pt x="3072" y="1264"/>
                  </a:lnTo>
                  <a:lnTo>
                    <a:pt x="3072" y="1264"/>
                  </a:lnTo>
                  <a:lnTo>
                    <a:pt x="3072" y="1262"/>
                  </a:lnTo>
                  <a:lnTo>
                    <a:pt x="3075" y="1262"/>
                  </a:lnTo>
                  <a:lnTo>
                    <a:pt x="3075" y="1262"/>
                  </a:lnTo>
                  <a:lnTo>
                    <a:pt x="3077" y="1262"/>
                  </a:lnTo>
                  <a:lnTo>
                    <a:pt x="3075" y="1260"/>
                  </a:lnTo>
                  <a:lnTo>
                    <a:pt x="3072" y="1258"/>
                  </a:lnTo>
                  <a:lnTo>
                    <a:pt x="3070" y="1258"/>
                  </a:lnTo>
                  <a:lnTo>
                    <a:pt x="3068" y="1254"/>
                  </a:lnTo>
                  <a:lnTo>
                    <a:pt x="3064" y="1243"/>
                  </a:lnTo>
                  <a:lnTo>
                    <a:pt x="3060" y="1239"/>
                  </a:lnTo>
                  <a:lnTo>
                    <a:pt x="3060" y="1235"/>
                  </a:lnTo>
                  <a:lnTo>
                    <a:pt x="3056" y="1231"/>
                  </a:lnTo>
                  <a:lnTo>
                    <a:pt x="3052" y="1223"/>
                  </a:lnTo>
                  <a:lnTo>
                    <a:pt x="3050" y="1220"/>
                  </a:lnTo>
                  <a:lnTo>
                    <a:pt x="3050" y="1214"/>
                  </a:lnTo>
                  <a:lnTo>
                    <a:pt x="3050" y="1212"/>
                  </a:lnTo>
                  <a:lnTo>
                    <a:pt x="3048" y="1212"/>
                  </a:lnTo>
                  <a:lnTo>
                    <a:pt x="3048" y="1210"/>
                  </a:lnTo>
                  <a:lnTo>
                    <a:pt x="3046" y="1208"/>
                  </a:lnTo>
                  <a:lnTo>
                    <a:pt x="3046" y="1206"/>
                  </a:lnTo>
                  <a:lnTo>
                    <a:pt x="3046" y="1204"/>
                  </a:lnTo>
                  <a:lnTo>
                    <a:pt x="3044" y="1202"/>
                  </a:lnTo>
                  <a:lnTo>
                    <a:pt x="3044" y="1200"/>
                  </a:lnTo>
                  <a:lnTo>
                    <a:pt x="3042" y="1200"/>
                  </a:lnTo>
                  <a:lnTo>
                    <a:pt x="3039" y="1198"/>
                  </a:lnTo>
                  <a:lnTo>
                    <a:pt x="3037" y="1194"/>
                  </a:lnTo>
                  <a:lnTo>
                    <a:pt x="3035" y="1192"/>
                  </a:lnTo>
                  <a:lnTo>
                    <a:pt x="3035" y="1189"/>
                  </a:lnTo>
                  <a:lnTo>
                    <a:pt x="3035" y="1189"/>
                  </a:lnTo>
                  <a:lnTo>
                    <a:pt x="3033" y="1187"/>
                  </a:lnTo>
                  <a:lnTo>
                    <a:pt x="3031" y="1185"/>
                  </a:lnTo>
                  <a:lnTo>
                    <a:pt x="3031" y="1185"/>
                  </a:lnTo>
                  <a:lnTo>
                    <a:pt x="3031" y="1181"/>
                  </a:lnTo>
                  <a:lnTo>
                    <a:pt x="3031" y="1179"/>
                  </a:lnTo>
                  <a:lnTo>
                    <a:pt x="3031" y="1179"/>
                  </a:lnTo>
                  <a:lnTo>
                    <a:pt x="3029" y="1177"/>
                  </a:lnTo>
                  <a:lnTo>
                    <a:pt x="3027" y="1175"/>
                  </a:lnTo>
                  <a:lnTo>
                    <a:pt x="3029" y="1173"/>
                  </a:lnTo>
                  <a:lnTo>
                    <a:pt x="3029" y="1171"/>
                  </a:lnTo>
                  <a:lnTo>
                    <a:pt x="3029" y="1171"/>
                  </a:lnTo>
                  <a:lnTo>
                    <a:pt x="3031" y="1169"/>
                  </a:lnTo>
                  <a:lnTo>
                    <a:pt x="3031" y="1173"/>
                  </a:lnTo>
                  <a:lnTo>
                    <a:pt x="3033" y="1177"/>
                  </a:lnTo>
                  <a:lnTo>
                    <a:pt x="3033" y="1177"/>
                  </a:lnTo>
                  <a:lnTo>
                    <a:pt x="3033" y="1179"/>
                  </a:lnTo>
                  <a:lnTo>
                    <a:pt x="3035" y="1181"/>
                  </a:lnTo>
                  <a:lnTo>
                    <a:pt x="3037" y="1183"/>
                  </a:lnTo>
                  <a:lnTo>
                    <a:pt x="3039" y="1185"/>
                  </a:lnTo>
                  <a:lnTo>
                    <a:pt x="3039" y="1187"/>
                  </a:lnTo>
                  <a:lnTo>
                    <a:pt x="3039" y="1189"/>
                  </a:lnTo>
                  <a:lnTo>
                    <a:pt x="3039" y="1192"/>
                  </a:lnTo>
                  <a:lnTo>
                    <a:pt x="3044" y="1194"/>
                  </a:lnTo>
                  <a:lnTo>
                    <a:pt x="3046" y="1196"/>
                  </a:lnTo>
                  <a:lnTo>
                    <a:pt x="3048" y="1200"/>
                  </a:lnTo>
                  <a:lnTo>
                    <a:pt x="3052" y="1202"/>
                  </a:lnTo>
                  <a:lnTo>
                    <a:pt x="3054" y="1204"/>
                  </a:lnTo>
                  <a:lnTo>
                    <a:pt x="3056" y="1202"/>
                  </a:lnTo>
                  <a:lnTo>
                    <a:pt x="3056" y="1200"/>
                  </a:lnTo>
                  <a:lnTo>
                    <a:pt x="3058" y="1198"/>
                  </a:lnTo>
                  <a:lnTo>
                    <a:pt x="3058" y="1196"/>
                  </a:lnTo>
                  <a:lnTo>
                    <a:pt x="3060" y="1189"/>
                  </a:lnTo>
                  <a:lnTo>
                    <a:pt x="3062" y="1181"/>
                  </a:lnTo>
                  <a:lnTo>
                    <a:pt x="3062" y="1179"/>
                  </a:lnTo>
                  <a:lnTo>
                    <a:pt x="3064" y="1177"/>
                  </a:lnTo>
                  <a:lnTo>
                    <a:pt x="3064" y="1177"/>
                  </a:lnTo>
                  <a:lnTo>
                    <a:pt x="3064" y="1177"/>
                  </a:lnTo>
                  <a:lnTo>
                    <a:pt x="3064" y="1179"/>
                  </a:lnTo>
                  <a:lnTo>
                    <a:pt x="3062" y="1189"/>
                  </a:lnTo>
                  <a:lnTo>
                    <a:pt x="3062" y="1192"/>
                  </a:lnTo>
                  <a:lnTo>
                    <a:pt x="3060" y="1196"/>
                  </a:lnTo>
                  <a:lnTo>
                    <a:pt x="3060" y="1198"/>
                  </a:lnTo>
                  <a:lnTo>
                    <a:pt x="3060" y="1200"/>
                  </a:lnTo>
                  <a:lnTo>
                    <a:pt x="3062" y="1198"/>
                  </a:lnTo>
                  <a:lnTo>
                    <a:pt x="3062" y="1198"/>
                  </a:lnTo>
                  <a:lnTo>
                    <a:pt x="3066" y="1200"/>
                  </a:lnTo>
                  <a:lnTo>
                    <a:pt x="3068" y="1200"/>
                  </a:lnTo>
                  <a:lnTo>
                    <a:pt x="3070" y="1204"/>
                  </a:lnTo>
                  <a:lnTo>
                    <a:pt x="3075" y="1208"/>
                  </a:lnTo>
                  <a:lnTo>
                    <a:pt x="3077" y="1212"/>
                  </a:lnTo>
                  <a:lnTo>
                    <a:pt x="3077" y="1214"/>
                  </a:lnTo>
                  <a:lnTo>
                    <a:pt x="3081" y="1216"/>
                  </a:lnTo>
                  <a:lnTo>
                    <a:pt x="3081" y="1218"/>
                  </a:lnTo>
                  <a:lnTo>
                    <a:pt x="3083" y="1223"/>
                  </a:lnTo>
                  <a:lnTo>
                    <a:pt x="3087" y="1229"/>
                  </a:lnTo>
                  <a:lnTo>
                    <a:pt x="3089" y="1231"/>
                  </a:lnTo>
                  <a:lnTo>
                    <a:pt x="3089" y="1233"/>
                  </a:lnTo>
                  <a:lnTo>
                    <a:pt x="3091" y="1235"/>
                  </a:lnTo>
                  <a:lnTo>
                    <a:pt x="3091" y="1235"/>
                  </a:lnTo>
                  <a:lnTo>
                    <a:pt x="3093" y="1237"/>
                  </a:lnTo>
                  <a:lnTo>
                    <a:pt x="3095" y="1241"/>
                  </a:lnTo>
                  <a:lnTo>
                    <a:pt x="3097" y="1243"/>
                  </a:lnTo>
                  <a:lnTo>
                    <a:pt x="3097" y="1245"/>
                  </a:lnTo>
                  <a:lnTo>
                    <a:pt x="3097" y="1245"/>
                  </a:lnTo>
                  <a:lnTo>
                    <a:pt x="3097" y="1247"/>
                  </a:lnTo>
                  <a:lnTo>
                    <a:pt x="3097" y="1249"/>
                  </a:lnTo>
                  <a:lnTo>
                    <a:pt x="3099" y="1251"/>
                  </a:lnTo>
                  <a:lnTo>
                    <a:pt x="3099" y="1254"/>
                  </a:lnTo>
                  <a:lnTo>
                    <a:pt x="3101" y="1256"/>
                  </a:lnTo>
                  <a:lnTo>
                    <a:pt x="3103" y="1256"/>
                  </a:lnTo>
                  <a:lnTo>
                    <a:pt x="3103" y="1256"/>
                  </a:lnTo>
                  <a:lnTo>
                    <a:pt x="3105" y="1258"/>
                  </a:lnTo>
                  <a:lnTo>
                    <a:pt x="3108" y="1258"/>
                  </a:lnTo>
                  <a:lnTo>
                    <a:pt x="3108" y="1260"/>
                  </a:lnTo>
                  <a:lnTo>
                    <a:pt x="3110" y="1260"/>
                  </a:lnTo>
                  <a:lnTo>
                    <a:pt x="3112" y="1262"/>
                  </a:lnTo>
                  <a:lnTo>
                    <a:pt x="3114" y="1266"/>
                  </a:lnTo>
                  <a:lnTo>
                    <a:pt x="3116" y="1268"/>
                  </a:lnTo>
                  <a:lnTo>
                    <a:pt x="3118" y="1272"/>
                  </a:lnTo>
                  <a:lnTo>
                    <a:pt x="3120" y="1272"/>
                  </a:lnTo>
                  <a:lnTo>
                    <a:pt x="3120" y="1274"/>
                  </a:lnTo>
                  <a:lnTo>
                    <a:pt x="3120" y="1276"/>
                  </a:lnTo>
                  <a:lnTo>
                    <a:pt x="3122" y="1278"/>
                  </a:lnTo>
                  <a:lnTo>
                    <a:pt x="3120" y="1278"/>
                  </a:lnTo>
                  <a:lnTo>
                    <a:pt x="3122" y="1278"/>
                  </a:lnTo>
                  <a:lnTo>
                    <a:pt x="3122" y="1278"/>
                  </a:lnTo>
                  <a:lnTo>
                    <a:pt x="3122" y="1280"/>
                  </a:lnTo>
                  <a:lnTo>
                    <a:pt x="3124" y="1282"/>
                  </a:lnTo>
                  <a:lnTo>
                    <a:pt x="3124" y="1284"/>
                  </a:lnTo>
                  <a:lnTo>
                    <a:pt x="3124" y="1287"/>
                  </a:lnTo>
                  <a:lnTo>
                    <a:pt x="3122" y="1287"/>
                  </a:lnTo>
                  <a:lnTo>
                    <a:pt x="3122" y="1291"/>
                  </a:lnTo>
                  <a:lnTo>
                    <a:pt x="3122" y="1293"/>
                  </a:lnTo>
                  <a:lnTo>
                    <a:pt x="3122" y="1295"/>
                  </a:lnTo>
                  <a:lnTo>
                    <a:pt x="3124" y="1295"/>
                  </a:lnTo>
                  <a:lnTo>
                    <a:pt x="3124" y="1297"/>
                  </a:lnTo>
                  <a:lnTo>
                    <a:pt x="3124" y="1299"/>
                  </a:lnTo>
                  <a:lnTo>
                    <a:pt x="3124" y="1301"/>
                  </a:lnTo>
                  <a:lnTo>
                    <a:pt x="3126" y="1305"/>
                  </a:lnTo>
                  <a:lnTo>
                    <a:pt x="3130" y="1309"/>
                  </a:lnTo>
                  <a:lnTo>
                    <a:pt x="3130" y="1313"/>
                  </a:lnTo>
                  <a:lnTo>
                    <a:pt x="3132" y="1313"/>
                  </a:lnTo>
                  <a:lnTo>
                    <a:pt x="3134" y="1315"/>
                  </a:lnTo>
                  <a:lnTo>
                    <a:pt x="3138" y="1315"/>
                  </a:lnTo>
                  <a:lnTo>
                    <a:pt x="3143" y="1320"/>
                  </a:lnTo>
                  <a:lnTo>
                    <a:pt x="3145" y="1322"/>
                  </a:lnTo>
                  <a:lnTo>
                    <a:pt x="3147" y="1324"/>
                  </a:lnTo>
                  <a:lnTo>
                    <a:pt x="3147" y="1324"/>
                  </a:lnTo>
                  <a:lnTo>
                    <a:pt x="3149" y="1326"/>
                  </a:lnTo>
                  <a:lnTo>
                    <a:pt x="3149" y="1326"/>
                  </a:lnTo>
                  <a:lnTo>
                    <a:pt x="3149" y="1328"/>
                  </a:lnTo>
                  <a:lnTo>
                    <a:pt x="3153" y="1334"/>
                  </a:lnTo>
                  <a:lnTo>
                    <a:pt x="3153" y="1334"/>
                  </a:lnTo>
                  <a:lnTo>
                    <a:pt x="3153" y="1336"/>
                  </a:lnTo>
                  <a:lnTo>
                    <a:pt x="3155" y="1338"/>
                  </a:lnTo>
                  <a:lnTo>
                    <a:pt x="3155" y="1340"/>
                  </a:lnTo>
                  <a:lnTo>
                    <a:pt x="3157" y="1342"/>
                  </a:lnTo>
                  <a:lnTo>
                    <a:pt x="3159" y="1346"/>
                  </a:lnTo>
                  <a:lnTo>
                    <a:pt x="3161" y="1348"/>
                  </a:lnTo>
                  <a:lnTo>
                    <a:pt x="3161" y="1351"/>
                  </a:lnTo>
                  <a:lnTo>
                    <a:pt x="3165" y="1355"/>
                  </a:lnTo>
                  <a:lnTo>
                    <a:pt x="3169" y="1357"/>
                  </a:lnTo>
                  <a:lnTo>
                    <a:pt x="3169" y="1361"/>
                  </a:lnTo>
                  <a:lnTo>
                    <a:pt x="3171" y="1363"/>
                  </a:lnTo>
                  <a:lnTo>
                    <a:pt x="3171" y="1363"/>
                  </a:lnTo>
                  <a:lnTo>
                    <a:pt x="3174" y="1365"/>
                  </a:lnTo>
                  <a:lnTo>
                    <a:pt x="3174" y="1365"/>
                  </a:lnTo>
                  <a:lnTo>
                    <a:pt x="3174" y="1367"/>
                  </a:lnTo>
                  <a:lnTo>
                    <a:pt x="3176" y="1367"/>
                  </a:lnTo>
                  <a:lnTo>
                    <a:pt x="3176" y="1369"/>
                  </a:lnTo>
                  <a:lnTo>
                    <a:pt x="3176" y="1369"/>
                  </a:lnTo>
                  <a:lnTo>
                    <a:pt x="3176" y="1371"/>
                  </a:lnTo>
                  <a:lnTo>
                    <a:pt x="3176" y="1373"/>
                  </a:lnTo>
                  <a:lnTo>
                    <a:pt x="3178" y="1377"/>
                  </a:lnTo>
                  <a:lnTo>
                    <a:pt x="3176" y="1384"/>
                  </a:lnTo>
                  <a:lnTo>
                    <a:pt x="3176" y="1388"/>
                  </a:lnTo>
                  <a:lnTo>
                    <a:pt x="3176" y="1388"/>
                  </a:lnTo>
                  <a:lnTo>
                    <a:pt x="3176" y="1390"/>
                  </a:lnTo>
                  <a:lnTo>
                    <a:pt x="3176" y="1388"/>
                  </a:lnTo>
                  <a:lnTo>
                    <a:pt x="3176" y="1388"/>
                  </a:lnTo>
                  <a:lnTo>
                    <a:pt x="3174" y="1390"/>
                  </a:lnTo>
                  <a:lnTo>
                    <a:pt x="3178" y="1392"/>
                  </a:lnTo>
                  <a:lnTo>
                    <a:pt x="3178" y="1392"/>
                  </a:lnTo>
                  <a:lnTo>
                    <a:pt x="3178" y="1394"/>
                  </a:lnTo>
                  <a:lnTo>
                    <a:pt x="3178" y="1394"/>
                  </a:lnTo>
                  <a:lnTo>
                    <a:pt x="3178" y="1394"/>
                  </a:lnTo>
                  <a:lnTo>
                    <a:pt x="3178" y="1396"/>
                  </a:lnTo>
                  <a:lnTo>
                    <a:pt x="3178" y="1396"/>
                  </a:lnTo>
                  <a:lnTo>
                    <a:pt x="3180" y="1400"/>
                  </a:lnTo>
                  <a:lnTo>
                    <a:pt x="3180" y="1400"/>
                  </a:lnTo>
                  <a:lnTo>
                    <a:pt x="3180" y="1400"/>
                  </a:lnTo>
                  <a:lnTo>
                    <a:pt x="3180" y="1402"/>
                  </a:lnTo>
                  <a:lnTo>
                    <a:pt x="3180" y="1404"/>
                  </a:lnTo>
                  <a:lnTo>
                    <a:pt x="3180" y="1406"/>
                  </a:lnTo>
                  <a:lnTo>
                    <a:pt x="3182" y="1408"/>
                  </a:lnTo>
                  <a:lnTo>
                    <a:pt x="3184" y="1412"/>
                  </a:lnTo>
                  <a:lnTo>
                    <a:pt x="3184" y="1412"/>
                  </a:lnTo>
                  <a:lnTo>
                    <a:pt x="3182" y="1419"/>
                  </a:lnTo>
                  <a:lnTo>
                    <a:pt x="3186" y="1425"/>
                  </a:lnTo>
                  <a:lnTo>
                    <a:pt x="3186" y="1427"/>
                  </a:lnTo>
                  <a:lnTo>
                    <a:pt x="3188" y="1425"/>
                  </a:lnTo>
                  <a:lnTo>
                    <a:pt x="3192" y="1427"/>
                  </a:lnTo>
                  <a:lnTo>
                    <a:pt x="3192" y="1427"/>
                  </a:lnTo>
                  <a:lnTo>
                    <a:pt x="3194" y="1427"/>
                  </a:lnTo>
                  <a:lnTo>
                    <a:pt x="3196" y="1427"/>
                  </a:lnTo>
                  <a:lnTo>
                    <a:pt x="3198" y="1427"/>
                  </a:lnTo>
                  <a:lnTo>
                    <a:pt x="3198" y="1427"/>
                  </a:lnTo>
                  <a:lnTo>
                    <a:pt x="3202" y="1425"/>
                  </a:lnTo>
                  <a:lnTo>
                    <a:pt x="3204" y="1425"/>
                  </a:lnTo>
                  <a:lnTo>
                    <a:pt x="3207" y="1425"/>
                  </a:lnTo>
                  <a:lnTo>
                    <a:pt x="3209" y="1425"/>
                  </a:lnTo>
                  <a:lnTo>
                    <a:pt x="3209" y="1423"/>
                  </a:lnTo>
                  <a:lnTo>
                    <a:pt x="3211" y="1421"/>
                  </a:lnTo>
                  <a:lnTo>
                    <a:pt x="3213" y="1421"/>
                  </a:lnTo>
                  <a:lnTo>
                    <a:pt x="3215" y="1419"/>
                  </a:lnTo>
                  <a:lnTo>
                    <a:pt x="3217" y="1417"/>
                  </a:lnTo>
                  <a:lnTo>
                    <a:pt x="3221" y="1417"/>
                  </a:lnTo>
                  <a:lnTo>
                    <a:pt x="3225" y="1417"/>
                  </a:lnTo>
                  <a:lnTo>
                    <a:pt x="3229" y="1417"/>
                  </a:lnTo>
                  <a:lnTo>
                    <a:pt x="3231" y="1415"/>
                  </a:lnTo>
                  <a:lnTo>
                    <a:pt x="3233" y="1415"/>
                  </a:lnTo>
                  <a:lnTo>
                    <a:pt x="3235" y="1415"/>
                  </a:lnTo>
                  <a:lnTo>
                    <a:pt x="3240" y="1412"/>
                  </a:lnTo>
                  <a:lnTo>
                    <a:pt x="3242" y="1412"/>
                  </a:lnTo>
                  <a:lnTo>
                    <a:pt x="3246" y="1408"/>
                  </a:lnTo>
                  <a:lnTo>
                    <a:pt x="3248" y="1408"/>
                  </a:lnTo>
                  <a:lnTo>
                    <a:pt x="3250" y="1406"/>
                  </a:lnTo>
                  <a:lnTo>
                    <a:pt x="3250" y="1406"/>
                  </a:lnTo>
                  <a:lnTo>
                    <a:pt x="3254" y="1408"/>
                  </a:lnTo>
                  <a:lnTo>
                    <a:pt x="3258" y="1406"/>
                  </a:lnTo>
                  <a:lnTo>
                    <a:pt x="3260" y="1406"/>
                  </a:lnTo>
                  <a:lnTo>
                    <a:pt x="3260" y="1406"/>
                  </a:lnTo>
                  <a:lnTo>
                    <a:pt x="3262" y="1406"/>
                  </a:lnTo>
                  <a:lnTo>
                    <a:pt x="3264" y="1404"/>
                  </a:lnTo>
                  <a:lnTo>
                    <a:pt x="3264" y="1402"/>
                  </a:lnTo>
                  <a:lnTo>
                    <a:pt x="3266" y="1400"/>
                  </a:lnTo>
                  <a:lnTo>
                    <a:pt x="3266" y="1400"/>
                  </a:lnTo>
                  <a:lnTo>
                    <a:pt x="3270" y="1398"/>
                  </a:lnTo>
                  <a:lnTo>
                    <a:pt x="3272" y="1396"/>
                  </a:lnTo>
                  <a:lnTo>
                    <a:pt x="3279" y="1396"/>
                  </a:lnTo>
                  <a:lnTo>
                    <a:pt x="3281" y="1396"/>
                  </a:lnTo>
                  <a:lnTo>
                    <a:pt x="3285" y="1394"/>
                  </a:lnTo>
                  <a:lnTo>
                    <a:pt x="3287" y="1392"/>
                  </a:lnTo>
                  <a:lnTo>
                    <a:pt x="3293" y="1392"/>
                  </a:lnTo>
                  <a:lnTo>
                    <a:pt x="3297" y="1390"/>
                  </a:lnTo>
                  <a:lnTo>
                    <a:pt x="3301" y="1388"/>
                  </a:lnTo>
                  <a:lnTo>
                    <a:pt x="3303" y="1388"/>
                  </a:lnTo>
                  <a:lnTo>
                    <a:pt x="3303" y="1386"/>
                  </a:lnTo>
                  <a:lnTo>
                    <a:pt x="3305" y="1386"/>
                  </a:lnTo>
                  <a:lnTo>
                    <a:pt x="3308" y="1386"/>
                  </a:lnTo>
                  <a:lnTo>
                    <a:pt x="3310" y="1384"/>
                  </a:lnTo>
                  <a:lnTo>
                    <a:pt x="3312" y="1384"/>
                  </a:lnTo>
                  <a:lnTo>
                    <a:pt x="3312" y="1382"/>
                  </a:lnTo>
                  <a:lnTo>
                    <a:pt x="3310" y="1379"/>
                  </a:lnTo>
                  <a:lnTo>
                    <a:pt x="3312" y="1375"/>
                  </a:lnTo>
                  <a:lnTo>
                    <a:pt x="3312" y="1373"/>
                  </a:lnTo>
                  <a:lnTo>
                    <a:pt x="3314" y="1373"/>
                  </a:lnTo>
                  <a:lnTo>
                    <a:pt x="3316" y="1371"/>
                  </a:lnTo>
                  <a:lnTo>
                    <a:pt x="3324" y="1369"/>
                  </a:lnTo>
                  <a:lnTo>
                    <a:pt x="3326" y="1367"/>
                  </a:lnTo>
                  <a:lnTo>
                    <a:pt x="3330" y="1367"/>
                  </a:lnTo>
                  <a:lnTo>
                    <a:pt x="3332" y="1365"/>
                  </a:lnTo>
                  <a:lnTo>
                    <a:pt x="3336" y="1365"/>
                  </a:lnTo>
                  <a:lnTo>
                    <a:pt x="3336" y="1363"/>
                  </a:lnTo>
                  <a:lnTo>
                    <a:pt x="3343" y="1363"/>
                  </a:lnTo>
                  <a:lnTo>
                    <a:pt x="3345" y="1363"/>
                  </a:lnTo>
                  <a:lnTo>
                    <a:pt x="3347" y="1363"/>
                  </a:lnTo>
                  <a:lnTo>
                    <a:pt x="3347" y="1365"/>
                  </a:lnTo>
                  <a:lnTo>
                    <a:pt x="3351" y="1363"/>
                  </a:lnTo>
                  <a:lnTo>
                    <a:pt x="3353" y="1361"/>
                  </a:lnTo>
                  <a:lnTo>
                    <a:pt x="3355" y="1359"/>
                  </a:lnTo>
                  <a:lnTo>
                    <a:pt x="3355" y="1359"/>
                  </a:lnTo>
                  <a:lnTo>
                    <a:pt x="3355" y="1357"/>
                  </a:lnTo>
                  <a:lnTo>
                    <a:pt x="3353" y="1357"/>
                  </a:lnTo>
                  <a:lnTo>
                    <a:pt x="3355" y="1355"/>
                  </a:lnTo>
                  <a:lnTo>
                    <a:pt x="3357" y="1353"/>
                  </a:lnTo>
                  <a:lnTo>
                    <a:pt x="3359" y="1351"/>
                  </a:lnTo>
                  <a:lnTo>
                    <a:pt x="3365" y="1351"/>
                  </a:lnTo>
                  <a:lnTo>
                    <a:pt x="3369" y="1351"/>
                  </a:lnTo>
                  <a:lnTo>
                    <a:pt x="3369" y="1348"/>
                  </a:lnTo>
                  <a:lnTo>
                    <a:pt x="3374" y="1346"/>
                  </a:lnTo>
                  <a:lnTo>
                    <a:pt x="3374" y="1340"/>
                  </a:lnTo>
                  <a:lnTo>
                    <a:pt x="3376" y="1338"/>
                  </a:lnTo>
                  <a:lnTo>
                    <a:pt x="3378" y="1338"/>
                  </a:lnTo>
                  <a:lnTo>
                    <a:pt x="3382" y="1336"/>
                  </a:lnTo>
                  <a:lnTo>
                    <a:pt x="3386" y="1336"/>
                  </a:lnTo>
                  <a:lnTo>
                    <a:pt x="3388" y="1336"/>
                  </a:lnTo>
                  <a:lnTo>
                    <a:pt x="3390" y="1334"/>
                  </a:lnTo>
                  <a:lnTo>
                    <a:pt x="3390" y="1334"/>
                  </a:lnTo>
                  <a:lnTo>
                    <a:pt x="3390" y="1332"/>
                  </a:lnTo>
                  <a:lnTo>
                    <a:pt x="3390" y="1332"/>
                  </a:lnTo>
                  <a:lnTo>
                    <a:pt x="3390" y="1328"/>
                  </a:lnTo>
                  <a:lnTo>
                    <a:pt x="3390" y="1326"/>
                  </a:lnTo>
                  <a:lnTo>
                    <a:pt x="3390" y="1326"/>
                  </a:lnTo>
                  <a:lnTo>
                    <a:pt x="3390" y="1324"/>
                  </a:lnTo>
                  <a:lnTo>
                    <a:pt x="3390" y="1322"/>
                  </a:lnTo>
                  <a:lnTo>
                    <a:pt x="3390" y="1318"/>
                  </a:lnTo>
                  <a:lnTo>
                    <a:pt x="3392" y="1315"/>
                  </a:lnTo>
                  <a:lnTo>
                    <a:pt x="3392" y="1315"/>
                  </a:lnTo>
                  <a:lnTo>
                    <a:pt x="3394" y="1311"/>
                  </a:lnTo>
                  <a:lnTo>
                    <a:pt x="3396" y="1311"/>
                  </a:lnTo>
                  <a:lnTo>
                    <a:pt x="3396" y="1311"/>
                  </a:lnTo>
                  <a:lnTo>
                    <a:pt x="3396" y="1313"/>
                  </a:lnTo>
                  <a:lnTo>
                    <a:pt x="3396" y="1313"/>
                  </a:lnTo>
                  <a:lnTo>
                    <a:pt x="3396" y="1313"/>
                  </a:lnTo>
                  <a:lnTo>
                    <a:pt x="3398" y="1313"/>
                  </a:lnTo>
                  <a:lnTo>
                    <a:pt x="3400" y="1313"/>
                  </a:lnTo>
                  <a:lnTo>
                    <a:pt x="3400" y="1313"/>
                  </a:lnTo>
                  <a:lnTo>
                    <a:pt x="3402" y="1307"/>
                  </a:lnTo>
                  <a:lnTo>
                    <a:pt x="3407" y="1303"/>
                  </a:lnTo>
                  <a:lnTo>
                    <a:pt x="3409" y="1301"/>
                  </a:lnTo>
                  <a:lnTo>
                    <a:pt x="3413" y="1299"/>
                  </a:lnTo>
                  <a:lnTo>
                    <a:pt x="3413" y="1299"/>
                  </a:lnTo>
                  <a:lnTo>
                    <a:pt x="3415" y="1293"/>
                  </a:lnTo>
                  <a:lnTo>
                    <a:pt x="3417" y="1291"/>
                  </a:lnTo>
                  <a:lnTo>
                    <a:pt x="3417" y="1291"/>
                  </a:lnTo>
                  <a:lnTo>
                    <a:pt x="3419" y="1287"/>
                  </a:lnTo>
                  <a:lnTo>
                    <a:pt x="3419" y="1287"/>
                  </a:lnTo>
                  <a:lnTo>
                    <a:pt x="3419" y="1284"/>
                  </a:lnTo>
                  <a:lnTo>
                    <a:pt x="3419" y="1282"/>
                  </a:lnTo>
                  <a:lnTo>
                    <a:pt x="3417" y="1282"/>
                  </a:lnTo>
                  <a:lnTo>
                    <a:pt x="3415" y="1282"/>
                  </a:lnTo>
                  <a:lnTo>
                    <a:pt x="3413" y="1280"/>
                  </a:lnTo>
                  <a:lnTo>
                    <a:pt x="3413" y="1278"/>
                  </a:lnTo>
                  <a:lnTo>
                    <a:pt x="3411" y="1276"/>
                  </a:lnTo>
                  <a:lnTo>
                    <a:pt x="3409" y="1274"/>
                  </a:lnTo>
                  <a:lnTo>
                    <a:pt x="3407" y="1272"/>
                  </a:lnTo>
                  <a:lnTo>
                    <a:pt x="3407" y="1270"/>
                  </a:lnTo>
                  <a:lnTo>
                    <a:pt x="3404" y="1270"/>
                  </a:lnTo>
                  <a:lnTo>
                    <a:pt x="3404" y="1268"/>
                  </a:lnTo>
                  <a:lnTo>
                    <a:pt x="3402" y="1266"/>
                  </a:lnTo>
                  <a:lnTo>
                    <a:pt x="3400" y="1266"/>
                  </a:lnTo>
                  <a:lnTo>
                    <a:pt x="3398" y="1266"/>
                  </a:lnTo>
                  <a:lnTo>
                    <a:pt x="3398" y="1266"/>
                  </a:lnTo>
                  <a:lnTo>
                    <a:pt x="3394" y="1266"/>
                  </a:lnTo>
                  <a:lnTo>
                    <a:pt x="3390" y="1264"/>
                  </a:lnTo>
                  <a:lnTo>
                    <a:pt x="3388" y="1264"/>
                  </a:lnTo>
                  <a:lnTo>
                    <a:pt x="3382" y="1262"/>
                  </a:lnTo>
                  <a:lnTo>
                    <a:pt x="3382" y="1262"/>
                  </a:lnTo>
                  <a:lnTo>
                    <a:pt x="3378" y="1258"/>
                  </a:lnTo>
                  <a:lnTo>
                    <a:pt x="3376" y="1256"/>
                  </a:lnTo>
                  <a:lnTo>
                    <a:pt x="3374" y="1254"/>
                  </a:lnTo>
                  <a:lnTo>
                    <a:pt x="3371" y="1249"/>
                  </a:lnTo>
                  <a:lnTo>
                    <a:pt x="3369" y="1245"/>
                  </a:lnTo>
                  <a:lnTo>
                    <a:pt x="3369" y="1245"/>
                  </a:lnTo>
                  <a:lnTo>
                    <a:pt x="3369" y="1237"/>
                  </a:lnTo>
                  <a:lnTo>
                    <a:pt x="3369" y="1235"/>
                  </a:lnTo>
                  <a:lnTo>
                    <a:pt x="3369" y="1235"/>
                  </a:lnTo>
                  <a:lnTo>
                    <a:pt x="3369" y="1235"/>
                  </a:lnTo>
                  <a:lnTo>
                    <a:pt x="3369" y="1233"/>
                  </a:lnTo>
                  <a:lnTo>
                    <a:pt x="3371" y="1229"/>
                  </a:lnTo>
                  <a:lnTo>
                    <a:pt x="3371" y="1227"/>
                  </a:lnTo>
                  <a:lnTo>
                    <a:pt x="3371" y="1227"/>
                  </a:lnTo>
                  <a:lnTo>
                    <a:pt x="3371" y="1225"/>
                  </a:lnTo>
                  <a:lnTo>
                    <a:pt x="3369" y="1225"/>
                  </a:lnTo>
                  <a:lnTo>
                    <a:pt x="3369" y="1227"/>
                  </a:lnTo>
                  <a:lnTo>
                    <a:pt x="3369" y="1227"/>
                  </a:lnTo>
                  <a:lnTo>
                    <a:pt x="3367" y="1227"/>
                  </a:lnTo>
                  <a:lnTo>
                    <a:pt x="3367" y="1227"/>
                  </a:lnTo>
                  <a:lnTo>
                    <a:pt x="3367" y="1227"/>
                  </a:lnTo>
                  <a:lnTo>
                    <a:pt x="3365" y="1229"/>
                  </a:lnTo>
                  <a:lnTo>
                    <a:pt x="3365" y="1231"/>
                  </a:lnTo>
                  <a:lnTo>
                    <a:pt x="3365" y="1233"/>
                  </a:lnTo>
                  <a:lnTo>
                    <a:pt x="3363" y="1233"/>
                  </a:lnTo>
                  <a:lnTo>
                    <a:pt x="3357" y="1239"/>
                  </a:lnTo>
                  <a:lnTo>
                    <a:pt x="3357" y="1239"/>
                  </a:lnTo>
                  <a:lnTo>
                    <a:pt x="3355" y="1241"/>
                  </a:lnTo>
                  <a:lnTo>
                    <a:pt x="3355" y="1241"/>
                  </a:lnTo>
                  <a:lnTo>
                    <a:pt x="3351" y="1245"/>
                  </a:lnTo>
                  <a:lnTo>
                    <a:pt x="3347" y="1249"/>
                  </a:lnTo>
                  <a:lnTo>
                    <a:pt x="3345" y="1249"/>
                  </a:lnTo>
                  <a:lnTo>
                    <a:pt x="3345" y="1251"/>
                  </a:lnTo>
                  <a:lnTo>
                    <a:pt x="3345" y="1251"/>
                  </a:lnTo>
                  <a:lnTo>
                    <a:pt x="3345" y="1254"/>
                  </a:lnTo>
                  <a:lnTo>
                    <a:pt x="3343" y="1254"/>
                  </a:lnTo>
                  <a:lnTo>
                    <a:pt x="3343" y="1256"/>
                  </a:lnTo>
                  <a:lnTo>
                    <a:pt x="3343" y="1256"/>
                  </a:lnTo>
                  <a:lnTo>
                    <a:pt x="3341" y="1258"/>
                  </a:lnTo>
                  <a:lnTo>
                    <a:pt x="3338" y="1258"/>
                  </a:lnTo>
                  <a:lnTo>
                    <a:pt x="3334" y="1260"/>
                  </a:lnTo>
                  <a:lnTo>
                    <a:pt x="3334" y="1260"/>
                  </a:lnTo>
                  <a:lnTo>
                    <a:pt x="3326" y="1260"/>
                  </a:lnTo>
                  <a:lnTo>
                    <a:pt x="3322" y="1258"/>
                  </a:lnTo>
                  <a:lnTo>
                    <a:pt x="3318" y="1258"/>
                  </a:lnTo>
                  <a:lnTo>
                    <a:pt x="3316" y="1260"/>
                  </a:lnTo>
                  <a:lnTo>
                    <a:pt x="3312" y="1262"/>
                  </a:lnTo>
                  <a:lnTo>
                    <a:pt x="3310" y="1262"/>
                  </a:lnTo>
                  <a:lnTo>
                    <a:pt x="3305" y="1262"/>
                  </a:lnTo>
                  <a:lnTo>
                    <a:pt x="3305" y="1260"/>
                  </a:lnTo>
                  <a:lnTo>
                    <a:pt x="3305" y="1260"/>
                  </a:lnTo>
                  <a:lnTo>
                    <a:pt x="3303" y="1258"/>
                  </a:lnTo>
                  <a:lnTo>
                    <a:pt x="3303" y="1258"/>
                  </a:lnTo>
                  <a:lnTo>
                    <a:pt x="3303" y="1258"/>
                  </a:lnTo>
                  <a:lnTo>
                    <a:pt x="3301" y="1256"/>
                  </a:lnTo>
                  <a:lnTo>
                    <a:pt x="3301" y="1256"/>
                  </a:lnTo>
                  <a:lnTo>
                    <a:pt x="3301" y="1256"/>
                  </a:lnTo>
                  <a:lnTo>
                    <a:pt x="3301" y="1256"/>
                  </a:lnTo>
                  <a:lnTo>
                    <a:pt x="3299" y="1256"/>
                  </a:lnTo>
                  <a:lnTo>
                    <a:pt x="3299" y="1256"/>
                  </a:lnTo>
                  <a:lnTo>
                    <a:pt x="3297" y="1256"/>
                  </a:lnTo>
                  <a:lnTo>
                    <a:pt x="3299" y="1254"/>
                  </a:lnTo>
                  <a:lnTo>
                    <a:pt x="3299" y="1254"/>
                  </a:lnTo>
                  <a:lnTo>
                    <a:pt x="3299" y="1251"/>
                  </a:lnTo>
                  <a:lnTo>
                    <a:pt x="3299" y="1251"/>
                  </a:lnTo>
                  <a:lnTo>
                    <a:pt x="3297" y="1251"/>
                  </a:lnTo>
                  <a:lnTo>
                    <a:pt x="3299" y="1251"/>
                  </a:lnTo>
                  <a:lnTo>
                    <a:pt x="3299" y="1251"/>
                  </a:lnTo>
                  <a:lnTo>
                    <a:pt x="3301" y="1247"/>
                  </a:lnTo>
                  <a:lnTo>
                    <a:pt x="3301" y="1245"/>
                  </a:lnTo>
                  <a:lnTo>
                    <a:pt x="3301" y="1245"/>
                  </a:lnTo>
                  <a:lnTo>
                    <a:pt x="3301" y="1243"/>
                  </a:lnTo>
                  <a:lnTo>
                    <a:pt x="3301" y="1241"/>
                  </a:lnTo>
                  <a:lnTo>
                    <a:pt x="3301" y="1239"/>
                  </a:lnTo>
                  <a:lnTo>
                    <a:pt x="3301" y="1239"/>
                  </a:lnTo>
                  <a:lnTo>
                    <a:pt x="3301" y="1237"/>
                  </a:lnTo>
                  <a:lnTo>
                    <a:pt x="3301" y="1235"/>
                  </a:lnTo>
                  <a:lnTo>
                    <a:pt x="3301" y="1235"/>
                  </a:lnTo>
                  <a:lnTo>
                    <a:pt x="3301" y="1233"/>
                  </a:lnTo>
                  <a:lnTo>
                    <a:pt x="3299" y="1231"/>
                  </a:lnTo>
                  <a:lnTo>
                    <a:pt x="3297" y="1229"/>
                  </a:lnTo>
                  <a:lnTo>
                    <a:pt x="3295" y="1229"/>
                  </a:lnTo>
                  <a:lnTo>
                    <a:pt x="3293" y="1231"/>
                  </a:lnTo>
                  <a:lnTo>
                    <a:pt x="3291" y="1235"/>
                  </a:lnTo>
                  <a:lnTo>
                    <a:pt x="3291" y="1237"/>
                  </a:lnTo>
                  <a:lnTo>
                    <a:pt x="3291" y="1239"/>
                  </a:lnTo>
                  <a:lnTo>
                    <a:pt x="3291" y="1239"/>
                  </a:lnTo>
                  <a:lnTo>
                    <a:pt x="3289" y="1239"/>
                  </a:lnTo>
                  <a:lnTo>
                    <a:pt x="3291" y="1243"/>
                  </a:lnTo>
                  <a:lnTo>
                    <a:pt x="3291" y="1247"/>
                  </a:lnTo>
                  <a:lnTo>
                    <a:pt x="3291" y="1247"/>
                  </a:lnTo>
                  <a:lnTo>
                    <a:pt x="3291" y="1249"/>
                  </a:lnTo>
                  <a:lnTo>
                    <a:pt x="3289" y="1247"/>
                  </a:lnTo>
                  <a:lnTo>
                    <a:pt x="3289" y="1245"/>
                  </a:lnTo>
                  <a:lnTo>
                    <a:pt x="3287" y="1245"/>
                  </a:lnTo>
                  <a:lnTo>
                    <a:pt x="3287" y="1241"/>
                  </a:lnTo>
                  <a:lnTo>
                    <a:pt x="3285" y="1239"/>
                  </a:lnTo>
                  <a:lnTo>
                    <a:pt x="3283" y="1237"/>
                  </a:lnTo>
                  <a:lnTo>
                    <a:pt x="3283" y="1237"/>
                  </a:lnTo>
                  <a:lnTo>
                    <a:pt x="3283" y="1235"/>
                  </a:lnTo>
                  <a:lnTo>
                    <a:pt x="3281" y="1233"/>
                  </a:lnTo>
                  <a:lnTo>
                    <a:pt x="3281" y="1231"/>
                  </a:lnTo>
                  <a:lnTo>
                    <a:pt x="3279" y="1229"/>
                  </a:lnTo>
                  <a:lnTo>
                    <a:pt x="3281" y="1229"/>
                  </a:lnTo>
                  <a:lnTo>
                    <a:pt x="3281" y="1229"/>
                  </a:lnTo>
                  <a:lnTo>
                    <a:pt x="3281" y="1229"/>
                  </a:lnTo>
                  <a:lnTo>
                    <a:pt x="3281" y="1229"/>
                  </a:lnTo>
                  <a:lnTo>
                    <a:pt x="3283" y="1227"/>
                  </a:lnTo>
                  <a:lnTo>
                    <a:pt x="3283" y="1225"/>
                  </a:lnTo>
                  <a:lnTo>
                    <a:pt x="3281" y="1225"/>
                  </a:lnTo>
                  <a:lnTo>
                    <a:pt x="3279" y="1223"/>
                  </a:lnTo>
                  <a:lnTo>
                    <a:pt x="3279" y="1220"/>
                  </a:lnTo>
                  <a:lnTo>
                    <a:pt x="3279" y="1220"/>
                  </a:lnTo>
                  <a:lnTo>
                    <a:pt x="3279" y="1220"/>
                  </a:lnTo>
                  <a:lnTo>
                    <a:pt x="3281" y="1220"/>
                  </a:lnTo>
                  <a:lnTo>
                    <a:pt x="3281" y="1220"/>
                  </a:lnTo>
                  <a:lnTo>
                    <a:pt x="3281" y="1220"/>
                  </a:lnTo>
                  <a:lnTo>
                    <a:pt x="3279" y="1218"/>
                  </a:lnTo>
                  <a:lnTo>
                    <a:pt x="3275" y="1216"/>
                  </a:lnTo>
                  <a:lnTo>
                    <a:pt x="3272" y="1212"/>
                  </a:lnTo>
                  <a:lnTo>
                    <a:pt x="3270" y="1212"/>
                  </a:lnTo>
                  <a:lnTo>
                    <a:pt x="3268" y="1210"/>
                  </a:lnTo>
                  <a:lnTo>
                    <a:pt x="3268" y="1208"/>
                  </a:lnTo>
                  <a:lnTo>
                    <a:pt x="3268" y="1208"/>
                  </a:lnTo>
                  <a:lnTo>
                    <a:pt x="3266" y="1208"/>
                  </a:lnTo>
                  <a:lnTo>
                    <a:pt x="3266" y="1208"/>
                  </a:lnTo>
                  <a:lnTo>
                    <a:pt x="3264" y="1206"/>
                  </a:lnTo>
                  <a:lnTo>
                    <a:pt x="3262" y="1204"/>
                  </a:lnTo>
                  <a:lnTo>
                    <a:pt x="3262" y="1204"/>
                  </a:lnTo>
                  <a:lnTo>
                    <a:pt x="3262" y="1204"/>
                  </a:lnTo>
                  <a:lnTo>
                    <a:pt x="3262" y="1202"/>
                  </a:lnTo>
                  <a:lnTo>
                    <a:pt x="3262" y="1200"/>
                  </a:lnTo>
                  <a:lnTo>
                    <a:pt x="3260" y="1198"/>
                  </a:lnTo>
                  <a:lnTo>
                    <a:pt x="3258" y="1196"/>
                  </a:lnTo>
                  <a:lnTo>
                    <a:pt x="3258" y="1194"/>
                  </a:lnTo>
                  <a:lnTo>
                    <a:pt x="3256" y="1192"/>
                  </a:lnTo>
                  <a:lnTo>
                    <a:pt x="3256" y="1189"/>
                  </a:lnTo>
                  <a:lnTo>
                    <a:pt x="3256" y="1189"/>
                  </a:lnTo>
                  <a:lnTo>
                    <a:pt x="3256" y="1189"/>
                  </a:lnTo>
                  <a:lnTo>
                    <a:pt x="3254" y="1185"/>
                  </a:lnTo>
                  <a:lnTo>
                    <a:pt x="3254" y="1185"/>
                  </a:lnTo>
                  <a:lnTo>
                    <a:pt x="3252" y="1181"/>
                  </a:lnTo>
                  <a:lnTo>
                    <a:pt x="3252" y="1181"/>
                  </a:lnTo>
                  <a:lnTo>
                    <a:pt x="3252" y="1179"/>
                  </a:lnTo>
                  <a:lnTo>
                    <a:pt x="3250" y="1179"/>
                  </a:lnTo>
                  <a:lnTo>
                    <a:pt x="3250" y="1179"/>
                  </a:lnTo>
                  <a:lnTo>
                    <a:pt x="3248" y="1179"/>
                  </a:lnTo>
                  <a:lnTo>
                    <a:pt x="3248" y="1179"/>
                  </a:lnTo>
                  <a:lnTo>
                    <a:pt x="3248" y="1179"/>
                  </a:lnTo>
                  <a:lnTo>
                    <a:pt x="3248" y="1177"/>
                  </a:lnTo>
                  <a:lnTo>
                    <a:pt x="3250" y="1175"/>
                  </a:lnTo>
                  <a:lnTo>
                    <a:pt x="3252" y="1175"/>
                  </a:lnTo>
                  <a:lnTo>
                    <a:pt x="3252" y="1175"/>
                  </a:lnTo>
                  <a:lnTo>
                    <a:pt x="3252" y="1175"/>
                  </a:lnTo>
                  <a:lnTo>
                    <a:pt x="3252" y="1175"/>
                  </a:lnTo>
                  <a:lnTo>
                    <a:pt x="3252" y="1173"/>
                  </a:lnTo>
                  <a:lnTo>
                    <a:pt x="3250" y="1173"/>
                  </a:lnTo>
                  <a:lnTo>
                    <a:pt x="3250" y="1171"/>
                  </a:lnTo>
                  <a:lnTo>
                    <a:pt x="3250" y="1169"/>
                  </a:lnTo>
                  <a:lnTo>
                    <a:pt x="3250" y="1169"/>
                  </a:lnTo>
                  <a:lnTo>
                    <a:pt x="3252" y="1169"/>
                  </a:lnTo>
                  <a:lnTo>
                    <a:pt x="3252" y="1169"/>
                  </a:lnTo>
                  <a:lnTo>
                    <a:pt x="3256" y="1171"/>
                  </a:lnTo>
                  <a:lnTo>
                    <a:pt x="3258" y="1171"/>
                  </a:lnTo>
                  <a:lnTo>
                    <a:pt x="3258" y="1171"/>
                  </a:lnTo>
                  <a:lnTo>
                    <a:pt x="3260" y="1169"/>
                  </a:lnTo>
                  <a:lnTo>
                    <a:pt x="3260" y="1169"/>
                  </a:lnTo>
                  <a:lnTo>
                    <a:pt x="3262" y="1169"/>
                  </a:lnTo>
                  <a:lnTo>
                    <a:pt x="3262" y="1169"/>
                  </a:lnTo>
                  <a:lnTo>
                    <a:pt x="3264" y="1167"/>
                  </a:lnTo>
                  <a:lnTo>
                    <a:pt x="3264" y="1165"/>
                  </a:lnTo>
                  <a:lnTo>
                    <a:pt x="3264" y="1165"/>
                  </a:lnTo>
                  <a:lnTo>
                    <a:pt x="3264" y="1163"/>
                  </a:lnTo>
                  <a:lnTo>
                    <a:pt x="3266" y="1163"/>
                  </a:lnTo>
                  <a:lnTo>
                    <a:pt x="3264" y="1161"/>
                  </a:lnTo>
                  <a:lnTo>
                    <a:pt x="3266" y="1161"/>
                  </a:lnTo>
                  <a:lnTo>
                    <a:pt x="3268" y="1163"/>
                  </a:lnTo>
                  <a:lnTo>
                    <a:pt x="3268" y="1163"/>
                  </a:lnTo>
                  <a:lnTo>
                    <a:pt x="3268" y="1163"/>
                  </a:lnTo>
                  <a:lnTo>
                    <a:pt x="3266" y="1163"/>
                  </a:lnTo>
                  <a:lnTo>
                    <a:pt x="3266" y="1163"/>
                  </a:lnTo>
                  <a:lnTo>
                    <a:pt x="3264" y="1163"/>
                  </a:lnTo>
                  <a:lnTo>
                    <a:pt x="3266" y="1165"/>
                  </a:lnTo>
                  <a:lnTo>
                    <a:pt x="3266" y="1165"/>
                  </a:lnTo>
                  <a:lnTo>
                    <a:pt x="3270" y="1167"/>
                  </a:lnTo>
                  <a:lnTo>
                    <a:pt x="3272" y="1169"/>
                  </a:lnTo>
                  <a:lnTo>
                    <a:pt x="3279" y="1167"/>
                  </a:lnTo>
                  <a:lnTo>
                    <a:pt x="3281" y="1167"/>
                  </a:lnTo>
                  <a:lnTo>
                    <a:pt x="3281" y="1169"/>
                  </a:lnTo>
                  <a:lnTo>
                    <a:pt x="3281" y="1171"/>
                  </a:lnTo>
                  <a:lnTo>
                    <a:pt x="3283" y="1171"/>
                  </a:lnTo>
                  <a:lnTo>
                    <a:pt x="3285" y="1175"/>
                  </a:lnTo>
                  <a:lnTo>
                    <a:pt x="3287" y="1177"/>
                  </a:lnTo>
                  <a:lnTo>
                    <a:pt x="3289" y="1179"/>
                  </a:lnTo>
                  <a:lnTo>
                    <a:pt x="3289" y="1179"/>
                  </a:lnTo>
                  <a:lnTo>
                    <a:pt x="3289" y="1181"/>
                  </a:lnTo>
                  <a:lnTo>
                    <a:pt x="3289" y="1183"/>
                  </a:lnTo>
                  <a:lnTo>
                    <a:pt x="3291" y="1183"/>
                  </a:lnTo>
                  <a:lnTo>
                    <a:pt x="3291" y="1183"/>
                  </a:lnTo>
                  <a:lnTo>
                    <a:pt x="3291" y="1185"/>
                  </a:lnTo>
                  <a:lnTo>
                    <a:pt x="3291" y="1185"/>
                  </a:lnTo>
                  <a:lnTo>
                    <a:pt x="3291" y="1187"/>
                  </a:lnTo>
                  <a:lnTo>
                    <a:pt x="3293" y="1187"/>
                  </a:lnTo>
                  <a:lnTo>
                    <a:pt x="3295" y="1189"/>
                  </a:lnTo>
                  <a:lnTo>
                    <a:pt x="3295" y="1192"/>
                  </a:lnTo>
                  <a:lnTo>
                    <a:pt x="3295" y="1194"/>
                  </a:lnTo>
                  <a:lnTo>
                    <a:pt x="3297" y="1198"/>
                  </a:lnTo>
                  <a:lnTo>
                    <a:pt x="3297" y="1198"/>
                  </a:lnTo>
                  <a:lnTo>
                    <a:pt x="3301" y="1202"/>
                  </a:lnTo>
                  <a:lnTo>
                    <a:pt x="3301" y="1202"/>
                  </a:lnTo>
                  <a:lnTo>
                    <a:pt x="3303" y="1202"/>
                  </a:lnTo>
                  <a:lnTo>
                    <a:pt x="3305" y="1202"/>
                  </a:lnTo>
                  <a:lnTo>
                    <a:pt x="3308" y="1202"/>
                  </a:lnTo>
                  <a:lnTo>
                    <a:pt x="3310" y="1204"/>
                  </a:lnTo>
                  <a:lnTo>
                    <a:pt x="3314" y="1206"/>
                  </a:lnTo>
                  <a:lnTo>
                    <a:pt x="3316" y="1208"/>
                  </a:lnTo>
                  <a:lnTo>
                    <a:pt x="3316" y="1210"/>
                  </a:lnTo>
                  <a:lnTo>
                    <a:pt x="3318" y="1210"/>
                  </a:lnTo>
                  <a:lnTo>
                    <a:pt x="3322" y="1214"/>
                  </a:lnTo>
                  <a:lnTo>
                    <a:pt x="3326" y="1216"/>
                  </a:lnTo>
                  <a:lnTo>
                    <a:pt x="3328" y="1216"/>
                  </a:lnTo>
                  <a:lnTo>
                    <a:pt x="3328" y="1218"/>
                  </a:lnTo>
                  <a:lnTo>
                    <a:pt x="3332" y="1220"/>
                  </a:lnTo>
                  <a:lnTo>
                    <a:pt x="3334" y="1220"/>
                  </a:lnTo>
                  <a:lnTo>
                    <a:pt x="3336" y="1220"/>
                  </a:lnTo>
                  <a:lnTo>
                    <a:pt x="3341" y="1220"/>
                  </a:lnTo>
                  <a:lnTo>
                    <a:pt x="3345" y="1223"/>
                  </a:lnTo>
                  <a:lnTo>
                    <a:pt x="3345" y="1223"/>
                  </a:lnTo>
                  <a:lnTo>
                    <a:pt x="3347" y="1223"/>
                  </a:lnTo>
                  <a:lnTo>
                    <a:pt x="3349" y="1223"/>
                  </a:lnTo>
                  <a:lnTo>
                    <a:pt x="3353" y="1220"/>
                  </a:lnTo>
                  <a:lnTo>
                    <a:pt x="3355" y="1218"/>
                  </a:lnTo>
                  <a:lnTo>
                    <a:pt x="3357" y="1218"/>
                  </a:lnTo>
                  <a:lnTo>
                    <a:pt x="3357" y="1218"/>
                  </a:lnTo>
                  <a:lnTo>
                    <a:pt x="3359" y="1216"/>
                  </a:lnTo>
                  <a:lnTo>
                    <a:pt x="3359" y="1216"/>
                  </a:lnTo>
                  <a:lnTo>
                    <a:pt x="3363" y="1214"/>
                  </a:lnTo>
                  <a:lnTo>
                    <a:pt x="3367" y="1214"/>
                  </a:lnTo>
                  <a:lnTo>
                    <a:pt x="3369" y="1212"/>
                  </a:lnTo>
                  <a:lnTo>
                    <a:pt x="3369" y="1212"/>
                  </a:lnTo>
                  <a:lnTo>
                    <a:pt x="3376" y="1214"/>
                  </a:lnTo>
                  <a:lnTo>
                    <a:pt x="3376" y="1214"/>
                  </a:lnTo>
                  <a:lnTo>
                    <a:pt x="3378" y="1216"/>
                  </a:lnTo>
                  <a:lnTo>
                    <a:pt x="3380" y="1216"/>
                  </a:lnTo>
                  <a:lnTo>
                    <a:pt x="3380" y="1218"/>
                  </a:lnTo>
                  <a:lnTo>
                    <a:pt x="3380" y="1220"/>
                  </a:lnTo>
                  <a:lnTo>
                    <a:pt x="3380" y="1225"/>
                  </a:lnTo>
                  <a:lnTo>
                    <a:pt x="3382" y="1229"/>
                  </a:lnTo>
                  <a:lnTo>
                    <a:pt x="3382" y="1231"/>
                  </a:lnTo>
                  <a:lnTo>
                    <a:pt x="3382" y="1231"/>
                  </a:lnTo>
                  <a:lnTo>
                    <a:pt x="3384" y="1233"/>
                  </a:lnTo>
                  <a:lnTo>
                    <a:pt x="3390" y="1235"/>
                  </a:lnTo>
                  <a:lnTo>
                    <a:pt x="3390" y="1235"/>
                  </a:lnTo>
                  <a:lnTo>
                    <a:pt x="3392" y="1235"/>
                  </a:lnTo>
                  <a:lnTo>
                    <a:pt x="3394" y="1237"/>
                  </a:lnTo>
                  <a:lnTo>
                    <a:pt x="3396" y="1237"/>
                  </a:lnTo>
                  <a:lnTo>
                    <a:pt x="3398" y="1237"/>
                  </a:lnTo>
                  <a:lnTo>
                    <a:pt x="3400" y="1237"/>
                  </a:lnTo>
                  <a:lnTo>
                    <a:pt x="3404" y="1237"/>
                  </a:lnTo>
                  <a:lnTo>
                    <a:pt x="3409" y="1239"/>
                  </a:lnTo>
                  <a:lnTo>
                    <a:pt x="3411" y="1239"/>
                  </a:lnTo>
                  <a:lnTo>
                    <a:pt x="3415" y="1239"/>
                  </a:lnTo>
                  <a:lnTo>
                    <a:pt x="3417" y="1239"/>
                  </a:lnTo>
                  <a:lnTo>
                    <a:pt x="3419" y="1239"/>
                  </a:lnTo>
                  <a:lnTo>
                    <a:pt x="3421" y="1241"/>
                  </a:lnTo>
                  <a:lnTo>
                    <a:pt x="3423" y="1239"/>
                  </a:lnTo>
                  <a:lnTo>
                    <a:pt x="3427" y="1241"/>
                  </a:lnTo>
                  <a:lnTo>
                    <a:pt x="3429" y="1239"/>
                  </a:lnTo>
                  <a:lnTo>
                    <a:pt x="3429" y="1239"/>
                  </a:lnTo>
                  <a:lnTo>
                    <a:pt x="3431" y="1241"/>
                  </a:lnTo>
                  <a:lnTo>
                    <a:pt x="3431" y="1241"/>
                  </a:lnTo>
                  <a:lnTo>
                    <a:pt x="3437" y="1243"/>
                  </a:lnTo>
                  <a:lnTo>
                    <a:pt x="3440" y="1243"/>
                  </a:lnTo>
                  <a:lnTo>
                    <a:pt x="3442" y="1243"/>
                  </a:lnTo>
                  <a:lnTo>
                    <a:pt x="3444" y="1243"/>
                  </a:lnTo>
                  <a:lnTo>
                    <a:pt x="3444" y="1243"/>
                  </a:lnTo>
                  <a:lnTo>
                    <a:pt x="3446" y="1243"/>
                  </a:lnTo>
                  <a:lnTo>
                    <a:pt x="3450" y="1243"/>
                  </a:lnTo>
                  <a:lnTo>
                    <a:pt x="3452" y="1243"/>
                  </a:lnTo>
                  <a:lnTo>
                    <a:pt x="3452" y="1243"/>
                  </a:lnTo>
                  <a:lnTo>
                    <a:pt x="3454" y="1243"/>
                  </a:lnTo>
                  <a:lnTo>
                    <a:pt x="3454" y="1243"/>
                  </a:lnTo>
                  <a:lnTo>
                    <a:pt x="3454" y="1243"/>
                  </a:lnTo>
                  <a:lnTo>
                    <a:pt x="3456" y="1243"/>
                  </a:lnTo>
                  <a:lnTo>
                    <a:pt x="3456" y="1243"/>
                  </a:lnTo>
                  <a:lnTo>
                    <a:pt x="3458" y="1241"/>
                  </a:lnTo>
                  <a:lnTo>
                    <a:pt x="3460" y="1241"/>
                  </a:lnTo>
                  <a:lnTo>
                    <a:pt x="3464" y="1243"/>
                  </a:lnTo>
                  <a:lnTo>
                    <a:pt x="3466" y="1241"/>
                  </a:lnTo>
                  <a:lnTo>
                    <a:pt x="3468" y="1243"/>
                  </a:lnTo>
                  <a:lnTo>
                    <a:pt x="3473" y="1243"/>
                  </a:lnTo>
                  <a:lnTo>
                    <a:pt x="3473" y="1241"/>
                  </a:lnTo>
                  <a:lnTo>
                    <a:pt x="3473" y="1241"/>
                  </a:lnTo>
                  <a:lnTo>
                    <a:pt x="3475" y="1239"/>
                  </a:lnTo>
                  <a:lnTo>
                    <a:pt x="3479" y="1241"/>
                  </a:lnTo>
                  <a:lnTo>
                    <a:pt x="3479" y="1241"/>
                  </a:lnTo>
                  <a:lnTo>
                    <a:pt x="3479" y="1239"/>
                  </a:lnTo>
                  <a:lnTo>
                    <a:pt x="3481" y="1239"/>
                  </a:lnTo>
                  <a:lnTo>
                    <a:pt x="3481" y="1241"/>
                  </a:lnTo>
                  <a:lnTo>
                    <a:pt x="3487" y="1241"/>
                  </a:lnTo>
                  <a:lnTo>
                    <a:pt x="3487" y="1243"/>
                  </a:lnTo>
                  <a:lnTo>
                    <a:pt x="3489" y="1243"/>
                  </a:lnTo>
                  <a:lnTo>
                    <a:pt x="3489" y="1241"/>
                  </a:lnTo>
                  <a:lnTo>
                    <a:pt x="3493" y="1241"/>
                  </a:lnTo>
                  <a:lnTo>
                    <a:pt x="3499" y="1239"/>
                  </a:lnTo>
                  <a:lnTo>
                    <a:pt x="3503" y="1241"/>
                  </a:lnTo>
                  <a:lnTo>
                    <a:pt x="3506" y="1239"/>
                  </a:lnTo>
                  <a:lnTo>
                    <a:pt x="3512" y="1239"/>
                  </a:lnTo>
                  <a:lnTo>
                    <a:pt x="3512" y="1239"/>
                  </a:lnTo>
                  <a:lnTo>
                    <a:pt x="3514" y="1239"/>
                  </a:lnTo>
                  <a:lnTo>
                    <a:pt x="3514" y="1239"/>
                  </a:lnTo>
                  <a:lnTo>
                    <a:pt x="3514" y="1239"/>
                  </a:lnTo>
                  <a:lnTo>
                    <a:pt x="3512" y="1239"/>
                  </a:lnTo>
                  <a:lnTo>
                    <a:pt x="3510" y="1239"/>
                  </a:lnTo>
                  <a:lnTo>
                    <a:pt x="3510" y="1237"/>
                  </a:lnTo>
                  <a:lnTo>
                    <a:pt x="3510" y="1237"/>
                  </a:lnTo>
                  <a:lnTo>
                    <a:pt x="3512" y="1237"/>
                  </a:lnTo>
                  <a:lnTo>
                    <a:pt x="3514" y="1237"/>
                  </a:lnTo>
                  <a:lnTo>
                    <a:pt x="3516" y="1239"/>
                  </a:lnTo>
                  <a:lnTo>
                    <a:pt x="3516" y="1239"/>
                  </a:lnTo>
                  <a:lnTo>
                    <a:pt x="3518" y="1243"/>
                  </a:lnTo>
                  <a:lnTo>
                    <a:pt x="3518" y="1243"/>
                  </a:lnTo>
                  <a:lnTo>
                    <a:pt x="3518" y="1247"/>
                  </a:lnTo>
                  <a:lnTo>
                    <a:pt x="3518" y="1247"/>
                  </a:lnTo>
                  <a:lnTo>
                    <a:pt x="3522" y="1249"/>
                  </a:lnTo>
                  <a:lnTo>
                    <a:pt x="3524" y="1249"/>
                  </a:lnTo>
                  <a:lnTo>
                    <a:pt x="3526" y="1256"/>
                  </a:lnTo>
                  <a:lnTo>
                    <a:pt x="3526" y="1258"/>
                  </a:lnTo>
                  <a:lnTo>
                    <a:pt x="3526" y="1258"/>
                  </a:lnTo>
                  <a:lnTo>
                    <a:pt x="3526" y="1260"/>
                  </a:lnTo>
                  <a:lnTo>
                    <a:pt x="3528" y="1260"/>
                  </a:lnTo>
                  <a:lnTo>
                    <a:pt x="3528" y="1260"/>
                  </a:lnTo>
                  <a:lnTo>
                    <a:pt x="3528" y="1260"/>
                  </a:lnTo>
                  <a:lnTo>
                    <a:pt x="3528" y="1262"/>
                  </a:lnTo>
                  <a:lnTo>
                    <a:pt x="3530" y="1262"/>
                  </a:lnTo>
                  <a:lnTo>
                    <a:pt x="3530" y="1262"/>
                  </a:lnTo>
                  <a:lnTo>
                    <a:pt x="3530" y="1262"/>
                  </a:lnTo>
                  <a:lnTo>
                    <a:pt x="3530" y="1264"/>
                  </a:lnTo>
                  <a:lnTo>
                    <a:pt x="3532" y="1264"/>
                  </a:lnTo>
                  <a:lnTo>
                    <a:pt x="3534" y="1262"/>
                  </a:lnTo>
                  <a:lnTo>
                    <a:pt x="3534" y="1264"/>
                  </a:lnTo>
                  <a:lnTo>
                    <a:pt x="3536" y="1264"/>
                  </a:lnTo>
                  <a:lnTo>
                    <a:pt x="3536" y="1264"/>
                  </a:lnTo>
                  <a:lnTo>
                    <a:pt x="3536" y="1264"/>
                  </a:lnTo>
                  <a:lnTo>
                    <a:pt x="3539" y="1264"/>
                  </a:lnTo>
                  <a:lnTo>
                    <a:pt x="3539" y="1264"/>
                  </a:lnTo>
                  <a:lnTo>
                    <a:pt x="3539" y="1264"/>
                  </a:lnTo>
                  <a:lnTo>
                    <a:pt x="3539" y="1264"/>
                  </a:lnTo>
                  <a:lnTo>
                    <a:pt x="3539" y="1266"/>
                  </a:lnTo>
                  <a:lnTo>
                    <a:pt x="3541" y="1266"/>
                  </a:lnTo>
                  <a:lnTo>
                    <a:pt x="3543" y="1266"/>
                  </a:lnTo>
                  <a:lnTo>
                    <a:pt x="3543" y="1264"/>
                  </a:lnTo>
                  <a:lnTo>
                    <a:pt x="3545" y="1264"/>
                  </a:lnTo>
                  <a:lnTo>
                    <a:pt x="3547" y="1264"/>
                  </a:lnTo>
                  <a:lnTo>
                    <a:pt x="3545" y="1264"/>
                  </a:lnTo>
                  <a:lnTo>
                    <a:pt x="3543" y="1266"/>
                  </a:lnTo>
                  <a:lnTo>
                    <a:pt x="3543" y="1268"/>
                  </a:lnTo>
                  <a:lnTo>
                    <a:pt x="3543" y="1270"/>
                  </a:lnTo>
                  <a:lnTo>
                    <a:pt x="3545" y="1272"/>
                  </a:lnTo>
                  <a:lnTo>
                    <a:pt x="3547" y="1274"/>
                  </a:lnTo>
                  <a:lnTo>
                    <a:pt x="3553" y="1278"/>
                  </a:lnTo>
                  <a:lnTo>
                    <a:pt x="3559" y="1278"/>
                  </a:lnTo>
                  <a:lnTo>
                    <a:pt x="3561" y="1278"/>
                  </a:lnTo>
                  <a:lnTo>
                    <a:pt x="3561" y="1278"/>
                  </a:lnTo>
                  <a:lnTo>
                    <a:pt x="3565" y="1276"/>
                  </a:lnTo>
                  <a:lnTo>
                    <a:pt x="3567" y="1276"/>
                  </a:lnTo>
                  <a:lnTo>
                    <a:pt x="3567" y="1276"/>
                  </a:lnTo>
                  <a:lnTo>
                    <a:pt x="3569" y="1276"/>
                  </a:lnTo>
                  <a:lnTo>
                    <a:pt x="3569" y="1276"/>
                  </a:lnTo>
                  <a:lnTo>
                    <a:pt x="3569" y="1274"/>
                  </a:lnTo>
                  <a:lnTo>
                    <a:pt x="3571" y="1274"/>
                  </a:lnTo>
                  <a:lnTo>
                    <a:pt x="3571" y="1274"/>
                  </a:lnTo>
                  <a:lnTo>
                    <a:pt x="3571" y="1274"/>
                  </a:lnTo>
                  <a:lnTo>
                    <a:pt x="3571" y="1276"/>
                  </a:lnTo>
                  <a:lnTo>
                    <a:pt x="3571" y="1276"/>
                  </a:lnTo>
                  <a:lnTo>
                    <a:pt x="3569" y="1278"/>
                  </a:lnTo>
                  <a:lnTo>
                    <a:pt x="3567" y="1282"/>
                  </a:lnTo>
                  <a:lnTo>
                    <a:pt x="3565" y="1282"/>
                  </a:lnTo>
                  <a:lnTo>
                    <a:pt x="3565" y="1282"/>
                  </a:lnTo>
                  <a:lnTo>
                    <a:pt x="3561" y="1284"/>
                  </a:lnTo>
                  <a:lnTo>
                    <a:pt x="3561" y="1284"/>
                  </a:lnTo>
                  <a:lnTo>
                    <a:pt x="3559" y="1284"/>
                  </a:lnTo>
                  <a:lnTo>
                    <a:pt x="3557" y="1284"/>
                  </a:lnTo>
                  <a:lnTo>
                    <a:pt x="3555" y="1287"/>
                  </a:lnTo>
                  <a:lnTo>
                    <a:pt x="3553" y="1287"/>
                  </a:lnTo>
                  <a:lnTo>
                    <a:pt x="3553" y="1284"/>
                  </a:lnTo>
                  <a:lnTo>
                    <a:pt x="3553" y="1284"/>
                  </a:lnTo>
                  <a:lnTo>
                    <a:pt x="3551" y="1284"/>
                  </a:lnTo>
                  <a:lnTo>
                    <a:pt x="3551" y="1284"/>
                  </a:lnTo>
                  <a:lnTo>
                    <a:pt x="3549" y="1287"/>
                  </a:lnTo>
                  <a:lnTo>
                    <a:pt x="3551" y="1287"/>
                  </a:lnTo>
                  <a:lnTo>
                    <a:pt x="3553" y="1291"/>
                  </a:lnTo>
                  <a:lnTo>
                    <a:pt x="3555" y="1293"/>
                  </a:lnTo>
                  <a:lnTo>
                    <a:pt x="3557" y="1295"/>
                  </a:lnTo>
                  <a:lnTo>
                    <a:pt x="3561" y="1297"/>
                  </a:lnTo>
                  <a:lnTo>
                    <a:pt x="3565" y="1303"/>
                  </a:lnTo>
                  <a:lnTo>
                    <a:pt x="3565" y="1303"/>
                  </a:lnTo>
                  <a:lnTo>
                    <a:pt x="3571" y="1307"/>
                  </a:lnTo>
                  <a:lnTo>
                    <a:pt x="3576" y="1309"/>
                  </a:lnTo>
                  <a:lnTo>
                    <a:pt x="3578" y="1309"/>
                  </a:lnTo>
                  <a:lnTo>
                    <a:pt x="3580" y="1309"/>
                  </a:lnTo>
                  <a:lnTo>
                    <a:pt x="3584" y="1307"/>
                  </a:lnTo>
                  <a:lnTo>
                    <a:pt x="3586" y="1305"/>
                  </a:lnTo>
                  <a:lnTo>
                    <a:pt x="3592" y="1303"/>
                  </a:lnTo>
                  <a:lnTo>
                    <a:pt x="3594" y="1301"/>
                  </a:lnTo>
                  <a:lnTo>
                    <a:pt x="3596" y="1297"/>
                  </a:lnTo>
                  <a:lnTo>
                    <a:pt x="3596" y="1295"/>
                  </a:lnTo>
                  <a:lnTo>
                    <a:pt x="3596" y="1295"/>
                  </a:lnTo>
                  <a:lnTo>
                    <a:pt x="3596" y="1295"/>
                  </a:lnTo>
                  <a:lnTo>
                    <a:pt x="3594" y="1293"/>
                  </a:lnTo>
                  <a:lnTo>
                    <a:pt x="3594" y="1293"/>
                  </a:lnTo>
                  <a:lnTo>
                    <a:pt x="3594" y="1293"/>
                  </a:lnTo>
                  <a:lnTo>
                    <a:pt x="3594" y="1291"/>
                  </a:lnTo>
                  <a:lnTo>
                    <a:pt x="3594" y="1291"/>
                  </a:lnTo>
                  <a:lnTo>
                    <a:pt x="3596" y="1291"/>
                  </a:lnTo>
                  <a:lnTo>
                    <a:pt x="3596" y="1289"/>
                  </a:lnTo>
                  <a:lnTo>
                    <a:pt x="3596" y="1289"/>
                  </a:lnTo>
                  <a:lnTo>
                    <a:pt x="3596" y="1287"/>
                  </a:lnTo>
                  <a:lnTo>
                    <a:pt x="3596" y="1287"/>
                  </a:lnTo>
                  <a:lnTo>
                    <a:pt x="3598" y="1287"/>
                  </a:lnTo>
                  <a:lnTo>
                    <a:pt x="3600" y="1287"/>
                  </a:lnTo>
                  <a:lnTo>
                    <a:pt x="3600" y="1287"/>
                  </a:lnTo>
                  <a:lnTo>
                    <a:pt x="3602" y="1287"/>
                  </a:lnTo>
                  <a:lnTo>
                    <a:pt x="3604" y="1287"/>
                  </a:lnTo>
                  <a:lnTo>
                    <a:pt x="3602" y="1287"/>
                  </a:lnTo>
                  <a:lnTo>
                    <a:pt x="3602" y="1287"/>
                  </a:lnTo>
                  <a:lnTo>
                    <a:pt x="3600" y="1289"/>
                  </a:lnTo>
                  <a:lnTo>
                    <a:pt x="3600" y="1291"/>
                  </a:lnTo>
                  <a:lnTo>
                    <a:pt x="3602" y="1291"/>
                  </a:lnTo>
                  <a:lnTo>
                    <a:pt x="3602" y="1291"/>
                  </a:lnTo>
                  <a:lnTo>
                    <a:pt x="3602" y="1291"/>
                  </a:lnTo>
                  <a:lnTo>
                    <a:pt x="3600" y="1293"/>
                  </a:lnTo>
                  <a:lnTo>
                    <a:pt x="3600" y="1295"/>
                  </a:lnTo>
                  <a:lnTo>
                    <a:pt x="3604" y="1295"/>
                  </a:lnTo>
                  <a:lnTo>
                    <a:pt x="3607" y="1295"/>
                  </a:lnTo>
                  <a:lnTo>
                    <a:pt x="3609" y="1295"/>
                  </a:lnTo>
                  <a:lnTo>
                    <a:pt x="3607" y="1295"/>
                  </a:lnTo>
                  <a:lnTo>
                    <a:pt x="3604" y="1297"/>
                  </a:lnTo>
                  <a:lnTo>
                    <a:pt x="3602" y="1297"/>
                  </a:lnTo>
                  <a:lnTo>
                    <a:pt x="3602" y="1299"/>
                  </a:lnTo>
                  <a:lnTo>
                    <a:pt x="3602" y="1299"/>
                  </a:lnTo>
                  <a:lnTo>
                    <a:pt x="3602" y="1299"/>
                  </a:lnTo>
                  <a:lnTo>
                    <a:pt x="3602" y="1299"/>
                  </a:lnTo>
                  <a:lnTo>
                    <a:pt x="3602" y="1299"/>
                  </a:lnTo>
                  <a:lnTo>
                    <a:pt x="3602" y="1303"/>
                  </a:lnTo>
                  <a:lnTo>
                    <a:pt x="3604" y="1303"/>
                  </a:lnTo>
                  <a:lnTo>
                    <a:pt x="3604" y="1303"/>
                  </a:lnTo>
                  <a:lnTo>
                    <a:pt x="3604" y="1303"/>
                  </a:lnTo>
                  <a:lnTo>
                    <a:pt x="3604" y="1305"/>
                  </a:lnTo>
                  <a:lnTo>
                    <a:pt x="3604" y="1307"/>
                  </a:lnTo>
                  <a:lnTo>
                    <a:pt x="3607" y="1309"/>
                  </a:lnTo>
                  <a:lnTo>
                    <a:pt x="3604" y="1311"/>
                  </a:lnTo>
                  <a:lnTo>
                    <a:pt x="3602" y="1320"/>
                  </a:lnTo>
                  <a:lnTo>
                    <a:pt x="3602" y="1322"/>
                  </a:lnTo>
                  <a:lnTo>
                    <a:pt x="3602" y="1324"/>
                  </a:lnTo>
                  <a:lnTo>
                    <a:pt x="3602" y="1324"/>
                  </a:lnTo>
                  <a:lnTo>
                    <a:pt x="3602" y="1326"/>
                  </a:lnTo>
                  <a:lnTo>
                    <a:pt x="3604" y="1328"/>
                  </a:lnTo>
                  <a:lnTo>
                    <a:pt x="3604" y="1328"/>
                  </a:lnTo>
                  <a:lnTo>
                    <a:pt x="3604" y="1328"/>
                  </a:lnTo>
                  <a:lnTo>
                    <a:pt x="3604" y="1330"/>
                  </a:lnTo>
                  <a:lnTo>
                    <a:pt x="3607" y="1330"/>
                  </a:lnTo>
                  <a:lnTo>
                    <a:pt x="3604" y="1330"/>
                  </a:lnTo>
                  <a:lnTo>
                    <a:pt x="3604" y="1332"/>
                  </a:lnTo>
                  <a:lnTo>
                    <a:pt x="3604" y="1332"/>
                  </a:lnTo>
                  <a:lnTo>
                    <a:pt x="3604" y="1334"/>
                  </a:lnTo>
                  <a:lnTo>
                    <a:pt x="3604" y="1334"/>
                  </a:lnTo>
                  <a:lnTo>
                    <a:pt x="3607" y="1334"/>
                  </a:lnTo>
                  <a:lnTo>
                    <a:pt x="3607" y="1332"/>
                  </a:lnTo>
                  <a:lnTo>
                    <a:pt x="3607" y="1334"/>
                  </a:lnTo>
                  <a:lnTo>
                    <a:pt x="3607" y="1336"/>
                  </a:lnTo>
                  <a:lnTo>
                    <a:pt x="3607" y="1338"/>
                  </a:lnTo>
                  <a:lnTo>
                    <a:pt x="3604" y="1340"/>
                  </a:lnTo>
                  <a:lnTo>
                    <a:pt x="3604" y="1340"/>
                  </a:lnTo>
                  <a:lnTo>
                    <a:pt x="3607" y="1340"/>
                  </a:lnTo>
                  <a:lnTo>
                    <a:pt x="3607" y="1344"/>
                  </a:lnTo>
                  <a:lnTo>
                    <a:pt x="3607" y="1346"/>
                  </a:lnTo>
                  <a:lnTo>
                    <a:pt x="3607" y="1348"/>
                  </a:lnTo>
                  <a:lnTo>
                    <a:pt x="3609" y="1351"/>
                  </a:lnTo>
                  <a:lnTo>
                    <a:pt x="3609" y="1355"/>
                  </a:lnTo>
                  <a:lnTo>
                    <a:pt x="3609" y="1357"/>
                  </a:lnTo>
                  <a:lnTo>
                    <a:pt x="3611" y="1361"/>
                  </a:lnTo>
                  <a:lnTo>
                    <a:pt x="3613" y="1371"/>
                  </a:lnTo>
                  <a:lnTo>
                    <a:pt x="3613" y="1375"/>
                  </a:lnTo>
                  <a:lnTo>
                    <a:pt x="3615" y="1377"/>
                  </a:lnTo>
                  <a:lnTo>
                    <a:pt x="3615" y="1379"/>
                  </a:lnTo>
                  <a:lnTo>
                    <a:pt x="3617" y="1384"/>
                  </a:lnTo>
                  <a:lnTo>
                    <a:pt x="3617" y="1384"/>
                  </a:lnTo>
                  <a:lnTo>
                    <a:pt x="3619" y="1384"/>
                  </a:lnTo>
                  <a:lnTo>
                    <a:pt x="3619" y="1384"/>
                  </a:lnTo>
                  <a:lnTo>
                    <a:pt x="3619" y="1386"/>
                  </a:lnTo>
                  <a:lnTo>
                    <a:pt x="3619" y="1386"/>
                  </a:lnTo>
                  <a:lnTo>
                    <a:pt x="3621" y="1388"/>
                  </a:lnTo>
                  <a:lnTo>
                    <a:pt x="3619" y="1388"/>
                  </a:lnTo>
                  <a:lnTo>
                    <a:pt x="3619" y="1388"/>
                  </a:lnTo>
                  <a:lnTo>
                    <a:pt x="3621" y="1392"/>
                  </a:lnTo>
                  <a:lnTo>
                    <a:pt x="3621" y="1394"/>
                  </a:lnTo>
                  <a:lnTo>
                    <a:pt x="3623" y="1394"/>
                  </a:lnTo>
                  <a:lnTo>
                    <a:pt x="3625" y="1398"/>
                  </a:lnTo>
                  <a:lnTo>
                    <a:pt x="3625" y="1398"/>
                  </a:lnTo>
                  <a:lnTo>
                    <a:pt x="3627" y="1398"/>
                  </a:lnTo>
                  <a:lnTo>
                    <a:pt x="3627" y="1400"/>
                  </a:lnTo>
                  <a:lnTo>
                    <a:pt x="3627" y="1402"/>
                  </a:lnTo>
                  <a:lnTo>
                    <a:pt x="3627" y="1404"/>
                  </a:lnTo>
                  <a:lnTo>
                    <a:pt x="3627" y="1404"/>
                  </a:lnTo>
                  <a:lnTo>
                    <a:pt x="3629" y="1406"/>
                  </a:lnTo>
                  <a:lnTo>
                    <a:pt x="3629" y="1410"/>
                  </a:lnTo>
                  <a:lnTo>
                    <a:pt x="3631" y="1412"/>
                  </a:lnTo>
                  <a:lnTo>
                    <a:pt x="3631" y="1412"/>
                  </a:lnTo>
                  <a:lnTo>
                    <a:pt x="3631" y="1415"/>
                  </a:lnTo>
                  <a:lnTo>
                    <a:pt x="3633" y="1421"/>
                  </a:lnTo>
                  <a:lnTo>
                    <a:pt x="3633" y="1423"/>
                  </a:lnTo>
                  <a:lnTo>
                    <a:pt x="3633" y="1425"/>
                  </a:lnTo>
                  <a:lnTo>
                    <a:pt x="3635" y="1427"/>
                  </a:lnTo>
                  <a:lnTo>
                    <a:pt x="3637" y="1435"/>
                  </a:lnTo>
                  <a:lnTo>
                    <a:pt x="3640" y="1435"/>
                  </a:lnTo>
                  <a:lnTo>
                    <a:pt x="3640" y="1437"/>
                  </a:lnTo>
                  <a:lnTo>
                    <a:pt x="3642" y="1439"/>
                  </a:lnTo>
                  <a:lnTo>
                    <a:pt x="3644" y="1439"/>
                  </a:lnTo>
                  <a:lnTo>
                    <a:pt x="3646" y="1443"/>
                  </a:lnTo>
                  <a:lnTo>
                    <a:pt x="3646" y="1446"/>
                  </a:lnTo>
                  <a:lnTo>
                    <a:pt x="3648" y="1450"/>
                  </a:lnTo>
                  <a:lnTo>
                    <a:pt x="3648" y="1454"/>
                  </a:lnTo>
                  <a:lnTo>
                    <a:pt x="3652" y="1458"/>
                  </a:lnTo>
                  <a:lnTo>
                    <a:pt x="3652" y="1460"/>
                  </a:lnTo>
                  <a:lnTo>
                    <a:pt x="3652" y="1462"/>
                  </a:lnTo>
                  <a:lnTo>
                    <a:pt x="3652" y="1462"/>
                  </a:lnTo>
                  <a:lnTo>
                    <a:pt x="3652" y="1464"/>
                  </a:lnTo>
                  <a:lnTo>
                    <a:pt x="3654" y="1464"/>
                  </a:lnTo>
                  <a:lnTo>
                    <a:pt x="3654" y="1464"/>
                  </a:lnTo>
                  <a:lnTo>
                    <a:pt x="3654" y="1466"/>
                  </a:lnTo>
                  <a:lnTo>
                    <a:pt x="3656" y="1470"/>
                  </a:lnTo>
                  <a:lnTo>
                    <a:pt x="3656" y="1472"/>
                  </a:lnTo>
                  <a:lnTo>
                    <a:pt x="3656" y="1470"/>
                  </a:lnTo>
                  <a:lnTo>
                    <a:pt x="3656" y="1468"/>
                  </a:lnTo>
                  <a:lnTo>
                    <a:pt x="3654" y="1466"/>
                  </a:lnTo>
                  <a:lnTo>
                    <a:pt x="3654" y="1466"/>
                  </a:lnTo>
                  <a:lnTo>
                    <a:pt x="3654" y="1466"/>
                  </a:lnTo>
                  <a:lnTo>
                    <a:pt x="3654" y="1470"/>
                  </a:lnTo>
                  <a:lnTo>
                    <a:pt x="3654" y="1472"/>
                  </a:lnTo>
                  <a:lnTo>
                    <a:pt x="3656" y="1477"/>
                  </a:lnTo>
                  <a:lnTo>
                    <a:pt x="3656" y="1477"/>
                  </a:lnTo>
                  <a:lnTo>
                    <a:pt x="3656" y="1477"/>
                  </a:lnTo>
                  <a:lnTo>
                    <a:pt x="3656" y="1477"/>
                  </a:lnTo>
                  <a:lnTo>
                    <a:pt x="3656" y="1479"/>
                  </a:lnTo>
                  <a:lnTo>
                    <a:pt x="3658" y="1481"/>
                  </a:lnTo>
                  <a:lnTo>
                    <a:pt x="3658" y="1481"/>
                  </a:lnTo>
                  <a:lnTo>
                    <a:pt x="3664" y="1487"/>
                  </a:lnTo>
                  <a:lnTo>
                    <a:pt x="3664" y="1489"/>
                  </a:lnTo>
                  <a:lnTo>
                    <a:pt x="3668" y="1491"/>
                  </a:lnTo>
                  <a:lnTo>
                    <a:pt x="3673" y="1493"/>
                  </a:lnTo>
                  <a:lnTo>
                    <a:pt x="3673" y="1491"/>
                  </a:lnTo>
                  <a:lnTo>
                    <a:pt x="3675" y="1491"/>
                  </a:lnTo>
                  <a:lnTo>
                    <a:pt x="3679" y="1487"/>
                  </a:lnTo>
                  <a:lnTo>
                    <a:pt x="3681" y="1487"/>
                  </a:lnTo>
                  <a:lnTo>
                    <a:pt x="3681" y="1483"/>
                  </a:lnTo>
                  <a:lnTo>
                    <a:pt x="3681" y="1481"/>
                  </a:lnTo>
                  <a:lnTo>
                    <a:pt x="3683" y="1479"/>
                  </a:lnTo>
                  <a:lnTo>
                    <a:pt x="3685" y="1477"/>
                  </a:lnTo>
                  <a:lnTo>
                    <a:pt x="3693" y="1474"/>
                  </a:lnTo>
                  <a:lnTo>
                    <a:pt x="3695" y="1474"/>
                  </a:lnTo>
                  <a:lnTo>
                    <a:pt x="3699" y="1477"/>
                  </a:lnTo>
                  <a:lnTo>
                    <a:pt x="3697" y="1474"/>
                  </a:lnTo>
                  <a:lnTo>
                    <a:pt x="3697" y="1474"/>
                  </a:lnTo>
                  <a:lnTo>
                    <a:pt x="3695" y="1474"/>
                  </a:lnTo>
                  <a:lnTo>
                    <a:pt x="3693" y="1474"/>
                  </a:lnTo>
                  <a:lnTo>
                    <a:pt x="3691" y="1472"/>
                  </a:lnTo>
                  <a:lnTo>
                    <a:pt x="3691" y="1472"/>
                  </a:lnTo>
                  <a:lnTo>
                    <a:pt x="3691" y="1470"/>
                  </a:lnTo>
                  <a:lnTo>
                    <a:pt x="3693" y="1468"/>
                  </a:lnTo>
                  <a:lnTo>
                    <a:pt x="3697" y="1464"/>
                  </a:lnTo>
                  <a:lnTo>
                    <a:pt x="3697" y="1462"/>
                  </a:lnTo>
                  <a:lnTo>
                    <a:pt x="3697" y="1460"/>
                  </a:lnTo>
                  <a:lnTo>
                    <a:pt x="3697" y="1460"/>
                  </a:lnTo>
                  <a:lnTo>
                    <a:pt x="3699" y="1460"/>
                  </a:lnTo>
                  <a:lnTo>
                    <a:pt x="3701" y="1460"/>
                  </a:lnTo>
                  <a:lnTo>
                    <a:pt x="3701" y="1460"/>
                  </a:lnTo>
                  <a:lnTo>
                    <a:pt x="3703" y="1460"/>
                  </a:lnTo>
                  <a:lnTo>
                    <a:pt x="3706" y="1460"/>
                  </a:lnTo>
                  <a:lnTo>
                    <a:pt x="3706" y="1454"/>
                  </a:lnTo>
                  <a:lnTo>
                    <a:pt x="3706" y="1448"/>
                  </a:lnTo>
                  <a:lnTo>
                    <a:pt x="3706" y="1446"/>
                  </a:lnTo>
                  <a:lnTo>
                    <a:pt x="3703" y="1446"/>
                  </a:lnTo>
                  <a:lnTo>
                    <a:pt x="3703" y="1446"/>
                  </a:lnTo>
                  <a:lnTo>
                    <a:pt x="3703" y="1446"/>
                  </a:lnTo>
                  <a:lnTo>
                    <a:pt x="3703" y="1443"/>
                  </a:lnTo>
                  <a:lnTo>
                    <a:pt x="3703" y="1441"/>
                  </a:lnTo>
                  <a:lnTo>
                    <a:pt x="3703" y="1441"/>
                  </a:lnTo>
                  <a:lnTo>
                    <a:pt x="3706" y="1435"/>
                  </a:lnTo>
                  <a:lnTo>
                    <a:pt x="3708" y="1433"/>
                  </a:lnTo>
                  <a:lnTo>
                    <a:pt x="3708" y="1431"/>
                  </a:lnTo>
                  <a:lnTo>
                    <a:pt x="3710" y="1429"/>
                  </a:lnTo>
                  <a:lnTo>
                    <a:pt x="3710" y="1427"/>
                  </a:lnTo>
                  <a:lnTo>
                    <a:pt x="3712" y="1417"/>
                  </a:lnTo>
                  <a:lnTo>
                    <a:pt x="3712" y="1415"/>
                  </a:lnTo>
                  <a:lnTo>
                    <a:pt x="3708" y="1415"/>
                  </a:lnTo>
                  <a:lnTo>
                    <a:pt x="3708" y="1412"/>
                  </a:lnTo>
                  <a:lnTo>
                    <a:pt x="3710" y="1410"/>
                  </a:lnTo>
                  <a:lnTo>
                    <a:pt x="3710" y="1412"/>
                  </a:lnTo>
                  <a:lnTo>
                    <a:pt x="3712" y="1415"/>
                  </a:lnTo>
                  <a:lnTo>
                    <a:pt x="3712" y="1415"/>
                  </a:lnTo>
                  <a:lnTo>
                    <a:pt x="3710" y="1412"/>
                  </a:lnTo>
                  <a:lnTo>
                    <a:pt x="3710" y="1410"/>
                  </a:lnTo>
                  <a:lnTo>
                    <a:pt x="3710" y="1408"/>
                  </a:lnTo>
                  <a:lnTo>
                    <a:pt x="3710" y="1406"/>
                  </a:lnTo>
                  <a:lnTo>
                    <a:pt x="3708" y="1404"/>
                  </a:lnTo>
                  <a:lnTo>
                    <a:pt x="3710" y="1402"/>
                  </a:lnTo>
                  <a:lnTo>
                    <a:pt x="3710" y="1402"/>
                  </a:lnTo>
                  <a:lnTo>
                    <a:pt x="3710" y="1400"/>
                  </a:lnTo>
                  <a:lnTo>
                    <a:pt x="3710" y="1398"/>
                  </a:lnTo>
                  <a:lnTo>
                    <a:pt x="3708" y="1396"/>
                  </a:lnTo>
                  <a:lnTo>
                    <a:pt x="3708" y="1392"/>
                  </a:lnTo>
                  <a:lnTo>
                    <a:pt x="3708" y="1388"/>
                  </a:lnTo>
                  <a:lnTo>
                    <a:pt x="3712" y="1384"/>
                  </a:lnTo>
                  <a:lnTo>
                    <a:pt x="3712" y="1382"/>
                  </a:lnTo>
                  <a:lnTo>
                    <a:pt x="3716" y="1379"/>
                  </a:lnTo>
                  <a:lnTo>
                    <a:pt x="3718" y="1379"/>
                  </a:lnTo>
                  <a:lnTo>
                    <a:pt x="3718" y="1379"/>
                  </a:lnTo>
                  <a:lnTo>
                    <a:pt x="3718" y="1382"/>
                  </a:lnTo>
                  <a:lnTo>
                    <a:pt x="3720" y="1382"/>
                  </a:lnTo>
                  <a:lnTo>
                    <a:pt x="3720" y="1382"/>
                  </a:lnTo>
                  <a:lnTo>
                    <a:pt x="3720" y="1382"/>
                  </a:lnTo>
                  <a:lnTo>
                    <a:pt x="3722" y="1382"/>
                  </a:lnTo>
                  <a:lnTo>
                    <a:pt x="3722" y="1379"/>
                  </a:lnTo>
                  <a:lnTo>
                    <a:pt x="3724" y="1379"/>
                  </a:lnTo>
                  <a:lnTo>
                    <a:pt x="3724" y="1375"/>
                  </a:lnTo>
                  <a:lnTo>
                    <a:pt x="3726" y="1373"/>
                  </a:lnTo>
                  <a:lnTo>
                    <a:pt x="3726" y="1373"/>
                  </a:lnTo>
                  <a:lnTo>
                    <a:pt x="3732" y="1373"/>
                  </a:lnTo>
                  <a:lnTo>
                    <a:pt x="3732" y="1373"/>
                  </a:lnTo>
                  <a:lnTo>
                    <a:pt x="3736" y="1371"/>
                  </a:lnTo>
                  <a:lnTo>
                    <a:pt x="3739" y="1371"/>
                  </a:lnTo>
                  <a:lnTo>
                    <a:pt x="3741" y="1369"/>
                  </a:lnTo>
                  <a:lnTo>
                    <a:pt x="3741" y="1369"/>
                  </a:lnTo>
                  <a:lnTo>
                    <a:pt x="3741" y="1367"/>
                  </a:lnTo>
                  <a:lnTo>
                    <a:pt x="3741" y="1367"/>
                  </a:lnTo>
                  <a:lnTo>
                    <a:pt x="3741" y="1365"/>
                  </a:lnTo>
                  <a:lnTo>
                    <a:pt x="3739" y="1365"/>
                  </a:lnTo>
                  <a:lnTo>
                    <a:pt x="3739" y="1365"/>
                  </a:lnTo>
                  <a:lnTo>
                    <a:pt x="3741" y="1363"/>
                  </a:lnTo>
                  <a:lnTo>
                    <a:pt x="3745" y="1361"/>
                  </a:lnTo>
                  <a:lnTo>
                    <a:pt x="3749" y="1357"/>
                  </a:lnTo>
                  <a:lnTo>
                    <a:pt x="3753" y="1355"/>
                  </a:lnTo>
                  <a:lnTo>
                    <a:pt x="3755" y="1353"/>
                  </a:lnTo>
                  <a:lnTo>
                    <a:pt x="3757" y="1348"/>
                  </a:lnTo>
                  <a:lnTo>
                    <a:pt x="3759" y="1348"/>
                  </a:lnTo>
                  <a:lnTo>
                    <a:pt x="3765" y="1344"/>
                  </a:lnTo>
                  <a:lnTo>
                    <a:pt x="3767" y="1344"/>
                  </a:lnTo>
                  <a:lnTo>
                    <a:pt x="3772" y="1340"/>
                  </a:lnTo>
                  <a:lnTo>
                    <a:pt x="3774" y="1336"/>
                  </a:lnTo>
                  <a:lnTo>
                    <a:pt x="3774" y="1336"/>
                  </a:lnTo>
                  <a:lnTo>
                    <a:pt x="3776" y="1334"/>
                  </a:lnTo>
                  <a:lnTo>
                    <a:pt x="3776" y="1332"/>
                  </a:lnTo>
                  <a:lnTo>
                    <a:pt x="3782" y="1328"/>
                  </a:lnTo>
                  <a:lnTo>
                    <a:pt x="3784" y="1326"/>
                  </a:lnTo>
                  <a:lnTo>
                    <a:pt x="3784" y="1326"/>
                  </a:lnTo>
                  <a:lnTo>
                    <a:pt x="3784" y="1324"/>
                  </a:lnTo>
                  <a:lnTo>
                    <a:pt x="3782" y="1326"/>
                  </a:lnTo>
                  <a:lnTo>
                    <a:pt x="3780" y="1326"/>
                  </a:lnTo>
                  <a:lnTo>
                    <a:pt x="3780" y="1326"/>
                  </a:lnTo>
                  <a:lnTo>
                    <a:pt x="3782" y="1324"/>
                  </a:lnTo>
                  <a:lnTo>
                    <a:pt x="3784" y="1322"/>
                  </a:lnTo>
                  <a:lnTo>
                    <a:pt x="3786" y="1322"/>
                  </a:lnTo>
                  <a:lnTo>
                    <a:pt x="3786" y="1322"/>
                  </a:lnTo>
                  <a:lnTo>
                    <a:pt x="3786" y="1324"/>
                  </a:lnTo>
                  <a:lnTo>
                    <a:pt x="3786" y="1324"/>
                  </a:lnTo>
                  <a:lnTo>
                    <a:pt x="3786" y="1324"/>
                  </a:lnTo>
                  <a:lnTo>
                    <a:pt x="3786" y="1324"/>
                  </a:lnTo>
                  <a:lnTo>
                    <a:pt x="3790" y="1324"/>
                  </a:lnTo>
                  <a:lnTo>
                    <a:pt x="3796" y="1322"/>
                  </a:lnTo>
                  <a:lnTo>
                    <a:pt x="3796" y="1322"/>
                  </a:lnTo>
                  <a:lnTo>
                    <a:pt x="3796" y="1322"/>
                  </a:lnTo>
                  <a:lnTo>
                    <a:pt x="3796" y="1320"/>
                  </a:lnTo>
                  <a:lnTo>
                    <a:pt x="3796" y="1320"/>
                  </a:lnTo>
                  <a:lnTo>
                    <a:pt x="3796" y="1320"/>
                  </a:lnTo>
                  <a:lnTo>
                    <a:pt x="3798" y="1320"/>
                  </a:lnTo>
                  <a:lnTo>
                    <a:pt x="3798" y="1320"/>
                  </a:lnTo>
                  <a:lnTo>
                    <a:pt x="3800" y="1318"/>
                  </a:lnTo>
                  <a:lnTo>
                    <a:pt x="3802" y="1315"/>
                  </a:lnTo>
                  <a:lnTo>
                    <a:pt x="3802" y="1315"/>
                  </a:lnTo>
                  <a:lnTo>
                    <a:pt x="3802" y="1313"/>
                  </a:lnTo>
                  <a:lnTo>
                    <a:pt x="3805" y="1311"/>
                  </a:lnTo>
                  <a:lnTo>
                    <a:pt x="3807" y="1311"/>
                  </a:lnTo>
                  <a:lnTo>
                    <a:pt x="3807" y="1309"/>
                  </a:lnTo>
                  <a:lnTo>
                    <a:pt x="3807" y="1309"/>
                  </a:lnTo>
                  <a:lnTo>
                    <a:pt x="3805" y="1305"/>
                  </a:lnTo>
                  <a:lnTo>
                    <a:pt x="3805" y="1303"/>
                  </a:lnTo>
                  <a:lnTo>
                    <a:pt x="3805" y="1301"/>
                  </a:lnTo>
                  <a:lnTo>
                    <a:pt x="3807" y="1299"/>
                  </a:lnTo>
                  <a:lnTo>
                    <a:pt x="3809" y="1297"/>
                  </a:lnTo>
                  <a:lnTo>
                    <a:pt x="3809" y="1297"/>
                  </a:lnTo>
                  <a:lnTo>
                    <a:pt x="3817" y="1295"/>
                  </a:lnTo>
                  <a:lnTo>
                    <a:pt x="3819" y="1295"/>
                  </a:lnTo>
                  <a:lnTo>
                    <a:pt x="3821" y="1293"/>
                  </a:lnTo>
                  <a:lnTo>
                    <a:pt x="3821" y="1291"/>
                  </a:lnTo>
                  <a:lnTo>
                    <a:pt x="3823" y="1291"/>
                  </a:lnTo>
                  <a:lnTo>
                    <a:pt x="3823" y="1289"/>
                  </a:lnTo>
                  <a:lnTo>
                    <a:pt x="3823" y="1289"/>
                  </a:lnTo>
                  <a:lnTo>
                    <a:pt x="3821" y="1287"/>
                  </a:lnTo>
                  <a:lnTo>
                    <a:pt x="3821" y="1287"/>
                  </a:lnTo>
                  <a:lnTo>
                    <a:pt x="3821" y="1284"/>
                  </a:lnTo>
                  <a:lnTo>
                    <a:pt x="3821" y="1287"/>
                  </a:lnTo>
                  <a:lnTo>
                    <a:pt x="3823" y="1287"/>
                  </a:lnTo>
                  <a:lnTo>
                    <a:pt x="3823" y="1289"/>
                  </a:lnTo>
                  <a:lnTo>
                    <a:pt x="3823" y="1291"/>
                  </a:lnTo>
                  <a:lnTo>
                    <a:pt x="3823" y="1293"/>
                  </a:lnTo>
                  <a:lnTo>
                    <a:pt x="3821" y="1295"/>
                  </a:lnTo>
                  <a:lnTo>
                    <a:pt x="3823" y="1297"/>
                  </a:lnTo>
                  <a:lnTo>
                    <a:pt x="3825" y="1297"/>
                  </a:lnTo>
                  <a:lnTo>
                    <a:pt x="3825" y="1295"/>
                  </a:lnTo>
                  <a:lnTo>
                    <a:pt x="3825" y="1295"/>
                  </a:lnTo>
                  <a:lnTo>
                    <a:pt x="3825" y="1295"/>
                  </a:lnTo>
                  <a:lnTo>
                    <a:pt x="3827" y="1297"/>
                  </a:lnTo>
                  <a:lnTo>
                    <a:pt x="3829" y="1295"/>
                  </a:lnTo>
                  <a:lnTo>
                    <a:pt x="3829" y="1295"/>
                  </a:lnTo>
                  <a:lnTo>
                    <a:pt x="3829" y="1293"/>
                  </a:lnTo>
                  <a:lnTo>
                    <a:pt x="3829" y="1289"/>
                  </a:lnTo>
                  <a:lnTo>
                    <a:pt x="3831" y="1289"/>
                  </a:lnTo>
                  <a:lnTo>
                    <a:pt x="3831" y="1291"/>
                  </a:lnTo>
                  <a:lnTo>
                    <a:pt x="3831" y="1291"/>
                  </a:lnTo>
                  <a:lnTo>
                    <a:pt x="3831" y="1291"/>
                  </a:lnTo>
                  <a:lnTo>
                    <a:pt x="3831" y="1295"/>
                  </a:lnTo>
                  <a:lnTo>
                    <a:pt x="3831" y="1295"/>
                  </a:lnTo>
                  <a:lnTo>
                    <a:pt x="3831" y="1297"/>
                  </a:lnTo>
                  <a:lnTo>
                    <a:pt x="3831" y="1297"/>
                  </a:lnTo>
                  <a:lnTo>
                    <a:pt x="3833" y="1295"/>
                  </a:lnTo>
                  <a:lnTo>
                    <a:pt x="3833" y="1295"/>
                  </a:lnTo>
                  <a:lnTo>
                    <a:pt x="3833" y="1295"/>
                  </a:lnTo>
                  <a:lnTo>
                    <a:pt x="3835" y="1295"/>
                  </a:lnTo>
                  <a:lnTo>
                    <a:pt x="3835" y="1295"/>
                  </a:lnTo>
                  <a:lnTo>
                    <a:pt x="3835" y="1295"/>
                  </a:lnTo>
                  <a:lnTo>
                    <a:pt x="3835" y="1293"/>
                  </a:lnTo>
                  <a:lnTo>
                    <a:pt x="3835" y="1291"/>
                  </a:lnTo>
                  <a:lnTo>
                    <a:pt x="3835" y="1291"/>
                  </a:lnTo>
                  <a:lnTo>
                    <a:pt x="3835" y="1289"/>
                  </a:lnTo>
                  <a:lnTo>
                    <a:pt x="3835" y="1291"/>
                  </a:lnTo>
                  <a:lnTo>
                    <a:pt x="3838" y="1293"/>
                  </a:lnTo>
                  <a:lnTo>
                    <a:pt x="3838" y="1293"/>
                  </a:lnTo>
                  <a:lnTo>
                    <a:pt x="3840" y="1295"/>
                  </a:lnTo>
                  <a:lnTo>
                    <a:pt x="3840" y="1295"/>
                  </a:lnTo>
                  <a:lnTo>
                    <a:pt x="3840" y="1295"/>
                  </a:lnTo>
                  <a:lnTo>
                    <a:pt x="3842" y="1293"/>
                  </a:lnTo>
                  <a:lnTo>
                    <a:pt x="3842" y="1293"/>
                  </a:lnTo>
                  <a:lnTo>
                    <a:pt x="3842" y="1291"/>
                  </a:lnTo>
                  <a:lnTo>
                    <a:pt x="3842" y="1287"/>
                  </a:lnTo>
                  <a:lnTo>
                    <a:pt x="3842" y="1287"/>
                  </a:lnTo>
                  <a:lnTo>
                    <a:pt x="3844" y="1291"/>
                  </a:lnTo>
                  <a:lnTo>
                    <a:pt x="3844" y="1293"/>
                  </a:lnTo>
                  <a:lnTo>
                    <a:pt x="3844" y="1295"/>
                  </a:lnTo>
                  <a:lnTo>
                    <a:pt x="3844" y="1293"/>
                  </a:lnTo>
                  <a:lnTo>
                    <a:pt x="3846" y="1293"/>
                  </a:lnTo>
                  <a:lnTo>
                    <a:pt x="3846" y="1291"/>
                  </a:lnTo>
                  <a:lnTo>
                    <a:pt x="3848" y="1291"/>
                  </a:lnTo>
                  <a:lnTo>
                    <a:pt x="3848" y="1289"/>
                  </a:lnTo>
                  <a:lnTo>
                    <a:pt x="3848" y="1289"/>
                  </a:lnTo>
                  <a:lnTo>
                    <a:pt x="3848" y="1287"/>
                  </a:lnTo>
                  <a:lnTo>
                    <a:pt x="3848" y="1284"/>
                  </a:lnTo>
                  <a:lnTo>
                    <a:pt x="3850" y="1284"/>
                  </a:lnTo>
                  <a:lnTo>
                    <a:pt x="3848" y="1287"/>
                  </a:lnTo>
                  <a:lnTo>
                    <a:pt x="3848" y="1287"/>
                  </a:lnTo>
                  <a:lnTo>
                    <a:pt x="3848" y="1289"/>
                  </a:lnTo>
                  <a:lnTo>
                    <a:pt x="3850" y="1291"/>
                  </a:lnTo>
                  <a:lnTo>
                    <a:pt x="3850" y="1289"/>
                  </a:lnTo>
                  <a:lnTo>
                    <a:pt x="3852" y="1289"/>
                  </a:lnTo>
                  <a:lnTo>
                    <a:pt x="3852" y="1289"/>
                  </a:lnTo>
                  <a:lnTo>
                    <a:pt x="3850" y="1291"/>
                  </a:lnTo>
                  <a:lnTo>
                    <a:pt x="3850" y="1291"/>
                  </a:lnTo>
                  <a:lnTo>
                    <a:pt x="3850" y="1293"/>
                  </a:lnTo>
                  <a:lnTo>
                    <a:pt x="3852" y="1293"/>
                  </a:lnTo>
                  <a:lnTo>
                    <a:pt x="3852" y="1293"/>
                  </a:lnTo>
                  <a:lnTo>
                    <a:pt x="3852" y="1293"/>
                  </a:lnTo>
                  <a:lnTo>
                    <a:pt x="3854" y="1293"/>
                  </a:lnTo>
                  <a:lnTo>
                    <a:pt x="3854" y="1291"/>
                  </a:lnTo>
                  <a:lnTo>
                    <a:pt x="3856" y="1289"/>
                  </a:lnTo>
                  <a:lnTo>
                    <a:pt x="3858" y="1287"/>
                  </a:lnTo>
                  <a:lnTo>
                    <a:pt x="3858" y="1287"/>
                  </a:lnTo>
                  <a:lnTo>
                    <a:pt x="3858" y="1284"/>
                  </a:lnTo>
                  <a:lnTo>
                    <a:pt x="3858" y="1284"/>
                  </a:lnTo>
                  <a:lnTo>
                    <a:pt x="3856" y="1282"/>
                  </a:lnTo>
                  <a:lnTo>
                    <a:pt x="3856" y="1282"/>
                  </a:lnTo>
                  <a:lnTo>
                    <a:pt x="3856" y="1280"/>
                  </a:lnTo>
                  <a:lnTo>
                    <a:pt x="3856" y="1280"/>
                  </a:lnTo>
                  <a:lnTo>
                    <a:pt x="3856" y="1278"/>
                  </a:lnTo>
                  <a:lnTo>
                    <a:pt x="3856" y="1278"/>
                  </a:lnTo>
                  <a:lnTo>
                    <a:pt x="3856" y="1278"/>
                  </a:lnTo>
                  <a:lnTo>
                    <a:pt x="3858" y="1276"/>
                  </a:lnTo>
                  <a:lnTo>
                    <a:pt x="3856" y="1276"/>
                  </a:lnTo>
                  <a:lnTo>
                    <a:pt x="3856" y="1274"/>
                  </a:lnTo>
                  <a:lnTo>
                    <a:pt x="3856" y="1274"/>
                  </a:lnTo>
                  <a:lnTo>
                    <a:pt x="3858" y="1274"/>
                  </a:lnTo>
                  <a:lnTo>
                    <a:pt x="3858" y="1272"/>
                  </a:lnTo>
                  <a:lnTo>
                    <a:pt x="3858" y="1272"/>
                  </a:lnTo>
                  <a:lnTo>
                    <a:pt x="3856" y="1270"/>
                  </a:lnTo>
                  <a:lnTo>
                    <a:pt x="3856" y="1270"/>
                  </a:lnTo>
                  <a:lnTo>
                    <a:pt x="3854" y="1268"/>
                  </a:lnTo>
                  <a:lnTo>
                    <a:pt x="3856" y="1270"/>
                  </a:lnTo>
                  <a:lnTo>
                    <a:pt x="3858" y="1270"/>
                  </a:lnTo>
                  <a:lnTo>
                    <a:pt x="3858" y="1268"/>
                  </a:lnTo>
                  <a:lnTo>
                    <a:pt x="3858" y="1268"/>
                  </a:lnTo>
                  <a:lnTo>
                    <a:pt x="3858" y="1268"/>
                  </a:lnTo>
                  <a:lnTo>
                    <a:pt x="3858" y="1266"/>
                  </a:lnTo>
                  <a:lnTo>
                    <a:pt x="3858" y="1268"/>
                  </a:lnTo>
                  <a:lnTo>
                    <a:pt x="3858" y="1270"/>
                  </a:lnTo>
                  <a:lnTo>
                    <a:pt x="3858" y="1272"/>
                  </a:lnTo>
                  <a:lnTo>
                    <a:pt x="3858" y="1274"/>
                  </a:lnTo>
                  <a:lnTo>
                    <a:pt x="3858" y="1276"/>
                  </a:lnTo>
                  <a:lnTo>
                    <a:pt x="3862" y="1280"/>
                  </a:lnTo>
                  <a:lnTo>
                    <a:pt x="3862" y="1282"/>
                  </a:lnTo>
                  <a:lnTo>
                    <a:pt x="3866" y="1280"/>
                  </a:lnTo>
                  <a:lnTo>
                    <a:pt x="3866" y="1280"/>
                  </a:lnTo>
                  <a:lnTo>
                    <a:pt x="3868" y="1280"/>
                  </a:lnTo>
                  <a:lnTo>
                    <a:pt x="3870" y="1278"/>
                  </a:lnTo>
                  <a:lnTo>
                    <a:pt x="3870" y="1278"/>
                  </a:lnTo>
                  <a:lnTo>
                    <a:pt x="3870" y="1278"/>
                  </a:lnTo>
                  <a:lnTo>
                    <a:pt x="3870" y="1280"/>
                  </a:lnTo>
                  <a:lnTo>
                    <a:pt x="3875" y="1282"/>
                  </a:lnTo>
                  <a:lnTo>
                    <a:pt x="3875" y="1284"/>
                  </a:lnTo>
                  <a:lnTo>
                    <a:pt x="3875" y="1287"/>
                  </a:lnTo>
                  <a:lnTo>
                    <a:pt x="3877" y="1284"/>
                  </a:lnTo>
                  <a:lnTo>
                    <a:pt x="3877" y="1284"/>
                  </a:lnTo>
                  <a:lnTo>
                    <a:pt x="3877" y="1287"/>
                  </a:lnTo>
                  <a:lnTo>
                    <a:pt x="3875" y="1287"/>
                  </a:lnTo>
                  <a:lnTo>
                    <a:pt x="3877" y="1289"/>
                  </a:lnTo>
                  <a:lnTo>
                    <a:pt x="3877" y="1293"/>
                  </a:lnTo>
                  <a:lnTo>
                    <a:pt x="3879" y="1295"/>
                  </a:lnTo>
                  <a:lnTo>
                    <a:pt x="3879" y="1297"/>
                  </a:lnTo>
                  <a:lnTo>
                    <a:pt x="3879" y="1303"/>
                  </a:lnTo>
                  <a:lnTo>
                    <a:pt x="3881" y="1305"/>
                  </a:lnTo>
                  <a:lnTo>
                    <a:pt x="3881" y="1307"/>
                  </a:lnTo>
                  <a:lnTo>
                    <a:pt x="3883" y="1309"/>
                  </a:lnTo>
                  <a:lnTo>
                    <a:pt x="3883" y="1309"/>
                  </a:lnTo>
                  <a:lnTo>
                    <a:pt x="3883" y="1309"/>
                  </a:lnTo>
                  <a:lnTo>
                    <a:pt x="3887" y="1313"/>
                  </a:lnTo>
                  <a:lnTo>
                    <a:pt x="3889" y="1315"/>
                  </a:lnTo>
                  <a:lnTo>
                    <a:pt x="3889" y="1313"/>
                  </a:lnTo>
                  <a:lnTo>
                    <a:pt x="3889" y="1311"/>
                  </a:lnTo>
                  <a:lnTo>
                    <a:pt x="3889" y="1311"/>
                  </a:lnTo>
                  <a:lnTo>
                    <a:pt x="3889" y="1313"/>
                  </a:lnTo>
                  <a:lnTo>
                    <a:pt x="3891" y="1313"/>
                  </a:lnTo>
                  <a:lnTo>
                    <a:pt x="3891" y="1315"/>
                  </a:lnTo>
                  <a:lnTo>
                    <a:pt x="3891" y="1315"/>
                  </a:lnTo>
                  <a:lnTo>
                    <a:pt x="3889" y="1315"/>
                  </a:lnTo>
                  <a:lnTo>
                    <a:pt x="3889" y="1318"/>
                  </a:lnTo>
                  <a:lnTo>
                    <a:pt x="3889" y="1318"/>
                  </a:lnTo>
                  <a:lnTo>
                    <a:pt x="3891" y="1318"/>
                  </a:lnTo>
                  <a:lnTo>
                    <a:pt x="3891" y="1315"/>
                  </a:lnTo>
                  <a:lnTo>
                    <a:pt x="3893" y="1315"/>
                  </a:lnTo>
                  <a:lnTo>
                    <a:pt x="3893" y="1313"/>
                  </a:lnTo>
                  <a:lnTo>
                    <a:pt x="3893" y="1315"/>
                  </a:lnTo>
                  <a:lnTo>
                    <a:pt x="3893" y="1318"/>
                  </a:lnTo>
                  <a:lnTo>
                    <a:pt x="3893" y="1318"/>
                  </a:lnTo>
                  <a:lnTo>
                    <a:pt x="3893" y="1318"/>
                  </a:lnTo>
                  <a:lnTo>
                    <a:pt x="3893" y="1318"/>
                  </a:lnTo>
                  <a:lnTo>
                    <a:pt x="3893" y="1320"/>
                  </a:lnTo>
                  <a:lnTo>
                    <a:pt x="3893" y="1322"/>
                  </a:lnTo>
                  <a:lnTo>
                    <a:pt x="3895" y="1322"/>
                  </a:lnTo>
                  <a:lnTo>
                    <a:pt x="3895" y="1322"/>
                  </a:lnTo>
                  <a:lnTo>
                    <a:pt x="3895" y="1320"/>
                  </a:lnTo>
                  <a:lnTo>
                    <a:pt x="3895" y="1320"/>
                  </a:lnTo>
                  <a:lnTo>
                    <a:pt x="3897" y="1320"/>
                  </a:lnTo>
                  <a:lnTo>
                    <a:pt x="3897" y="1320"/>
                  </a:lnTo>
                  <a:lnTo>
                    <a:pt x="3899" y="1320"/>
                  </a:lnTo>
                  <a:lnTo>
                    <a:pt x="3901" y="1322"/>
                  </a:lnTo>
                  <a:lnTo>
                    <a:pt x="3901" y="1322"/>
                  </a:lnTo>
                  <a:lnTo>
                    <a:pt x="3901" y="1322"/>
                  </a:lnTo>
                  <a:lnTo>
                    <a:pt x="3901" y="1324"/>
                  </a:lnTo>
                  <a:lnTo>
                    <a:pt x="3901" y="1324"/>
                  </a:lnTo>
                  <a:lnTo>
                    <a:pt x="3903" y="1324"/>
                  </a:lnTo>
                  <a:lnTo>
                    <a:pt x="3903" y="1326"/>
                  </a:lnTo>
                  <a:lnTo>
                    <a:pt x="3903" y="1326"/>
                  </a:lnTo>
                  <a:lnTo>
                    <a:pt x="3903" y="1328"/>
                  </a:lnTo>
                  <a:lnTo>
                    <a:pt x="3906" y="1328"/>
                  </a:lnTo>
                  <a:lnTo>
                    <a:pt x="3906" y="1328"/>
                  </a:lnTo>
                  <a:lnTo>
                    <a:pt x="3906" y="1328"/>
                  </a:lnTo>
                  <a:lnTo>
                    <a:pt x="3906" y="1330"/>
                  </a:lnTo>
                  <a:lnTo>
                    <a:pt x="3906" y="1330"/>
                  </a:lnTo>
                  <a:lnTo>
                    <a:pt x="3903" y="1332"/>
                  </a:lnTo>
                  <a:lnTo>
                    <a:pt x="3903" y="1330"/>
                  </a:lnTo>
                  <a:lnTo>
                    <a:pt x="3901" y="1328"/>
                  </a:lnTo>
                  <a:lnTo>
                    <a:pt x="3899" y="1328"/>
                  </a:lnTo>
                  <a:lnTo>
                    <a:pt x="3899" y="1330"/>
                  </a:lnTo>
                  <a:lnTo>
                    <a:pt x="3901" y="1332"/>
                  </a:lnTo>
                  <a:lnTo>
                    <a:pt x="3901" y="1334"/>
                  </a:lnTo>
                  <a:lnTo>
                    <a:pt x="3903" y="1336"/>
                  </a:lnTo>
                  <a:lnTo>
                    <a:pt x="3906" y="1336"/>
                  </a:lnTo>
                  <a:lnTo>
                    <a:pt x="3906" y="1336"/>
                  </a:lnTo>
                  <a:lnTo>
                    <a:pt x="3906" y="1334"/>
                  </a:lnTo>
                  <a:lnTo>
                    <a:pt x="3906" y="1332"/>
                  </a:lnTo>
                  <a:lnTo>
                    <a:pt x="3906" y="1332"/>
                  </a:lnTo>
                  <a:lnTo>
                    <a:pt x="3908" y="1330"/>
                  </a:lnTo>
                  <a:lnTo>
                    <a:pt x="3908" y="1330"/>
                  </a:lnTo>
                  <a:lnTo>
                    <a:pt x="3908" y="1332"/>
                  </a:lnTo>
                  <a:lnTo>
                    <a:pt x="3908" y="1336"/>
                  </a:lnTo>
                  <a:lnTo>
                    <a:pt x="3908" y="1336"/>
                  </a:lnTo>
                  <a:lnTo>
                    <a:pt x="3910" y="1338"/>
                  </a:lnTo>
                  <a:lnTo>
                    <a:pt x="3910" y="1338"/>
                  </a:lnTo>
                  <a:lnTo>
                    <a:pt x="3910" y="1340"/>
                  </a:lnTo>
                  <a:lnTo>
                    <a:pt x="3910" y="1342"/>
                  </a:lnTo>
                  <a:lnTo>
                    <a:pt x="3912" y="1346"/>
                  </a:lnTo>
                  <a:lnTo>
                    <a:pt x="3914" y="1353"/>
                  </a:lnTo>
                  <a:lnTo>
                    <a:pt x="3914" y="1355"/>
                  </a:lnTo>
                  <a:lnTo>
                    <a:pt x="3916" y="1355"/>
                  </a:lnTo>
                  <a:lnTo>
                    <a:pt x="3914" y="1359"/>
                  </a:lnTo>
                  <a:lnTo>
                    <a:pt x="3914" y="1361"/>
                  </a:lnTo>
                  <a:lnTo>
                    <a:pt x="3914" y="1363"/>
                  </a:lnTo>
                  <a:lnTo>
                    <a:pt x="3914" y="1365"/>
                  </a:lnTo>
                  <a:lnTo>
                    <a:pt x="3912" y="1365"/>
                  </a:lnTo>
                  <a:lnTo>
                    <a:pt x="3912" y="1369"/>
                  </a:lnTo>
                  <a:lnTo>
                    <a:pt x="3912" y="1369"/>
                  </a:lnTo>
                  <a:lnTo>
                    <a:pt x="3910" y="1371"/>
                  </a:lnTo>
                  <a:lnTo>
                    <a:pt x="3910" y="1377"/>
                  </a:lnTo>
                  <a:lnTo>
                    <a:pt x="3910" y="1377"/>
                  </a:lnTo>
                  <a:lnTo>
                    <a:pt x="3912" y="1377"/>
                  </a:lnTo>
                  <a:lnTo>
                    <a:pt x="3914" y="1377"/>
                  </a:lnTo>
                  <a:lnTo>
                    <a:pt x="3914" y="1375"/>
                  </a:lnTo>
                  <a:lnTo>
                    <a:pt x="3916" y="1373"/>
                  </a:lnTo>
                  <a:lnTo>
                    <a:pt x="3916" y="1373"/>
                  </a:lnTo>
                  <a:lnTo>
                    <a:pt x="3916" y="1373"/>
                  </a:lnTo>
                  <a:lnTo>
                    <a:pt x="3916" y="1373"/>
                  </a:lnTo>
                  <a:lnTo>
                    <a:pt x="3916" y="1371"/>
                  </a:lnTo>
                  <a:lnTo>
                    <a:pt x="3916" y="1371"/>
                  </a:lnTo>
                  <a:lnTo>
                    <a:pt x="3916" y="1373"/>
                  </a:lnTo>
                  <a:lnTo>
                    <a:pt x="3916" y="1375"/>
                  </a:lnTo>
                  <a:lnTo>
                    <a:pt x="3916" y="1377"/>
                  </a:lnTo>
                  <a:lnTo>
                    <a:pt x="3916" y="1377"/>
                  </a:lnTo>
                  <a:lnTo>
                    <a:pt x="3916" y="1379"/>
                  </a:lnTo>
                  <a:lnTo>
                    <a:pt x="3916" y="1379"/>
                  </a:lnTo>
                  <a:lnTo>
                    <a:pt x="3918" y="1379"/>
                  </a:lnTo>
                  <a:lnTo>
                    <a:pt x="3918" y="1377"/>
                  </a:lnTo>
                  <a:lnTo>
                    <a:pt x="3918" y="1377"/>
                  </a:lnTo>
                  <a:lnTo>
                    <a:pt x="3920" y="1375"/>
                  </a:lnTo>
                  <a:lnTo>
                    <a:pt x="3920" y="1377"/>
                  </a:lnTo>
                  <a:lnTo>
                    <a:pt x="3920" y="1377"/>
                  </a:lnTo>
                  <a:lnTo>
                    <a:pt x="3920" y="1377"/>
                  </a:lnTo>
                  <a:lnTo>
                    <a:pt x="3920" y="1379"/>
                  </a:lnTo>
                  <a:lnTo>
                    <a:pt x="3920" y="1382"/>
                  </a:lnTo>
                  <a:lnTo>
                    <a:pt x="3922" y="1382"/>
                  </a:lnTo>
                  <a:lnTo>
                    <a:pt x="3924" y="1382"/>
                  </a:lnTo>
                  <a:lnTo>
                    <a:pt x="3924" y="1379"/>
                  </a:lnTo>
                  <a:lnTo>
                    <a:pt x="3926" y="1377"/>
                  </a:lnTo>
                  <a:lnTo>
                    <a:pt x="3926" y="1377"/>
                  </a:lnTo>
                  <a:lnTo>
                    <a:pt x="3926" y="1379"/>
                  </a:lnTo>
                  <a:lnTo>
                    <a:pt x="3926" y="1379"/>
                  </a:lnTo>
                  <a:lnTo>
                    <a:pt x="3924" y="1382"/>
                  </a:lnTo>
                  <a:lnTo>
                    <a:pt x="3926" y="1382"/>
                  </a:lnTo>
                  <a:lnTo>
                    <a:pt x="3926" y="1382"/>
                  </a:lnTo>
                  <a:lnTo>
                    <a:pt x="3928" y="1382"/>
                  </a:lnTo>
                  <a:lnTo>
                    <a:pt x="3930" y="1379"/>
                  </a:lnTo>
                  <a:lnTo>
                    <a:pt x="3930" y="1377"/>
                  </a:lnTo>
                  <a:lnTo>
                    <a:pt x="3932" y="1375"/>
                  </a:lnTo>
                  <a:lnTo>
                    <a:pt x="3934" y="1375"/>
                  </a:lnTo>
                  <a:lnTo>
                    <a:pt x="3936" y="1373"/>
                  </a:lnTo>
                  <a:lnTo>
                    <a:pt x="3936" y="1373"/>
                  </a:lnTo>
                  <a:lnTo>
                    <a:pt x="3936" y="1373"/>
                  </a:lnTo>
                  <a:lnTo>
                    <a:pt x="3936" y="1373"/>
                  </a:lnTo>
                  <a:lnTo>
                    <a:pt x="3939" y="1373"/>
                  </a:lnTo>
                  <a:lnTo>
                    <a:pt x="3941" y="1371"/>
                  </a:lnTo>
                  <a:lnTo>
                    <a:pt x="3939" y="1371"/>
                  </a:lnTo>
                  <a:lnTo>
                    <a:pt x="3939" y="1369"/>
                  </a:lnTo>
                  <a:lnTo>
                    <a:pt x="3939" y="1367"/>
                  </a:lnTo>
                  <a:lnTo>
                    <a:pt x="3939" y="1367"/>
                  </a:lnTo>
                  <a:lnTo>
                    <a:pt x="3939" y="1367"/>
                  </a:lnTo>
                  <a:lnTo>
                    <a:pt x="3939" y="1369"/>
                  </a:lnTo>
                  <a:lnTo>
                    <a:pt x="3939" y="1369"/>
                  </a:lnTo>
                  <a:lnTo>
                    <a:pt x="3941" y="1371"/>
                  </a:lnTo>
                  <a:lnTo>
                    <a:pt x="3941" y="1371"/>
                  </a:lnTo>
                  <a:lnTo>
                    <a:pt x="3943" y="1371"/>
                  </a:lnTo>
                  <a:lnTo>
                    <a:pt x="3945" y="1371"/>
                  </a:lnTo>
                  <a:lnTo>
                    <a:pt x="3947" y="1367"/>
                  </a:lnTo>
                  <a:lnTo>
                    <a:pt x="3947" y="1367"/>
                  </a:lnTo>
                  <a:lnTo>
                    <a:pt x="3947" y="1365"/>
                  </a:lnTo>
                  <a:lnTo>
                    <a:pt x="3949" y="1363"/>
                  </a:lnTo>
                  <a:lnTo>
                    <a:pt x="3947" y="1361"/>
                  </a:lnTo>
                  <a:lnTo>
                    <a:pt x="3949" y="1359"/>
                  </a:lnTo>
                  <a:lnTo>
                    <a:pt x="3947" y="1359"/>
                  </a:lnTo>
                  <a:lnTo>
                    <a:pt x="3947" y="1359"/>
                  </a:lnTo>
                  <a:lnTo>
                    <a:pt x="3949" y="1359"/>
                  </a:lnTo>
                  <a:lnTo>
                    <a:pt x="3951" y="1361"/>
                  </a:lnTo>
                  <a:lnTo>
                    <a:pt x="3951" y="1361"/>
                  </a:lnTo>
                  <a:lnTo>
                    <a:pt x="3953" y="1363"/>
                  </a:lnTo>
                  <a:lnTo>
                    <a:pt x="3951" y="1363"/>
                  </a:lnTo>
                  <a:lnTo>
                    <a:pt x="3953" y="1365"/>
                  </a:lnTo>
                  <a:lnTo>
                    <a:pt x="3953" y="1367"/>
                  </a:lnTo>
                  <a:lnTo>
                    <a:pt x="3955" y="1369"/>
                  </a:lnTo>
                  <a:lnTo>
                    <a:pt x="3955" y="1371"/>
                  </a:lnTo>
                  <a:lnTo>
                    <a:pt x="3957" y="1371"/>
                  </a:lnTo>
                  <a:lnTo>
                    <a:pt x="3959" y="1371"/>
                  </a:lnTo>
                  <a:lnTo>
                    <a:pt x="3959" y="1371"/>
                  </a:lnTo>
                  <a:lnTo>
                    <a:pt x="3959" y="1369"/>
                  </a:lnTo>
                  <a:lnTo>
                    <a:pt x="3959" y="1371"/>
                  </a:lnTo>
                  <a:lnTo>
                    <a:pt x="3959" y="1371"/>
                  </a:lnTo>
                  <a:lnTo>
                    <a:pt x="3959" y="1375"/>
                  </a:lnTo>
                  <a:lnTo>
                    <a:pt x="3957" y="1375"/>
                  </a:lnTo>
                  <a:lnTo>
                    <a:pt x="3957" y="1377"/>
                  </a:lnTo>
                  <a:lnTo>
                    <a:pt x="3959" y="1379"/>
                  </a:lnTo>
                  <a:lnTo>
                    <a:pt x="3961" y="1386"/>
                  </a:lnTo>
                  <a:lnTo>
                    <a:pt x="3959" y="1388"/>
                  </a:lnTo>
                  <a:lnTo>
                    <a:pt x="3961" y="1390"/>
                  </a:lnTo>
                  <a:lnTo>
                    <a:pt x="3961" y="1394"/>
                  </a:lnTo>
                  <a:lnTo>
                    <a:pt x="3961" y="1396"/>
                  </a:lnTo>
                  <a:lnTo>
                    <a:pt x="3963" y="1396"/>
                  </a:lnTo>
                  <a:lnTo>
                    <a:pt x="3963" y="1398"/>
                  </a:lnTo>
                  <a:lnTo>
                    <a:pt x="3963" y="1398"/>
                  </a:lnTo>
                  <a:lnTo>
                    <a:pt x="3963" y="1398"/>
                  </a:lnTo>
                  <a:lnTo>
                    <a:pt x="3963" y="1400"/>
                  </a:lnTo>
                  <a:lnTo>
                    <a:pt x="3963" y="1402"/>
                  </a:lnTo>
                  <a:lnTo>
                    <a:pt x="3965" y="1404"/>
                  </a:lnTo>
                  <a:lnTo>
                    <a:pt x="3965" y="1408"/>
                  </a:lnTo>
                  <a:lnTo>
                    <a:pt x="3965" y="1408"/>
                  </a:lnTo>
                  <a:lnTo>
                    <a:pt x="3965" y="1410"/>
                  </a:lnTo>
                  <a:lnTo>
                    <a:pt x="3965" y="1412"/>
                  </a:lnTo>
                  <a:lnTo>
                    <a:pt x="3967" y="1408"/>
                  </a:lnTo>
                  <a:lnTo>
                    <a:pt x="3967" y="1408"/>
                  </a:lnTo>
                  <a:lnTo>
                    <a:pt x="3967" y="1410"/>
                  </a:lnTo>
                  <a:lnTo>
                    <a:pt x="3967" y="1410"/>
                  </a:lnTo>
                  <a:lnTo>
                    <a:pt x="3969" y="1415"/>
                  </a:lnTo>
                  <a:lnTo>
                    <a:pt x="3969" y="1417"/>
                  </a:lnTo>
                  <a:lnTo>
                    <a:pt x="3972" y="1419"/>
                  </a:lnTo>
                  <a:lnTo>
                    <a:pt x="3972" y="1423"/>
                  </a:lnTo>
                  <a:lnTo>
                    <a:pt x="3974" y="1425"/>
                  </a:lnTo>
                  <a:lnTo>
                    <a:pt x="3974" y="1425"/>
                  </a:lnTo>
                  <a:lnTo>
                    <a:pt x="3974" y="1427"/>
                  </a:lnTo>
                  <a:lnTo>
                    <a:pt x="3974" y="1429"/>
                  </a:lnTo>
                  <a:lnTo>
                    <a:pt x="3972" y="1429"/>
                  </a:lnTo>
                  <a:lnTo>
                    <a:pt x="3974" y="1431"/>
                  </a:lnTo>
                  <a:lnTo>
                    <a:pt x="3972" y="1431"/>
                  </a:lnTo>
                  <a:lnTo>
                    <a:pt x="3972" y="1433"/>
                  </a:lnTo>
                  <a:lnTo>
                    <a:pt x="3972" y="1433"/>
                  </a:lnTo>
                  <a:lnTo>
                    <a:pt x="3974" y="1433"/>
                  </a:lnTo>
                  <a:lnTo>
                    <a:pt x="3974" y="1435"/>
                  </a:lnTo>
                  <a:lnTo>
                    <a:pt x="3974" y="1435"/>
                  </a:lnTo>
                  <a:lnTo>
                    <a:pt x="3974" y="1437"/>
                  </a:lnTo>
                  <a:lnTo>
                    <a:pt x="3974" y="1437"/>
                  </a:lnTo>
                  <a:lnTo>
                    <a:pt x="3974" y="1437"/>
                  </a:lnTo>
                  <a:lnTo>
                    <a:pt x="3972" y="1439"/>
                  </a:lnTo>
                  <a:lnTo>
                    <a:pt x="3974" y="1439"/>
                  </a:lnTo>
                  <a:lnTo>
                    <a:pt x="3974" y="1439"/>
                  </a:lnTo>
                  <a:lnTo>
                    <a:pt x="3976" y="1439"/>
                  </a:lnTo>
                  <a:lnTo>
                    <a:pt x="3976" y="1439"/>
                  </a:lnTo>
                  <a:lnTo>
                    <a:pt x="3976" y="1439"/>
                  </a:lnTo>
                  <a:lnTo>
                    <a:pt x="3976" y="1441"/>
                  </a:lnTo>
                  <a:lnTo>
                    <a:pt x="3974" y="1441"/>
                  </a:lnTo>
                  <a:lnTo>
                    <a:pt x="3974" y="1443"/>
                  </a:lnTo>
                  <a:lnTo>
                    <a:pt x="3974" y="1443"/>
                  </a:lnTo>
                  <a:lnTo>
                    <a:pt x="3974" y="1446"/>
                  </a:lnTo>
                  <a:lnTo>
                    <a:pt x="3974" y="1448"/>
                  </a:lnTo>
                  <a:lnTo>
                    <a:pt x="3974" y="1448"/>
                  </a:lnTo>
                  <a:lnTo>
                    <a:pt x="3974" y="1450"/>
                  </a:lnTo>
                  <a:lnTo>
                    <a:pt x="3972" y="1452"/>
                  </a:lnTo>
                  <a:lnTo>
                    <a:pt x="3972" y="1454"/>
                  </a:lnTo>
                  <a:lnTo>
                    <a:pt x="3972" y="1454"/>
                  </a:lnTo>
                  <a:lnTo>
                    <a:pt x="3969" y="1456"/>
                  </a:lnTo>
                  <a:lnTo>
                    <a:pt x="3972" y="1460"/>
                  </a:lnTo>
                  <a:lnTo>
                    <a:pt x="3972" y="1462"/>
                  </a:lnTo>
                  <a:lnTo>
                    <a:pt x="3972" y="1464"/>
                  </a:lnTo>
                  <a:lnTo>
                    <a:pt x="3972" y="1464"/>
                  </a:lnTo>
                  <a:lnTo>
                    <a:pt x="3974" y="1462"/>
                  </a:lnTo>
                  <a:lnTo>
                    <a:pt x="3974" y="1462"/>
                  </a:lnTo>
                  <a:lnTo>
                    <a:pt x="3972" y="1466"/>
                  </a:lnTo>
                  <a:lnTo>
                    <a:pt x="3972" y="1470"/>
                  </a:lnTo>
                  <a:lnTo>
                    <a:pt x="3969" y="1472"/>
                  </a:lnTo>
                  <a:lnTo>
                    <a:pt x="3969" y="1474"/>
                  </a:lnTo>
                  <a:lnTo>
                    <a:pt x="3967" y="1479"/>
                  </a:lnTo>
                  <a:lnTo>
                    <a:pt x="3967" y="1483"/>
                  </a:lnTo>
                  <a:lnTo>
                    <a:pt x="3967" y="1485"/>
                  </a:lnTo>
                  <a:lnTo>
                    <a:pt x="3967" y="1487"/>
                  </a:lnTo>
                  <a:lnTo>
                    <a:pt x="3967" y="1491"/>
                  </a:lnTo>
                  <a:lnTo>
                    <a:pt x="3969" y="1491"/>
                  </a:lnTo>
                  <a:lnTo>
                    <a:pt x="3969" y="1491"/>
                  </a:lnTo>
                  <a:lnTo>
                    <a:pt x="3969" y="1489"/>
                  </a:lnTo>
                  <a:lnTo>
                    <a:pt x="3972" y="1489"/>
                  </a:lnTo>
                  <a:lnTo>
                    <a:pt x="3972" y="1489"/>
                  </a:lnTo>
                  <a:lnTo>
                    <a:pt x="3974" y="1489"/>
                  </a:lnTo>
                  <a:lnTo>
                    <a:pt x="3974" y="1489"/>
                  </a:lnTo>
                  <a:lnTo>
                    <a:pt x="3976" y="1493"/>
                  </a:lnTo>
                  <a:lnTo>
                    <a:pt x="3976" y="1493"/>
                  </a:lnTo>
                  <a:lnTo>
                    <a:pt x="3978" y="1493"/>
                  </a:lnTo>
                  <a:lnTo>
                    <a:pt x="3978" y="1495"/>
                  </a:lnTo>
                  <a:lnTo>
                    <a:pt x="3978" y="1497"/>
                  </a:lnTo>
                  <a:lnTo>
                    <a:pt x="3980" y="1497"/>
                  </a:lnTo>
                  <a:lnTo>
                    <a:pt x="3980" y="1497"/>
                  </a:lnTo>
                  <a:lnTo>
                    <a:pt x="3982" y="1499"/>
                  </a:lnTo>
                  <a:lnTo>
                    <a:pt x="3982" y="1499"/>
                  </a:lnTo>
                  <a:lnTo>
                    <a:pt x="3984" y="1501"/>
                  </a:lnTo>
                  <a:lnTo>
                    <a:pt x="3984" y="1503"/>
                  </a:lnTo>
                  <a:lnTo>
                    <a:pt x="3986" y="1503"/>
                  </a:lnTo>
                  <a:lnTo>
                    <a:pt x="3986" y="1503"/>
                  </a:lnTo>
                  <a:lnTo>
                    <a:pt x="3986" y="1503"/>
                  </a:lnTo>
                  <a:lnTo>
                    <a:pt x="3986" y="1505"/>
                  </a:lnTo>
                  <a:lnTo>
                    <a:pt x="3988" y="1505"/>
                  </a:lnTo>
                  <a:lnTo>
                    <a:pt x="3988" y="1505"/>
                  </a:lnTo>
                  <a:lnTo>
                    <a:pt x="3988" y="1510"/>
                  </a:lnTo>
                  <a:lnTo>
                    <a:pt x="3990" y="1512"/>
                  </a:lnTo>
                  <a:lnTo>
                    <a:pt x="3994" y="1516"/>
                  </a:lnTo>
                  <a:lnTo>
                    <a:pt x="3994" y="1518"/>
                  </a:lnTo>
                  <a:lnTo>
                    <a:pt x="3996" y="1520"/>
                  </a:lnTo>
                  <a:lnTo>
                    <a:pt x="3996" y="1522"/>
                  </a:lnTo>
                  <a:lnTo>
                    <a:pt x="3998" y="1524"/>
                  </a:lnTo>
                  <a:lnTo>
                    <a:pt x="3996" y="1528"/>
                  </a:lnTo>
                  <a:lnTo>
                    <a:pt x="3998" y="1534"/>
                  </a:lnTo>
                  <a:lnTo>
                    <a:pt x="4000" y="1541"/>
                  </a:lnTo>
                  <a:lnTo>
                    <a:pt x="4000" y="1545"/>
                  </a:lnTo>
                  <a:lnTo>
                    <a:pt x="4002" y="1547"/>
                  </a:lnTo>
                  <a:lnTo>
                    <a:pt x="4002" y="1549"/>
                  </a:lnTo>
                  <a:lnTo>
                    <a:pt x="4002" y="1549"/>
                  </a:lnTo>
                  <a:lnTo>
                    <a:pt x="4002" y="1551"/>
                  </a:lnTo>
                  <a:lnTo>
                    <a:pt x="4002" y="1551"/>
                  </a:lnTo>
                  <a:lnTo>
                    <a:pt x="4002" y="1551"/>
                  </a:lnTo>
                  <a:lnTo>
                    <a:pt x="4005" y="1553"/>
                  </a:lnTo>
                  <a:lnTo>
                    <a:pt x="4007" y="1555"/>
                  </a:lnTo>
                  <a:lnTo>
                    <a:pt x="4009" y="1557"/>
                  </a:lnTo>
                  <a:lnTo>
                    <a:pt x="4011" y="1561"/>
                  </a:lnTo>
                  <a:lnTo>
                    <a:pt x="4011" y="1561"/>
                  </a:lnTo>
                  <a:lnTo>
                    <a:pt x="4011" y="1563"/>
                  </a:lnTo>
                  <a:lnTo>
                    <a:pt x="4011" y="1565"/>
                  </a:lnTo>
                  <a:lnTo>
                    <a:pt x="4011" y="1567"/>
                  </a:lnTo>
                  <a:lnTo>
                    <a:pt x="4013" y="1567"/>
                  </a:lnTo>
                  <a:lnTo>
                    <a:pt x="4013" y="1569"/>
                  </a:lnTo>
                  <a:lnTo>
                    <a:pt x="4017" y="1569"/>
                  </a:lnTo>
                  <a:lnTo>
                    <a:pt x="4019" y="1571"/>
                  </a:lnTo>
                  <a:lnTo>
                    <a:pt x="4023" y="1576"/>
                  </a:lnTo>
                  <a:lnTo>
                    <a:pt x="4029" y="1578"/>
                  </a:lnTo>
                  <a:lnTo>
                    <a:pt x="4031" y="1580"/>
                  </a:lnTo>
                  <a:lnTo>
                    <a:pt x="4033" y="1582"/>
                  </a:lnTo>
                  <a:lnTo>
                    <a:pt x="4040" y="1584"/>
                  </a:lnTo>
                  <a:lnTo>
                    <a:pt x="4040" y="1586"/>
                  </a:lnTo>
                  <a:lnTo>
                    <a:pt x="4042" y="1586"/>
                  </a:lnTo>
                  <a:lnTo>
                    <a:pt x="4042" y="1588"/>
                  </a:lnTo>
                  <a:lnTo>
                    <a:pt x="4044" y="1588"/>
                  </a:lnTo>
                  <a:lnTo>
                    <a:pt x="4046" y="1586"/>
                  </a:lnTo>
                  <a:lnTo>
                    <a:pt x="4046" y="1586"/>
                  </a:lnTo>
                  <a:lnTo>
                    <a:pt x="4048" y="1586"/>
                  </a:lnTo>
                  <a:lnTo>
                    <a:pt x="4050" y="1586"/>
                  </a:lnTo>
                  <a:lnTo>
                    <a:pt x="4050" y="1584"/>
                  </a:lnTo>
                  <a:lnTo>
                    <a:pt x="4048" y="1584"/>
                  </a:lnTo>
                  <a:lnTo>
                    <a:pt x="4050" y="1584"/>
                  </a:lnTo>
                  <a:lnTo>
                    <a:pt x="4050" y="1584"/>
                  </a:lnTo>
                  <a:lnTo>
                    <a:pt x="4050" y="1586"/>
                  </a:lnTo>
                  <a:lnTo>
                    <a:pt x="4050" y="1586"/>
                  </a:lnTo>
                  <a:lnTo>
                    <a:pt x="4050" y="1586"/>
                  </a:lnTo>
                  <a:lnTo>
                    <a:pt x="4052" y="1588"/>
                  </a:lnTo>
                  <a:lnTo>
                    <a:pt x="4052" y="1586"/>
                  </a:lnTo>
                  <a:lnTo>
                    <a:pt x="4054" y="1586"/>
                  </a:lnTo>
                  <a:lnTo>
                    <a:pt x="4054" y="1586"/>
                  </a:lnTo>
                  <a:lnTo>
                    <a:pt x="4052" y="1582"/>
                  </a:lnTo>
                  <a:lnTo>
                    <a:pt x="4048" y="1574"/>
                  </a:lnTo>
                  <a:lnTo>
                    <a:pt x="4046" y="1571"/>
                  </a:lnTo>
                  <a:lnTo>
                    <a:pt x="4046" y="1569"/>
                  </a:lnTo>
                  <a:lnTo>
                    <a:pt x="4042" y="1567"/>
                  </a:lnTo>
                  <a:lnTo>
                    <a:pt x="4042" y="1567"/>
                  </a:lnTo>
                  <a:lnTo>
                    <a:pt x="4042" y="1565"/>
                  </a:lnTo>
                  <a:lnTo>
                    <a:pt x="4042" y="1561"/>
                  </a:lnTo>
                  <a:lnTo>
                    <a:pt x="4042" y="1559"/>
                  </a:lnTo>
                  <a:lnTo>
                    <a:pt x="4042" y="1557"/>
                  </a:lnTo>
                  <a:lnTo>
                    <a:pt x="4040" y="1555"/>
                  </a:lnTo>
                  <a:lnTo>
                    <a:pt x="4040" y="1553"/>
                  </a:lnTo>
                  <a:lnTo>
                    <a:pt x="4042" y="1551"/>
                  </a:lnTo>
                  <a:lnTo>
                    <a:pt x="4042" y="1545"/>
                  </a:lnTo>
                  <a:lnTo>
                    <a:pt x="4042" y="1541"/>
                  </a:lnTo>
                  <a:lnTo>
                    <a:pt x="4042" y="1538"/>
                  </a:lnTo>
                  <a:lnTo>
                    <a:pt x="4038" y="1532"/>
                  </a:lnTo>
                  <a:lnTo>
                    <a:pt x="4035" y="1530"/>
                  </a:lnTo>
                  <a:lnTo>
                    <a:pt x="4035" y="1528"/>
                  </a:lnTo>
                  <a:lnTo>
                    <a:pt x="4033" y="1528"/>
                  </a:lnTo>
                  <a:lnTo>
                    <a:pt x="4031" y="1526"/>
                  </a:lnTo>
                  <a:lnTo>
                    <a:pt x="4027" y="1524"/>
                  </a:lnTo>
                  <a:lnTo>
                    <a:pt x="4025" y="1520"/>
                  </a:lnTo>
                  <a:lnTo>
                    <a:pt x="4025" y="1518"/>
                  </a:lnTo>
                  <a:lnTo>
                    <a:pt x="4021" y="1518"/>
                  </a:lnTo>
                  <a:lnTo>
                    <a:pt x="4017" y="1516"/>
                  </a:lnTo>
                  <a:lnTo>
                    <a:pt x="4015" y="1512"/>
                  </a:lnTo>
                  <a:lnTo>
                    <a:pt x="4013" y="1510"/>
                  </a:lnTo>
                  <a:lnTo>
                    <a:pt x="4013" y="1510"/>
                  </a:lnTo>
                  <a:lnTo>
                    <a:pt x="4011" y="1510"/>
                  </a:lnTo>
                  <a:lnTo>
                    <a:pt x="4009" y="1510"/>
                  </a:lnTo>
                  <a:lnTo>
                    <a:pt x="4007" y="1510"/>
                  </a:lnTo>
                  <a:lnTo>
                    <a:pt x="4002" y="1507"/>
                  </a:lnTo>
                  <a:lnTo>
                    <a:pt x="4002" y="1505"/>
                  </a:lnTo>
                  <a:lnTo>
                    <a:pt x="4000" y="1505"/>
                  </a:lnTo>
                  <a:lnTo>
                    <a:pt x="3998" y="1505"/>
                  </a:lnTo>
                  <a:lnTo>
                    <a:pt x="3998" y="1505"/>
                  </a:lnTo>
                  <a:lnTo>
                    <a:pt x="3998" y="1503"/>
                  </a:lnTo>
                  <a:lnTo>
                    <a:pt x="3994" y="1501"/>
                  </a:lnTo>
                  <a:lnTo>
                    <a:pt x="3994" y="1499"/>
                  </a:lnTo>
                  <a:lnTo>
                    <a:pt x="3994" y="1497"/>
                  </a:lnTo>
                  <a:lnTo>
                    <a:pt x="3996" y="1497"/>
                  </a:lnTo>
                  <a:lnTo>
                    <a:pt x="3996" y="1497"/>
                  </a:lnTo>
                  <a:lnTo>
                    <a:pt x="3996" y="1499"/>
                  </a:lnTo>
                  <a:lnTo>
                    <a:pt x="3996" y="1499"/>
                  </a:lnTo>
                  <a:lnTo>
                    <a:pt x="3996" y="1499"/>
                  </a:lnTo>
                  <a:lnTo>
                    <a:pt x="3996" y="1499"/>
                  </a:lnTo>
                  <a:lnTo>
                    <a:pt x="3998" y="1499"/>
                  </a:lnTo>
                  <a:lnTo>
                    <a:pt x="3998" y="1501"/>
                  </a:lnTo>
                  <a:lnTo>
                    <a:pt x="3998" y="1503"/>
                  </a:lnTo>
                  <a:lnTo>
                    <a:pt x="4000" y="1503"/>
                  </a:lnTo>
                  <a:lnTo>
                    <a:pt x="3998" y="1503"/>
                  </a:lnTo>
                  <a:lnTo>
                    <a:pt x="3998" y="1501"/>
                  </a:lnTo>
                  <a:lnTo>
                    <a:pt x="3996" y="1489"/>
                  </a:lnTo>
                  <a:lnTo>
                    <a:pt x="3996" y="1487"/>
                  </a:lnTo>
                  <a:lnTo>
                    <a:pt x="3994" y="1487"/>
                  </a:lnTo>
                  <a:lnTo>
                    <a:pt x="3994" y="1487"/>
                  </a:lnTo>
                  <a:lnTo>
                    <a:pt x="3994" y="1487"/>
                  </a:lnTo>
                  <a:lnTo>
                    <a:pt x="3994" y="1487"/>
                  </a:lnTo>
                  <a:lnTo>
                    <a:pt x="3992" y="1487"/>
                  </a:lnTo>
                  <a:lnTo>
                    <a:pt x="3992" y="1485"/>
                  </a:lnTo>
                  <a:lnTo>
                    <a:pt x="3992" y="1483"/>
                  </a:lnTo>
                  <a:lnTo>
                    <a:pt x="3990" y="1477"/>
                  </a:lnTo>
                  <a:lnTo>
                    <a:pt x="3990" y="1477"/>
                  </a:lnTo>
                  <a:lnTo>
                    <a:pt x="3990" y="1474"/>
                  </a:lnTo>
                  <a:lnTo>
                    <a:pt x="3988" y="1474"/>
                  </a:lnTo>
                  <a:lnTo>
                    <a:pt x="3984" y="1477"/>
                  </a:lnTo>
                  <a:lnTo>
                    <a:pt x="3982" y="1477"/>
                  </a:lnTo>
                  <a:lnTo>
                    <a:pt x="3982" y="1474"/>
                  </a:lnTo>
                  <a:lnTo>
                    <a:pt x="3982" y="1474"/>
                  </a:lnTo>
                  <a:lnTo>
                    <a:pt x="3982" y="1472"/>
                  </a:lnTo>
                  <a:lnTo>
                    <a:pt x="3980" y="1470"/>
                  </a:lnTo>
                  <a:lnTo>
                    <a:pt x="3980" y="1468"/>
                  </a:lnTo>
                  <a:lnTo>
                    <a:pt x="3980" y="1466"/>
                  </a:lnTo>
                  <a:lnTo>
                    <a:pt x="3980" y="1462"/>
                  </a:lnTo>
                  <a:lnTo>
                    <a:pt x="3980" y="1460"/>
                  </a:lnTo>
                  <a:lnTo>
                    <a:pt x="3980" y="1460"/>
                  </a:lnTo>
                  <a:lnTo>
                    <a:pt x="3982" y="1460"/>
                  </a:lnTo>
                  <a:lnTo>
                    <a:pt x="3982" y="1456"/>
                  </a:lnTo>
                  <a:lnTo>
                    <a:pt x="3984" y="1452"/>
                  </a:lnTo>
                  <a:lnTo>
                    <a:pt x="3986" y="1450"/>
                  </a:lnTo>
                  <a:lnTo>
                    <a:pt x="3986" y="1448"/>
                  </a:lnTo>
                  <a:lnTo>
                    <a:pt x="3986" y="1443"/>
                  </a:lnTo>
                  <a:lnTo>
                    <a:pt x="3988" y="1441"/>
                  </a:lnTo>
                  <a:lnTo>
                    <a:pt x="3990" y="1439"/>
                  </a:lnTo>
                  <a:lnTo>
                    <a:pt x="3990" y="1437"/>
                  </a:lnTo>
                  <a:lnTo>
                    <a:pt x="3990" y="1435"/>
                  </a:lnTo>
                  <a:lnTo>
                    <a:pt x="3992" y="1433"/>
                  </a:lnTo>
                  <a:lnTo>
                    <a:pt x="3992" y="1431"/>
                  </a:lnTo>
                  <a:lnTo>
                    <a:pt x="3992" y="1427"/>
                  </a:lnTo>
                  <a:lnTo>
                    <a:pt x="3992" y="1425"/>
                  </a:lnTo>
                  <a:lnTo>
                    <a:pt x="3994" y="1421"/>
                  </a:lnTo>
                  <a:lnTo>
                    <a:pt x="3992" y="1419"/>
                  </a:lnTo>
                  <a:lnTo>
                    <a:pt x="3992" y="1419"/>
                  </a:lnTo>
                  <a:lnTo>
                    <a:pt x="3992" y="1417"/>
                  </a:lnTo>
                  <a:lnTo>
                    <a:pt x="3994" y="1415"/>
                  </a:lnTo>
                  <a:lnTo>
                    <a:pt x="3996" y="1415"/>
                  </a:lnTo>
                  <a:lnTo>
                    <a:pt x="4000" y="1415"/>
                  </a:lnTo>
                  <a:lnTo>
                    <a:pt x="4000" y="1415"/>
                  </a:lnTo>
                  <a:lnTo>
                    <a:pt x="4000" y="1415"/>
                  </a:lnTo>
                  <a:lnTo>
                    <a:pt x="4005" y="1415"/>
                  </a:lnTo>
                  <a:lnTo>
                    <a:pt x="4007" y="1415"/>
                  </a:lnTo>
                  <a:lnTo>
                    <a:pt x="4007" y="1417"/>
                  </a:lnTo>
                  <a:lnTo>
                    <a:pt x="4005" y="1417"/>
                  </a:lnTo>
                  <a:lnTo>
                    <a:pt x="4005" y="1419"/>
                  </a:lnTo>
                  <a:lnTo>
                    <a:pt x="4005" y="1421"/>
                  </a:lnTo>
                  <a:lnTo>
                    <a:pt x="4005" y="1425"/>
                  </a:lnTo>
                  <a:lnTo>
                    <a:pt x="4005" y="1425"/>
                  </a:lnTo>
                  <a:lnTo>
                    <a:pt x="4005" y="1427"/>
                  </a:lnTo>
                  <a:lnTo>
                    <a:pt x="4007" y="1427"/>
                  </a:lnTo>
                  <a:lnTo>
                    <a:pt x="4009" y="1427"/>
                  </a:lnTo>
                  <a:lnTo>
                    <a:pt x="4013" y="1427"/>
                  </a:lnTo>
                  <a:lnTo>
                    <a:pt x="4017" y="1427"/>
                  </a:lnTo>
                  <a:lnTo>
                    <a:pt x="4019" y="1427"/>
                  </a:lnTo>
                  <a:lnTo>
                    <a:pt x="4019" y="1427"/>
                  </a:lnTo>
                  <a:lnTo>
                    <a:pt x="4019" y="1427"/>
                  </a:lnTo>
                  <a:lnTo>
                    <a:pt x="4021" y="1429"/>
                  </a:lnTo>
                  <a:lnTo>
                    <a:pt x="4023" y="1429"/>
                  </a:lnTo>
                  <a:lnTo>
                    <a:pt x="4023" y="1431"/>
                  </a:lnTo>
                  <a:lnTo>
                    <a:pt x="4025" y="1431"/>
                  </a:lnTo>
                  <a:lnTo>
                    <a:pt x="4025" y="1431"/>
                  </a:lnTo>
                  <a:lnTo>
                    <a:pt x="4025" y="1433"/>
                  </a:lnTo>
                  <a:lnTo>
                    <a:pt x="4027" y="1433"/>
                  </a:lnTo>
                  <a:lnTo>
                    <a:pt x="4029" y="1435"/>
                  </a:lnTo>
                  <a:lnTo>
                    <a:pt x="4029" y="1433"/>
                  </a:lnTo>
                  <a:lnTo>
                    <a:pt x="4029" y="1433"/>
                  </a:lnTo>
                  <a:lnTo>
                    <a:pt x="4029" y="1433"/>
                  </a:lnTo>
                  <a:lnTo>
                    <a:pt x="4031" y="1435"/>
                  </a:lnTo>
                  <a:lnTo>
                    <a:pt x="4031" y="1437"/>
                  </a:lnTo>
                  <a:lnTo>
                    <a:pt x="4033" y="1439"/>
                  </a:lnTo>
                  <a:lnTo>
                    <a:pt x="4033" y="1439"/>
                  </a:lnTo>
                  <a:lnTo>
                    <a:pt x="4033" y="1439"/>
                  </a:lnTo>
                  <a:lnTo>
                    <a:pt x="4033" y="1439"/>
                  </a:lnTo>
                  <a:lnTo>
                    <a:pt x="4033" y="1439"/>
                  </a:lnTo>
                  <a:lnTo>
                    <a:pt x="4035" y="1439"/>
                  </a:lnTo>
                  <a:lnTo>
                    <a:pt x="4035" y="1441"/>
                  </a:lnTo>
                  <a:lnTo>
                    <a:pt x="4038" y="1443"/>
                  </a:lnTo>
                  <a:lnTo>
                    <a:pt x="4035" y="1446"/>
                  </a:lnTo>
                  <a:lnTo>
                    <a:pt x="4035" y="1448"/>
                  </a:lnTo>
                  <a:lnTo>
                    <a:pt x="4035" y="1450"/>
                  </a:lnTo>
                  <a:lnTo>
                    <a:pt x="4038" y="1452"/>
                  </a:lnTo>
                  <a:lnTo>
                    <a:pt x="4040" y="1452"/>
                  </a:lnTo>
                  <a:lnTo>
                    <a:pt x="4040" y="1452"/>
                  </a:lnTo>
                  <a:lnTo>
                    <a:pt x="4042" y="1452"/>
                  </a:lnTo>
                  <a:lnTo>
                    <a:pt x="4042" y="1450"/>
                  </a:lnTo>
                  <a:lnTo>
                    <a:pt x="4042" y="1448"/>
                  </a:lnTo>
                  <a:lnTo>
                    <a:pt x="4044" y="1450"/>
                  </a:lnTo>
                  <a:lnTo>
                    <a:pt x="4044" y="1450"/>
                  </a:lnTo>
                  <a:lnTo>
                    <a:pt x="4046" y="1452"/>
                  </a:lnTo>
                  <a:lnTo>
                    <a:pt x="4044" y="1454"/>
                  </a:lnTo>
                  <a:lnTo>
                    <a:pt x="4044" y="1454"/>
                  </a:lnTo>
                  <a:lnTo>
                    <a:pt x="4042" y="1456"/>
                  </a:lnTo>
                  <a:lnTo>
                    <a:pt x="4042" y="1456"/>
                  </a:lnTo>
                  <a:lnTo>
                    <a:pt x="4044" y="1456"/>
                  </a:lnTo>
                  <a:lnTo>
                    <a:pt x="4044" y="1458"/>
                  </a:lnTo>
                  <a:lnTo>
                    <a:pt x="4048" y="1456"/>
                  </a:lnTo>
                  <a:lnTo>
                    <a:pt x="4048" y="1456"/>
                  </a:lnTo>
                  <a:lnTo>
                    <a:pt x="4048" y="1456"/>
                  </a:lnTo>
                  <a:lnTo>
                    <a:pt x="4048" y="1456"/>
                  </a:lnTo>
                  <a:lnTo>
                    <a:pt x="4052" y="1458"/>
                  </a:lnTo>
                  <a:lnTo>
                    <a:pt x="4056" y="1458"/>
                  </a:lnTo>
                  <a:lnTo>
                    <a:pt x="4056" y="1460"/>
                  </a:lnTo>
                  <a:lnTo>
                    <a:pt x="4058" y="1460"/>
                  </a:lnTo>
                  <a:lnTo>
                    <a:pt x="4058" y="1462"/>
                  </a:lnTo>
                  <a:lnTo>
                    <a:pt x="4058" y="1462"/>
                  </a:lnTo>
                  <a:lnTo>
                    <a:pt x="4060" y="1462"/>
                  </a:lnTo>
                  <a:lnTo>
                    <a:pt x="4060" y="1462"/>
                  </a:lnTo>
                  <a:lnTo>
                    <a:pt x="4062" y="1462"/>
                  </a:lnTo>
                  <a:lnTo>
                    <a:pt x="4062" y="1464"/>
                  </a:lnTo>
                  <a:lnTo>
                    <a:pt x="4064" y="1464"/>
                  </a:lnTo>
                  <a:lnTo>
                    <a:pt x="4064" y="1464"/>
                  </a:lnTo>
                  <a:lnTo>
                    <a:pt x="4064" y="1466"/>
                  </a:lnTo>
                  <a:lnTo>
                    <a:pt x="4064" y="1466"/>
                  </a:lnTo>
                  <a:lnTo>
                    <a:pt x="4062" y="1466"/>
                  </a:lnTo>
                  <a:lnTo>
                    <a:pt x="4062" y="1468"/>
                  </a:lnTo>
                  <a:lnTo>
                    <a:pt x="4060" y="1470"/>
                  </a:lnTo>
                  <a:lnTo>
                    <a:pt x="4060" y="1477"/>
                  </a:lnTo>
                  <a:lnTo>
                    <a:pt x="4060" y="1483"/>
                  </a:lnTo>
                  <a:lnTo>
                    <a:pt x="4062" y="1483"/>
                  </a:lnTo>
                  <a:lnTo>
                    <a:pt x="4060" y="1485"/>
                  </a:lnTo>
                  <a:lnTo>
                    <a:pt x="4062" y="1485"/>
                  </a:lnTo>
                  <a:lnTo>
                    <a:pt x="4064" y="1485"/>
                  </a:lnTo>
                  <a:lnTo>
                    <a:pt x="4066" y="1483"/>
                  </a:lnTo>
                  <a:lnTo>
                    <a:pt x="4068" y="1483"/>
                  </a:lnTo>
                  <a:lnTo>
                    <a:pt x="4068" y="1479"/>
                  </a:lnTo>
                  <a:lnTo>
                    <a:pt x="4071" y="1479"/>
                  </a:lnTo>
                  <a:lnTo>
                    <a:pt x="4081" y="1472"/>
                  </a:lnTo>
                  <a:lnTo>
                    <a:pt x="4081" y="1472"/>
                  </a:lnTo>
                  <a:lnTo>
                    <a:pt x="4081" y="1472"/>
                  </a:lnTo>
                  <a:lnTo>
                    <a:pt x="4081" y="1470"/>
                  </a:lnTo>
                  <a:lnTo>
                    <a:pt x="4079" y="1470"/>
                  </a:lnTo>
                  <a:lnTo>
                    <a:pt x="4075" y="1464"/>
                  </a:lnTo>
                  <a:lnTo>
                    <a:pt x="4077" y="1466"/>
                  </a:lnTo>
                  <a:lnTo>
                    <a:pt x="4081" y="1470"/>
                  </a:lnTo>
                  <a:lnTo>
                    <a:pt x="4083" y="1470"/>
                  </a:lnTo>
                  <a:lnTo>
                    <a:pt x="4085" y="1470"/>
                  </a:lnTo>
                  <a:lnTo>
                    <a:pt x="4085" y="1470"/>
                  </a:lnTo>
                  <a:lnTo>
                    <a:pt x="4085" y="1470"/>
                  </a:lnTo>
                  <a:lnTo>
                    <a:pt x="4085" y="1468"/>
                  </a:lnTo>
                  <a:lnTo>
                    <a:pt x="4085" y="1468"/>
                  </a:lnTo>
                  <a:lnTo>
                    <a:pt x="4081" y="1462"/>
                  </a:lnTo>
                  <a:lnTo>
                    <a:pt x="4079" y="1462"/>
                  </a:lnTo>
                  <a:lnTo>
                    <a:pt x="4085" y="1466"/>
                  </a:lnTo>
                  <a:lnTo>
                    <a:pt x="4085" y="1466"/>
                  </a:lnTo>
                  <a:lnTo>
                    <a:pt x="4087" y="1466"/>
                  </a:lnTo>
                  <a:lnTo>
                    <a:pt x="4087" y="1466"/>
                  </a:lnTo>
                  <a:lnTo>
                    <a:pt x="4087" y="1466"/>
                  </a:lnTo>
                  <a:lnTo>
                    <a:pt x="4087" y="1464"/>
                  </a:lnTo>
                  <a:lnTo>
                    <a:pt x="4087" y="1464"/>
                  </a:lnTo>
                  <a:lnTo>
                    <a:pt x="4089" y="1462"/>
                  </a:lnTo>
                  <a:lnTo>
                    <a:pt x="4089" y="1462"/>
                  </a:lnTo>
                  <a:lnTo>
                    <a:pt x="4087" y="1462"/>
                  </a:lnTo>
                  <a:lnTo>
                    <a:pt x="4087" y="1462"/>
                  </a:lnTo>
                  <a:lnTo>
                    <a:pt x="4085" y="1460"/>
                  </a:lnTo>
                  <a:lnTo>
                    <a:pt x="4085" y="1460"/>
                  </a:lnTo>
                  <a:lnTo>
                    <a:pt x="4087" y="1460"/>
                  </a:lnTo>
                  <a:lnTo>
                    <a:pt x="4089" y="1460"/>
                  </a:lnTo>
                  <a:lnTo>
                    <a:pt x="4089" y="1460"/>
                  </a:lnTo>
                  <a:lnTo>
                    <a:pt x="4089" y="1460"/>
                  </a:lnTo>
                  <a:lnTo>
                    <a:pt x="4089" y="1458"/>
                  </a:lnTo>
                  <a:lnTo>
                    <a:pt x="4087" y="1458"/>
                  </a:lnTo>
                  <a:lnTo>
                    <a:pt x="4087" y="1458"/>
                  </a:lnTo>
                  <a:lnTo>
                    <a:pt x="4087" y="1458"/>
                  </a:lnTo>
                  <a:lnTo>
                    <a:pt x="4087" y="1458"/>
                  </a:lnTo>
                  <a:lnTo>
                    <a:pt x="4089" y="1458"/>
                  </a:lnTo>
                  <a:lnTo>
                    <a:pt x="4091" y="1460"/>
                  </a:lnTo>
                  <a:lnTo>
                    <a:pt x="4091" y="1460"/>
                  </a:lnTo>
                  <a:lnTo>
                    <a:pt x="4091" y="1458"/>
                  </a:lnTo>
                  <a:lnTo>
                    <a:pt x="4091" y="1456"/>
                  </a:lnTo>
                  <a:lnTo>
                    <a:pt x="4091" y="1456"/>
                  </a:lnTo>
                  <a:lnTo>
                    <a:pt x="4091" y="1456"/>
                  </a:lnTo>
                  <a:lnTo>
                    <a:pt x="4093" y="1456"/>
                  </a:lnTo>
                  <a:lnTo>
                    <a:pt x="4093" y="1458"/>
                  </a:lnTo>
                  <a:lnTo>
                    <a:pt x="4095" y="1458"/>
                  </a:lnTo>
                  <a:lnTo>
                    <a:pt x="4095" y="1458"/>
                  </a:lnTo>
                  <a:lnTo>
                    <a:pt x="4095" y="1460"/>
                  </a:lnTo>
                  <a:lnTo>
                    <a:pt x="4097" y="1458"/>
                  </a:lnTo>
                  <a:lnTo>
                    <a:pt x="4099" y="1458"/>
                  </a:lnTo>
                  <a:lnTo>
                    <a:pt x="4099" y="1456"/>
                  </a:lnTo>
                  <a:lnTo>
                    <a:pt x="4104" y="1454"/>
                  </a:lnTo>
                  <a:lnTo>
                    <a:pt x="4106" y="1454"/>
                  </a:lnTo>
                  <a:lnTo>
                    <a:pt x="4108" y="1452"/>
                  </a:lnTo>
                  <a:lnTo>
                    <a:pt x="4108" y="1452"/>
                  </a:lnTo>
                  <a:lnTo>
                    <a:pt x="4110" y="1452"/>
                  </a:lnTo>
                  <a:lnTo>
                    <a:pt x="4112" y="1450"/>
                  </a:lnTo>
                  <a:lnTo>
                    <a:pt x="4114" y="1448"/>
                  </a:lnTo>
                  <a:lnTo>
                    <a:pt x="4116" y="1448"/>
                  </a:lnTo>
                  <a:lnTo>
                    <a:pt x="4118" y="1446"/>
                  </a:lnTo>
                  <a:lnTo>
                    <a:pt x="4120" y="1446"/>
                  </a:lnTo>
                  <a:lnTo>
                    <a:pt x="4120" y="1443"/>
                  </a:lnTo>
                  <a:lnTo>
                    <a:pt x="4120" y="1441"/>
                  </a:lnTo>
                  <a:lnTo>
                    <a:pt x="4122" y="1441"/>
                  </a:lnTo>
                  <a:lnTo>
                    <a:pt x="4122" y="1441"/>
                  </a:lnTo>
                  <a:lnTo>
                    <a:pt x="4124" y="1439"/>
                  </a:lnTo>
                  <a:lnTo>
                    <a:pt x="4124" y="1439"/>
                  </a:lnTo>
                  <a:lnTo>
                    <a:pt x="4122" y="1439"/>
                  </a:lnTo>
                  <a:lnTo>
                    <a:pt x="4122" y="1437"/>
                  </a:lnTo>
                  <a:lnTo>
                    <a:pt x="4124" y="1437"/>
                  </a:lnTo>
                  <a:lnTo>
                    <a:pt x="4124" y="1435"/>
                  </a:lnTo>
                  <a:lnTo>
                    <a:pt x="4124" y="1435"/>
                  </a:lnTo>
                  <a:lnTo>
                    <a:pt x="4124" y="1437"/>
                  </a:lnTo>
                  <a:lnTo>
                    <a:pt x="4124" y="1437"/>
                  </a:lnTo>
                  <a:lnTo>
                    <a:pt x="4124" y="1437"/>
                  </a:lnTo>
                  <a:lnTo>
                    <a:pt x="4124" y="1435"/>
                  </a:lnTo>
                  <a:lnTo>
                    <a:pt x="4124" y="1435"/>
                  </a:lnTo>
                  <a:lnTo>
                    <a:pt x="4124" y="1431"/>
                  </a:lnTo>
                  <a:lnTo>
                    <a:pt x="4124" y="1431"/>
                  </a:lnTo>
                  <a:lnTo>
                    <a:pt x="4124" y="1427"/>
                  </a:lnTo>
                  <a:lnTo>
                    <a:pt x="4124" y="1425"/>
                  </a:lnTo>
                  <a:lnTo>
                    <a:pt x="4126" y="1425"/>
                  </a:lnTo>
                  <a:lnTo>
                    <a:pt x="4126" y="1427"/>
                  </a:lnTo>
                  <a:lnTo>
                    <a:pt x="4126" y="1427"/>
                  </a:lnTo>
                  <a:lnTo>
                    <a:pt x="4126" y="1425"/>
                  </a:lnTo>
                  <a:lnTo>
                    <a:pt x="4126" y="1423"/>
                  </a:lnTo>
                  <a:lnTo>
                    <a:pt x="4126" y="1421"/>
                  </a:lnTo>
                  <a:lnTo>
                    <a:pt x="4124" y="1419"/>
                  </a:lnTo>
                  <a:lnTo>
                    <a:pt x="4124" y="1419"/>
                  </a:lnTo>
                  <a:lnTo>
                    <a:pt x="4124" y="1415"/>
                  </a:lnTo>
                  <a:lnTo>
                    <a:pt x="4124" y="1412"/>
                  </a:lnTo>
                  <a:lnTo>
                    <a:pt x="4124" y="1410"/>
                  </a:lnTo>
                  <a:lnTo>
                    <a:pt x="4124" y="1410"/>
                  </a:lnTo>
                  <a:lnTo>
                    <a:pt x="4124" y="1408"/>
                  </a:lnTo>
                  <a:lnTo>
                    <a:pt x="4124" y="1406"/>
                  </a:lnTo>
                  <a:lnTo>
                    <a:pt x="4124" y="1406"/>
                  </a:lnTo>
                  <a:lnTo>
                    <a:pt x="4124" y="1404"/>
                  </a:lnTo>
                  <a:lnTo>
                    <a:pt x="4124" y="1404"/>
                  </a:lnTo>
                  <a:lnTo>
                    <a:pt x="4122" y="1402"/>
                  </a:lnTo>
                  <a:lnTo>
                    <a:pt x="4122" y="1400"/>
                  </a:lnTo>
                  <a:lnTo>
                    <a:pt x="4122" y="1396"/>
                  </a:lnTo>
                  <a:lnTo>
                    <a:pt x="4120" y="1396"/>
                  </a:lnTo>
                  <a:lnTo>
                    <a:pt x="4120" y="1392"/>
                  </a:lnTo>
                  <a:lnTo>
                    <a:pt x="4118" y="1390"/>
                  </a:lnTo>
                  <a:lnTo>
                    <a:pt x="4118" y="1388"/>
                  </a:lnTo>
                  <a:lnTo>
                    <a:pt x="4116" y="1388"/>
                  </a:lnTo>
                  <a:lnTo>
                    <a:pt x="4116" y="1386"/>
                  </a:lnTo>
                  <a:lnTo>
                    <a:pt x="4114" y="1384"/>
                  </a:lnTo>
                  <a:lnTo>
                    <a:pt x="4112" y="1382"/>
                  </a:lnTo>
                  <a:lnTo>
                    <a:pt x="4112" y="1379"/>
                  </a:lnTo>
                  <a:lnTo>
                    <a:pt x="4110" y="1379"/>
                  </a:lnTo>
                  <a:lnTo>
                    <a:pt x="4110" y="1377"/>
                  </a:lnTo>
                  <a:lnTo>
                    <a:pt x="4110" y="1377"/>
                  </a:lnTo>
                  <a:lnTo>
                    <a:pt x="4110" y="1377"/>
                  </a:lnTo>
                  <a:lnTo>
                    <a:pt x="4110" y="1377"/>
                  </a:lnTo>
                  <a:lnTo>
                    <a:pt x="4108" y="1375"/>
                  </a:lnTo>
                  <a:lnTo>
                    <a:pt x="4108" y="1375"/>
                  </a:lnTo>
                  <a:lnTo>
                    <a:pt x="4106" y="1373"/>
                  </a:lnTo>
                  <a:lnTo>
                    <a:pt x="4106" y="1373"/>
                  </a:lnTo>
                  <a:lnTo>
                    <a:pt x="4106" y="1373"/>
                  </a:lnTo>
                  <a:lnTo>
                    <a:pt x="4104" y="1373"/>
                  </a:lnTo>
                  <a:lnTo>
                    <a:pt x="4104" y="1373"/>
                  </a:lnTo>
                  <a:lnTo>
                    <a:pt x="4104" y="1373"/>
                  </a:lnTo>
                  <a:lnTo>
                    <a:pt x="4101" y="1371"/>
                  </a:lnTo>
                  <a:lnTo>
                    <a:pt x="4099" y="1369"/>
                  </a:lnTo>
                  <a:lnTo>
                    <a:pt x="4099" y="1369"/>
                  </a:lnTo>
                  <a:lnTo>
                    <a:pt x="4099" y="1369"/>
                  </a:lnTo>
                  <a:lnTo>
                    <a:pt x="4097" y="1367"/>
                  </a:lnTo>
                  <a:lnTo>
                    <a:pt x="4095" y="1365"/>
                  </a:lnTo>
                  <a:lnTo>
                    <a:pt x="4093" y="1363"/>
                  </a:lnTo>
                  <a:lnTo>
                    <a:pt x="4091" y="1361"/>
                  </a:lnTo>
                  <a:lnTo>
                    <a:pt x="4089" y="1359"/>
                  </a:lnTo>
                  <a:lnTo>
                    <a:pt x="4085" y="1355"/>
                  </a:lnTo>
                  <a:lnTo>
                    <a:pt x="4083" y="1353"/>
                  </a:lnTo>
                  <a:lnTo>
                    <a:pt x="4083" y="1353"/>
                  </a:lnTo>
                  <a:lnTo>
                    <a:pt x="4085" y="1353"/>
                  </a:lnTo>
                  <a:lnTo>
                    <a:pt x="4085" y="1351"/>
                  </a:lnTo>
                  <a:lnTo>
                    <a:pt x="4085" y="1351"/>
                  </a:lnTo>
                  <a:lnTo>
                    <a:pt x="4083" y="1348"/>
                  </a:lnTo>
                  <a:lnTo>
                    <a:pt x="4081" y="1346"/>
                  </a:lnTo>
                  <a:lnTo>
                    <a:pt x="4079" y="1346"/>
                  </a:lnTo>
                  <a:lnTo>
                    <a:pt x="4079" y="1344"/>
                  </a:lnTo>
                  <a:lnTo>
                    <a:pt x="4077" y="1342"/>
                  </a:lnTo>
                  <a:lnTo>
                    <a:pt x="4075" y="1340"/>
                  </a:lnTo>
                  <a:lnTo>
                    <a:pt x="4075" y="1340"/>
                  </a:lnTo>
                  <a:lnTo>
                    <a:pt x="4075" y="1338"/>
                  </a:lnTo>
                  <a:lnTo>
                    <a:pt x="4075" y="1338"/>
                  </a:lnTo>
                  <a:lnTo>
                    <a:pt x="4073" y="1336"/>
                  </a:lnTo>
                  <a:lnTo>
                    <a:pt x="4073" y="1334"/>
                  </a:lnTo>
                  <a:lnTo>
                    <a:pt x="4073" y="1332"/>
                  </a:lnTo>
                  <a:lnTo>
                    <a:pt x="4075" y="1330"/>
                  </a:lnTo>
                  <a:lnTo>
                    <a:pt x="4075" y="1330"/>
                  </a:lnTo>
                  <a:lnTo>
                    <a:pt x="4075" y="1328"/>
                  </a:lnTo>
                  <a:lnTo>
                    <a:pt x="4075" y="1326"/>
                  </a:lnTo>
                  <a:lnTo>
                    <a:pt x="4077" y="1322"/>
                  </a:lnTo>
                  <a:lnTo>
                    <a:pt x="4079" y="1320"/>
                  </a:lnTo>
                  <a:lnTo>
                    <a:pt x="4081" y="1320"/>
                  </a:lnTo>
                  <a:lnTo>
                    <a:pt x="4083" y="1318"/>
                  </a:lnTo>
                  <a:lnTo>
                    <a:pt x="4085" y="1315"/>
                  </a:lnTo>
                  <a:lnTo>
                    <a:pt x="4085" y="1313"/>
                  </a:lnTo>
                  <a:lnTo>
                    <a:pt x="4085" y="1311"/>
                  </a:lnTo>
                  <a:lnTo>
                    <a:pt x="4089" y="1309"/>
                  </a:lnTo>
                  <a:lnTo>
                    <a:pt x="4089" y="1307"/>
                  </a:lnTo>
                  <a:lnTo>
                    <a:pt x="4087" y="1305"/>
                  </a:lnTo>
                  <a:lnTo>
                    <a:pt x="4087" y="1305"/>
                  </a:lnTo>
                  <a:lnTo>
                    <a:pt x="4087" y="1305"/>
                  </a:lnTo>
                  <a:lnTo>
                    <a:pt x="4089" y="1305"/>
                  </a:lnTo>
                  <a:lnTo>
                    <a:pt x="4089" y="1305"/>
                  </a:lnTo>
                  <a:lnTo>
                    <a:pt x="4091" y="1305"/>
                  </a:lnTo>
                  <a:lnTo>
                    <a:pt x="4091" y="1305"/>
                  </a:lnTo>
                  <a:lnTo>
                    <a:pt x="4091" y="1305"/>
                  </a:lnTo>
                  <a:lnTo>
                    <a:pt x="4091" y="1305"/>
                  </a:lnTo>
                  <a:lnTo>
                    <a:pt x="4093" y="1305"/>
                  </a:lnTo>
                  <a:lnTo>
                    <a:pt x="4093" y="1305"/>
                  </a:lnTo>
                  <a:lnTo>
                    <a:pt x="4093" y="1305"/>
                  </a:lnTo>
                  <a:lnTo>
                    <a:pt x="4097" y="1305"/>
                  </a:lnTo>
                  <a:lnTo>
                    <a:pt x="4097" y="1303"/>
                  </a:lnTo>
                  <a:lnTo>
                    <a:pt x="4097" y="1303"/>
                  </a:lnTo>
                  <a:lnTo>
                    <a:pt x="4097" y="1301"/>
                  </a:lnTo>
                  <a:lnTo>
                    <a:pt x="4099" y="1301"/>
                  </a:lnTo>
                  <a:lnTo>
                    <a:pt x="4101" y="1299"/>
                  </a:lnTo>
                  <a:lnTo>
                    <a:pt x="4101" y="1299"/>
                  </a:lnTo>
                  <a:lnTo>
                    <a:pt x="4104" y="1299"/>
                  </a:lnTo>
                  <a:lnTo>
                    <a:pt x="4106" y="1299"/>
                  </a:lnTo>
                  <a:lnTo>
                    <a:pt x="4106" y="1297"/>
                  </a:lnTo>
                  <a:lnTo>
                    <a:pt x="4108" y="1297"/>
                  </a:lnTo>
                  <a:lnTo>
                    <a:pt x="4108" y="1297"/>
                  </a:lnTo>
                  <a:lnTo>
                    <a:pt x="4110" y="1297"/>
                  </a:lnTo>
                  <a:lnTo>
                    <a:pt x="4110" y="1297"/>
                  </a:lnTo>
                  <a:lnTo>
                    <a:pt x="4112" y="1295"/>
                  </a:lnTo>
                  <a:lnTo>
                    <a:pt x="4112" y="1295"/>
                  </a:lnTo>
                  <a:lnTo>
                    <a:pt x="4112" y="1295"/>
                  </a:lnTo>
                  <a:lnTo>
                    <a:pt x="4112" y="1297"/>
                  </a:lnTo>
                  <a:lnTo>
                    <a:pt x="4114" y="1297"/>
                  </a:lnTo>
                  <a:lnTo>
                    <a:pt x="4114" y="1295"/>
                  </a:lnTo>
                  <a:lnTo>
                    <a:pt x="4114" y="1295"/>
                  </a:lnTo>
                  <a:lnTo>
                    <a:pt x="4114" y="1293"/>
                  </a:lnTo>
                  <a:lnTo>
                    <a:pt x="4114" y="1293"/>
                  </a:lnTo>
                  <a:lnTo>
                    <a:pt x="4114" y="1293"/>
                  </a:lnTo>
                  <a:lnTo>
                    <a:pt x="4116" y="1293"/>
                  </a:lnTo>
                  <a:lnTo>
                    <a:pt x="4114" y="1293"/>
                  </a:lnTo>
                  <a:lnTo>
                    <a:pt x="4116" y="1295"/>
                  </a:lnTo>
                  <a:lnTo>
                    <a:pt x="4116" y="1295"/>
                  </a:lnTo>
                  <a:lnTo>
                    <a:pt x="4116" y="1295"/>
                  </a:lnTo>
                  <a:lnTo>
                    <a:pt x="4118" y="1297"/>
                  </a:lnTo>
                  <a:lnTo>
                    <a:pt x="4118" y="1297"/>
                  </a:lnTo>
                  <a:lnTo>
                    <a:pt x="4120" y="1297"/>
                  </a:lnTo>
                  <a:lnTo>
                    <a:pt x="4120" y="1297"/>
                  </a:lnTo>
                  <a:lnTo>
                    <a:pt x="4122" y="1297"/>
                  </a:lnTo>
                  <a:lnTo>
                    <a:pt x="4122" y="1297"/>
                  </a:lnTo>
                  <a:lnTo>
                    <a:pt x="4122" y="1299"/>
                  </a:lnTo>
                  <a:lnTo>
                    <a:pt x="4122" y="1299"/>
                  </a:lnTo>
                  <a:lnTo>
                    <a:pt x="4122" y="1299"/>
                  </a:lnTo>
                  <a:lnTo>
                    <a:pt x="4124" y="1299"/>
                  </a:lnTo>
                  <a:lnTo>
                    <a:pt x="4126" y="1299"/>
                  </a:lnTo>
                  <a:lnTo>
                    <a:pt x="4126" y="1299"/>
                  </a:lnTo>
                  <a:lnTo>
                    <a:pt x="4128" y="1297"/>
                  </a:lnTo>
                  <a:lnTo>
                    <a:pt x="4128" y="1295"/>
                  </a:lnTo>
                  <a:lnTo>
                    <a:pt x="4128" y="1295"/>
                  </a:lnTo>
                  <a:lnTo>
                    <a:pt x="4128" y="1295"/>
                  </a:lnTo>
                  <a:lnTo>
                    <a:pt x="4130" y="1297"/>
                  </a:lnTo>
                  <a:lnTo>
                    <a:pt x="4130" y="1297"/>
                  </a:lnTo>
                  <a:lnTo>
                    <a:pt x="4130" y="1297"/>
                  </a:lnTo>
                  <a:lnTo>
                    <a:pt x="4132" y="1299"/>
                  </a:lnTo>
                  <a:lnTo>
                    <a:pt x="4134" y="1299"/>
                  </a:lnTo>
                  <a:lnTo>
                    <a:pt x="4134" y="1299"/>
                  </a:lnTo>
                  <a:lnTo>
                    <a:pt x="4132" y="1301"/>
                  </a:lnTo>
                  <a:lnTo>
                    <a:pt x="4130" y="1301"/>
                  </a:lnTo>
                  <a:lnTo>
                    <a:pt x="4130" y="1303"/>
                  </a:lnTo>
                  <a:lnTo>
                    <a:pt x="4130" y="1305"/>
                  </a:lnTo>
                  <a:lnTo>
                    <a:pt x="4130" y="1307"/>
                  </a:lnTo>
                  <a:lnTo>
                    <a:pt x="4130" y="1307"/>
                  </a:lnTo>
                  <a:lnTo>
                    <a:pt x="4130" y="1307"/>
                  </a:lnTo>
                  <a:lnTo>
                    <a:pt x="4130" y="1309"/>
                  </a:lnTo>
                  <a:lnTo>
                    <a:pt x="4132" y="1309"/>
                  </a:lnTo>
                  <a:lnTo>
                    <a:pt x="4132" y="1311"/>
                  </a:lnTo>
                  <a:lnTo>
                    <a:pt x="4132" y="1313"/>
                  </a:lnTo>
                  <a:lnTo>
                    <a:pt x="4134" y="1313"/>
                  </a:lnTo>
                  <a:lnTo>
                    <a:pt x="4134" y="1313"/>
                  </a:lnTo>
                  <a:lnTo>
                    <a:pt x="4134" y="1313"/>
                  </a:lnTo>
                  <a:lnTo>
                    <a:pt x="4134" y="1313"/>
                  </a:lnTo>
                  <a:lnTo>
                    <a:pt x="4132" y="1313"/>
                  </a:lnTo>
                  <a:lnTo>
                    <a:pt x="4132" y="1315"/>
                  </a:lnTo>
                  <a:lnTo>
                    <a:pt x="4134" y="1315"/>
                  </a:lnTo>
                  <a:lnTo>
                    <a:pt x="4137" y="1315"/>
                  </a:lnTo>
                  <a:lnTo>
                    <a:pt x="4139" y="1315"/>
                  </a:lnTo>
                  <a:lnTo>
                    <a:pt x="4141" y="1315"/>
                  </a:lnTo>
                  <a:lnTo>
                    <a:pt x="4141" y="1313"/>
                  </a:lnTo>
                  <a:lnTo>
                    <a:pt x="4143" y="1313"/>
                  </a:lnTo>
                  <a:lnTo>
                    <a:pt x="4143" y="1313"/>
                  </a:lnTo>
                  <a:lnTo>
                    <a:pt x="4139" y="1309"/>
                  </a:lnTo>
                  <a:lnTo>
                    <a:pt x="4139" y="1309"/>
                  </a:lnTo>
                  <a:lnTo>
                    <a:pt x="4141" y="1309"/>
                  </a:lnTo>
                  <a:lnTo>
                    <a:pt x="4141" y="1309"/>
                  </a:lnTo>
                  <a:lnTo>
                    <a:pt x="4141" y="1307"/>
                  </a:lnTo>
                  <a:lnTo>
                    <a:pt x="4137" y="1307"/>
                  </a:lnTo>
                  <a:lnTo>
                    <a:pt x="4137" y="1305"/>
                  </a:lnTo>
                  <a:lnTo>
                    <a:pt x="4137" y="1305"/>
                  </a:lnTo>
                  <a:lnTo>
                    <a:pt x="4139" y="1303"/>
                  </a:lnTo>
                  <a:lnTo>
                    <a:pt x="4141" y="1303"/>
                  </a:lnTo>
                  <a:lnTo>
                    <a:pt x="4141" y="1301"/>
                  </a:lnTo>
                  <a:lnTo>
                    <a:pt x="4141" y="1301"/>
                  </a:lnTo>
                  <a:lnTo>
                    <a:pt x="4141" y="1301"/>
                  </a:lnTo>
                  <a:lnTo>
                    <a:pt x="4141" y="1301"/>
                  </a:lnTo>
                  <a:lnTo>
                    <a:pt x="4143" y="1303"/>
                  </a:lnTo>
                  <a:lnTo>
                    <a:pt x="4143" y="1303"/>
                  </a:lnTo>
                  <a:lnTo>
                    <a:pt x="4145" y="1301"/>
                  </a:lnTo>
                  <a:lnTo>
                    <a:pt x="4145" y="1299"/>
                  </a:lnTo>
                  <a:lnTo>
                    <a:pt x="4147" y="1299"/>
                  </a:lnTo>
                  <a:lnTo>
                    <a:pt x="4149" y="1299"/>
                  </a:lnTo>
                  <a:lnTo>
                    <a:pt x="4149" y="1297"/>
                  </a:lnTo>
                  <a:lnTo>
                    <a:pt x="4149" y="1297"/>
                  </a:lnTo>
                  <a:lnTo>
                    <a:pt x="4151" y="1299"/>
                  </a:lnTo>
                  <a:lnTo>
                    <a:pt x="4151" y="1299"/>
                  </a:lnTo>
                  <a:lnTo>
                    <a:pt x="4153" y="1299"/>
                  </a:lnTo>
                  <a:lnTo>
                    <a:pt x="4153" y="1299"/>
                  </a:lnTo>
                  <a:lnTo>
                    <a:pt x="4155" y="1297"/>
                  </a:lnTo>
                  <a:lnTo>
                    <a:pt x="4157" y="1297"/>
                  </a:lnTo>
                  <a:lnTo>
                    <a:pt x="4159" y="1297"/>
                  </a:lnTo>
                  <a:lnTo>
                    <a:pt x="4159" y="1295"/>
                  </a:lnTo>
                  <a:lnTo>
                    <a:pt x="4159" y="1295"/>
                  </a:lnTo>
                  <a:lnTo>
                    <a:pt x="4161" y="1295"/>
                  </a:lnTo>
                  <a:lnTo>
                    <a:pt x="4161" y="1295"/>
                  </a:lnTo>
                  <a:lnTo>
                    <a:pt x="4161" y="1295"/>
                  </a:lnTo>
                  <a:lnTo>
                    <a:pt x="4163" y="1293"/>
                  </a:lnTo>
                  <a:lnTo>
                    <a:pt x="4163" y="1293"/>
                  </a:lnTo>
                  <a:lnTo>
                    <a:pt x="4165" y="1293"/>
                  </a:lnTo>
                  <a:lnTo>
                    <a:pt x="4165" y="1295"/>
                  </a:lnTo>
                  <a:lnTo>
                    <a:pt x="4167" y="1295"/>
                  </a:lnTo>
                  <a:lnTo>
                    <a:pt x="4167" y="1295"/>
                  </a:lnTo>
                  <a:lnTo>
                    <a:pt x="4169" y="1293"/>
                  </a:lnTo>
                  <a:lnTo>
                    <a:pt x="4169" y="1291"/>
                  </a:lnTo>
                  <a:lnTo>
                    <a:pt x="4167" y="1291"/>
                  </a:lnTo>
                  <a:lnTo>
                    <a:pt x="4169" y="1291"/>
                  </a:lnTo>
                  <a:lnTo>
                    <a:pt x="4169" y="1291"/>
                  </a:lnTo>
                  <a:lnTo>
                    <a:pt x="4169" y="1291"/>
                  </a:lnTo>
                  <a:lnTo>
                    <a:pt x="4169" y="1293"/>
                  </a:lnTo>
                  <a:lnTo>
                    <a:pt x="4169" y="1293"/>
                  </a:lnTo>
                  <a:lnTo>
                    <a:pt x="4172" y="1295"/>
                  </a:lnTo>
                  <a:lnTo>
                    <a:pt x="4172" y="1293"/>
                  </a:lnTo>
                  <a:lnTo>
                    <a:pt x="4172" y="1293"/>
                  </a:lnTo>
                  <a:lnTo>
                    <a:pt x="4174" y="1293"/>
                  </a:lnTo>
                  <a:lnTo>
                    <a:pt x="4176" y="1291"/>
                  </a:lnTo>
                  <a:lnTo>
                    <a:pt x="4176" y="1293"/>
                  </a:lnTo>
                  <a:lnTo>
                    <a:pt x="4178" y="1293"/>
                  </a:lnTo>
                  <a:lnTo>
                    <a:pt x="4178" y="1291"/>
                  </a:lnTo>
                  <a:lnTo>
                    <a:pt x="4178" y="1289"/>
                  </a:lnTo>
                  <a:lnTo>
                    <a:pt x="4178" y="1287"/>
                  </a:lnTo>
                  <a:lnTo>
                    <a:pt x="4180" y="1289"/>
                  </a:lnTo>
                  <a:lnTo>
                    <a:pt x="4182" y="1289"/>
                  </a:lnTo>
                  <a:lnTo>
                    <a:pt x="4182" y="1289"/>
                  </a:lnTo>
                  <a:lnTo>
                    <a:pt x="4182" y="1289"/>
                  </a:lnTo>
                  <a:lnTo>
                    <a:pt x="4184" y="1289"/>
                  </a:lnTo>
                  <a:lnTo>
                    <a:pt x="4184" y="1287"/>
                  </a:lnTo>
                  <a:lnTo>
                    <a:pt x="4186" y="1287"/>
                  </a:lnTo>
                  <a:lnTo>
                    <a:pt x="4186" y="1287"/>
                  </a:lnTo>
                  <a:lnTo>
                    <a:pt x="4186" y="1284"/>
                  </a:lnTo>
                  <a:lnTo>
                    <a:pt x="4186" y="1284"/>
                  </a:lnTo>
                  <a:lnTo>
                    <a:pt x="4186" y="1282"/>
                  </a:lnTo>
                  <a:lnTo>
                    <a:pt x="4184" y="1280"/>
                  </a:lnTo>
                  <a:lnTo>
                    <a:pt x="4184" y="1280"/>
                  </a:lnTo>
                  <a:lnTo>
                    <a:pt x="4184" y="1278"/>
                  </a:lnTo>
                  <a:lnTo>
                    <a:pt x="4182" y="1278"/>
                  </a:lnTo>
                  <a:lnTo>
                    <a:pt x="4182" y="1278"/>
                  </a:lnTo>
                  <a:lnTo>
                    <a:pt x="4182" y="1276"/>
                  </a:lnTo>
                  <a:lnTo>
                    <a:pt x="4184" y="1276"/>
                  </a:lnTo>
                  <a:lnTo>
                    <a:pt x="4184" y="1276"/>
                  </a:lnTo>
                  <a:lnTo>
                    <a:pt x="4184" y="1274"/>
                  </a:lnTo>
                  <a:lnTo>
                    <a:pt x="4184" y="1274"/>
                  </a:lnTo>
                  <a:lnTo>
                    <a:pt x="4186" y="1274"/>
                  </a:lnTo>
                  <a:lnTo>
                    <a:pt x="4186" y="1274"/>
                  </a:lnTo>
                  <a:lnTo>
                    <a:pt x="4186" y="1276"/>
                  </a:lnTo>
                  <a:lnTo>
                    <a:pt x="4186" y="1276"/>
                  </a:lnTo>
                  <a:lnTo>
                    <a:pt x="4186" y="1278"/>
                  </a:lnTo>
                  <a:lnTo>
                    <a:pt x="4186" y="1278"/>
                  </a:lnTo>
                  <a:lnTo>
                    <a:pt x="4188" y="1280"/>
                  </a:lnTo>
                  <a:lnTo>
                    <a:pt x="4190" y="1282"/>
                  </a:lnTo>
                  <a:lnTo>
                    <a:pt x="4190" y="1282"/>
                  </a:lnTo>
                  <a:lnTo>
                    <a:pt x="4192" y="1282"/>
                  </a:lnTo>
                  <a:lnTo>
                    <a:pt x="4192" y="1282"/>
                  </a:lnTo>
                  <a:lnTo>
                    <a:pt x="4190" y="1284"/>
                  </a:lnTo>
                  <a:lnTo>
                    <a:pt x="4190" y="1284"/>
                  </a:lnTo>
                  <a:lnTo>
                    <a:pt x="4190" y="1284"/>
                  </a:lnTo>
                  <a:lnTo>
                    <a:pt x="4192" y="1284"/>
                  </a:lnTo>
                  <a:lnTo>
                    <a:pt x="4194" y="1284"/>
                  </a:lnTo>
                  <a:lnTo>
                    <a:pt x="4196" y="1287"/>
                  </a:lnTo>
                  <a:lnTo>
                    <a:pt x="4196" y="1287"/>
                  </a:lnTo>
                  <a:lnTo>
                    <a:pt x="4196" y="1284"/>
                  </a:lnTo>
                  <a:lnTo>
                    <a:pt x="4196" y="1284"/>
                  </a:lnTo>
                  <a:lnTo>
                    <a:pt x="4196" y="1284"/>
                  </a:lnTo>
                  <a:lnTo>
                    <a:pt x="4196" y="1284"/>
                  </a:lnTo>
                  <a:lnTo>
                    <a:pt x="4196" y="1282"/>
                  </a:lnTo>
                  <a:lnTo>
                    <a:pt x="4196" y="1282"/>
                  </a:lnTo>
                  <a:lnTo>
                    <a:pt x="4196" y="1282"/>
                  </a:lnTo>
                  <a:lnTo>
                    <a:pt x="4198" y="1282"/>
                  </a:lnTo>
                  <a:lnTo>
                    <a:pt x="4198" y="1282"/>
                  </a:lnTo>
                  <a:lnTo>
                    <a:pt x="4200" y="1282"/>
                  </a:lnTo>
                  <a:lnTo>
                    <a:pt x="4200" y="1280"/>
                  </a:lnTo>
                  <a:lnTo>
                    <a:pt x="4200" y="1280"/>
                  </a:lnTo>
                  <a:lnTo>
                    <a:pt x="4200" y="1280"/>
                  </a:lnTo>
                  <a:lnTo>
                    <a:pt x="4200" y="1278"/>
                  </a:lnTo>
                  <a:lnTo>
                    <a:pt x="4202" y="1280"/>
                  </a:lnTo>
                  <a:lnTo>
                    <a:pt x="4202" y="1280"/>
                  </a:lnTo>
                  <a:lnTo>
                    <a:pt x="4205" y="1280"/>
                  </a:lnTo>
                  <a:lnTo>
                    <a:pt x="4205" y="1280"/>
                  </a:lnTo>
                  <a:lnTo>
                    <a:pt x="4205" y="1280"/>
                  </a:lnTo>
                  <a:lnTo>
                    <a:pt x="4207" y="1280"/>
                  </a:lnTo>
                  <a:lnTo>
                    <a:pt x="4207" y="1278"/>
                  </a:lnTo>
                  <a:lnTo>
                    <a:pt x="4209" y="1278"/>
                  </a:lnTo>
                  <a:lnTo>
                    <a:pt x="4211" y="1278"/>
                  </a:lnTo>
                  <a:lnTo>
                    <a:pt x="4211" y="1280"/>
                  </a:lnTo>
                  <a:lnTo>
                    <a:pt x="4213" y="1280"/>
                  </a:lnTo>
                  <a:lnTo>
                    <a:pt x="4213" y="1278"/>
                  </a:lnTo>
                  <a:lnTo>
                    <a:pt x="4215" y="1278"/>
                  </a:lnTo>
                  <a:lnTo>
                    <a:pt x="4215" y="1278"/>
                  </a:lnTo>
                  <a:lnTo>
                    <a:pt x="4217" y="1278"/>
                  </a:lnTo>
                  <a:lnTo>
                    <a:pt x="4219" y="1278"/>
                  </a:lnTo>
                  <a:lnTo>
                    <a:pt x="4221" y="1278"/>
                  </a:lnTo>
                  <a:lnTo>
                    <a:pt x="4223" y="1278"/>
                  </a:lnTo>
                  <a:lnTo>
                    <a:pt x="4223" y="1276"/>
                  </a:lnTo>
                  <a:lnTo>
                    <a:pt x="4223" y="1276"/>
                  </a:lnTo>
                  <a:lnTo>
                    <a:pt x="4223" y="1276"/>
                  </a:lnTo>
                  <a:lnTo>
                    <a:pt x="4225" y="1276"/>
                  </a:lnTo>
                  <a:lnTo>
                    <a:pt x="4227" y="1276"/>
                  </a:lnTo>
                  <a:lnTo>
                    <a:pt x="4227" y="1276"/>
                  </a:lnTo>
                  <a:lnTo>
                    <a:pt x="4227" y="1272"/>
                  </a:lnTo>
                  <a:lnTo>
                    <a:pt x="4229" y="1272"/>
                  </a:lnTo>
                  <a:lnTo>
                    <a:pt x="4229" y="1272"/>
                  </a:lnTo>
                  <a:lnTo>
                    <a:pt x="4229" y="1272"/>
                  </a:lnTo>
                  <a:lnTo>
                    <a:pt x="4229" y="1270"/>
                  </a:lnTo>
                  <a:lnTo>
                    <a:pt x="4229" y="1270"/>
                  </a:lnTo>
                  <a:lnTo>
                    <a:pt x="4231" y="1270"/>
                  </a:lnTo>
                  <a:lnTo>
                    <a:pt x="4231" y="1270"/>
                  </a:lnTo>
                  <a:lnTo>
                    <a:pt x="4233" y="1268"/>
                  </a:lnTo>
                  <a:lnTo>
                    <a:pt x="4233" y="1266"/>
                  </a:lnTo>
                  <a:lnTo>
                    <a:pt x="4235" y="1266"/>
                  </a:lnTo>
                  <a:lnTo>
                    <a:pt x="4235" y="1268"/>
                  </a:lnTo>
                  <a:lnTo>
                    <a:pt x="4238" y="1266"/>
                  </a:lnTo>
                  <a:lnTo>
                    <a:pt x="4238" y="1266"/>
                  </a:lnTo>
                  <a:lnTo>
                    <a:pt x="4240" y="1266"/>
                  </a:lnTo>
                  <a:lnTo>
                    <a:pt x="4240" y="1266"/>
                  </a:lnTo>
                  <a:lnTo>
                    <a:pt x="4240" y="1266"/>
                  </a:lnTo>
                  <a:lnTo>
                    <a:pt x="4240" y="1266"/>
                  </a:lnTo>
                  <a:lnTo>
                    <a:pt x="4240" y="1266"/>
                  </a:lnTo>
                  <a:lnTo>
                    <a:pt x="4242" y="1264"/>
                  </a:lnTo>
                  <a:lnTo>
                    <a:pt x="4242" y="1264"/>
                  </a:lnTo>
                  <a:lnTo>
                    <a:pt x="4240" y="1264"/>
                  </a:lnTo>
                  <a:lnTo>
                    <a:pt x="4242" y="1264"/>
                  </a:lnTo>
                  <a:lnTo>
                    <a:pt x="4244" y="1264"/>
                  </a:lnTo>
                  <a:lnTo>
                    <a:pt x="4244" y="1264"/>
                  </a:lnTo>
                  <a:lnTo>
                    <a:pt x="4244" y="1262"/>
                  </a:lnTo>
                  <a:lnTo>
                    <a:pt x="4246" y="1260"/>
                  </a:lnTo>
                  <a:lnTo>
                    <a:pt x="4246" y="1260"/>
                  </a:lnTo>
                  <a:lnTo>
                    <a:pt x="4248" y="1260"/>
                  </a:lnTo>
                  <a:lnTo>
                    <a:pt x="4250" y="1258"/>
                  </a:lnTo>
                  <a:lnTo>
                    <a:pt x="4250" y="1256"/>
                  </a:lnTo>
                  <a:lnTo>
                    <a:pt x="4250" y="1256"/>
                  </a:lnTo>
                  <a:lnTo>
                    <a:pt x="4248" y="1256"/>
                  </a:lnTo>
                  <a:lnTo>
                    <a:pt x="4246" y="1254"/>
                  </a:lnTo>
                  <a:lnTo>
                    <a:pt x="4246" y="1254"/>
                  </a:lnTo>
                  <a:lnTo>
                    <a:pt x="4248" y="1254"/>
                  </a:lnTo>
                  <a:lnTo>
                    <a:pt x="4248" y="1254"/>
                  </a:lnTo>
                  <a:lnTo>
                    <a:pt x="4248" y="1254"/>
                  </a:lnTo>
                  <a:lnTo>
                    <a:pt x="4250" y="1251"/>
                  </a:lnTo>
                  <a:lnTo>
                    <a:pt x="4250" y="1251"/>
                  </a:lnTo>
                  <a:lnTo>
                    <a:pt x="4252" y="1251"/>
                  </a:lnTo>
                  <a:lnTo>
                    <a:pt x="4252" y="1251"/>
                  </a:lnTo>
                  <a:lnTo>
                    <a:pt x="4254" y="1251"/>
                  </a:lnTo>
                  <a:lnTo>
                    <a:pt x="4256" y="1251"/>
                  </a:lnTo>
                  <a:lnTo>
                    <a:pt x="4258" y="1251"/>
                  </a:lnTo>
                  <a:lnTo>
                    <a:pt x="4258" y="1249"/>
                  </a:lnTo>
                  <a:lnTo>
                    <a:pt x="4258" y="1249"/>
                  </a:lnTo>
                  <a:lnTo>
                    <a:pt x="4258" y="1249"/>
                  </a:lnTo>
                  <a:lnTo>
                    <a:pt x="4258" y="1247"/>
                  </a:lnTo>
                  <a:lnTo>
                    <a:pt x="4258" y="1247"/>
                  </a:lnTo>
                  <a:lnTo>
                    <a:pt x="4260" y="1247"/>
                  </a:lnTo>
                  <a:lnTo>
                    <a:pt x="4262" y="1247"/>
                  </a:lnTo>
                  <a:lnTo>
                    <a:pt x="4262" y="1245"/>
                  </a:lnTo>
                  <a:lnTo>
                    <a:pt x="4262" y="1243"/>
                  </a:lnTo>
                  <a:lnTo>
                    <a:pt x="4262" y="1243"/>
                  </a:lnTo>
                  <a:lnTo>
                    <a:pt x="4264" y="1243"/>
                  </a:lnTo>
                  <a:lnTo>
                    <a:pt x="4266" y="1243"/>
                  </a:lnTo>
                  <a:lnTo>
                    <a:pt x="4266" y="1243"/>
                  </a:lnTo>
                  <a:lnTo>
                    <a:pt x="4266" y="1241"/>
                  </a:lnTo>
                  <a:lnTo>
                    <a:pt x="4264" y="1241"/>
                  </a:lnTo>
                  <a:lnTo>
                    <a:pt x="4264" y="1239"/>
                  </a:lnTo>
                  <a:lnTo>
                    <a:pt x="4266" y="1239"/>
                  </a:lnTo>
                  <a:lnTo>
                    <a:pt x="4266" y="1239"/>
                  </a:lnTo>
                  <a:lnTo>
                    <a:pt x="4268" y="1239"/>
                  </a:lnTo>
                  <a:lnTo>
                    <a:pt x="4268" y="1239"/>
                  </a:lnTo>
                  <a:lnTo>
                    <a:pt x="4271" y="1239"/>
                  </a:lnTo>
                  <a:lnTo>
                    <a:pt x="4271" y="1241"/>
                  </a:lnTo>
                  <a:lnTo>
                    <a:pt x="4273" y="1239"/>
                  </a:lnTo>
                  <a:lnTo>
                    <a:pt x="4273" y="1239"/>
                  </a:lnTo>
                  <a:lnTo>
                    <a:pt x="4271" y="1237"/>
                  </a:lnTo>
                  <a:lnTo>
                    <a:pt x="4271" y="1235"/>
                  </a:lnTo>
                  <a:lnTo>
                    <a:pt x="4273" y="1233"/>
                  </a:lnTo>
                  <a:lnTo>
                    <a:pt x="4273" y="1231"/>
                  </a:lnTo>
                  <a:lnTo>
                    <a:pt x="4273" y="1231"/>
                  </a:lnTo>
                  <a:lnTo>
                    <a:pt x="4271" y="1231"/>
                  </a:lnTo>
                  <a:lnTo>
                    <a:pt x="4268" y="1231"/>
                  </a:lnTo>
                  <a:lnTo>
                    <a:pt x="4268" y="1231"/>
                  </a:lnTo>
                  <a:lnTo>
                    <a:pt x="4266" y="1231"/>
                  </a:lnTo>
                  <a:lnTo>
                    <a:pt x="4264" y="1229"/>
                  </a:lnTo>
                  <a:lnTo>
                    <a:pt x="4266" y="1229"/>
                  </a:lnTo>
                  <a:lnTo>
                    <a:pt x="4266" y="1229"/>
                  </a:lnTo>
                  <a:lnTo>
                    <a:pt x="4268" y="1231"/>
                  </a:lnTo>
                  <a:lnTo>
                    <a:pt x="4271" y="1231"/>
                  </a:lnTo>
                  <a:lnTo>
                    <a:pt x="4271" y="1229"/>
                  </a:lnTo>
                  <a:lnTo>
                    <a:pt x="4273" y="1227"/>
                  </a:lnTo>
                  <a:lnTo>
                    <a:pt x="4275" y="1227"/>
                  </a:lnTo>
                  <a:lnTo>
                    <a:pt x="4275" y="1225"/>
                  </a:lnTo>
                  <a:lnTo>
                    <a:pt x="4275" y="1225"/>
                  </a:lnTo>
                  <a:lnTo>
                    <a:pt x="4275" y="1225"/>
                  </a:lnTo>
                  <a:lnTo>
                    <a:pt x="4275" y="1225"/>
                  </a:lnTo>
                  <a:lnTo>
                    <a:pt x="4275" y="1223"/>
                  </a:lnTo>
                  <a:lnTo>
                    <a:pt x="4273" y="1220"/>
                  </a:lnTo>
                  <a:lnTo>
                    <a:pt x="4273" y="1220"/>
                  </a:lnTo>
                  <a:lnTo>
                    <a:pt x="4273" y="1220"/>
                  </a:lnTo>
                  <a:lnTo>
                    <a:pt x="4271" y="1220"/>
                  </a:lnTo>
                  <a:lnTo>
                    <a:pt x="4271" y="1218"/>
                  </a:lnTo>
                  <a:lnTo>
                    <a:pt x="4273" y="1218"/>
                  </a:lnTo>
                  <a:lnTo>
                    <a:pt x="4273" y="1220"/>
                  </a:lnTo>
                  <a:lnTo>
                    <a:pt x="4275" y="1218"/>
                  </a:lnTo>
                  <a:lnTo>
                    <a:pt x="4275" y="1218"/>
                  </a:lnTo>
                  <a:lnTo>
                    <a:pt x="4275" y="1218"/>
                  </a:lnTo>
                  <a:lnTo>
                    <a:pt x="4275" y="1218"/>
                  </a:lnTo>
                  <a:lnTo>
                    <a:pt x="4275" y="1218"/>
                  </a:lnTo>
                  <a:lnTo>
                    <a:pt x="4275" y="1220"/>
                  </a:lnTo>
                  <a:lnTo>
                    <a:pt x="4275" y="1220"/>
                  </a:lnTo>
                  <a:lnTo>
                    <a:pt x="4275" y="1220"/>
                  </a:lnTo>
                  <a:lnTo>
                    <a:pt x="4277" y="1223"/>
                  </a:lnTo>
                  <a:lnTo>
                    <a:pt x="4279" y="1220"/>
                  </a:lnTo>
                  <a:lnTo>
                    <a:pt x="4279" y="1220"/>
                  </a:lnTo>
                  <a:lnTo>
                    <a:pt x="4279" y="1218"/>
                  </a:lnTo>
                  <a:lnTo>
                    <a:pt x="4279" y="1216"/>
                  </a:lnTo>
                  <a:lnTo>
                    <a:pt x="4281" y="1214"/>
                  </a:lnTo>
                  <a:lnTo>
                    <a:pt x="4283" y="1212"/>
                  </a:lnTo>
                  <a:lnTo>
                    <a:pt x="4283" y="1212"/>
                  </a:lnTo>
                  <a:lnTo>
                    <a:pt x="4285" y="1210"/>
                  </a:lnTo>
                  <a:lnTo>
                    <a:pt x="4285" y="1210"/>
                  </a:lnTo>
                  <a:lnTo>
                    <a:pt x="4287" y="1208"/>
                  </a:lnTo>
                  <a:lnTo>
                    <a:pt x="4285" y="1206"/>
                  </a:lnTo>
                  <a:lnTo>
                    <a:pt x="4287" y="1206"/>
                  </a:lnTo>
                  <a:lnTo>
                    <a:pt x="4287" y="1204"/>
                  </a:lnTo>
                  <a:lnTo>
                    <a:pt x="4287" y="1204"/>
                  </a:lnTo>
                  <a:lnTo>
                    <a:pt x="4289" y="1202"/>
                  </a:lnTo>
                  <a:lnTo>
                    <a:pt x="4289" y="1202"/>
                  </a:lnTo>
                  <a:lnTo>
                    <a:pt x="4289" y="1200"/>
                  </a:lnTo>
                  <a:lnTo>
                    <a:pt x="4287" y="1200"/>
                  </a:lnTo>
                  <a:lnTo>
                    <a:pt x="4289" y="1200"/>
                  </a:lnTo>
                  <a:lnTo>
                    <a:pt x="4289" y="1200"/>
                  </a:lnTo>
                  <a:lnTo>
                    <a:pt x="4291" y="1200"/>
                  </a:lnTo>
                  <a:lnTo>
                    <a:pt x="4291" y="1198"/>
                  </a:lnTo>
                  <a:lnTo>
                    <a:pt x="4293" y="1196"/>
                  </a:lnTo>
                  <a:lnTo>
                    <a:pt x="4293" y="1196"/>
                  </a:lnTo>
                  <a:lnTo>
                    <a:pt x="4295" y="1196"/>
                  </a:lnTo>
                  <a:lnTo>
                    <a:pt x="4295" y="1198"/>
                  </a:lnTo>
                  <a:lnTo>
                    <a:pt x="4297" y="1196"/>
                  </a:lnTo>
                  <a:lnTo>
                    <a:pt x="4299" y="1196"/>
                  </a:lnTo>
                  <a:lnTo>
                    <a:pt x="4299" y="1196"/>
                  </a:lnTo>
                  <a:lnTo>
                    <a:pt x="4299" y="1194"/>
                  </a:lnTo>
                  <a:lnTo>
                    <a:pt x="4299" y="1192"/>
                  </a:lnTo>
                  <a:lnTo>
                    <a:pt x="4297" y="1189"/>
                  </a:lnTo>
                  <a:lnTo>
                    <a:pt x="4299" y="1189"/>
                  </a:lnTo>
                  <a:lnTo>
                    <a:pt x="4299" y="1189"/>
                  </a:lnTo>
                  <a:lnTo>
                    <a:pt x="4301" y="1187"/>
                  </a:lnTo>
                  <a:lnTo>
                    <a:pt x="4301" y="1187"/>
                  </a:lnTo>
                  <a:lnTo>
                    <a:pt x="4299" y="1185"/>
                  </a:lnTo>
                  <a:lnTo>
                    <a:pt x="4301" y="1185"/>
                  </a:lnTo>
                  <a:lnTo>
                    <a:pt x="4301" y="1185"/>
                  </a:lnTo>
                  <a:lnTo>
                    <a:pt x="4301" y="1185"/>
                  </a:lnTo>
                  <a:lnTo>
                    <a:pt x="4299" y="1183"/>
                  </a:lnTo>
                  <a:lnTo>
                    <a:pt x="4297" y="1183"/>
                  </a:lnTo>
                  <a:lnTo>
                    <a:pt x="4299" y="1181"/>
                  </a:lnTo>
                  <a:lnTo>
                    <a:pt x="4299" y="1181"/>
                  </a:lnTo>
                  <a:lnTo>
                    <a:pt x="4301" y="1181"/>
                  </a:lnTo>
                  <a:lnTo>
                    <a:pt x="4301" y="1181"/>
                  </a:lnTo>
                  <a:lnTo>
                    <a:pt x="4304" y="1181"/>
                  </a:lnTo>
                  <a:lnTo>
                    <a:pt x="4304" y="1183"/>
                  </a:lnTo>
                  <a:lnTo>
                    <a:pt x="4304" y="1183"/>
                  </a:lnTo>
                  <a:lnTo>
                    <a:pt x="4306" y="1177"/>
                  </a:lnTo>
                  <a:lnTo>
                    <a:pt x="4306" y="1175"/>
                  </a:lnTo>
                  <a:lnTo>
                    <a:pt x="4304" y="1175"/>
                  </a:lnTo>
                  <a:lnTo>
                    <a:pt x="4304" y="1175"/>
                  </a:lnTo>
                  <a:lnTo>
                    <a:pt x="4301" y="1177"/>
                  </a:lnTo>
                  <a:lnTo>
                    <a:pt x="4299" y="1177"/>
                  </a:lnTo>
                  <a:lnTo>
                    <a:pt x="4299" y="1177"/>
                  </a:lnTo>
                  <a:lnTo>
                    <a:pt x="4301" y="1175"/>
                  </a:lnTo>
                  <a:lnTo>
                    <a:pt x="4304" y="1173"/>
                  </a:lnTo>
                  <a:lnTo>
                    <a:pt x="4308" y="1171"/>
                  </a:lnTo>
                  <a:lnTo>
                    <a:pt x="4306" y="1171"/>
                  </a:lnTo>
                  <a:lnTo>
                    <a:pt x="4306" y="1171"/>
                  </a:lnTo>
                  <a:lnTo>
                    <a:pt x="4304" y="1171"/>
                  </a:lnTo>
                  <a:lnTo>
                    <a:pt x="4301" y="1169"/>
                  </a:lnTo>
                  <a:lnTo>
                    <a:pt x="4297" y="1167"/>
                  </a:lnTo>
                  <a:lnTo>
                    <a:pt x="4297" y="1165"/>
                  </a:lnTo>
                  <a:lnTo>
                    <a:pt x="4295" y="1165"/>
                  </a:lnTo>
                  <a:lnTo>
                    <a:pt x="4293" y="1165"/>
                  </a:lnTo>
                  <a:lnTo>
                    <a:pt x="4289" y="1167"/>
                  </a:lnTo>
                  <a:lnTo>
                    <a:pt x="4287" y="1167"/>
                  </a:lnTo>
                  <a:lnTo>
                    <a:pt x="4285" y="1165"/>
                  </a:lnTo>
                  <a:lnTo>
                    <a:pt x="4283" y="1165"/>
                  </a:lnTo>
                  <a:lnTo>
                    <a:pt x="4281" y="1165"/>
                  </a:lnTo>
                  <a:lnTo>
                    <a:pt x="4281" y="1165"/>
                  </a:lnTo>
                  <a:lnTo>
                    <a:pt x="4281" y="1165"/>
                  </a:lnTo>
                  <a:lnTo>
                    <a:pt x="4281" y="1165"/>
                  </a:lnTo>
                  <a:lnTo>
                    <a:pt x="4283" y="1163"/>
                  </a:lnTo>
                  <a:lnTo>
                    <a:pt x="4287" y="1163"/>
                  </a:lnTo>
                  <a:lnTo>
                    <a:pt x="4289" y="1165"/>
                  </a:lnTo>
                  <a:lnTo>
                    <a:pt x="4289" y="1163"/>
                  </a:lnTo>
                  <a:lnTo>
                    <a:pt x="4291" y="1163"/>
                  </a:lnTo>
                  <a:lnTo>
                    <a:pt x="4291" y="1161"/>
                  </a:lnTo>
                  <a:lnTo>
                    <a:pt x="4295" y="1159"/>
                  </a:lnTo>
                  <a:lnTo>
                    <a:pt x="4297" y="1156"/>
                  </a:lnTo>
                  <a:lnTo>
                    <a:pt x="4299" y="1156"/>
                  </a:lnTo>
                  <a:lnTo>
                    <a:pt x="4301" y="1156"/>
                  </a:lnTo>
                  <a:lnTo>
                    <a:pt x="4301" y="1156"/>
                  </a:lnTo>
                  <a:lnTo>
                    <a:pt x="4304" y="1154"/>
                  </a:lnTo>
                  <a:lnTo>
                    <a:pt x="4304" y="1152"/>
                  </a:lnTo>
                  <a:lnTo>
                    <a:pt x="4304" y="1152"/>
                  </a:lnTo>
                  <a:lnTo>
                    <a:pt x="4301" y="1148"/>
                  </a:lnTo>
                  <a:lnTo>
                    <a:pt x="4297" y="1146"/>
                  </a:lnTo>
                  <a:lnTo>
                    <a:pt x="4295" y="1144"/>
                  </a:lnTo>
                  <a:lnTo>
                    <a:pt x="4293" y="1142"/>
                  </a:lnTo>
                  <a:lnTo>
                    <a:pt x="4291" y="1142"/>
                  </a:lnTo>
                  <a:lnTo>
                    <a:pt x="4289" y="1142"/>
                  </a:lnTo>
                  <a:lnTo>
                    <a:pt x="4287" y="1140"/>
                  </a:lnTo>
                  <a:lnTo>
                    <a:pt x="4287" y="1138"/>
                  </a:lnTo>
                  <a:lnTo>
                    <a:pt x="4285" y="1138"/>
                  </a:lnTo>
                  <a:lnTo>
                    <a:pt x="4283" y="1140"/>
                  </a:lnTo>
                  <a:lnTo>
                    <a:pt x="4281" y="1140"/>
                  </a:lnTo>
                  <a:lnTo>
                    <a:pt x="4277" y="1140"/>
                  </a:lnTo>
                  <a:lnTo>
                    <a:pt x="4279" y="1138"/>
                  </a:lnTo>
                  <a:lnTo>
                    <a:pt x="4279" y="1138"/>
                  </a:lnTo>
                  <a:lnTo>
                    <a:pt x="4281" y="1138"/>
                  </a:lnTo>
                  <a:lnTo>
                    <a:pt x="4285" y="1136"/>
                  </a:lnTo>
                  <a:lnTo>
                    <a:pt x="4287" y="1138"/>
                  </a:lnTo>
                  <a:lnTo>
                    <a:pt x="4289" y="1138"/>
                  </a:lnTo>
                  <a:lnTo>
                    <a:pt x="4291" y="1140"/>
                  </a:lnTo>
                  <a:lnTo>
                    <a:pt x="4293" y="1140"/>
                  </a:lnTo>
                  <a:lnTo>
                    <a:pt x="4295" y="1140"/>
                  </a:lnTo>
                  <a:lnTo>
                    <a:pt x="4297" y="1140"/>
                  </a:lnTo>
                  <a:lnTo>
                    <a:pt x="4301" y="1142"/>
                  </a:lnTo>
                  <a:lnTo>
                    <a:pt x="4301" y="1142"/>
                  </a:lnTo>
                  <a:lnTo>
                    <a:pt x="4304" y="1142"/>
                  </a:lnTo>
                  <a:lnTo>
                    <a:pt x="4304" y="1142"/>
                  </a:lnTo>
                  <a:lnTo>
                    <a:pt x="4304" y="1140"/>
                  </a:lnTo>
                  <a:lnTo>
                    <a:pt x="4301" y="1138"/>
                  </a:lnTo>
                  <a:lnTo>
                    <a:pt x="4301" y="1138"/>
                  </a:lnTo>
                  <a:lnTo>
                    <a:pt x="4299" y="1136"/>
                  </a:lnTo>
                  <a:lnTo>
                    <a:pt x="4297" y="1136"/>
                  </a:lnTo>
                  <a:lnTo>
                    <a:pt x="4297" y="1136"/>
                  </a:lnTo>
                  <a:lnTo>
                    <a:pt x="4297" y="1132"/>
                  </a:lnTo>
                  <a:lnTo>
                    <a:pt x="4297" y="1132"/>
                  </a:lnTo>
                  <a:lnTo>
                    <a:pt x="4295" y="1132"/>
                  </a:lnTo>
                  <a:lnTo>
                    <a:pt x="4291" y="1130"/>
                  </a:lnTo>
                  <a:lnTo>
                    <a:pt x="4289" y="1128"/>
                  </a:lnTo>
                  <a:lnTo>
                    <a:pt x="4289" y="1125"/>
                  </a:lnTo>
                  <a:lnTo>
                    <a:pt x="4289" y="1125"/>
                  </a:lnTo>
                  <a:lnTo>
                    <a:pt x="4289" y="1121"/>
                  </a:lnTo>
                  <a:lnTo>
                    <a:pt x="4287" y="1119"/>
                  </a:lnTo>
                  <a:lnTo>
                    <a:pt x="4287" y="1115"/>
                  </a:lnTo>
                  <a:lnTo>
                    <a:pt x="4285" y="1113"/>
                  </a:lnTo>
                  <a:lnTo>
                    <a:pt x="4285" y="1111"/>
                  </a:lnTo>
                  <a:lnTo>
                    <a:pt x="4283" y="1109"/>
                  </a:lnTo>
                  <a:lnTo>
                    <a:pt x="4281" y="1105"/>
                  </a:lnTo>
                  <a:lnTo>
                    <a:pt x="4281" y="1103"/>
                  </a:lnTo>
                  <a:lnTo>
                    <a:pt x="4281" y="1101"/>
                  </a:lnTo>
                  <a:lnTo>
                    <a:pt x="4277" y="1099"/>
                  </a:lnTo>
                  <a:lnTo>
                    <a:pt x="4275" y="1099"/>
                  </a:lnTo>
                  <a:lnTo>
                    <a:pt x="4271" y="1097"/>
                  </a:lnTo>
                  <a:lnTo>
                    <a:pt x="4268" y="1095"/>
                  </a:lnTo>
                  <a:lnTo>
                    <a:pt x="4268" y="1095"/>
                  </a:lnTo>
                  <a:lnTo>
                    <a:pt x="4266" y="1095"/>
                  </a:lnTo>
                  <a:lnTo>
                    <a:pt x="4264" y="1092"/>
                  </a:lnTo>
                  <a:lnTo>
                    <a:pt x="4266" y="1090"/>
                  </a:lnTo>
                  <a:lnTo>
                    <a:pt x="4268" y="1088"/>
                  </a:lnTo>
                  <a:lnTo>
                    <a:pt x="4268" y="1086"/>
                  </a:lnTo>
                  <a:lnTo>
                    <a:pt x="4271" y="1084"/>
                  </a:lnTo>
                  <a:lnTo>
                    <a:pt x="4273" y="1084"/>
                  </a:lnTo>
                  <a:lnTo>
                    <a:pt x="4273" y="1082"/>
                  </a:lnTo>
                  <a:lnTo>
                    <a:pt x="4275" y="1080"/>
                  </a:lnTo>
                  <a:lnTo>
                    <a:pt x="4275" y="1080"/>
                  </a:lnTo>
                  <a:lnTo>
                    <a:pt x="4277" y="1080"/>
                  </a:lnTo>
                  <a:lnTo>
                    <a:pt x="4277" y="1078"/>
                  </a:lnTo>
                  <a:lnTo>
                    <a:pt x="4277" y="1078"/>
                  </a:lnTo>
                  <a:lnTo>
                    <a:pt x="4279" y="1076"/>
                  </a:lnTo>
                  <a:lnTo>
                    <a:pt x="4281" y="1076"/>
                  </a:lnTo>
                  <a:lnTo>
                    <a:pt x="4281" y="1076"/>
                  </a:lnTo>
                  <a:lnTo>
                    <a:pt x="4281" y="1074"/>
                  </a:lnTo>
                  <a:lnTo>
                    <a:pt x="4279" y="1074"/>
                  </a:lnTo>
                  <a:lnTo>
                    <a:pt x="4279" y="1072"/>
                  </a:lnTo>
                  <a:lnTo>
                    <a:pt x="4279" y="1072"/>
                  </a:lnTo>
                  <a:lnTo>
                    <a:pt x="4281" y="1072"/>
                  </a:lnTo>
                  <a:lnTo>
                    <a:pt x="4281" y="1072"/>
                  </a:lnTo>
                  <a:lnTo>
                    <a:pt x="4283" y="1072"/>
                  </a:lnTo>
                  <a:lnTo>
                    <a:pt x="4283" y="1072"/>
                  </a:lnTo>
                  <a:lnTo>
                    <a:pt x="4283" y="1074"/>
                  </a:lnTo>
                  <a:lnTo>
                    <a:pt x="4283" y="1074"/>
                  </a:lnTo>
                  <a:lnTo>
                    <a:pt x="4283" y="1074"/>
                  </a:lnTo>
                  <a:lnTo>
                    <a:pt x="4285" y="1074"/>
                  </a:lnTo>
                  <a:lnTo>
                    <a:pt x="4287" y="1072"/>
                  </a:lnTo>
                  <a:lnTo>
                    <a:pt x="4287" y="1072"/>
                  </a:lnTo>
                  <a:lnTo>
                    <a:pt x="4287" y="1070"/>
                  </a:lnTo>
                  <a:lnTo>
                    <a:pt x="4287" y="1068"/>
                  </a:lnTo>
                  <a:lnTo>
                    <a:pt x="4289" y="1068"/>
                  </a:lnTo>
                  <a:lnTo>
                    <a:pt x="4289" y="1068"/>
                  </a:lnTo>
                  <a:lnTo>
                    <a:pt x="4289" y="1068"/>
                  </a:lnTo>
                  <a:lnTo>
                    <a:pt x="4289" y="1068"/>
                  </a:lnTo>
                  <a:lnTo>
                    <a:pt x="4289" y="1066"/>
                  </a:lnTo>
                  <a:lnTo>
                    <a:pt x="4289" y="1066"/>
                  </a:lnTo>
                  <a:lnTo>
                    <a:pt x="4289" y="1064"/>
                  </a:lnTo>
                  <a:lnTo>
                    <a:pt x="4289" y="1064"/>
                  </a:lnTo>
                  <a:lnTo>
                    <a:pt x="4291" y="1066"/>
                  </a:lnTo>
                  <a:lnTo>
                    <a:pt x="4293" y="1066"/>
                  </a:lnTo>
                  <a:lnTo>
                    <a:pt x="4293" y="1064"/>
                  </a:lnTo>
                  <a:lnTo>
                    <a:pt x="4297" y="1064"/>
                  </a:lnTo>
                  <a:lnTo>
                    <a:pt x="4301" y="1061"/>
                  </a:lnTo>
                  <a:lnTo>
                    <a:pt x="4306" y="1059"/>
                  </a:lnTo>
                  <a:lnTo>
                    <a:pt x="4306" y="1059"/>
                  </a:lnTo>
                  <a:lnTo>
                    <a:pt x="4308" y="1059"/>
                  </a:lnTo>
                  <a:lnTo>
                    <a:pt x="4308" y="1059"/>
                  </a:lnTo>
                  <a:lnTo>
                    <a:pt x="4310" y="1059"/>
                  </a:lnTo>
                  <a:lnTo>
                    <a:pt x="4310" y="1061"/>
                  </a:lnTo>
                  <a:lnTo>
                    <a:pt x="4310" y="1061"/>
                  </a:lnTo>
                  <a:lnTo>
                    <a:pt x="4310" y="1061"/>
                  </a:lnTo>
                  <a:lnTo>
                    <a:pt x="4312" y="1059"/>
                  </a:lnTo>
                  <a:lnTo>
                    <a:pt x="4314" y="1059"/>
                  </a:lnTo>
                  <a:lnTo>
                    <a:pt x="4314" y="1059"/>
                  </a:lnTo>
                  <a:lnTo>
                    <a:pt x="4312" y="1057"/>
                  </a:lnTo>
                  <a:lnTo>
                    <a:pt x="4312" y="1057"/>
                  </a:lnTo>
                  <a:lnTo>
                    <a:pt x="4314" y="1055"/>
                  </a:lnTo>
                  <a:lnTo>
                    <a:pt x="4314" y="1055"/>
                  </a:lnTo>
                  <a:lnTo>
                    <a:pt x="4314" y="1053"/>
                  </a:lnTo>
                  <a:lnTo>
                    <a:pt x="4316" y="1051"/>
                  </a:lnTo>
                  <a:lnTo>
                    <a:pt x="4314" y="1051"/>
                  </a:lnTo>
                  <a:lnTo>
                    <a:pt x="4312" y="1051"/>
                  </a:lnTo>
                  <a:lnTo>
                    <a:pt x="4310" y="1051"/>
                  </a:lnTo>
                  <a:lnTo>
                    <a:pt x="4308" y="1051"/>
                  </a:lnTo>
                  <a:lnTo>
                    <a:pt x="4308" y="1049"/>
                  </a:lnTo>
                  <a:lnTo>
                    <a:pt x="4306" y="1049"/>
                  </a:lnTo>
                  <a:lnTo>
                    <a:pt x="4306" y="1051"/>
                  </a:lnTo>
                  <a:lnTo>
                    <a:pt x="4306" y="1051"/>
                  </a:lnTo>
                  <a:lnTo>
                    <a:pt x="4304" y="1051"/>
                  </a:lnTo>
                  <a:lnTo>
                    <a:pt x="4301" y="1051"/>
                  </a:lnTo>
                  <a:lnTo>
                    <a:pt x="4299" y="1049"/>
                  </a:lnTo>
                  <a:lnTo>
                    <a:pt x="4297" y="1049"/>
                  </a:lnTo>
                  <a:lnTo>
                    <a:pt x="4295" y="1049"/>
                  </a:lnTo>
                  <a:lnTo>
                    <a:pt x="4291" y="1047"/>
                  </a:lnTo>
                  <a:lnTo>
                    <a:pt x="4287" y="1045"/>
                  </a:lnTo>
                  <a:lnTo>
                    <a:pt x="4283" y="1047"/>
                  </a:lnTo>
                  <a:lnTo>
                    <a:pt x="4281" y="1047"/>
                  </a:lnTo>
                  <a:lnTo>
                    <a:pt x="4281" y="1047"/>
                  </a:lnTo>
                  <a:lnTo>
                    <a:pt x="4281" y="1047"/>
                  </a:lnTo>
                  <a:lnTo>
                    <a:pt x="4281" y="1049"/>
                  </a:lnTo>
                  <a:lnTo>
                    <a:pt x="4279" y="1051"/>
                  </a:lnTo>
                  <a:lnTo>
                    <a:pt x="4275" y="1053"/>
                  </a:lnTo>
                  <a:lnTo>
                    <a:pt x="4275" y="1053"/>
                  </a:lnTo>
                  <a:lnTo>
                    <a:pt x="4275" y="1055"/>
                  </a:lnTo>
                  <a:lnTo>
                    <a:pt x="4275" y="1055"/>
                  </a:lnTo>
                  <a:lnTo>
                    <a:pt x="4268" y="1057"/>
                  </a:lnTo>
                  <a:lnTo>
                    <a:pt x="4266" y="1055"/>
                  </a:lnTo>
                  <a:lnTo>
                    <a:pt x="4264" y="1055"/>
                  </a:lnTo>
                  <a:lnTo>
                    <a:pt x="4262" y="1053"/>
                  </a:lnTo>
                  <a:lnTo>
                    <a:pt x="4262" y="1053"/>
                  </a:lnTo>
                  <a:lnTo>
                    <a:pt x="4262" y="1051"/>
                  </a:lnTo>
                  <a:lnTo>
                    <a:pt x="4262" y="1047"/>
                  </a:lnTo>
                  <a:lnTo>
                    <a:pt x="4264" y="1047"/>
                  </a:lnTo>
                  <a:lnTo>
                    <a:pt x="4264" y="1047"/>
                  </a:lnTo>
                  <a:lnTo>
                    <a:pt x="4264" y="1047"/>
                  </a:lnTo>
                  <a:lnTo>
                    <a:pt x="4264" y="1045"/>
                  </a:lnTo>
                  <a:lnTo>
                    <a:pt x="4264" y="1045"/>
                  </a:lnTo>
                  <a:lnTo>
                    <a:pt x="4264" y="1043"/>
                  </a:lnTo>
                  <a:lnTo>
                    <a:pt x="4262" y="1041"/>
                  </a:lnTo>
                  <a:lnTo>
                    <a:pt x="4260" y="1041"/>
                  </a:lnTo>
                  <a:lnTo>
                    <a:pt x="4258" y="1041"/>
                  </a:lnTo>
                  <a:lnTo>
                    <a:pt x="4256" y="1041"/>
                  </a:lnTo>
                  <a:lnTo>
                    <a:pt x="4250" y="1039"/>
                  </a:lnTo>
                  <a:lnTo>
                    <a:pt x="4246" y="1037"/>
                  </a:lnTo>
                  <a:lnTo>
                    <a:pt x="4244" y="1035"/>
                  </a:lnTo>
                  <a:lnTo>
                    <a:pt x="4242" y="1033"/>
                  </a:lnTo>
                  <a:lnTo>
                    <a:pt x="4242" y="1031"/>
                  </a:lnTo>
                  <a:lnTo>
                    <a:pt x="4244" y="1028"/>
                  </a:lnTo>
                  <a:lnTo>
                    <a:pt x="4246" y="1024"/>
                  </a:lnTo>
                  <a:lnTo>
                    <a:pt x="4246" y="1022"/>
                  </a:lnTo>
                  <a:lnTo>
                    <a:pt x="4250" y="1022"/>
                  </a:lnTo>
                  <a:lnTo>
                    <a:pt x="4250" y="1022"/>
                  </a:lnTo>
                  <a:lnTo>
                    <a:pt x="4252" y="1024"/>
                  </a:lnTo>
                  <a:lnTo>
                    <a:pt x="4256" y="1024"/>
                  </a:lnTo>
                  <a:lnTo>
                    <a:pt x="4258" y="1022"/>
                  </a:lnTo>
                  <a:lnTo>
                    <a:pt x="4260" y="1022"/>
                  </a:lnTo>
                  <a:lnTo>
                    <a:pt x="4260" y="1022"/>
                  </a:lnTo>
                  <a:lnTo>
                    <a:pt x="4262" y="1022"/>
                  </a:lnTo>
                  <a:lnTo>
                    <a:pt x="4262" y="1022"/>
                  </a:lnTo>
                  <a:lnTo>
                    <a:pt x="4264" y="1022"/>
                  </a:lnTo>
                  <a:lnTo>
                    <a:pt x="4266" y="1018"/>
                  </a:lnTo>
                  <a:lnTo>
                    <a:pt x="4266" y="1016"/>
                  </a:lnTo>
                  <a:lnTo>
                    <a:pt x="4268" y="1014"/>
                  </a:lnTo>
                  <a:lnTo>
                    <a:pt x="4268" y="1014"/>
                  </a:lnTo>
                  <a:lnTo>
                    <a:pt x="4271" y="1010"/>
                  </a:lnTo>
                  <a:lnTo>
                    <a:pt x="4275" y="1010"/>
                  </a:lnTo>
                  <a:lnTo>
                    <a:pt x="4283" y="1006"/>
                  </a:lnTo>
                  <a:lnTo>
                    <a:pt x="4285" y="1006"/>
                  </a:lnTo>
                  <a:lnTo>
                    <a:pt x="4289" y="1000"/>
                  </a:lnTo>
                  <a:lnTo>
                    <a:pt x="4289" y="997"/>
                  </a:lnTo>
                  <a:lnTo>
                    <a:pt x="4291" y="997"/>
                  </a:lnTo>
                  <a:lnTo>
                    <a:pt x="4291" y="997"/>
                  </a:lnTo>
                  <a:lnTo>
                    <a:pt x="4293" y="995"/>
                  </a:lnTo>
                  <a:lnTo>
                    <a:pt x="4293" y="993"/>
                  </a:lnTo>
                  <a:lnTo>
                    <a:pt x="4299" y="995"/>
                  </a:lnTo>
                  <a:lnTo>
                    <a:pt x="4299" y="995"/>
                  </a:lnTo>
                  <a:lnTo>
                    <a:pt x="4301" y="995"/>
                  </a:lnTo>
                  <a:lnTo>
                    <a:pt x="4301" y="995"/>
                  </a:lnTo>
                  <a:lnTo>
                    <a:pt x="4304" y="993"/>
                  </a:lnTo>
                  <a:lnTo>
                    <a:pt x="4304" y="993"/>
                  </a:lnTo>
                  <a:lnTo>
                    <a:pt x="4304" y="995"/>
                  </a:lnTo>
                  <a:lnTo>
                    <a:pt x="4308" y="997"/>
                  </a:lnTo>
                  <a:lnTo>
                    <a:pt x="4308" y="1000"/>
                  </a:lnTo>
                  <a:lnTo>
                    <a:pt x="4310" y="1000"/>
                  </a:lnTo>
                  <a:lnTo>
                    <a:pt x="4310" y="1002"/>
                  </a:lnTo>
                  <a:lnTo>
                    <a:pt x="4308" y="1002"/>
                  </a:lnTo>
                  <a:lnTo>
                    <a:pt x="4308" y="1004"/>
                  </a:lnTo>
                  <a:lnTo>
                    <a:pt x="4306" y="1008"/>
                  </a:lnTo>
                  <a:lnTo>
                    <a:pt x="4304" y="1008"/>
                  </a:lnTo>
                  <a:lnTo>
                    <a:pt x="4304" y="1010"/>
                  </a:lnTo>
                  <a:lnTo>
                    <a:pt x="4299" y="1012"/>
                  </a:lnTo>
                  <a:lnTo>
                    <a:pt x="4297" y="1014"/>
                  </a:lnTo>
                  <a:lnTo>
                    <a:pt x="4299" y="1014"/>
                  </a:lnTo>
                  <a:lnTo>
                    <a:pt x="4299" y="1016"/>
                  </a:lnTo>
                  <a:lnTo>
                    <a:pt x="4297" y="1016"/>
                  </a:lnTo>
                  <a:lnTo>
                    <a:pt x="4297" y="1016"/>
                  </a:lnTo>
                  <a:lnTo>
                    <a:pt x="4295" y="1016"/>
                  </a:lnTo>
                  <a:lnTo>
                    <a:pt x="4295" y="1018"/>
                  </a:lnTo>
                  <a:lnTo>
                    <a:pt x="4295" y="1018"/>
                  </a:lnTo>
                  <a:lnTo>
                    <a:pt x="4295" y="1020"/>
                  </a:lnTo>
                  <a:lnTo>
                    <a:pt x="4297" y="1020"/>
                  </a:lnTo>
                  <a:lnTo>
                    <a:pt x="4299" y="1020"/>
                  </a:lnTo>
                  <a:lnTo>
                    <a:pt x="4304" y="1018"/>
                  </a:lnTo>
                  <a:lnTo>
                    <a:pt x="4304" y="1020"/>
                  </a:lnTo>
                  <a:lnTo>
                    <a:pt x="4301" y="1020"/>
                  </a:lnTo>
                  <a:lnTo>
                    <a:pt x="4301" y="1022"/>
                  </a:lnTo>
                  <a:lnTo>
                    <a:pt x="4299" y="1022"/>
                  </a:lnTo>
                  <a:lnTo>
                    <a:pt x="4301" y="1024"/>
                  </a:lnTo>
                  <a:lnTo>
                    <a:pt x="4295" y="1026"/>
                  </a:lnTo>
                  <a:lnTo>
                    <a:pt x="4293" y="1026"/>
                  </a:lnTo>
                  <a:lnTo>
                    <a:pt x="4293" y="1026"/>
                  </a:lnTo>
                  <a:lnTo>
                    <a:pt x="4293" y="1028"/>
                  </a:lnTo>
                  <a:lnTo>
                    <a:pt x="4293" y="1031"/>
                  </a:lnTo>
                  <a:lnTo>
                    <a:pt x="4295" y="1031"/>
                  </a:lnTo>
                  <a:lnTo>
                    <a:pt x="4295" y="1031"/>
                  </a:lnTo>
                  <a:lnTo>
                    <a:pt x="4295" y="1028"/>
                  </a:lnTo>
                  <a:lnTo>
                    <a:pt x="4299" y="1028"/>
                  </a:lnTo>
                  <a:lnTo>
                    <a:pt x="4301" y="1028"/>
                  </a:lnTo>
                  <a:lnTo>
                    <a:pt x="4301" y="1028"/>
                  </a:lnTo>
                  <a:lnTo>
                    <a:pt x="4301" y="1026"/>
                  </a:lnTo>
                  <a:lnTo>
                    <a:pt x="4301" y="1026"/>
                  </a:lnTo>
                  <a:lnTo>
                    <a:pt x="4301" y="1026"/>
                  </a:lnTo>
                  <a:lnTo>
                    <a:pt x="4304" y="1026"/>
                  </a:lnTo>
                  <a:lnTo>
                    <a:pt x="4304" y="1026"/>
                  </a:lnTo>
                  <a:lnTo>
                    <a:pt x="4306" y="1024"/>
                  </a:lnTo>
                  <a:lnTo>
                    <a:pt x="4306" y="1024"/>
                  </a:lnTo>
                  <a:lnTo>
                    <a:pt x="4306" y="1024"/>
                  </a:lnTo>
                  <a:lnTo>
                    <a:pt x="4308" y="1022"/>
                  </a:lnTo>
                  <a:lnTo>
                    <a:pt x="4310" y="1022"/>
                  </a:lnTo>
                  <a:lnTo>
                    <a:pt x="4310" y="1020"/>
                  </a:lnTo>
                  <a:lnTo>
                    <a:pt x="4318" y="1016"/>
                  </a:lnTo>
                  <a:lnTo>
                    <a:pt x="4320" y="1016"/>
                  </a:lnTo>
                  <a:lnTo>
                    <a:pt x="4320" y="1014"/>
                  </a:lnTo>
                  <a:lnTo>
                    <a:pt x="4324" y="1014"/>
                  </a:lnTo>
                  <a:lnTo>
                    <a:pt x="4324" y="1014"/>
                  </a:lnTo>
                  <a:lnTo>
                    <a:pt x="4324" y="1014"/>
                  </a:lnTo>
                  <a:lnTo>
                    <a:pt x="4326" y="1014"/>
                  </a:lnTo>
                  <a:lnTo>
                    <a:pt x="4328" y="1012"/>
                  </a:lnTo>
                  <a:lnTo>
                    <a:pt x="4328" y="1012"/>
                  </a:lnTo>
                  <a:lnTo>
                    <a:pt x="4328" y="1012"/>
                  </a:lnTo>
                  <a:lnTo>
                    <a:pt x="4330" y="1012"/>
                  </a:lnTo>
                  <a:lnTo>
                    <a:pt x="4337" y="1012"/>
                  </a:lnTo>
                  <a:lnTo>
                    <a:pt x="4339" y="1010"/>
                  </a:lnTo>
                  <a:lnTo>
                    <a:pt x="4339" y="1010"/>
                  </a:lnTo>
                  <a:lnTo>
                    <a:pt x="4339" y="1010"/>
                  </a:lnTo>
                  <a:lnTo>
                    <a:pt x="4339" y="1010"/>
                  </a:lnTo>
                  <a:lnTo>
                    <a:pt x="4339" y="1010"/>
                  </a:lnTo>
                  <a:lnTo>
                    <a:pt x="4341" y="1012"/>
                  </a:lnTo>
                  <a:lnTo>
                    <a:pt x="4343" y="1012"/>
                  </a:lnTo>
                  <a:lnTo>
                    <a:pt x="4343" y="1014"/>
                  </a:lnTo>
                  <a:lnTo>
                    <a:pt x="4343" y="1016"/>
                  </a:lnTo>
                  <a:lnTo>
                    <a:pt x="4345" y="1016"/>
                  </a:lnTo>
                  <a:lnTo>
                    <a:pt x="4345" y="1014"/>
                  </a:lnTo>
                  <a:lnTo>
                    <a:pt x="4345" y="1014"/>
                  </a:lnTo>
                  <a:lnTo>
                    <a:pt x="4345" y="1014"/>
                  </a:lnTo>
                  <a:lnTo>
                    <a:pt x="4347" y="1014"/>
                  </a:lnTo>
                  <a:lnTo>
                    <a:pt x="4351" y="1016"/>
                  </a:lnTo>
                  <a:lnTo>
                    <a:pt x="4351" y="1016"/>
                  </a:lnTo>
                  <a:lnTo>
                    <a:pt x="4353" y="1016"/>
                  </a:lnTo>
                  <a:lnTo>
                    <a:pt x="4353" y="1018"/>
                  </a:lnTo>
                  <a:lnTo>
                    <a:pt x="4355" y="1020"/>
                  </a:lnTo>
                  <a:lnTo>
                    <a:pt x="4355" y="1020"/>
                  </a:lnTo>
                  <a:lnTo>
                    <a:pt x="4351" y="1028"/>
                  </a:lnTo>
                  <a:lnTo>
                    <a:pt x="4351" y="1028"/>
                  </a:lnTo>
                  <a:lnTo>
                    <a:pt x="4353" y="1031"/>
                  </a:lnTo>
                  <a:lnTo>
                    <a:pt x="4355" y="1031"/>
                  </a:lnTo>
                  <a:lnTo>
                    <a:pt x="4355" y="1031"/>
                  </a:lnTo>
                  <a:lnTo>
                    <a:pt x="4357" y="1031"/>
                  </a:lnTo>
                  <a:lnTo>
                    <a:pt x="4355" y="1031"/>
                  </a:lnTo>
                  <a:lnTo>
                    <a:pt x="4355" y="1031"/>
                  </a:lnTo>
                  <a:lnTo>
                    <a:pt x="4353" y="1031"/>
                  </a:lnTo>
                  <a:lnTo>
                    <a:pt x="4349" y="1033"/>
                  </a:lnTo>
                  <a:lnTo>
                    <a:pt x="4349" y="1035"/>
                  </a:lnTo>
                  <a:lnTo>
                    <a:pt x="4347" y="1037"/>
                  </a:lnTo>
                  <a:lnTo>
                    <a:pt x="4347" y="1037"/>
                  </a:lnTo>
                  <a:lnTo>
                    <a:pt x="4347" y="1039"/>
                  </a:lnTo>
                  <a:lnTo>
                    <a:pt x="4345" y="1041"/>
                  </a:lnTo>
                  <a:lnTo>
                    <a:pt x="4345" y="1041"/>
                  </a:lnTo>
                  <a:lnTo>
                    <a:pt x="4347" y="1041"/>
                  </a:lnTo>
                  <a:lnTo>
                    <a:pt x="4349" y="1041"/>
                  </a:lnTo>
                  <a:lnTo>
                    <a:pt x="4351" y="1041"/>
                  </a:lnTo>
                  <a:lnTo>
                    <a:pt x="4351" y="1041"/>
                  </a:lnTo>
                  <a:lnTo>
                    <a:pt x="4353" y="1041"/>
                  </a:lnTo>
                  <a:lnTo>
                    <a:pt x="4351" y="1041"/>
                  </a:lnTo>
                  <a:lnTo>
                    <a:pt x="4349" y="1043"/>
                  </a:lnTo>
                  <a:lnTo>
                    <a:pt x="4349" y="1043"/>
                  </a:lnTo>
                  <a:lnTo>
                    <a:pt x="4351" y="1045"/>
                  </a:lnTo>
                  <a:lnTo>
                    <a:pt x="4353" y="1045"/>
                  </a:lnTo>
                  <a:lnTo>
                    <a:pt x="4353" y="1047"/>
                  </a:lnTo>
                  <a:lnTo>
                    <a:pt x="4353" y="1047"/>
                  </a:lnTo>
                  <a:lnTo>
                    <a:pt x="4355" y="1047"/>
                  </a:lnTo>
                  <a:lnTo>
                    <a:pt x="4355" y="1047"/>
                  </a:lnTo>
                  <a:lnTo>
                    <a:pt x="4357" y="1045"/>
                  </a:lnTo>
                  <a:lnTo>
                    <a:pt x="4357" y="1043"/>
                  </a:lnTo>
                  <a:lnTo>
                    <a:pt x="4359" y="1043"/>
                  </a:lnTo>
                  <a:lnTo>
                    <a:pt x="4359" y="1043"/>
                  </a:lnTo>
                  <a:lnTo>
                    <a:pt x="4361" y="1045"/>
                  </a:lnTo>
                  <a:lnTo>
                    <a:pt x="4363" y="1045"/>
                  </a:lnTo>
                  <a:lnTo>
                    <a:pt x="4365" y="1047"/>
                  </a:lnTo>
                  <a:lnTo>
                    <a:pt x="4365" y="1047"/>
                  </a:lnTo>
                  <a:lnTo>
                    <a:pt x="4365" y="1045"/>
                  </a:lnTo>
                  <a:lnTo>
                    <a:pt x="4367" y="1045"/>
                  </a:lnTo>
                  <a:lnTo>
                    <a:pt x="4372" y="1045"/>
                  </a:lnTo>
                  <a:lnTo>
                    <a:pt x="4372" y="1045"/>
                  </a:lnTo>
                  <a:lnTo>
                    <a:pt x="4372" y="1045"/>
                  </a:lnTo>
                  <a:lnTo>
                    <a:pt x="4372" y="1047"/>
                  </a:lnTo>
                  <a:lnTo>
                    <a:pt x="4372" y="1047"/>
                  </a:lnTo>
                  <a:lnTo>
                    <a:pt x="4372" y="1047"/>
                  </a:lnTo>
                  <a:lnTo>
                    <a:pt x="4372" y="1047"/>
                  </a:lnTo>
                  <a:lnTo>
                    <a:pt x="4372" y="1049"/>
                  </a:lnTo>
                  <a:lnTo>
                    <a:pt x="4372" y="1049"/>
                  </a:lnTo>
                  <a:lnTo>
                    <a:pt x="4372" y="1051"/>
                  </a:lnTo>
                  <a:lnTo>
                    <a:pt x="4374" y="1051"/>
                  </a:lnTo>
                  <a:lnTo>
                    <a:pt x="4374" y="1053"/>
                  </a:lnTo>
                  <a:lnTo>
                    <a:pt x="4374" y="1055"/>
                  </a:lnTo>
                  <a:lnTo>
                    <a:pt x="4374" y="1055"/>
                  </a:lnTo>
                  <a:lnTo>
                    <a:pt x="4374" y="1057"/>
                  </a:lnTo>
                  <a:lnTo>
                    <a:pt x="4376" y="1059"/>
                  </a:lnTo>
                  <a:lnTo>
                    <a:pt x="4376" y="1059"/>
                  </a:lnTo>
                  <a:lnTo>
                    <a:pt x="4376" y="1059"/>
                  </a:lnTo>
                  <a:lnTo>
                    <a:pt x="4376" y="1059"/>
                  </a:lnTo>
                  <a:lnTo>
                    <a:pt x="4376" y="1061"/>
                  </a:lnTo>
                  <a:lnTo>
                    <a:pt x="4376" y="1061"/>
                  </a:lnTo>
                  <a:lnTo>
                    <a:pt x="4376" y="1061"/>
                  </a:lnTo>
                  <a:lnTo>
                    <a:pt x="4374" y="1059"/>
                  </a:lnTo>
                  <a:lnTo>
                    <a:pt x="4372" y="1059"/>
                  </a:lnTo>
                  <a:lnTo>
                    <a:pt x="4372" y="1057"/>
                  </a:lnTo>
                  <a:lnTo>
                    <a:pt x="4370" y="1057"/>
                  </a:lnTo>
                  <a:lnTo>
                    <a:pt x="4370" y="1059"/>
                  </a:lnTo>
                  <a:lnTo>
                    <a:pt x="4367" y="1059"/>
                  </a:lnTo>
                  <a:lnTo>
                    <a:pt x="4365" y="1061"/>
                  </a:lnTo>
                  <a:lnTo>
                    <a:pt x="4365" y="1061"/>
                  </a:lnTo>
                  <a:lnTo>
                    <a:pt x="4365" y="1064"/>
                  </a:lnTo>
                  <a:lnTo>
                    <a:pt x="4365" y="1064"/>
                  </a:lnTo>
                  <a:lnTo>
                    <a:pt x="4367" y="1064"/>
                  </a:lnTo>
                  <a:lnTo>
                    <a:pt x="4370" y="1064"/>
                  </a:lnTo>
                  <a:lnTo>
                    <a:pt x="4370" y="1064"/>
                  </a:lnTo>
                  <a:lnTo>
                    <a:pt x="4370" y="1066"/>
                  </a:lnTo>
                  <a:lnTo>
                    <a:pt x="4372" y="1068"/>
                  </a:lnTo>
                  <a:lnTo>
                    <a:pt x="4372" y="1068"/>
                  </a:lnTo>
                  <a:lnTo>
                    <a:pt x="4370" y="1070"/>
                  </a:lnTo>
                  <a:lnTo>
                    <a:pt x="4372" y="1072"/>
                  </a:lnTo>
                  <a:lnTo>
                    <a:pt x="4370" y="1072"/>
                  </a:lnTo>
                  <a:lnTo>
                    <a:pt x="4372" y="1074"/>
                  </a:lnTo>
                  <a:lnTo>
                    <a:pt x="4372" y="1074"/>
                  </a:lnTo>
                  <a:lnTo>
                    <a:pt x="4374" y="1074"/>
                  </a:lnTo>
                  <a:lnTo>
                    <a:pt x="4372" y="1076"/>
                  </a:lnTo>
                  <a:lnTo>
                    <a:pt x="4372" y="1076"/>
                  </a:lnTo>
                  <a:lnTo>
                    <a:pt x="4374" y="1076"/>
                  </a:lnTo>
                  <a:lnTo>
                    <a:pt x="4374" y="1076"/>
                  </a:lnTo>
                  <a:lnTo>
                    <a:pt x="4374" y="1078"/>
                  </a:lnTo>
                  <a:lnTo>
                    <a:pt x="4372" y="1080"/>
                  </a:lnTo>
                  <a:lnTo>
                    <a:pt x="4370" y="1080"/>
                  </a:lnTo>
                  <a:lnTo>
                    <a:pt x="4370" y="1080"/>
                  </a:lnTo>
                  <a:lnTo>
                    <a:pt x="4370" y="1080"/>
                  </a:lnTo>
                  <a:lnTo>
                    <a:pt x="4372" y="1082"/>
                  </a:lnTo>
                  <a:lnTo>
                    <a:pt x="4372" y="1082"/>
                  </a:lnTo>
                  <a:lnTo>
                    <a:pt x="4372" y="1082"/>
                  </a:lnTo>
                  <a:lnTo>
                    <a:pt x="4370" y="1082"/>
                  </a:lnTo>
                  <a:lnTo>
                    <a:pt x="4370" y="1084"/>
                  </a:lnTo>
                  <a:lnTo>
                    <a:pt x="4367" y="1086"/>
                  </a:lnTo>
                  <a:lnTo>
                    <a:pt x="4367" y="1086"/>
                  </a:lnTo>
                  <a:lnTo>
                    <a:pt x="4367" y="1088"/>
                  </a:lnTo>
                  <a:lnTo>
                    <a:pt x="4367" y="1090"/>
                  </a:lnTo>
                  <a:lnTo>
                    <a:pt x="4367" y="1092"/>
                  </a:lnTo>
                  <a:lnTo>
                    <a:pt x="4370" y="1095"/>
                  </a:lnTo>
                  <a:lnTo>
                    <a:pt x="4370" y="1095"/>
                  </a:lnTo>
                  <a:lnTo>
                    <a:pt x="4372" y="1092"/>
                  </a:lnTo>
                  <a:lnTo>
                    <a:pt x="4372" y="1095"/>
                  </a:lnTo>
                  <a:lnTo>
                    <a:pt x="4370" y="1095"/>
                  </a:lnTo>
                  <a:lnTo>
                    <a:pt x="4370" y="1095"/>
                  </a:lnTo>
                  <a:lnTo>
                    <a:pt x="4370" y="1095"/>
                  </a:lnTo>
                  <a:lnTo>
                    <a:pt x="4370" y="1097"/>
                  </a:lnTo>
                  <a:lnTo>
                    <a:pt x="4370" y="1097"/>
                  </a:lnTo>
                  <a:lnTo>
                    <a:pt x="4367" y="1095"/>
                  </a:lnTo>
                  <a:lnTo>
                    <a:pt x="4367" y="1097"/>
                  </a:lnTo>
                  <a:lnTo>
                    <a:pt x="4367" y="1097"/>
                  </a:lnTo>
                  <a:lnTo>
                    <a:pt x="4370" y="1099"/>
                  </a:lnTo>
                  <a:lnTo>
                    <a:pt x="4370" y="1101"/>
                  </a:lnTo>
                  <a:lnTo>
                    <a:pt x="4370" y="1101"/>
                  </a:lnTo>
                  <a:lnTo>
                    <a:pt x="4370" y="1101"/>
                  </a:lnTo>
                  <a:lnTo>
                    <a:pt x="4372" y="1101"/>
                  </a:lnTo>
                  <a:lnTo>
                    <a:pt x="4372" y="1101"/>
                  </a:lnTo>
                  <a:lnTo>
                    <a:pt x="4374" y="1099"/>
                  </a:lnTo>
                  <a:lnTo>
                    <a:pt x="4374" y="1099"/>
                  </a:lnTo>
                  <a:lnTo>
                    <a:pt x="4374" y="1099"/>
                  </a:lnTo>
                  <a:lnTo>
                    <a:pt x="4376" y="1101"/>
                  </a:lnTo>
                  <a:lnTo>
                    <a:pt x="4378" y="1097"/>
                  </a:lnTo>
                  <a:lnTo>
                    <a:pt x="4380" y="1095"/>
                  </a:lnTo>
                  <a:lnTo>
                    <a:pt x="4382" y="1095"/>
                  </a:lnTo>
                  <a:lnTo>
                    <a:pt x="4380" y="1097"/>
                  </a:lnTo>
                  <a:lnTo>
                    <a:pt x="4380" y="1097"/>
                  </a:lnTo>
                  <a:lnTo>
                    <a:pt x="4380" y="1099"/>
                  </a:lnTo>
                  <a:lnTo>
                    <a:pt x="4382" y="1099"/>
                  </a:lnTo>
                  <a:lnTo>
                    <a:pt x="4382" y="1099"/>
                  </a:lnTo>
                  <a:lnTo>
                    <a:pt x="4382" y="1099"/>
                  </a:lnTo>
                  <a:lnTo>
                    <a:pt x="4384" y="1097"/>
                  </a:lnTo>
                  <a:lnTo>
                    <a:pt x="4384" y="1097"/>
                  </a:lnTo>
                  <a:lnTo>
                    <a:pt x="4382" y="1095"/>
                  </a:lnTo>
                  <a:lnTo>
                    <a:pt x="4382" y="1095"/>
                  </a:lnTo>
                  <a:lnTo>
                    <a:pt x="4384" y="1092"/>
                  </a:lnTo>
                  <a:lnTo>
                    <a:pt x="4384" y="1092"/>
                  </a:lnTo>
                  <a:lnTo>
                    <a:pt x="4386" y="1095"/>
                  </a:lnTo>
                  <a:lnTo>
                    <a:pt x="4386" y="1097"/>
                  </a:lnTo>
                  <a:lnTo>
                    <a:pt x="4388" y="1095"/>
                  </a:lnTo>
                  <a:lnTo>
                    <a:pt x="4388" y="1095"/>
                  </a:lnTo>
                  <a:lnTo>
                    <a:pt x="4386" y="1092"/>
                  </a:lnTo>
                  <a:lnTo>
                    <a:pt x="4386" y="1092"/>
                  </a:lnTo>
                  <a:lnTo>
                    <a:pt x="4386" y="1092"/>
                  </a:lnTo>
                  <a:lnTo>
                    <a:pt x="4388" y="1092"/>
                  </a:lnTo>
                  <a:lnTo>
                    <a:pt x="4390" y="1090"/>
                  </a:lnTo>
                  <a:lnTo>
                    <a:pt x="4390" y="1090"/>
                  </a:lnTo>
                  <a:lnTo>
                    <a:pt x="4392" y="1090"/>
                  </a:lnTo>
                  <a:lnTo>
                    <a:pt x="4392" y="1092"/>
                  </a:lnTo>
                  <a:lnTo>
                    <a:pt x="4394" y="1092"/>
                  </a:lnTo>
                  <a:lnTo>
                    <a:pt x="4394" y="1092"/>
                  </a:lnTo>
                  <a:lnTo>
                    <a:pt x="4396" y="1092"/>
                  </a:lnTo>
                  <a:lnTo>
                    <a:pt x="4398" y="1092"/>
                  </a:lnTo>
                  <a:lnTo>
                    <a:pt x="4398" y="1092"/>
                  </a:lnTo>
                  <a:lnTo>
                    <a:pt x="4396" y="1090"/>
                  </a:lnTo>
                  <a:lnTo>
                    <a:pt x="4398" y="1090"/>
                  </a:lnTo>
                  <a:lnTo>
                    <a:pt x="4398" y="1088"/>
                  </a:lnTo>
                  <a:lnTo>
                    <a:pt x="4400" y="1088"/>
                  </a:lnTo>
                  <a:lnTo>
                    <a:pt x="4403" y="1088"/>
                  </a:lnTo>
                  <a:lnTo>
                    <a:pt x="4405" y="1088"/>
                  </a:lnTo>
                  <a:lnTo>
                    <a:pt x="4407" y="1088"/>
                  </a:lnTo>
                  <a:lnTo>
                    <a:pt x="4409" y="1088"/>
                  </a:lnTo>
                  <a:lnTo>
                    <a:pt x="4411" y="1086"/>
                  </a:lnTo>
                  <a:lnTo>
                    <a:pt x="4411" y="1082"/>
                  </a:lnTo>
                  <a:lnTo>
                    <a:pt x="4413" y="1080"/>
                  </a:lnTo>
                  <a:lnTo>
                    <a:pt x="4413" y="1076"/>
                  </a:lnTo>
                  <a:lnTo>
                    <a:pt x="4413" y="1074"/>
                  </a:lnTo>
                  <a:lnTo>
                    <a:pt x="4413" y="1074"/>
                  </a:lnTo>
                  <a:lnTo>
                    <a:pt x="4413" y="1074"/>
                  </a:lnTo>
                  <a:lnTo>
                    <a:pt x="4411" y="1074"/>
                  </a:lnTo>
                  <a:lnTo>
                    <a:pt x="4411" y="1074"/>
                  </a:lnTo>
                  <a:lnTo>
                    <a:pt x="4411" y="1072"/>
                  </a:lnTo>
                  <a:lnTo>
                    <a:pt x="4411" y="1072"/>
                  </a:lnTo>
                  <a:lnTo>
                    <a:pt x="4411" y="1070"/>
                  </a:lnTo>
                  <a:lnTo>
                    <a:pt x="4411" y="1068"/>
                  </a:lnTo>
                  <a:lnTo>
                    <a:pt x="4413" y="1068"/>
                  </a:lnTo>
                  <a:lnTo>
                    <a:pt x="4411" y="1064"/>
                  </a:lnTo>
                  <a:lnTo>
                    <a:pt x="4413" y="1064"/>
                  </a:lnTo>
                  <a:lnTo>
                    <a:pt x="4411" y="1059"/>
                  </a:lnTo>
                  <a:lnTo>
                    <a:pt x="4411" y="1057"/>
                  </a:lnTo>
                  <a:lnTo>
                    <a:pt x="4411" y="1053"/>
                  </a:lnTo>
                  <a:lnTo>
                    <a:pt x="4407" y="1047"/>
                  </a:lnTo>
                  <a:lnTo>
                    <a:pt x="4403" y="1045"/>
                  </a:lnTo>
                  <a:lnTo>
                    <a:pt x="4400" y="1039"/>
                  </a:lnTo>
                  <a:lnTo>
                    <a:pt x="4396" y="1033"/>
                  </a:lnTo>
                  <a:lnTo>
                    <a:pt x="4396" y="1031"/>
                  </a:lnTo>
                  <a:lnTo>
                    <a:pt x="4394" y="1031"/>
                  </a:lnTo>
                  <a:lnTo>
                    <a:pt x="4394" y="1028"/>
                  </a:lnTo>
                  <a:lnTo>
                    <a:pt x="4392" y="1028"/>
                  </a:lnTo>
                  <a:lnTo>
                    <a:pt x="4390" y="1026"/>
                  </a:lnTo>
                  <a:lnTo>
                    <a:pt x="4388" y="1024"/>
                  </a:lnTo>
                  <a:lnTo>
                    <a:pt x="4386" y="1024"/>
                  </a:lnTo>
                  <a:lnTo>
                    <a:pt x="4386" y="1024"/>
                  </a:lnTo>
                  <a:lnTo>
                    <a:pt x="4384" y="1022"/>
                  </a:lnTo>
                  <a:lnTo>
                    <a:pt x="4382" y="1022"/>
                  </a:lnTo>
                  <a:lnTo>
                    <a:pt x="4382" y="1020"/>
                  </a:lnTo>
                  <a:lnTo>
                    <a:pt x="4384" y="1020"/>
                  </a:lnTo>
                  <a:lnTo>
                    <a:pt x="4384" y="1018"/>
                  </a:lnTo>
                  <a:lnTo>
                    <a:pt x="4384" y="1020"/>
                  </a:lnTo>
                  <a:lnTo>
                    <a:pt x="4384" y="1018"/>
                  </a:lnTo>
                  <a:lnTo>
                    <a:pt x="4384" y="1016"/>
                  </a:lnTo>
                  <a:lnTo>
                    <a:pt x="4384" y="1014"/>
                  </a:lnTo>
                  <a:lnTo>
                    <a:pt x="4386" y="1012"/>
                  </a:lnTo>
                  <a:lnTo>
                    <a:pt x="4390" y="1010"/>
                  </a:lnTo>
                  <a:lnTo>
                    <a:pt x="4390" y="1010"/>
                  </a:lnTo>
                  <a:lnTo>
                    <a:pt x="4392" y="1008"/>
                  </a:lnTo>
                  <a:lnTo>
                    <a:pt x="4396" y="1008"/>
                  </a:lnTo>
                  <a:lnTo>
                    <a:pt x="4396" y="1008"/>
                  </a:lnTo>
                  <a:lnTo>
                    <a:pt x="4398" y="1008"/>
                  </a:lnTo>
                  <a:lnTo>
                    <a:pt x="4400" y="1006"/>
                  </a:lnTo>
                  <a:lnTo>
                    <a:pt x="4400" y="1004"/>
                  </a:lnTo>
                  <a:lnTo>
                    <a:pt x="4403" y="1004"/>
                  </a:lnTo>
                  <a:lnTo>
                    <a:pt x="4405" y="1002"/>
                  </a:lnTo>
                  <a:lnTo>
                    <a:pt x="4407" y="1002"/>
                  </a:lnTo>
                  <a:lnTo>
                    <a:pt x="4409" y="997"/>
                  </a:lnTo>
                  <a:lnTo>
                    <a:pt x="4411" y="997"/>
                  </a:lnTo>
                  <a:lnTo>
                    <a:pt x="4415" y="995"/>
                  </a:lnTo>
                  <a:lnTo>
                    <a:pt x="4417" y="993"/>
                  </a:lnTo>
                  <a:lnTo>
                    <a:pt x="4415" y="991"/>
                  </a:lnTo>
                  <a:lnTo>
                    <a:pt x="4417" y="987"/>
                  </a:lnTo>
                  <a:lnTo>
                    <a:pt x="4417" y="985"/>
                  </a:lnTo>
                  <a:lnTo>
                    <a:pt x="4415" y="983"/>
                  </a:lnTo>
                  <a:lnTo>
                    <a:pt x="4415" y="983"/>
                  </a:lnTo>
                  <a:lnTo>
                    <a:pt x="4417" y="981"/>
                  </a:lnTo>
                  <a:lnTo>
                    <a:pt x="4419" y="979"/>
                  </a:lnTo>
                  <a:lnTo>
                    <a:pt x="4419" y="977"/>
                  </a:lnTo>
                  <a:lnTo>
                    <a:pt x="4419" y="975"/>
                  </a:lnTo>
                  <a:lnTo>
                    <a:pt x="4421" y="975"/>
                  </a:lnTo>
                  <a:lnTo>
                    <a:pt x="4423" y="975"/>
                  </a:lnTo>
                  <a:lnTo>
                    <a:pt x="4423" y="973"/>
                  </a:lnTo>
                  <a:lnTo>
                    <a:pt x="4425" y="973"/>
                  </a:lnTo>
                  <a:lnTo>
                    <a:pt x="4427" y="971"/>
                  </a:lnTo>
                  <a:lnTo>
                    <a:pt x="4427" y="971"/>
                  </a:lnTo>
                  <a:lnTo>
                    <a:pt x="4429" y="971"/>
                  </a:lnTo>
                  <a:lnTo>
                    <a:pt x="4429" y="971"/>
                  </a:lnTo>
                  <a:lnTo>
                    <a:pt x="4429" y="971"/>
                  </a:lnTo>
                  <a:lnTo>
                    <a:pt x="4431" y="966"/>
                  </a:lnTo>
                  <a:lnTo>
                    <a:pt x="4429" y="964"/>
                  </a:lnTo>
                  <a:lnTo>
                    <a:pt x="4431" y="964"/>
                  </a:lnTo>
                  <a:lnTo>
                    <a:pt x="4433" y="964"/>
                  </a:lnTo>
                  <a:lnTo>
                    <a:pt x="4433" y="964"/>
                  </a:lnTo>
                  <a:lnTo>
                    <a:pt x="4436" y="964"/>
                  </a:lnTo>
                  <a:lnTo>
                    <a:pt x="4438" y="964"/>
                  </a:lnTo>
                  <a:lnTo>
                    <a:pt x="4438" y="962"/>
                  </a:lnTo>
                  <a:lnTo>
                    <a:pt x="4440" y="962"/>
                  </a:lnTo>
                  <a:lnTo>
                    <a:pt x="4442" y="958"/>
                  </a:lnTo>
                  <a:lnTo>
                    <a:pt x="4444" y="954"/>
                  </a:lnTo>
                  <a:lnTo>
                    <a:pt x="4446" y="954"/>
                  </a:lnTo>
                  <a:lnTo>
                    <a:pt x="4448" y="954"/>
                  </a:lnTo>
                  <a:lnTo>
                    <a:pt x="4448" y="954"/>
                  </a:lnTo>
                  <a:lnTo>
                    <a:pt x="4448" y="954"/>
                  </a:lnTo>
                  <a:lnTo>
                    <a:pt x="4448" y="956"/>
                  </a:lnTo>
                  <a:lnTo>
                    <a:pt x="4446" y="956"/>
                  </a:lnTo>
                  <a:lnTo>
                    <a:pt x="4448" y="956"/>
                  </a:lnTo>
                  <a:lnTo>
                    <a:pt x="4448" y="956"/>
                  </a:lnTo>
                  <a:lnTo>
                    <a:pt x="4452" y="954"/>
                  </a:lnTo>
                  <a:lnTo>
                    <a:pt x="4452" y="952"/>
                  </a:lnTo>
                  <a:lnTo>
                    <a:pt x="4454" y="954"/>
                  </a:lnTo>
                  <a:lnTo>
                    <a:pt x="4452" y="960"/>
                  </a:lnTo>
                  <a:lnTo>
                    <a:pt x="4456" y="960"/>
                  </a:lnTo>
                  <a:lnTo>
                    <a:pt x="4456" y="960"/>
                  </a:lnTo>
                  <a:lnTo>
                    <a:pt x="4458" y="960"/>
                  </a:lnTo>
                  <a:lnTo>
                    <a:pt x="4460" y="962"/>
                  </a:lnTo>
                  <a:lnTo>
                    <a:pt x="4462" y="962"/>
                  </a:lnTo>
                  <a:lnTo>
                    <a:pt x="4462" y="962"/>
                  </a:lnTo>
                  <a:lnTo>
                    <a:pt x="4464" y="962"/>
                  </a:lnTo>
                  <a:lnTo>
                    <a:pt x="4464" y="964"/>
                  </a:lnTo>
                  <a:lnTo>
                    <a:pt x="4466" y="962"/>
                  </a:lnTo>
                  <a:lnTo>
                    <a:pt x="4471" y="962"/>
                  </a:lnTo>
                  <a:lnTo>
                    <a:pt x="4473" y="960"/>
                  </a:lnTo>
                  <a:lnTo>
                    <a:pt x="4477" y="960"/>
                  </a:lnTo>
                  <a:lnTo>
                    <a:pt x="4479" y="958"/>
                  </a:lnTo>
                  <a:lnTo>
                    <a:pt x="4487" y="954"/>
                  </a:lnTo>
                  <a:lnTo>
                    <a:pt x="4489" y="952"/>
                  </a:lnTo>
                  <a:lnTo>
                    <a:pt x="4493" y="950"/>
                  </a:lnTo>
                  <a:lnTo>
                    <a:pt x="4495" y="946"/>
                  </a:lnTo>
                  <a:lnTo>
                    <a:pt x="4497" y="944"/>
                  </a:lnTo>
                  <a:lnTo>
                    <a:pt x="4497" y="944"/>
                  </a:lnTo>
                  <a:lnTo>
                    <a:pt x="4499" y="942"/>
                  </a:lnTo>
                  <a:lnTo>
                    <a:pt x="4504" y="936"/>
                  </a:lnTo>
                  <a:lnTo>
                    <a:pt x="4506" y="933"/>
                  </a:lnTo>
                  <a:lnTo>
                    <a:pt x="4508" y="933"/>
                  </a:lnTo>
                  <a:lnTo>
                    <a:pt x="4508" y="931"/>
                  </a:lnTo>
                  <a:lnTo>
                    <a:pt x="4510" y="929"/>
                  </a:lnTo>
                  <a:lnTo>
                    <a:pt x="4512" y="927"/>
                  </a:lnTo>
                  <a:lnTo>
                    <a:pt x="4514" y="925"/>
                  </a:lnTo>
                  <a:lnTo>
                    <a:pt x="4516" y="923"/>
                  </a:lnTo>
                  <a:lnTo>
                    <a:pt x="4516" y="921"/>
                  </a:lnTo>
                  <a:lnTo>
                    <a:pt x="4522" y="917"/>
                  </a:lnTo>
                  <a:lnTo>
                    <a:pt x="4526" y="913"/>
                  </a:lnTo>
                  <a:lnTo>
                    <a:pt x="4530" y="909"/>
                  </a:lnTo>
                  <a:lnTo>
                    <a:pt x="4530" y="907"/>
                  </a:lnTo>
                  <a:lnTo>
                    <a:pt x="4534" y="902"/>
                  </a:lnTo>
                  <a:lnTo>
                    <a:pt x="4537" y="898"/>
                  </a:lnTo>
                  <a:lnTo>
                    <a:pt x="4539" y="896"/>
                  </a:lnTo>
                  <a:lnTo>
                    <a:pt x="4539" y="892"/>
                  </a:lnTo>
                  <a:lnTo>
                    <a:pt x="4541" y="890"/>
                  </a:lnTo>
                  <a:lnTo>
                    <a:pt x="4541" y="888"/>
                  </a:lnTo>
                  <a:lnTo>
                    <a:pt x="4543" y="888"/>
                  </a:lnTo>
                  <a:lnTo>
                    <a:pt x="4549" y="882"/>
                  </a:lnTo>
                  <a:lnTo>
                    <a:pt x="4551" y="878"/>
                  </a:lnTo>
                  <a:lnTo>
                    <a:pt x="4553" y="874"/>
                  </a:lnTo>
                  <a:lnTo>
                    <a:pt x="4555" y="872"/>
                  </a:lnTo>
                  <a:lnTo>
                    <a:pt x="4557" y="869"/>
                  </a:lnTo>
                  <a:lnTo>
                    <a:pt x="4559" y="867"/>
                  </a:lnTo>
                  <a:lnTo>
                    <a:pt x="4563" y="865"/>
                  </a:lnTo>
                  <a:lnTo>
                    <a:pt x="4563" y="863"/>
                  </a:lnTo>
                  <a:lnTo>
                    <a:pt x="4565" y="861"/>
                  </a:lnTo>
                  <a:lnTo>
                    <a:pt x="4565" y="857"/>
                  </a:lnTo>
                  <a:lnTo>
                    <a:pt x="4567" y="853"/>
                  </a:lnTo>
                  <a:lnTo>
                    <a:pt x="4567" y="853"/>
                  </a:lnTo>
                  <a:lnTo>
                    <a:pt x="4567" y="851"/>
                  </a:lnTo>
                  <a:lnTo>
                    <a:pt x="4567" y="851"/>
                  </a:lnTo>
                  <a:lnTo>
                    <a:pt x="4567" y="849"/>
                  </a:lnTo>
                  <a:lnTo>
                    <a:pt x="4567" y="849"/>
                  </a:lnTo>
                  <a:lnTo>
                    <a:pt x="4567" y="847"/>
                  </a:lnTo>
                  <a:lnTo>
                    <a:pt x="4570" y="847"/>
                  </a:lnTo>
                  <a:lnTo>
                    <a:pt x="4570" y="841"/>
                  </a:lnTo>
                  <a:lnTo>
                    <a:pt x="4570" y="838"/>
                  </a:lnTo>
                  <a:lnTo>
                    <a:pt x="4570" y="836"/>
                  </a:lnTo>
                  <a:lnTo>
                    <a:pt x="4570" y="836"/>
                  </a:lnTo>
                  <a:lnTo>
                    <a:pt x="4572" y="834"/>
                  </a:lnTo>
                  <a:lnTo>
                    <a:pt x="4572" y="832"/>
                  </a:lnTo>
                  <a:lnTo>
                    <a:pt x="4572" y="832"/>
                  </a:lnTo>
                  <a:lnTo>
                    <a:pt x="4570" y="832"/>
                  </a:lnTo>
                  <a:lnTo>
                    <a:pt x="4570" y="832"/>
                  </a:lnTo>
                  <a:lnTo>
                    <a:pt x="4570" y="824"/>
                  </a:lnTo>
                  <a:lnTo>
                    <a:pt x="4570" y="820"/>
                  </a:lnTo>
                  <a:lnTo>
                    <a:pt x="4572" y="816"/>
                  </a:lnTo>
                  <a:lnTo>
                    <a:pt x="4572" y="814"/>
                  </a:lnTo>
                  <a:lnTo>
                    <a:pt x="4572" y="812"/>
                  </a:lnTo>
                  <a:lnTo>
                    <a:pt x="4574" y="808"/>
                  </a:lnTo>
                  <a:lnTo>
                    <a:pt x="4576" y="803"/>
                  </a:lnTo>
                  <a:lnTo>
                    <a:pt x="4578" y="801"/>
                  </a:lnTo>
                  <a:lnTo>
                    <a:pt x="4580" y="799"/>
                  </a:lnTo>
                  <a:lnTo>
                    <a:pt x="4582" y="797"/>
                  </a:lnTo>
                  <a:lnTo>
                    <a:pt x="4582" y="795"/>
                  </a:lnTo>
                  <a:lnTo>
                    <a:pt x="4584" y="793"/>
                  </a:lnTo>
                  <a:lnTo>
                    <a:pt x="4582" y="793"/>
                  </a:lnTo>
                  <a:lnTo>
                    <a:pt x="4582" y="791"/>
                  </a:lnTo>
                  <a:lnTo>
                    <a:pt x="4580" y="789"/>
                  </a:lnTo>
                  <a:lnTo>
                    <a:pt x="4578" y="789"/>
                  </a:lnTo>
                  <a:lnTo>
                    <a:pt x="4580" y="787"/>
                  </a:lnTo>
                  <a:lnTo>
                    <a:pt x="4580" y="785"/>
                  </a:lnTo>
                  <a:lnTo>
                    <a:pt x="4580" y="781"/>
                  </a:lnTo>
                  <a:lnTo>
                    <a:pt x="4578" y="781"/>
                  </a:lnTo>
                  <a:lnTo>
                    <a:pt x="4576" y="777"/>
                  </a:lnTo>
                  <a:lnTo>
                    <a:pt x="4574" y="777"/>
                  </a:lnTo>
                  <a:lnTo>
                    <a:pt x="4576" y="777"/>
                  </a:lnTo>
                  <a:lnTo>
                    <a:pt x="4580" y="777"/>
                  </a:lnTo>
                  <a:lnTo>
                    <a:pt x="4582" y="777"/>
                  </a:lnTo>
                  <a:lnTo>
                    <a:pt x="4582" y="774"/>
                  </a:lnTo>
                  <a:lnTo>
                    <a:pt x="4582" y="772"/>
                  </a:lnTo>
                  <a:lnTo>
                    <a:pt x="4580" y="770"/>
                  </a:lnTo>
                  <a:lnTo>
                    <a:pt x="4578" y="768"/>
                  </a:lnTo>
                  <a:lnTo>
                    <a:pt x="4576" y="768"/>
                  </a:lnTo>
                  <a:lnTo>
                    <a:pt x="4572" y="766"/>
                  </a:lnTo>
                  <a:lnTo>
                    <a:pt x="4567" y="762"/>
                  </a:lnTo>
                  <a:lnTo>
                    <a:pt x="4565" y="758"/>
                  </a:lnTo>
                  <a:lnTo>
                    <a:pt x="4565" y="758"/>
                  </a:lnTo>
                  <a:lnTo>
                    <a:pt x="4561" y="754"/>
                  </a:lnTo>
                  <a:lnTo>
                    <a:pt x="4559" y="754"/>
                  </a:lnTo>
                  <a:lnTo>
                    <a:pt x="4559" y="754"/>
                  </a:lnTo>
                  <a:lnTo>
                    <a:pt x="4553" y="754"/>
                  </a:lnTo>
                  <a:lnTo>
                    <a:pt x="4549" y="754"/>
                  </a:lnTo>
                  <a:lnTo>
                    <a:pt x="4545" y="752"/>
                  </a:lnTo>
                  <a:lnTo>
                    <a:pt x="4543" y="752"/>
                  </a:lnTo>
                  <a:lnTo>
                    <a:pt x="4545" y="754"/>
                  </a:lnTo>
                  <a:lnTo>
                    <a:pt x="4545" y="756"/>
                  </a:lnTo>
                  <a:lnTo>
                    <a:pt x="4545" y="758"/>
                  </a:lnTo>
                  <a:lnTo>
                    <a:pt x="4545" y="760"/>
                  </a:lnTo>
                  <a:lnTo>
                    <a:pt x="4543" y="764"/>
                  </a:lnTo>
                  <a:lnTo>
                    <a:pt x="4541" y="766"/>
                  </a:lnTo>
                  <a:lnTo>
                    <a:pt x="4541" y="768"/>
                  </a:lnTo>
                  <a:lnTo>
                    <a:pt x="4539" y="768"/>
                  </a:lnTo>
                  <a:lnTo>
                    <a:pt x="4537" y="768"/>
                  </a:lnTo>
                  <a:lnTo>
                    <a:pt x="4539" y="766"/>
                  </a:lnTo>
                  <a:lnTo>
                    <a:pt x="4541" y="764"/>
                  </a:lnTo>
                  <a:lnTo>
                    <a:pt x="4543" y="762"/>
                  </a:lnTo>
                  <a:lnTo>
                    <a:pt x="4543" y="760"/>
                  </a:lnTo>
                  <a:lnTo>
                    <a:pt x="4541" y="760"/>
                  </a:lnTo>
                  <a:lnTo>
                    <a:pt x="4541" y="760"/>
                  </a:lnTo>
                  <a:lnTo>
                    <a:pt x="4539" y="760"/>
                  </a:lnTo>
                  <a:lnTo>
                    <a:pt x="4537" y="764"/>
                  </a:lnTo>
                  <a:lnTo>
                    <a:pt x="4532" y="766"/>
                  </a:lnTo>
                  <a:lnTo>
                    <a:pt x="4530" y="766"/>
                  </a:lnTo>
                  <a:lnTo>
                    <a:pt x="4524" y="768"/>
                  </a:lnTo>
                  <a:lnTo>
                    <a:pt x="4524" y="766"/>
                  </a:lnTo>
                  <a:lnTo>
                    <a:pt x="4522" y="766"/>
                  </a:lnTo>
                  <a:lnTo>
                    <a:pt x="4524" y="766"/>
                  </a:lnTo>
                  <a:lnTo>
                    <a:pt x="4526" y="764"/>
                  </a:lnTo>
                  <a:lnTo>
                    <a:pt x="4528" y="760"/>
                  </a:lnTo>
                  <a:lnTo>
                    <a:pt x="4530" y="760"/>
                  </a:lnTo>
                  <a:lnTo>
                    <a:pt x="4532" y="760"/>
                  </a:lnTo>
                  <a:lnTo>
                    <a:pt x="4528" y="760"/>
                  </a:lnTo>
                  <a:lnTo>
                    <a:pt x="4526" y="758"/>
                  </a:lnTo>
                  <a:lnTo>
                    <a:pt x="4524" y="756"/>
                  </a:lnTo>
                  <a:lnTo>
                    <a:pt x="4526" y="756"/>
                  </a:lnTo>
                  <a:lnTo>
                    <a:pt x="4526" y="756"/>
                  </a:lnTo>
                  <a:lnTo>
                    <a:pt x="4526" y="756"/>
                  </a:lnTo>
                  <a:lnTo>
                    <a:pt x="4528" y="754"/>
                  </a:lnTo>
                  <a:lnTo>
                    <a:pt x="4526" y="752"/>
                  </a:lnTo>
                  <a:lnTo>
                    <a:pt x="4524" y="754"/>
                  </a:lnTo>
                  <a:lnTo>
                    <a:pt x="4522" y="756"/>
                  </a:lnTo>
                  <a:lnTo>
                    <a:pt x="4520" y="756"/>
                  </a:lnTo>
                  <a:lnTo>
                    <a:pt x="4522" y="758"/>
                  </a:lnTo>
                  <a:lnTo>
                    <a:pt x="4524" y="758"/>
                  </a:lnTo>
                  <a:lnTo>
                    <a:pt x="4522" y="762"/>
                  </a:lnTo>
                  <a:lnTo>
                    <a:pt x="4520" y="762"/>
                  </a:lnTo>
                  <a:lnTo>
                    <a:pt x="4518" y="762"/>
                  </a:lnTo>
                  <a:lnTo>
                    <a:pt x="4516" y="762"/>
                  </a:lnTo>
                  <a:lnTo>
                    <a:pt x="4516" y="762"/>
                  </a:lnTo>
                  <a:lnTo>
                    <a:pt x="4516" y="760"/>
                  </a:lnTo>
                  <a:lnTo>
                    <a:pt x="4516" y="758"/>
                  </a:lnTo>
                  <a:lnTo>
                    <a:pt x="4516" y="752"/>
                  </a:lnTo>
                  <a:lnTo>
                    <a:pt x="4518" y="750"/>
                  </a:lnTo>
                  <a:lnTo>
                    <a:pt x="4518" y="748"/>
                  </a:lnTo>
                  <a:lnTo>
                    <a:pt x="4516" y="746"/>
                  </a:lnTo>
                  <a:lnTo>
                    <a:pt x="4516" y="746"/>
                  </a:lnTo>
                  <a:lnTo>
                    <a:pt x="4514" y="746"/>
                  </a:lnTo>
                  <a:lnTo>
                    <a:pt x="4510" y="746"/>
                  </a:lnTo>
                  <a:lnTo>
                    <a:pt x="4504" y="748"/>
                  </a:lnTo>
                  <a:lnTo>
                    <a:pt x="4497" y="746"/>
                  </a:lnTo>
                  <a:lnTo>
                    <a:pt x="4495" y="746"/>
                  </a:lnTo>
                  <a:lnTo>
                    <a:pt x="4495" y="743"/>
                  </a:lnTo>
                  <a:lnTo>
                    <a:pt x="4493" y="741"/>
                  </a:lnTo>
                  <a:lnTo>
                    <a:pt x="4495" y="741"/>
                  </a:lnTo>
                  <a:lnTo>
                    <a:pt x="4495" y="739"/>
                  </a:lnTo>
                  <a:lnTo>
                    <a:pt x="4499" y="737"/>
                  </a:lnTo>
                  <a:lnTo>
                    <a:pt x="4501" y="735"/>
                  </a:lnTo>
                  <a:lnTo>
                    <a:pt x="4508" y="731"/>
                  </a:lnTo>
                  <a:lnTo>
                    <a:pt x="4510" y="729"/>
                  </a:lnTo>
                  <a:lnTo>
                    <a:pt x="4512" y="727"/>
                  </a:lnTo>
                  <a:lnTo>
                    <a:pt x="4516" y="725"/>
                  </a:lnTo>
                  <a:lnTo>
                    <a:pt x="4520" y="723"/>
                  </a:lnTo>
                  <a:lnTo>
                    <a:pt x="4522" y="721"/>
                  </a:lnTo>
                  <a:lnTo>
                    <a:pt x="4524" y="719"/>
                  </a:lnTo>
                  <a:lnTo>
                    <a:pt x="4528" y="717"/>
                  </a:lnTo>
                  <a:lnTo>
                    <a:pt x="4530" y="717"/>
                  </a:lnTo>
                  <a:lnTo>
                    <a:pt x="4534" y="710"/>
                  </a:lnTo>
                  <a:lnTo>
                    <a:pt x="4537" y="708"/>
                  </a:lnTo>
                  <a:lnTo>
                    <a:pt x="4537" y="706"/>
                  </a:lnTo>
                  <a:lnTo>
                    <a:pt x="4537" y="706"/>
                  </a:lnTo>
                  <a:lnTo>
                    <a:pt x="4543" y="700"/>
                  </a:lnTo>
                  <a:lnTo>
                    <a:pt x="4547" y="698"/>
                  </a:lnTo>
                  <a:lnTo>
                    <a:pt x="4551" y="694"/>
                  </a:lnTo>
                  <a:lnTo>
                    <a:pt x="4555" y="692"/>
                  </a:lnTo>
                  <a:lnTo>
                    <a:pt x="4555" y="692"/>
                  </a:lnTo>
                  <a:lnTo>
                    <a:pt x="4557" y="690"/>
                  </a:lnTo>
                  <a:lnTo>
                    <a:pt x="4559" y="688"/>
                  </a:lnTo>
                  <a:lnTo>
                    <a:pt x="4561" y="688"/>
                  </a:lnTo>
                  <a:lnTo>
                    <a:pt x="4563" y="686"/>
                  </a:lnTo>
                  <a:lnTo>
                    <a:pt x="4570" y="682"/>
                  </a:lnTo>
                  <a:lnTo>
                    <a:pt x="4570" y="682"/>
                  </a:lnTo>
                  <a:lnTo>
                    <a:pt x="4572" y="675"/>
                  </a:lnTo>
                  <a:lnTo>
                    <a:pt x="4574" y="673"/>
                  </a:lnTo>
                  <a:lnTo>
                    <a:pt x="4576" y="669"/>
                  </a:lnTo>
                  <a:lnTo>
                    <a:pt x="4582" y="667"/>
                  </a:lnTo>
                  <a:lnTo>
                    <a:pt x="4586" y="665"/>
                  </a:lnTo>
                  <a:lnTo>
                    <a:pt x="4588" y="663"/>
                  </a:lnTo>
                  <a:lnTo>
                    <a:pt x="4592" y="659"/>
                  </a:lnTo>
                  <a:lnTo>
                    <a:pt x="4596" y="655"/>
                  </a:lnTo>
                  <a:lnTo>
                    <a:pt x="4598" y="653"/>
                  </a:lnTo>
                  <a:lnTo>
                    <a:pt x="4609" y="651"/>
                  </a:lnTo>
                  <a:lnTo>
                    <a:pt x="4613" y="651"/>
                  </a:lnTo>
                  <a:lnTo>
                    <a:pt x="4617" y="649"/>
                  </a:lnTo>
                  <a:lnTo>
                    <a:pt x="4621" y="649"/>
                  </a:lnTo>
                  <a:lnTo>
                    <a:pt x="4627" y="651"/>
                  </a:lnTo>
                  <a:lnTo>
                    <a:pt x="4642" y="649"/>
                  </a:lnTo>
                  <a:lnTo>
                    <a:pt x="4644" y="651"/>
                  </a:lnTo>
                  <a:lnTo>
                    <a:pt x="4646" y="651"/>
                  </a:lnTo>
                  <a:lnTo>
                    <a:pt x="4648" y="655"/>
                  </a:lnTo>
                  <a:lnTo>
                    <a:pt x="4648" y="655"/>
                  </a:lnTo>
                  <a:lnTo>
                    <a:pt x="4652" y="653"/>
                  </a:lnTo>
                  <a:lnTo>
                    <a:pt x="4654" y="649"/>
                  </a:lnTo>
                  <a:lnTo>
                    <a:pt x="4656" y="649"/>
                  </a:lnTo>
                  <a:lnTo>
                    <a:pt x="4660" y="651"/>
                  </a:lnTo>
                  <a:lnTo>
                    <a:pt x="4662" y="651"/>
                  </a:lnTo>
                  <a:lnTo>
                    <a:pt x="4669" y="653"/>
                  </a:lnTo>
                  <a:lnTo>
                    <a:pt x="4673" y="653"/>
                  </a:lnTo>
                  <a:lnTo>
                    <a:pt x="4675" y="651"/>
                  </a:lnTo>
                  <a:lnTo>
                    <a:pt x="4681" y="649"/>
                  </a:lnTo>
                  <a:lnTo>
                    <a:pt x="4683" y="653"/>
                  </a:lnTo>
                  <a:lnTo>
                    <a:pt x="4687" y="653"/>
                  </a:lnTo>
                  <a:lnTo>
                    <a:pt x="4689" y="653"/>
                  </a:lnTo>
                  <a:lnTo>
                    <a:pt x="4691" y="651"/>
                  </a:lnTo>
                  <a:lnTo>
                    <a:pt x="4689" y="651"/>
                  </a:lnTo>
                  <a:lnTo>
                    <a:pt x="4687" y="651"/>
                  </a:lnTo>
                  <a:lnTo>
                    <a:pt x="4687" y="649"/>
                  </a:lnTo>
                  <a:lnTo>
                    <a:pt x="4687" y="646"/>
                  </a:lnTo>
                  <a:lnTo>
                    <a:pt x="4689" y="649"/>
                  </a:lnTo>
                  <a:lnTo>
                    <a:pt x="4693" y="649"/>
                  </a:lnTo>
                  <a:lnTo>
                    <a:pt x="4693" y="649"/>
                  </a:lnTo>
                  <a:lnTo>
                    <a:pt x="4693" y="646"/>
                  </a:lnTo>
                  <a:lnTo>
                    <a:pt x="4693" y="646"/>
                  </a:lnTo>
                  <a:lnTo>
                    <a:pt x="4691" y="644"/>
                  </a:lnTo>
                  <a:lnTo>
                    <a:pt x="4695" y="642"/>
                  </a:lnTo>
                  <a:lnTo>
                    <a:pt x="4697" y="642"/>
                  </a:lnTo>
                  <a:lnTo>
                    <a:pt x="4699" y="642"/>
                  </a:lnTo>
                  <a:lnTo>
                    <a:pt x="4708" y="644"/>
                  </a:lnTo>
                  <a:lnTo>
                    <a:pt x="4710" y="644"/>
                  </a:lnTo>
                  <a:lnTo>
                    <a:pt x="4712" y="646"/>
                  </a:lnTo>
                  <a:lnTo>
                    <a:pt x="4714" y="646"/>
                  </a:lnTo>
                  <a:lnTo>
                    <a:pt x="4712" y="646"/>
                  </a:lnTo>
                  <a:lnTo>
                    <a:pt x="4712" y="649"/>
                  </a:lnTo>
                  <a:lnTo>
                    <a:pt x="4714" y="646"/>
                  </a:lnTo>
                  <a:lnTo>
                    <a:pt x="4716" y="649"/>
                  </a:lnTo>
                  <a:lnTo>
                    <a:pt x="4716" y="649"/>
                  </a:lnTo>
                  <a:lnTo>
                    <a:pt x="4718" y="649"/>
                  </a:lnTo>
                  <a:lnTo>
                    <a:pt x="4718" y="646"/>
                  </a:lnTo>
                  <a:lnTo>
                    <a:pt x="4718" y="646"/>
                  </a:lnTo>
                  <a:lnTo>
                    <a:pt x="4720" y="646"/>
                  </a:lnTo>
                  <a:lnTo>
                    <a:pt x="4722" y="646"/>
                  </a:lnTo>
                  <a:lnTo>
                    <a:pt x="4724" y="646"/>
                  </a:lnTo>
                  <a:lnTo>
                    <a:pt x="4726" y="646"/>
                  </a:lnTo>
                  <a:lnTo>
                    <a:pt x="4730" y="651"/>
                  </a:lnTo>
                  <a:lnTo>
                    <a:pt x="4732" y="653"/>
                  </a:lnTo>
                  <a:lnTo>
                    <a:pt x="4735" y="653"/>
                  </a:lnTo>
                  <a:lnTo>
                    <a:pt x="4737" y="653"/>
                  </a:lnTo>
                  <a:lnTo>
                    <a:pt x="4737" y="653"/>
                  </a:lnTo>
                  <a:lnTo>
                    <a:pt x="4732" y="655"/>
                  </a:lnTo>
                  <a:lnTo>
                    <a:pt x="4730" y="655"/>
                  </a:lnTo>
                  <a:lnTo>
                    <a:pt x="4726" y="655"/>
                  </a:lnTo>
                  <a:lnTo>
                    <a:pt x="4720" y="657"/>
                  </a:lnTo>
                  <a:lnTo>
                    <a:pt x="4724" y="661"/>
                  </a:lnTo>
                  <a:lnTo>
                    <a:pt x="4728" y="661"/>
                  </a:lnTo>
                  <a:lnTo>
                    <a:pt x="4735" y="661"/>
                  </a:lnTo>
                  <a:lnTo>
                    <a:pt x="4737" y="659"/>
                  </a:lnTo>
                  <a:lnTo>
                    <a:pt x="4739" y="657"/>
                  </a:lnTo>
                  <a:lnTo>
                    <a:pt x="4739" y="657"/>
                  </a:lnTo>
                  <a:lnTo>
                    <a:pt x="4741" y="659"/>
                  </a:lnTo>
                  <a:lnTo>
                    <a:pt x="4745" y="659"/>
                  </a:lnTo>
                  <a:lnTo>
                    <a:pt x="4747" y="659"/>
                  </a:lnTo>
                  <a:lnTo>
                    <a:pt x="4749" y="657"/>
                  </a:lnTo>
                  <a:lnTo>
                    <a:pt x="4751" y="657"/>
                  </a:lnTo>
                  <a:lnTo>
                    <a:pt x="4751" y="657"/>
                  </a:lnTo>
                  <a:lnTo>
                    <a:pt x="4753" y="653"/>
                  </a:lnTo>
                  <a:lnTo>
                    <a:pt x="4757" y="653"/>
                  </a:lnTo>
                  <a:lnTo>
                    <a:pt x="4761" y="655"/>
                  </a:lnTo>
                  <a:lnTo>
                    <a:pt x="4761" y="657"/>
                  </a:lnTo>
                  <a:lnTo>
                    <a:pt x="4765" y="657"/>
                  </a:lnTo>
                  <a:lnTo>
                    <a:pt x="4767" y="655"/>
                  </a:lnTo>
                  <a:lnTo>
                    <a:pt x="4767" y="653"/>
                  </a:lnTo>
                  <a:lnTo>
                    <a:pt x="4772" y="655"/>
                  </a:lnTo>
                  <a:lnTo>
                    <a:pt x="4774" y="655"/>
                  </a:lnTo>
                  <a:lnTo>
                    <a:pt x="4776" y="655"/>
                  </a:lnTo>
                  <a:lnTo>
                    <a:pt x="4778" y="655"/>
                  </a:lnTo>
                  <a:lnTo>
                    <a:pt x="4778" y="653"/>
                  </a:lnTo>
                  <a:lnTo>
                    <a:pt x="4778" y="651"/>
                  </a:lnTo>
                  <a:lnTo>
                    <a:pt x="4776" y="649"/>
                  </a:lnTo>
                  <a:lnTo>
                    <a:pt x="4770" y="646"/>
                  </a:lnTo>
                  <a:lnTo>
                    <a:pt x="4767" y="649"/>
                  </a:lnTo>
                  <a:lnTo>
                    <a:pt x="4765" y="649"/>
                  </a:lnTo>
                  <a:lnTo>
                    <a:pt x="4765" y="649"/>
                  </a:lnTo>
                  <a:lnTo>
                    <a:pt x="4763" y="646"/>
                  </a:lnTo>
                  <a:lnTo>
                    <a:pt x="4765" y="646"/>
                  </a:lnTo>
                  <a:lnTo>
                    <a:pt x="4765" y="644"/>
                  </a:lnTo>
                  <a:lnTo>
                    <a:pt x="4765" y="642"/>
                  </a:lnTo>
                  <a:lnTo>
                    <a:pt x="4765" y="640"/>
                  </a:lnTo>
                  <a:lnTo>
                    <a:pt x="4767" y="640"/>
                  </a:lnTo>
                  <a:lnTo>
                    <a:pt x="4767" y="640"/>
                  </a:lnTo>
                  <a:lnTo>
                    <a:pt x="4770" y="634"/>
                  </a:lnTo>
                  <a:lnTo>
                    <a:pt x="4776" y="630"/>
                  </a:lnTo>
                  <a:lnTo>
                    <a:pt x="4782" y="626"/>
                  </a:lnTo>
                  <a:lnTo>
                    <a:pt x="4786" y="622"/>
                  </a:lnTo>
                  <a:lnTo>
                    <a:pt x="4788" y="620"/>
                  </a:lnTo>
                  <a:lnTo>
                    <a:pt x="4792" y="615"/>
                  </a:lnTo>
                  <a:lnTo>
                    <a:pt x="4796" y="613"/>
                  </a:lnTo>
                  <a:lnTo>
                    <a:pt x="4796" y="611"/>
                  </a:lnTo>
                  <a:lnTo>
                    <a:pt x="4800" y="609"/>
                  </a:lnTo>
                  <a:lnTo>
                    <a:pt x="4800" y="605"/>
                  </a:lnTo>
                  <a:lnTo>
                    <a:pt x="4803" y="605"/>
                  </a:lnTo>
                  <a:lnTo>
                    <a:pt x="4803" y="603"/>
                  </a:lnTo>
                  <a:lnTo>
                    <a:pt x="4807" y="601"/>
                  </a:lnTo>
                  <a:lnTo>
                    <a:pt x="4811" y="599"/>
                  </a:lnTo>
                  <a:lnTo>
                    <a:pt x="4811" y="599"/>
                  </a:lnTo>
                  <a:lnTo>
                    <a:pt x="4817" y="599"/>
                  </a:lnTo>
                  <a:lnTo>
                    <a:pt x="4819" y="599"/>
                  </a:lnTo>
                  <a:lnTo>
                    <a:pt x="4821" y="599"/>
                  </a:lnTo>
                  <a:lnTo>
                    <a:pt x="4823" y="599"/>
                  </a:lnTo>
                  <a:lnTo>
                    <a:pt x="4827" y="599"/>
                  </a:lnTo>
                  <a:lnTo>
                    <a:pt x="4831" y="597"/>
                  </a:lnTo>
                  <a:lnTo>
                    <a:pt x="4833" y="595"/>
                  </a:lnTo>
                  <a:lnTo>
                    <a:pt x="4836" y="595"/>
                  </a:lnTo>
                  <a:lnTo>
                    <a:pt x="4838" y="597"/>
                  </a:lnTo>
                  <a:lnTo>
                    <a:pt x="4840" y="599"/>
                  </a:lnTo>
                  <a:lnTo>
                    <a:pt x="4840" y="599"/>
                  </a:lnTo>
                  <a:lnTo>
                    <a:pt x="4842" y="601"/>
                  </a:lnTo>
                  <a:lnTo>
                    <a:pt x="4844" y="599"/>
                  </a:lnTo>
                  <a:lnTo>
                    <a:pt x="4850" y="597"/>
                  </a:lnTo>
                  <a:lnTo>
                    <a:pt x="4850" y="597"/>
                  </a:lnTo>
                  <a:lnTo>
                    <a:pt x="4852" y="597"/>
                  </a:lnTo>
                  <a:lnTo>
                    <a:pt x="4852" y="597"/>
                  </a:lnTo>
                  <a:lnTo>
                    <a:pt x="4852" y="599"/>
                  </a:lnTo>
                  <a:lnTo>
                    <a:pt x="4852" y="601"/>
                  </a:lnTo>
                  <a:lnTo>
                    <a:pt x="4850" y="605"/>
                  </a:lnTo>
                  <a:lnTo>
                    <a:pt x="4846" y="609"/>
                  </a:lnTo>
                  <a:lnTo>
                    <a:pt x="4846" y="609"/>
                  </a:lnTo>
                  <a:lnTo>
                    <a:pt x="4846" y="611"/>
                  </a:lnTo>
                  <a:lnTo>
                    <a:pt x="4846" y="613"/>
                  </a:lnTo>
                  <a:lnTo>
                    <a:pt x="4846" y="615"/>
                  </a:lnTo>
                  <a:lnTo>
                    <a:pt x="4844" y="618"/>
                  </a:lnTo>
                  <a:lnTo>
                    <a:pt x="4846" y="618"/>
                  </a:lnTo>
                  <a:lnTo>
                    <a:pt x="4848" y="615"/>
                  </a:lnTo>
                  <a:lnTo>
                    <a:pt x="4850" y="615"/>
                  </a:lnTo>
                  <a:lnTo>
                    <a:pt x="4852" y="615"/>
                  </a:lnTo>
                  <a:lnTo>
                    <a:pt x="4852" y="615"/>
                  </a:lnTo>
                  <a:lnTo>
                    <a:pt x="4850" y="620"/>
                  </a:lnTo>
                  <a:lnTo>
                    <a:pt x="4850" y="622"/>
                  </a:lnTo>
                  <a:lnTo>
                    <a:pt x="4850" y="622"/>
                  </a:lnTo>
                  <a:lnTo>
                    <a:pt x="4850" y="624"/>
                  </a:lnTo>
                  <a:lnTo>
                    <a:pt x="4852" y="624"/>
                  </a:lnTo>
                  <a:lnTo>
                    <a:pt x="4852" y="622"/>
                  </a:lnTo>
                  <a:lnTo>
                    <a:pt x="4854" y="622"/>
                  </a:lnTo>
                  <a:lnTo>
                    <a:pt x="4858" y="622"/>
                  </a:lnTo>
                  <a:lnTo>
                    <a:pt x="4860" y="618"/>
                  </a:lnTo>
                  <a:lnTo>
                    <a:pt x="4862" y="618"/>
                  </a:lnTo>
                  <a:lnTo>
                    <a:pt x="4879" y="603"/>
                  </a:lnTo>
                  <a:lnTo>
                    <a:pt x="4881" y="601"/>
                  </a:lnTo>
                  <a:lnTo>
                    <a:pt x="4883" y="601"/>
                  </a:lnTo>
                  <a:lnTo>
                    <a:pt x="4885" y="601"/>
                  </a:lnTo>
                  <a:lnTo>
                    <a:pt x="4885" y="601"/>
                  </a:lnTo>
                  <a:lnTo>
                    <a:pt x="4887" y="601"/>
                  </a:lnTo>
                  <a:lnTo>
                    <a:pt x="4887" y="601"/>
                  </a:lnTo>
                  <a:lnTo>
                    <a:pt x="4889" y="601"/>
                  </a:lnTo>
                  <a:lnTo>
                    <a:pt x="4889" y="603"/>
                  </a:lnTo>
                  <a:lnTo>
                    <a:pt x="4891" y="603"/>
                  </a:lnTo>
                  <a:lnTo>
                    <a:pt x="4891" y="603"/>
                  </a:lnTo>
                  <a:lnTo>
                    <a:pt x="4891" y="603"/>
                  </a:lnTo>
                  <a:lnTo>
                    <a:pt x="4893" y="603"/>
                  </a:lnTo>
                  <a:lnTo>
                    <a:pt x="4893" y="601"/>
                  </a:lnTo>
                  <a:lnTo>
                    <a:pt x="4893" y="601"/>
                  </a:lnTo>
                  <a:lnTo>
                    <a:pt x="4893" y="599"/>
                  </a:lnTo>
                  <a:lnTo>
                    <a:pt x="4891" y="599"/>
                  </a:lnTo>
                  <a:lnTo>
                    <a:pt x="4891" y="597"/>
                  </a:lnTo>
                  <a:lnTo>
                    <a:pt x="4891" y="593"/>
                  </a:lnTo>
                  <a:lnTo>
                    <a:pt x="4891" y="591"/>
                  </a:lnTo>
                  <a:lnTo>
                    <a:pt x="4893" y="589"/>
                  </a:lnTo>
                  <a:lnTo>
                    <a:pt x="4893" y="587"/>
                  </a:lnTo>
                  <a:lnTo>
                    <a:pt x="4893" y="587"/>
                  </a:lnTo>
                  <a:lnTo>
                    <a:pt x="4895" y="587"/>
                  </a:lnTo>
                  <a:lnTo>
                    <a:pt x="4893" y="584"/>
                  </a:lnTo>
                  <a:lnTo>
                    <a:pt x="4895" y="582"/>
                  </a:lnTo>
                  <a:lnTo>
                    <a:pt x="4895" y="582"/>
                  </a:lnTo>
                  <a:lnTo>
                    <a:pt x="4908" y="578"/>
                  </a:lnTo>
                  <a:lnTo>
                    <a:pt x="4910" y="578"/>
                  </a:lnTo>
                  <a:lnTo>
                    <a:pt x="4912" y="578"/>
                  </a:lnTo>
                  <a:lnTo>
                    <a:pt x="4916" y="582"/>
                  </a:lnTo>
                  <a:lnTo>
                    <a:pt x="4920" y="582"/>
                  </a:lnTo>
                  <a:lnTo>
                    <a:pt x="4924" y="582"/>
                  </a:lnTo>
                  <a:lnTo>
                    <a:pt x="4924" y="584"/>
                  </a:lnTo>
                  <a:lnTo>
                    <a:pt x="4922" y="584"/>
                  </a:lnTo>
                  <a:lnTo>
                    <a:pt x="4922" y="584"/>
                  </a:lnTo>
                  <a:lnTo>
                    <a:pt x="4922" y="584"/>
                  </a:lnTo>
                  <a:lnTo>
                    <a:pt x="4922" y="587"/>
                  </a:lnTo>
                  <a:lnTo>
                    <a:pt x="4920" y="584"/>
                  </a:lnTo>
                  <a:lnTo>
                    <a:pt x="4918" y="584"/>
                  </a:lnTo>
                  <a:lnTo>
                    <a:pt x="4914" y="584"/>
                  </a:lnTo>
                  <a:lnTo>
                    <a:pt x="4914" y="584"/>
                  </a:lnTo>
                  <a:lnTo>
                    <a:pt x="4908" y="587"/>
                  </a:lnTo>
                  <a:lnTo>
                    <a:pt x="4908" y="589"/>
                  </a:lnTo>
                  <a:lnTo>
                    <a:pt x="4906" y="593"/>
                  </a:lnTo>
                  <a:lnTo>
                    <a:pt x="4906" y="597"/>
                  </a:lnTo>
                  <a:lnTo>
                    <a:pt x="4906" y="601"/>
                  </a:lnTo>
                  <a:lnTo>
                    <a:pt x="4904" y="601"/>
                  </a:lnTo>
                  <a:lnTo>
                    <a:pt x="4902" y="603"/>
                  </a:lnTo>
                  <a:lnTo>
                    <a:pt x="4902" y="605"/>
                  </a:lnTo>
                  <a:lnTo>
                    <a:pt x="4904" y="607"/>
                  </a:lnTo>
                  <a:lnTo>
                    <a:pt x="4904" y="607"/>
                  </a:lnTo>
                  <a:lnTo>
                    <a:pt x="4906" y="609"/>
                  </a:lnTo>
                  <a:lnTo>
                    <a:pt x="4904" y="611"/>
                  </a:lnTo>
                  <a:lnTo>
                    <a:pt x="4899" y="613"/>
                  </a:lnTo>
                  <a:lnTo>
                    <a:pt x="4899" y="613"/>
                  </a:lnTo>
                  <a:lnTo>
                    <a:pt x="4897" y="615"/>
                  </a:lnTo>
                  <a:lnTo>
                    <a:pt x="4899" y="618"/>
                  </a:lnTo>
                  <a:lnTo>
                    <a:pt x="4899" y="618"/>
                  </a:lnTo>
                  <a:lnTo>
                    <a:pt x="4897" y="620"/>
                  </a:lnTo>
                  <a:lnTo>
                    <a:pt x="4895" y="620"/>
                  </a:lnTo>
                  <a:lnTo>
                    <a:pt x="4889" y="620"/>
                  </a:lnTo>
                  <a:lnTo>
                    <a:pt x="4887" y="624"/>
                  </a:lnTo>
                  <a:lnTo>
                    <a:pt x="4879" y="626"/>
                  </a:lnTo>
                  <a:lnTo>
                    <a:pt x="4877" y="628"/>
                  </a:lnTo>
                  <a:lnTo>
                    <a:pt x="4877" y="628"/>
                  </a:lnTo>
                  <a:lnTo>
                    <a:pt x="4875" y="632"/>
                  </a:lnTo>
                  <a:lnTo>
                    <a:pt x="4873" y="634"/>
                  </a:lnTo>
                  <a:lnTo>
                    <a:pt x="4869" y="636"/>
                  </a:lnTo>
                  <a:lnTo>
                    <a:pt x="4864" y="640"/>
                  </a:lnTo>
                  <a:lnTo>
                    <a:pt x="4860" y="644"/>
                  </a:lnTo>
                  <a:lnTo>
                    <a:pt x="4858" y="646"/>
                  </a:lnTo>
                  <a:lnTo>
                    <a:pt x="4856" y="646"/>
                  </a:lnTo>
                  <a:lnTo>
                    <a:pt x="4852" y="651"/>
                  </a:lnTo>
                  <a:lnTo>
                    <a:pt x="4846" y="655"/>
                  </a:lnTo>
                  <a:lnTo>
                    <a:pt x="4842" y="663"/>
                  </a:lnTo>
                  <a:lnTo>
                    <a:pt x="4840" y="665"/>
                  </a:lnTo>
                  <a:lnTo>
                    <a:pt x="4838" y="667"/>
                  </a:lnTo>
                  <a:lnTo>
                    <a:pt x="4836" y="667"/>
                  </a:lnTo>
                  <a:lnTo>
                    <a:pt x="4833" y="669"/>
                  </a:lnTo>
                  <a:lnTo>
                    <a:pt x="4829" y="673"/>
                  </a:lnTo>
                  <a:lnTo>
                    <a:pt x="4825" y="675"/>
                  </a:lnTo>
                  <a:lnTo>
                    <a:pt x="4823" y="677"/>
                  </a:lnTo>
                  <a:lnTo>
                    <a:pt x="4823" y="679"/>
                  </a:lnTo>
                  <a:lnTo>
                    <a:pt x="4821" y="677"/>
                  </a:lnTo>
                  <a:lnTo>
                    <a:pt x="4819" y="679"/>
                  </a:lnTo>
                  <a:lnTo>
                    <a:pt x="4815" y="677"/>
                  </a:lnTo>
                  <a:lnTo>
                    <a:pt x="4811" y="684"/>
                  </a:lnTo>
                  <a:lnTo>
                    <a:pt x="4809" y="684"/>
                  </a:lnTo>
                  <a:lnTo>
                    <a:pt x="4805" y="682"/>
                  </a:lnTo>
                  <a:lnTo>
                    <a:pt x="4803" y="684"/>
                  </a:lnTo>
                  <a:lnTo>
                    <a:pt x="4803" y="684"/>
                  </a:lnTo>
                  <a:lnTo>
                    <a:pt x="4803" y="684"/>
                  </a:lnTo>
                  <a:lnTo>
                    <a:pt x="4803" y="686"/>
                  </a:lnTo>
                  <a:lnTo>
                    <a:pt x="4805" y="686"/>
                  </a:lnTo>
                  <a:lnTo>
                    <a:pt x="4805" y="688"/>
                  </a:lnTo>
                  <a:lnTo>
                    <a:pt x="4805" y="690"/>
                  </a:lnTo>
                  <a:lnTo>
                    <a:pt x="4803" y="694"/>
                  </a:lnTo>
                  <a:lnTo>
                    <a:pt x="4800" y="696"/>
                  </a:lnTo>
                  <a:lnTo>
                    <a:pt x="4798" y="698"/>
                  </a:lnTo>
                  <a:lnTo>
                    <a:pt x="4792" y="704"/>
                  </a:lnTo>
                  <a:lnTo>
                    <a:pt x="4790" y="704"/>
                  </a:lnTo>
                  <a:lnTo>
                    <a:pt x="4790" y="704"/>
                  </a:lnTo>
                  <a:lnTo>
                    <a:pt x="4786" y="717"/>
                  </a:lnTo>
                  <a:lnTo>
                    <a:pt x="4786" y="723"/>
                  </a:lnTo>
                  <a:lnTo>
                    <a:pt x="4784" y="731"/>
                  </a:lnTo>
                  <a:lnTo>
                    <a:pt x="4784" y="735"/>
                  </a:lnTo>
                  <a:lnTo>
                    <a:pt x="4786" y="741"/>
                  </a:lnTo>
                  <a:lnTo>
                    <a:pt x="4786" y="748"/>
                  </a:lnTo>
                  <a:lnTo>
                    <a:pt x="4788" y="760"/>
                  </a:lnTo>
                  <a:lnTo>
                    <a:pt x="4790" y="764"/>
                  </a:lnTo>
                  <a:lnTo>
                    <a:pt x="4792" y="777"/>
                  </a:lnTo>
                  <a:lnTo>
                    <a:pt x="4792" y="781"/>
                  </a:lnTo>
                  <a:lnTo>
                    <a:pt x="4792" y="783"/>
                  </a:lnTo>
                  <a:lnTo>
                    <a:pt x="4794" y="785"/>
                  </a:lnTo>
                  <a:lnTo>
                    <a:pt x="4796" y="787"/>
                  </a:lnTo>
                  <a:lnTo>
                    <a:pt x="4796" y="789"/>
                  </a:lnTo>
                  <a:lnTo>
                    <a:pt x="4798" y="799"/>
                  </a:lnTo>
                  <a:lnTo>
                    <a:pt x="4798" y="808"/>
                  </a:lnTo>
                  <a:lnTo>
                    <a:pt x="4798" y="808"/>
                  </a:lnTo>
                  <a:lnTo>
                    <a:pt x="4798" y="810"/>
                  </a:lnTo>
                  <a:lnTo>
                    <a:pt x="4800" y="812"/>
                  </a:lnTo>
                  <a:lnTo>
                    <a:pt x="4800" y="814"/>
                  </a:lnTo>
                  <a:lnTo>
                    <a:pt x="4800" y="814"/>
                  </a:lnTo>
                  <a:lnTo>
                    <a:pt x="4800" y="816"/>
                  </a:lnTo>
                  <a:lnTo>
                    <a:pt x="4803" y="816"/>
                  </a:lnTo>
                  <a:lnTo>
                    <a:pt x="4807" y="812"/>
                  </a:lnTo>
                  <a:lnTo>
                    <a:pt x="4811" y="808"/>
                  </a:lnTo>
                  <a:lnTo>
                    <a:pt x="4813" y="808"/>
                  </a:lnTo>
                  <a:lnTo>
                    <a:pt x="4813" y="805"/>
                  </a:lnTo>
                  <a:lnTo>
                    <a:pt x="4817" y="803"/>
                  </a:lnTo>
                  <a:lnTo>
                    <a:pt x="4821" y="801"/>
                  </a:lnTo>
                  <a:lnTo>
                    <a:pt x="4823" y="795"/>
                  </a:lnTo>
                  <a:lnTo>
                    <a:pt x="4825" y="791"/>
                  </a:lnTo>
                  <a:lnTo>
                    <a:pt x="4825" y="789"/>
                  </a:lnTo>
                  <a:lnTo>
                    <a:pt x="4825" y="789"/>
                  </a:lnTo>
                  <a:lnTo>
                    <a:pt x="4825" y="785"/>
                  </a:lnTo>
                  <a:lnTo>
                    <a:pt x="4827" y="783"/>
                  </a:lnTo>
                  <a:lnTo>
                    <a:pt x="4827" y="781"/>
                  </a:lnTo>
                  <a:lnTo>
                    <a:pt x="4827" y="779"/>
                  </a:lnTo>
                  <a:lnTo>
                    <a:pt x="4825" y="779"/>
                  </a:lnTo>
                  <a:lnTo>
                    <a:pt x="4825" y="777"/>
                  </a:lnTo>
                  <a:lnTo>
                    <a:pt x="4827" y="777"/>
                  </a:lnTo>
                  <a:lnTo>
                    <a:pt x="4827" y="777"/>
                  </a:lnTo>
                  <a:lnTo>
                    <a:pt x="4829" y="779"/>
                  </a:lnTo>
                  <a:lnTo>
                    <a:pt x="4829" y="779"/>
                  </a:lnTo>
                  <a:lnTo>
                    <a:pt x="4833" y="777"/>
                  </a:lnTo>
                  <a:lnTo>
                    <a:pt x="4836" y="774"/>
                  </a:lnTo>
                  <a:lnTo>
                    <a:pt x="4842" y="772"/>
                  </a:lnTo>
                  <a:lnTo>
                    <a:pt x="4844" y="772"/>
                  </a:lnTo>
                  <a:lnTo>
                    <a:pt x="4846" y="774"/>
                  </a:lnTo>
                  <a:lnTo>
                    <a:pt x="4848" y="774"/>
                  </a:lnTo>
                  <a:lnTo>
                    <a:pt x="4848" y="772"/>
                  </a:lnTo>
                  <a:lnTo>
                    <a:pt x="4846" y="770"/>
                  </a:lnTo>
                  <a:lnTo>
                    <a:pt x="4846" y="768"/>
                  </a:lnTo>
                  <a:lnTo>
                    <a:pt x="4846" y="766"/>
                  </a:lnTo>
                  <a:lnTo>
                    <a:pt x="4846" y="766"/>
                  </a:lnTo>
                  <a:lnTo>
                    <a:pt x="4846" y="764"/>
                  </a:lnTo>
                  <a:lnTo>
                    <a:pt x="4846" y="762"/>
                  </a:lnTo>
                  <a:lnTo>
                    <a:pt x="4846" y="758"/>
                  </a:lnTo>
                  <a:lnTo>
                    <a:pt x="4848" y="756"/>
                  </a:lnTo>
                  <a:lnTo>
                    <a:pt x="4848" y="754"/>
                  </a:lnTo>
                  <a:lnTo>
                    <a:pt x="4852" y="754"/>
                  </a:lnTo>
                  <a:lnTo>
                    <a:pt x="4854" y="750"/>
                  </a:lnTo>
                  <a:lnTo>
                    <a:pt x="4858" y="748"/>
                  </a:lnTo>
                  <a:lnTo>
                    <a:pt x="4860" y="748"/>
                  </a:lnTo>
                  <a:lnTo>
                    <a:pt x="4864" y="748"/>
                  </a:lnTo>
                  <a:lnTo>
                    <a:pt x="4866" y="748"/>
                  </a:lnTo>
                  <a:lnTo>
                    <a:pt x="4871" y="748"/>
                  </a:lnTo>
                  <a:lnTo>
                    <a:pt x="4873" y="748"/>
                  </a:lnTo>
                  <a:lnTo>
                    <a:pt x="4875" y="746"/>
                  </a:lnTo>
                  <a:lnTo>
                    <a:pt x="4877" y="743"/>
                  </a:lnTo>
                  <a:lnTo>
                    <a:pt x="4877" y="741"/>
                  </a:lnTo>
                  <a:lnTo>
                    <a:pt x="4877" y="739"/>
                  </a:lnTo>
                  <a:lnTo>
                    <a:pt x="4873" y="735"/>
                  </a:lnTo>
                  <a:lnTo>
                    <a:pt x="4873" y="735"/>
                  </a:lnTo>
                  <a:lnTo>
                    <a:pt x="4873" y="731"/>
                  </a:lnTo>
                  <a:lnTo>
                    <a:pt x="4873" y="729"/>
                  </a:lnTo>
                  <a:lnTo>
                    <a:pt x="4873" y="727"/>
                  </a:lnTo>
                  <a:lnTo>
                    <a:pt x="4875" y="723"/>
                  </a:lnTo>
                  <a:lnTo>
                    <a:pt x="4877" y="717"/>
                  </a:lnTo>
                  <a:lnTo>
                    <a:pt x="4879" y="717"/>
                  </a:lnTo>
                  <a:lnTo>
                    <a:pt x="4881" y="715"/>
                  </a:lnTo>
                  <a:lnTo>
                    <a:pt x="4883" y="715"/>
                  </a:lnTo>
                  <a:lnTo>
                    <a:pt x="4883" y="715"/>
                  </a:lnTo>
                  <a:lnTo>
                    <a:pt x="4883" y="710"/>
                  </a:lnTo>
                  <a:lnTo>
                    <a:pt x="4885" y="710"/>
                  </a:lnTo>
                  <a:lnTo>
                    <a:pt x="4885" y="708"/>
                  </a:lnTo>
                  <a:lnTo>
                    <a:pt x="4889" y="710"/>
                  </a:lnTo>
                  <a:lnTo>
                    <a:pt x="4889" y="708"/>
                  </a:lnTo>
                  <a:lnTo>
                    <a:pt x="4891" y="708"/>
                  </a:lnTo>
                  <a:lnTo>
                    <a:pt x="4889" y="710"/>
                  </a:lnTo>
                  <a:lnTo>
                    <a:pt x="4889" y="710"/>
                  </a:lnTo>
                  <a:lnTo>
                    <a:pt x="4887" y="713"/>
                  </a:lnTo>
                  <a:lnTo>
                    <a:pt x="4885" y="715"/>
                  </a:lnTo>
                  <a:lnTo>
                    <a:pt x="4887" y="719"/>
                  </a:lnTo>
                  <a:lnTo>
                    <a:pt x="4889" y="719"/>
                  </a:lnTo>
                  <a:lnTo>
                    <a:pt x="4891" y="719"/>
                  </a:lnTo>
                  <a:lnTo>
                    <a:pt x="4893" y="717"/>
                  </a:lnTo>
                  <a:lnTo>
                    <a:pt x="4893" y="717"/>
                  </a:lnTo>
                  <a:lnTo>
                    <a:pt x="4895" y="715"/>
                  </a:lnTo>
                  <a:lnTo>
                    <a:pt x="4895" y="710"/>
                  </a:lnTo>
                  <a:lnTo>
                    <a:pt x="4893" y="708"/>
                  </a:lnTo>
                  <a:lnTo>
                    <a:pt x="4893" y="706"/>
                  </a:lnTo>
                  <a:lnTo>
                    <a:pt x="4893" y="704"/>
                  </a:lnTo>
                  <a:lnTo>
                    <a:pt x="4891" y="704"/>
                  </a:lnTo>
                  <a:lnTo>
                    <a:pt x="4889" y="704"/>
                  </a:lnTo>
                  <a:lnTo>
                    <a:pt x="4889" y="704"/>
                  </a:lnTo>
                  <a:lnTo>
                    <a:pt x="4887" y="702"/>
                  </a:lnTo>
                  <a:lnTo>
                    <a:pt x="4887" y="702"/>
                  </a:lnTo>
                  <a:lnTo>
                    <a:pt x="4887" y="698"/>
                  </a:lnTo>
                  <a:lnTo>
                    <a:pt x="4887" y="696"/>
                  </a:lnTo>
                  <a:lnTo>
                    <a:pt x="4887" y="694"/>
                  </a:lnTo>
                  <a:lnTo>
                    <a:pt x="4887" y="694"/>
                  </a:lnTo>
                  <a:lnTo>
                    <a:pt x="4887" y="692"/>
                  </a:lnTo>
                  <a:lnTo>
                    <a:pt x="4889" y="690"/>
                  </a:lnTo>
                  <a:lnTo>
                    <a:pt x="4891" y="688"/>
                  </a:lnTo>
                  <a:lnTo>
                    <a:pt x="4893" y="686"/>
                  </a:lnTo>
                  <a:lnTo>
                    <a:pt x="4893" y="686"/>
                  </a:lnTo>
                  <a:lnTo>
                    <a:pt x="4893" y="684"/>
                  </a:lnTo>
                  <a:lnTo>
                    <a:pt x="4893" y="682"/>
                  </a:lnTo>
                  <a:lnTo>
                    <a:pt x="4887" y="679"/>
                  </a:lnTo>
                  <a:lnTo>
                    <a:pt x="4885" y="679"/>
                  </a:lnTo>
                  <a:lnTo>
                    <a:pt x="4883" y="682"/>
                  </a:lnTo>
                  <a:lnTo>
                    <a:pt x="4883" y="684"/>
                  </a:lnTo>
                  <a:lnTo>
                    <a:pt x="4881" y="684"/>
                  </a:lnTo>
                  <a:lnTo>
                    <a:pt x="4881" y="684"/>
                  </a:lnTo>
                  <a:lnTo>
                    <a:pt x="4881" y="684"/>
                  </a:lnTo>
                  <a:lnTo>
                    <a:pt x="4879" y="682"/>
                  </a:lnTo>
                  <a:lnTo>
                    <a:pt x="4877" y="682"/>
                  </a:lnTo>
                  <a:lnTo>
                    <a:pt x="4877" y="679"/>
                  </a:lnTo>
                  <a:lnTo>
                    <a:pt x="4877" y="679"/>
                  </a:lnTo>
                  <a:lnTo>
                    <a:pt x="4875" y="677"/>
                  </a:lnTo>
                  <a:lnTo>
                    <a:pt x="4877" y="673"/>
                  </a:lnTo>
                  <a:lnTo>
                    <a:pt x="4879" y="669"/>
                  </a:lnTo>
                  <a:lnTo>
                    <a:pt x="4883" y="665"/>
                  </a:lnTo>
                  <a:lnTo>
                    <a:pt x="4885" y="663"/>
                  </a:lnTo>
                  <a:lnTo>
                    <a:pt x="4887" y="659"/>
                  </a:lnTo>
                  <a:lnTo>
                    <a:pt x="4889" y="659"/>
                  </a:lnTo>
                  <a:lnTo>
                    <a:pt x="4889" y="659"/>
                  </a:lnTo>
                  <a:lnTo>
                    <a:pt x="4891" y="657"/>
                  </a:lnTo>
                  <a:lnTo>
                    <a:pt x="4889" y="655"/>
                  </a:lnTo>
                  <a:lnTo>
                    <a:pt x="4889" y="655"/>
                  </a:lnTo>
                  <a:lnTo>
                    <a:pt x="4891" y="655"/>
                  </a:lnTo>
                  <a:lnTo>
                    <a:pt x="4891" y="655"/>
                  </a:lnTo>
                  <a:lnTo>
                    <a:pt x="4893" y="653"/>
                  </a:lnTo>
                  <a:lnTo>
                    <a:pt x="4893" y="646"/>
                  </a:lnTo>
                  <a:lnTo>
                    <a:pt x="4895" y="642"/>
                  </a:lnTo>
                  <a:lnTo>
                    <a:pt x="4895" y="642"/>
                  </a:lnTo>
                  <a:lnTo>
                    <a:pt x="4895" y="640"/>
                  </a:lnTo>
                  <a:lnTo>
                    <a:pt x="4897" y="640"/>
                  </a:lnTo>
                  <a:lnTo>
                    <a:pt x="4899" y="638"/>
                  </a:lnTo>
                  <a:lnTo>
                    <a:pt x="4899" y="638"/>
                  </a:lnTo>
                  <a:lnTo>
                    <a:pt x="4902" y="636"/>
                  </a:lnTo>
                  <a:lnTo>
                    <a:pt x="4902" y="636"/>
                  </a:lnTo>
                  <a:lnTo>
                    <a:pt x="4904" y="636"/>
                  </a:lnTo>
                  <a:lnTo>
                    <a:pt x="4906" y="636"/>
                  </a:lnTo>
                  <a:lnTo>
                    <a:pt x="4906" y="638"/>
                  </a:lnTo>
                  <a:lnTo>
                    <a:pt x="4906" y="640"/>
                  </a:lnTo>
                  <a:lnTo>
                    <a:pt x="4908" y="638"/>
                  </a:lnTo>
                  <a:lnTo>
                    <a:pt x="4910" y="636"/>
                  </a:lnTo>
                  <a:lnTo>
                    <a:pt x="4912" y="636"/>
                  </a:lnTo>
                  <a:lnTo>
                    <a:pt x="4912" y="636"/>
                  </a:lnTo>
                  <a:lnTo>
                    <a:pt x="4914" y="636"/>
                  </a:lnTo>
                  <a:lnTo>
                    <a:pt x="4916" y="640"/>
                  </a:lnTo>
                  <a:lnTo>
                    <a:pt x="4916" y="640"/>
                  </a:lnTo>
                  <a:lnTo>
                    <a:pt x="4918" y="640"/>
                  </a:lnTo>
                  <a:lnTo>
                    <a:pt x="4920" y="640"/>
                  </a:lnTo>
                  <a:lnTo>
                    <a:pt x="4920" y="638"/>
                  </a:lnTo>
                  <a:lnTo>
                    <a:pt x="4920" y="634"/>
                  </a:lnTo>
                  <a:lnTo>
                    <a:pt x="4922" y="634"/>
                  </a:lnTo>
                  <a:lnTo>
                    <a:pt x="4922" y="634"/>
                  </a:lnTo>
                  <a:lnTo>
                    <a:pt x="4924" y="632"/>
                  </a:lnTo>
                  <a:lnTo>
                    <a:pt x="4926" y="632"/>
                  </a:lnTo>
                  <a:lnTo>
                    <a:pt x="4932" y="630"/>
                  </a:lnTo>
                  <a:lnTo>
                    <a:pt x="4937" y="628"/>
                  </a:lnTo>
                  <a:lnTo>
                    <a:pt x="4939" y="626"/>
                  </a:lnTo>
                  <a:lnTo>
                    <a:pt x="4937" y="628"/>
                  </a:lnTo>
                  <a:lnTo>
                    <a:pt x="4937" y="630"/>
                  </a:lnTo>
                  <a:lnTo>
                    <a:pt x="4937" y="634"/>
                  </a:lnTo>
                  <a:lnTo>
                    <a:pt x="4935" y="636"/>
                  </a:lnTo>
                  <a:lnTo>
                    <a:pt x="4935" y="638"/>
                  </a:lnTo>
                  <a:lnTo>
                    <a:pt x="4935" y="638"/>
                  </a:lnTo>
                  <a:lnTo>
                    <a:pt x="4937" y="640"/>
                  </a:lnTo>
                  <a:lnTo>
                    <a:pt x="4937" y="640"/>
                  </a:lnTo>
                  <a:lnTo>
                    <a:pt x="4939" y="640"/>
                  </a:lnTo>
                  <a:lnTo>
                    <a:pt x="4939" y="638"/>
                  </a:lnTo>
                  <a:lnTo>
                    <a:pt x="4947" y="630"/>
                  </a:lnTo>
                  <a:lnTo>
                    <a:pt x="4951" y="628"/>
                  </a:lnTo>
                  <a:lnTo>
                    <a:pt x="4957" y="628"/>
                  </a:lnTo>
                  <a:lnTo>
                    <a:pt x="4957" y="626"/>
                  </a:lnTo>
                  <a:lnTo>
                    <a:pt x="4963" y="626"/>
                  </a:lnTo>
                  <a:lnTo>
                    <a:pt x="4968" y="624"/>
                  </a:lnTo>
                  <a:lnTo>
                    <a:pt x="4972" y="626"/>
                  </a:lnTo>
                  <a:lnTo>
                    <a:pt x="4974" y="626"/>
                  </a:lnTo>
                  <a:lnTo>
                    <a:pt x="4980" y="624"/>
                  </a:lnTo>
                  <a:lnTo>
                    <a:pt x="4980" y="626"/>
                  </a:lnTo>
                  <a:lnTo>
                    <a:pt x="4984" y="628"/>
                  </a:lnTo>
                  <a:lnTo>
                    <a:pt x="4988" y="632"/>
                  </a:lnTo>
                  <a:lnTo>
                    <a:pt x="4988" y="632"/>
                  </a:lnTo>
                  <a:lnTo>
                    <a:pt x="4988" y="632"/>
                  </a:lnTo>
                  <a:lnTo>
                    <a:pt x="4988" y="634"/>
                  </a:lnTo>
                  <a:lnTo>
                    <a:pt x="4988" y="634"/>
                  </a:lnTo>
                  <a:lnTo>
                    <a:pt x="4990" y="636"/>
                  </a:lnTo>
                  <a:lnTo>
                    <a:pt x="4992" y="638"/>
                  </a:lnTo>
                  <a:lnTo>
                    <a:pt x="4994" y="638"/>
                  </a:lnTo>
                  <a:lnTo>
                    <a:pt x="4996" y="636"/>
                  </a:lnTo>
                  <a:lnTo>
                    <a:pt x="4996" y="636"/>
                  </a:lnTo>
                  <a:lnTo>
                    <a:pt x="4996" y="632"/>
                  </a:lnTo>
                  <a:lnTo>
                    <a:pt x="4998" y="630"/>
                  </a:lnTo>
                  <a:lnTo>
                    <a:pt x="4998" y="628"/>
                  </a:lnTo>
                  <a:lnTo>
                    <a:pt x="4998" y="628"/>
                  </a:lnTo>
                  <a:lnTo>
                    <a:pt x="5001" y="626"/>
                  </a:lnTo>
                  <a:lnTo>
                    <a:pt x="5005" y="626"/>
                  </a:lnTo>
                  <a:lnTo>
                    <a:pt x="5011" y="622"/>
                  </a:lnTo>
                  <a:lnTo>
                    <a:pt x="5015" y="620"/>
                  </a:lnTo>
                  <a:lnTo>
                    <a:pt x="5017" y="620"/>
                  </a:lnTo>
                  <a:lnTo>
                    <a:pt x="5017" y="620"/>
                  </a:lnTo>
                  <a:lnTo>
                    <a:pt x="5019" y="618"/>
                  </a:lnTo>
                  <a:lnTo>
                    <a:pt x="5019" y="618"/>
                  </a:lnTo>
                  <a:lnTo>
                    <a:pt x="5021" y="615"/>
                  </a:lnTo>
                  <a:lnTo>
                    <a:pt x="5023" y="613"/>
                  </a:lnTo>
                  <a:lnTo>
                    <a:pt x="5023" y="613"/>
                  </a:lnTo>
                  <a:lnTo>
                    <a:pt x="5025" y="611"/>
                  </a:lnTo>
                  <a:lnTo>
                    <a:pt x="5025" y="611"/>
                  </a:lnTo>
                  <a:lnTo>
                    <a:pt x="5027" y="611"/>
                  </a:lnTo>
                  <a:lnTo>
                    <a:pt x="5029" y="611"/>
                  </a:lnTo>
                  <a:lnTo>
                    <a:pt x="5029" y="609"/>
                  </a:lnTo>
                  <a:lnTo>
                    <a:pt x="5029" y="609"/>
                  </a:lnTo>
                  <a:lnTo>
                    <a:pt x="5029" y="609"/>
                  </a:lnTo>
                  <a:lnTo>
                    <a:pt x="5031" y="609"/>
                  </a:lnTo>
                  <a:lnTo>
                    <a:pt x="5031" y="609"/>
                  </a:lnTo>
                  <a:lnTo>
                    <a:pt x="5031" y="607"/>
                  </a:lnTo>
                  <a:lnTo>
                    <a:pt x="5029" y="607"/>
                  </a:lnTo>
                  <a:lnTo>
                    <a:pt x="5031" y="605"/>
                  </a:lnTo>
                  <a:lnTo>
                    <a:pt x="5034" y="607"/>
                  </a:lnTo>
                  <a:lnTo>
                    <a:pt x="5036" y="607"/>
                  </a:lnTo>
                  <a:lnTo>
                    <a:pt x="5038" y="603"/>
                  </a:lnTo>
                  <a:lnTo>
                    <a:pt x="5042" y="601"/>
                  </a:lnTo>
                  <a:lnTo>
                    <a:pt x="5044" y="601"/>
                  </a:lnTo>
                  <a:lnTo>
                    <a:pt x="5050" y="599"/>
                  </a:lnTo>
                  <a:lnTo>
                    <a:pt x="5052" y="599"/>
                  </a:lnTo>
                  <a:lnTo>
                    <a:pt x="5054" y="599"/>
                  </a:lnTo>
                  <a:lnTo>
                    <a:pt x="5056" y="597"/>
                  </a:lnTo>
                  <a:lnTo>
                    <a:pt x="5058" y="595"/>
                  </a:lnTo>
                  <a:lnTo>
                    <a:pt x="5058" y="595"/>
                  </a:lnTo>
                  <a:lnTo>
                    <a:pt x="5064" y="593"/>
                  </a:lnTo>
                  <a:lnTo>
                    <a:pt x="5064" y="593"/>
                  </a:lnTo>
                  <a:lnTo>
                    <a:pt x="5066" y="591"/>
                  </a:lnTo>
                  <a:lnTo>
                    <a:pt x="5069" y="591"/>
                  </a:lnTo>
                  <a:lnTo>
                    <a:pt x="5071" y="591"/>
                  </a:lnTo>
                  <a:lnTo>
                    <a:pt x="5081" y="587"/>
                  </a:lnTo>
                  <a:lnTo>
                    <a:pt x="5081" y="584"/>
                  </a:lnTo>
                  <a:lnTo>
                    <a:pt x="5085" y="582"/>
                  </a:lnTo>
                  <a:lnTo>
                    <a:pt x="5089" y="582"/>
                  </a:lnTo>
                  <a:lnTo>
                    <a:pt x="5091" y="582"/>
                  </a:lnTo>
                  <a:lnTo>
                    <a:pt x="5093" y="580"/>
                  </a:lnTo>
                  <a:lnTo>
                    <a:pt x="5089" y="580"/>
                  </a:lnTo>
                  <a:lnTo>
                    <a:pt x="5089" y="580"/>
                  </a:lnTo>
                  <a:lnTo>
                    <a:pt x="5089" y="578"/>
                  </a:lnTo>
                  <a:lnTo>
                    <a:pt x="5089" y="578"/>
                  </a:lnTo>
                  <a:lnTo>
                    <a:pt x="5091" y="576"/>
                  </a:lnTo>
                  <a:lnTo>
                    <a:pt x="5091" y="576"/>
                  </a:lnTo>
                  <a:lnTo>
                    <a:pt x="5093" y="578"/>
                  </a:lnTo>
                  <a:lnTo>
                    <a:pt x="5093" y="578"/>
                  </a:lnTo>
                  <a:lnTo>
                    <a:pt x="5093" y="576"/>
                  </a:lnTo>
                  <a:lnTo>
                    <a:pt x="5095" y="576"/>
                  </a:lnTo>
                  <a:lnTo>
                    <a:pt x="5095" y="578"/>
                  </a:lnTo>
                  <a:lnTo>
                    <a:pt x="5095" y="578"/>
                  </a:lnTo>
                  <a:lnTo>
                    <a:pt x="5093" y="580"/>
                  </a:lnTo>
                  <a:lnTo>
                    <a:pt x="5093" y="580"/>
                  </a:lnTo>
                  <a:lnTo>
                    <a:pt x="5095" y="580"/>
                  </a:lnTo>
                  <a:lnTo>
                    <a:pt x="5099" y="580"/>
                  </a:lnTo>
                  <a:lnTo>
                    <a:pt x="5104" y="582"/>
                  </a:lnTo>
                  <a:lnTo>
                    <a:pt x="5118" y="587"/>
                  </a:lnTo>
                  <a:lnTo>
                    <a:pt x="5118" y="587"/>
                  </a:lnTo>
                  <a:lnTo>
                    <a:pt x="5120" y="587"/>
                  </a:lnTo>
                  <a:lnTo>
                    <a:pt x="5120" y="584"/>
                  </a:lnTo>
                  <a:lnTo>
                    <a:pt x="5120" y="584"/>
                  </a:lnTo>
                  <a:lnTo>
                    <a:pt x="5122" y="582"/>
                  </a:lnTo>
                  <a:lnTo>
                    <a:pt x="5124" y="580"/>
                  </a:lnTo>
                  <a:lnTo>
                    <a:pt x="5126" y="578"/>
                  </a:lnTo>
                  <a:lnTo>
                    <a:pt x="5126" y="576"/>
                  </a:lnTo>
                  <a:lnTo>
                    <a:pt x="5126" y="574"/>
                  </a:lnTo>
                  <a:lnTo>
                    <a:pt x="5124" y="574"/>
                  </a:lnTo>
                  <a:lnTo>
                    <a:pt x="5122" y="574"/>
                  </a:lnTo>
                  <a:lnTo>
                    <a:pt x="5122" y="572"/>
                  </a:lnTo>
                  <a:lnTo>
                    <a:pt x="5122" y="570"/>
                  </a:lnTo>
                  <a:lnTo>
                    <a:pt x="5124" y="570"/>
                  </a:lnTo>
                  <a:lnTo>
                    <a:pt x="5124" y="568"/>
                  </a:lnTo>
                  <a:lnTo>
                    <a:pt x="5122" y="568"/>
                  </a:lnTo>
                  <a:lnTo>
                    <a:pt x="5118" y="566"/>
                  </a:lnTo>
                  <a:lnTo>
                    <a:pt x="5118" y="564"/>
                  </a:lnTo>
                  <a:lnTo>
                    <a:pt x="5118" y="564"/>
                  </a:lnTo>
                  <a:lnTo>
                    <a:pt x="5116" y="560"/>
                  </a:lnTo>
                  <a:lnTo>
                    <a:pt x="5116" y="562"/>
                  </a:lnTo>
                  <a:lnTo>
                    <a:pt x="5116" y="562"/>
                  </a:lnTo>
                  <a:lnTo>
                    <a:pt x="5114" y="564"/>
                  </a:lnTo>
                  <a:lnTo>
                    <a:pt x="5114" y="564"/>
                  </a:lnTo>
                  <a:lnTo>
                    <a:pt x="5114" y="562"/>
                  </a:lnTo>
                  <a:lnTo>
                    <a:pt x="5114" y="560"/>
                  </a:lnTo>
                  <a:lnTo>
                    <a:pt x="5114" y="560"/>
                  </a:lnTo>
                  <a:lnTo>
                    <a:pt x="5110" y="560"/>
                  </a:lnTo>
                  <a:lnTo>
                    <a:pt x="5110" y="558"/>
                  </a:lnTo>
                  <a:lnTo>
                    <a:pt x="5114" y="558"/>
                  </a:lnTo>
                  <a:lnTo>
                    <a:pt x="5114" y="558"/>
                  </a:lnTo>
                  <a:lnTo>
                    <a:pt x="5114" y="558"/>
                  </a:lnTo>
                  <a:lnTo>
                    <a:pt x="5114" y="554"/>
                  </a:lnTo>
                  <a:lnTo>
                    <a:pt x="5114" y="551"/>
                  </a:lnTo>
                  <a:lnTo>
                    <a:pt x="5112" y="549"/>
                  </a:lnTo>
                  <a:lnTo>
                    <a:pt x="5110" y="549"/>
                  </a:lnTo>
                  <a:lnTo>
                    <a:pt x="5112" y="547"/>
                  </a:lnTo>
                  <a:lnTo>
                    <a:pt x="5112" y="547"/>
                  </a:lnTo>
                  <a:lnTo>
                    <a:pt x="5110" y="543"/>
                  </a:lnTo>
                  <a:lnTo>
                    <a:pt x="5108" y="543"/>
                  </a:lnTo>
                  <a:lnTo>
                    <a:pt x="5108" y="541"/>
                  </a:lnTo>
                  <a:lnTo>
                    <a:pt x="5106" y="543"/>
                  </a:lnTo>
                  <a:lnTo>
                    <a:pt x="5106" y="545"/>
                  </a:lnTo>
                  <a:lnTo>
                    <a:pt x="5106" y="545"/>
                  </a:lnTo>
                  <a:lnTo>
                    <a:pt x="5104" y="545"/>
                  </a:lnTo>
                  <a:lnTo>
                    <a:pt x="5099" y="543"/>
                  </a:lnTo>
                  <a:lnTo>
                    <a:pt x="5095" y="539"/>
                  </a:lnTo>
                  <a:lnTo>
                    <a:pt x="5095" y="537"/>
                  </a:lnTo>
                  <a:lnTo>
                    <a:pt x="5097" y="533"/>
                  </a:lnTo>
                  <a:lnTo>
                    <a:pt x="5095" y="533"/>
                  </a:lnTo>
                  <a:lnTo>
                    <a:pt x="5095" y="533"/>
                  </a:lnTo>
                  <a:lnTo>
                    <a:pt x="5091" y="533"/>
                  </a:lnTo>
                  <a:lnTo>
                    <a:pt x="5087" y="535"/>
                  </a:lnTo>
                  <a:lnTo>
                    <a:pt x="5085" y="535"/>
                  </a:lnTo>
                  <a:lnTo>
                    <a:pt x="5083" y="535"/>
                  </a:lnTo>
                  <a:lnTo>
                    <a:pt x="5077" y="537"/>
                  </a:lnTo>
                  <a:lnTo>
                    <a:pt x="5079" y="535"/>
                  </a:lnTo>
                  <a:lnTo>
                    <a:pt x="5079" y="535"/>
                  </a:lnTo>
                  <a:lnTo>
                    <a:pt x="5081" y="533"/>
                  </a:lnTo>
                  <a:lnTo>
                    <a:pt x="5081" y="533"/>
                  </a:lnTo>
                  <a:lnTo>
                    <a:pt x="5079" y="531"/>
                  </a:lnTo>
                  <a:lnTo>
                    <a:pt x="5079" y="529"/>
                  </a:lnTo>
                  <a:lnTo>
                    <a:pt x="5077" y="529"/>
                  </a:lnTo>
                  <a:lnTo>
                    <a:pt x="5075" y="531"/>
                  </a:lnTo>
                  <a:lnTo>
                    <a:pt x="5073" y="531"/>
                  </a:lnTo>
                  <a:lnTo>
                    <a:pt x="5071" y="533"/>
                  </a:lnTo>
                  <a:lnTo>
                    <a:pt x="5066" y="533"/>
                  </a:lnTo>
                  <a:lnTo>
                    <a:pt x="5062" y="533"/>
                  </a:lnTo>
                  <a:lnTo>
                    <a:pt x="5056" y="535"/>
                  </a:lnTo>
                  <a:lnTo>
                    <a:pt x="5054" y="535"/>
                  </a:lnTo>
                  <a:lnTo>
                    <a:pt x="5062" y="533"/>
                  </a:lnTo>
                  <a:lnTo>
                    <a:pt x="5066" y="533"/>
                  </a:lnTo>
                  <a:lnTo>
                    <a:pt x="5073" y="531"/>
                  </a:lnTo>
                  <a:lnTo>
                    <a:pt x="5077" y="529"/>
                  </a:lnTo>
                  <a:lnTo>
                    <a:pt x="5081" y="531"/>
                  </a:lnTo>
                  <a:lnTo>
                    <a:pt x="5083" y="531"/>
                  </a:lnTo>
                  <a:lnTo>
                    <a:pt x="5087" y="531"/>
                  </a:lnTo>
                  <a:lnTo>
                    <a:pt x="5091" y="533"/>
                  </a:lnTo>
                  <a:lnTo>
                    <a:pt x="5091" y="531"/>
                  </a:lnTo>
                  <a:lnTo>
                    <a:pt x="5093" y="531"/>
                  </a:lnTo>
                  <a:lnTo>
                    <a:pt x="5091" y="529"/>
                  </a:lnTo>
                  <a:lnTo>
                    <a:pt x="5091" y="527"/>
                  </a:lnTo>
                  <a:lnTo>
                    <a:pt x="5089" y="527"/>
                  </a:lnTo>
                  <a:lnTo>
                    <a:pt x="5085" y="527"/>
                  </a:lnTo>
                  <a:lnTo>
                    <a:pt x="5083" y="527"/>
                  </a:lnTo>
                  <a:lnTo>
                    <a:pt x="5081" y="527"/>
                  </a:lnTo>
                  <a:lnTo>
                    <a:pt x="5081" y="525"/>
                  </a:lnTo>
                  <a:lnTo>
                    <a:pt x="5085" y="527"/>
                  </a:lnTo>
                  <a:lnTo>
                    <a:pt x="5089" y="525"/>
                  </a:lnTo>
                  <a:lnTo>
                    <a:pt x="5093" y="527"/>
                  </a:lnTo>
                  <a:lnTo>
                    <a:pt x="5093" y="529"/>
                  </a:lnTo>
                  <a:lnTo>
                    <a:pt x="5095" y="529"/>
                  </a:lnTo>
                  <a:lnTo>
                    <a:pt x="5097" y="533"/>
                  </a:lnTo>
                  <a:lnTo>
                    <a:pt x="5102" y="533"/>
                  </a:lnTo>
                  <a:lnTo>
                    <a:pt x="5108" y="535"/>
                  </a:lnTo>
                  <a:lnTo>
                    <a:pt x="5112" y="537"/>
                  </a:lnTo>
                  <a:lnTo>
                    <a:pt x="5114" y="535"/>
                  </a:lnTo>
                  <a:lnTo>
                    <a:pt x="5120" y="533"/>
                  </a:lnTo>
                  <a:lnTo>
                    <a:pt x="5124" y="531"/>
                  </a:lnTo>
                  <a:lnTo>
                    <a:pt x="5128" y="529"/>
                  </a:lnTo>
                  <a:lnTo>
                    <a:pt x="5130" y="527"/>
                  </a:lnTo>
                  <a:lnTo>
                    <a:pt x="5132" y="525"/>
                  </a:lnTo>
                  <a:lnTo>
                    <a:pt x="5132" y="527"/>
                  </a:lnTo>
                  <a:lnTo>
                    <a:pt x="5137" y="523"/>
                  </a:lnTo>
                  <a:lnTo>
                    <a:pt x="5139" y="523"/>
                  </a:lnTo>
                  <a:lnTo>
                    <a:pt x="5139" y="518"/>
                  </a:lnTo>
                  <a:lnTo>
                    <a:pt x="5141" y="516"/>
                  </a:lnTo>
                  <a:lnTo>
                    <a:pt x="5141" y="514"/>
                  </a:lnTo>
                  <a:lnTo>
                    <a:pt x="5143" y="514"/>
                  </a:lnTo>
                  <a:lnTo>
                    <a:pt x="5141" y="512"/>
                  </a:lnTo>
                  <a:lnTo>
                    <a:pt x="5141" y="512"/>
                  </a:lnTo>
                  <a:lnTo>
                    <a:pt x="5137" y="510"/>
                  </a:lnTo>
                  <a:lnTo>
                    <a:pt x="5137" y="508"/>
                  </a:lnTo>
                  <a:lnTo>
                    <a:pt x="5135" y="506"/>
                  </a:lnTo>
                  <a:lnTo>
                    <a:pt x="5135" y="504"/>
                  </a:lnTo>
                  <a:lnTo>
                    <a:pt x="5137" y="502"/>
                  </a:lnTo>
                  <a:lnTo>
                    <a:pt x="5137" y="500"/>
                  </a:lnTo>
                  <a:lnTo>
                    <a:pt x="5139" y="502"/>
                  </a:lnTo>
                  <a:lnTo>
                    <a:pt x="5141" y="500"/>
                  </a:lnTo>
                  <a:lnTo>
                    <a:pt x="5143" y="500"/>
                  </a:lnTo>
                  <a:lnTo>
                    <a:pt x="5143" y="500"/>
                  </a:lnTo>
                  <a:lnTo>
                    <a:pt x="5143" y="498"/>
                  </a:lnTo>
                  <a:lnTo>
                    <a:pt x="5143" y="498"/>
                  </a:lnTo>
                  <a:lnTo>
                    <a:pt x="5145" y="498"/>
                  </a:lnTo>
                  <a:lnTo>
                    <a:pt x="5145" y="496"/>
                  </a:lnTo>
                  <a:lnTo>
                    <a:pt x="5145" y="496"/>
                  </a:lnTo>
                  <a:lnTo>
                    <a:pt x="5145" y="496"/>
                  </a:lnTo>
                  <a:lnTo>
                    <a:pt x="5145" y="498"/>
                  </a:lnTo>
                  <a:lnTo>
                    <a:pt x="5147" y="500"/>
                  </a:lnTo>
                  <a:lnTo>
                    <a:pt x="5147" y="500"/>
                  </a:lnTo>
                  <a:lnTo>
                    <a:pt x="5149" y="500"/>
                  </a:lnTo>
                  <a:lnTo>
                    <a:pt x="5149" y="500"/>
                  </a:lnTo>
                  <a:lnTo>
                    <a:pt x="5151" y="498"/>
                  </a:lnTo>
                  <a:lnTo>
                    <a:pt x="5153" y="496"/>
                  </a:lnTo>
                  <a:lnTo>
                    <a:pt x="5153" y="494"/>
                  </a:lnTo>
                  <a:lnTo>
                    <a:pt x="5153" y="496"/>
                  </a:lnTo>
                  <a:lnTo>
                    <a:pt x="5153" y="500"/>
                  </a:lnTo>
                  <a:lnTo>
                    <a:pt x="5153" y="500"/>
                  </a:lnTo>
                  <a:lnTo>
                    <a:pt x="5151" y="502"/>
                  </a:lnTo>
                  <a:lnTo>
                    <a:pt x="5151" y="504"/>
                  </a:lnTo>
                  <a:lnTo>
                    <a:pt x="5151" y="504"/>
                  </a:lnTo>
                  <a:lnTo>
                    <a:pt x="5149" y="504"/>
                  </a:lnTo>
                  <a:lnTo>
                    <a:pt x="5147" y="504"/>
                  </a:lnTo>
                  <a:lnTo>
                    <a:pt x="5149" y="506"/>
                  </a:lnTo>
                  <a:lnTo>
                    <a:pt x="5149" y="508"/>
                  </a:lnTo>
                  <a:lnTo>
                    <a:pt x="5151" y="508"/>
                  </a:lnTo>
                  <a:lnTo>
                    <a:pt x="5153" y="510"/>
                  </a:lnTo>
                  <a:lnTo>
                    <a:pt x="5153" y="510"/>
                  </a:lnTo>
                  <a:lnTo>
                    <a:pt x="5153" y="510"/>
                  </a:lnTo>
                  <a:lnTo>
                    <a:pt x="5153" y="510"/>
                  </a:lnTo>
                  <a:lnTo>
                    <a:pt x="5153" y="514"/>
                  </a:lnTo>
                  <a:lnTo>
                    <a:pt x="5153" y="514"/>
                  </a:lnTo>
                  <a:lnTo>
                    <a:pt x="5155" y="516"/>
                  </a:lnTo>
                  <a:lnTo>
                    <a:pt x="5157" y="516"/>
                  </a:lnTo>
                  <a:lnTo>
                    <a:pt x="5165" y="516"/>
                  </a:lnTo>
                  <a:lnTo>
                    <a:pt x="5168" y="516"/>
                  </a:lnTo>
                  <a:lnTo>
                    <a:pt x="5174" y="514"/>
                  </a:lnTo>
                  <a:lnTo>
                    <a:pt x="5174" y="512"/>
                  </a:lnTo>
                  <a:lnTo>
                    <a:pt x="5176" y="514"/>
                  </a:lnTo>
                  <a:lnTo>
                    <a:pt x="5182" y="514"/>
                  </a:lnTo>
                  <a:lnTo>
                    <a:pt x="5188" y="516"/>
                  </a:lnTo>
                  <a:lnTo>
                    <a:pt x="5190" y="518"/>
                  </a:lnTo>
                  <a:lnTo>
                    <a:pt x="5192" y="523"/>
                  </a:lnTo>
                  <a:lnTo>
                    <a:pt x="5192" y="525"/>
                  </a:lnTo>
                  <a:lnTo>
                    <a:pt x="5192" y="527"/>
                  </a:lnTo>
                  <a:lnTo>
                    <a:pt x="5192" y="527"/>
                  </a:lnTo>
                  <a:lnTo>
                    <a:pt x="5194" y="529"/>
                  </a:lnTo>
                  <a:lnTo>
                    <a:pt x="5196" y="531"/>
                  </a:lnTo>
                  <a:lnTo>
                    <a:pt x="5196" y="531"/>
                  </a:lnTo>
                  <a:lnTo>
                    <a:pt x="5198" y="531"/>
                  </a:lnTo>
                  <a:lnTo>
                    <a:pt x="5198" y="531"/>
                  </a:lnTo>
                  <a:lnTo>
                    <a:pt x="5201" y="533"/>
                  </a:lnTo>
                  <a:lnTo>
                    <a:pt x="5203" y="531"/>
                  </a:lnTo>
                  <a:lnTo>
                    <a:pt x="5203" y="531"/>
                  </a:lnTo>
                  <a:lnTo>
                    <a:pt x="5207" y="533"/>
                  </a:lnTo>
                  <a:lnTo>
                    <a:pt x="5211" y="533"/>
                  </a:lnTo>
                  <a:lnTo>
                    <a:pt x="5213" y="535"/>
                  </a:lnTo>
                  <a:lnTo>
                    <a:pt x="5215" y="537"/>
                  </a:lnTo>
                  <a:lnTo>
                    <a:pt x="5217" y="539"/>
                  </a:lnTo>
                  <a:lnTo>
                    <a:pt x="5219" y="541"/>
                  </a:lnTo>
                  <a:lnTo>
                    <a:pt x="5221" y="541"/>
                  </a:lnTo>
                  <a:lnTo>
                    <a:pt x="5223" y="541"/>
                  </a:lnTo>
                  <a:lnTo>
                    <a:pt x="5223" y="541"/>
                  </a:lnTo>
                  <a:lnTo>
                    <a:pt x="5225" y="541"/>
                  </a:lnTo>
                  <a:lnTo>
                    <a:pt x="5227" y="539"/>
                  </a:lnTo>
                  <a:lnTo>
                    <a:pt x="5227" y="537"/>
                  </a:lnTo>
                  <a:lnTo>
                    <a:pt x="5227" y="539"/>
                  </a:lnTo>
                  <a:lnTo>
                    <a:pt x="5227" y="539"/>
                  </a:lnTo>
                  <a:lnTo>
                    <a:pt x="5227" y="541"/>
                  </a:lnTo>
                  <a:lnTo>
                    <a:pt x="5227" y="541"/>
                  </a:lnTo>
                  <a:lnTo>
                    <a:pt x="5227" y="543"/>
                  </a:lnTo>
                  <a:lnTo>
                    <a:pt x="5229" y="543"/>
                  </a:lnTo>
                  <a:lnTo>
                    <a:pt x="5231" y="543"/>
                  </a:lnTo>
                  <a:lnTo>
                    <a:pt x="5234" y="543"/>
                  </a:lnTo>
                  <a:lnTo>
                    <a:pt x="5234" y="541"/>
                  </a:lnTo>
                  <a:lnTo>
                    <a:pt x="5234" y="539"/>
                  </a:lnTo>
                  <a:lnTo>
                    <a:pt x="5234" y="539"/>
                  </a:lnTo>
                  <a:lnTo>
                    <a:pt x="5236" y="539"/>
                  </a:lnTo>
                  <a:lnTo>
                    <a:pt x="5236" y="539"/>
                  </a:lnTo>
                  <a:lnTo>
                    <a:pt x="5236" y="541"/>
                  </a:lnTo>
                  <a:lnTo>
                    <a:pt x="5238" y="541"/>
                  </a:lnTo>
                  <a:lnTo>
                    <a:pt x="5242" y="541"/>
                  </a:lnTo>
                  <a:lnTo>
                    <a:pt x="5242" y="541"/>
                  </a:lnTo>
                  <a:lnTo>
                    <a:pt x="5242" y="539"/>
                  </a:lnTo>
                  <a:lnTo>
                    <a:pt x="5240" y="539"/>
                  </a:lnTo>
                  <a:lnTo>
                    <a:pt x="5240" y="537"/>
                  </a:lnTo>
                  <a:lnTo>
                    <a:pt x="5238" y="537"/>
                  </a:lnTo>
                  <a:lnTo>
                    <a:pt x="5236" y="537"/>
                  </a:lnTo>
                  <a:lnTo>
                    <a:pt x="5234" y="537"/>
                  </a:lnTo>
                  <a:lnTo>
                    <a:pt x="5234" y="535"/>
                  </a:lnTo>
                  <a:lnTo>
                    <a:pt x="5234" y="535"/>
                  </a:lnTo>
                  <a:lnTo>
                    <a:pt x="5234" y="535"/>
                  </a:lnTo>
                  <a:lnTo>
                    <a:pt x="5234" y="533"/>
                  </a:lnTo>
                  <a:lnTo>
                    <a:pt x="5236" y="533"/>
                  </a:lnTo>
                  <a:lnTo>
                    <a:pt x="5236" y="533"/>
                  </a:lnTo>
                  <a:lnTo>
                    <a:pt x="5234" y="531"/>
                  </a:lnTo>
                  <a:lnTo>
                    <a:pt x="5231" y="531"/>
                  </a:lnTo>
                  <a:lnTo>
                    <a:pt x="5231" y="531"/>
                  </a:lnTo>
                  <a:lnTo>
                    <a:pt x="5231" y="531"/>
                  </a:lnTo>
                  <a:lnTo>
                    <a:pt x="5231" y="531"/>
                  </a:lnTo>
                  <a:lnTo>
                    <a:pt x="5234" y="531"/>
                  </a:lnTo>
                  <a:lnTo>
                    <a:pt x="5236" y="531"/>
                  </a:lnTo>
                  <a:lnTo>
                    <a:pt x="5238" y="529"/>
                  </a:lnTo>
                  <a:lnTo>
                    <a:pt x="5242" y="529"/>
                  </a:lnTo>
                  <a:lnTo>
                    <a:pt x="5242" y="527"/>
                  </a:lnTo>
                  <a:lnTo>
                    <a:pt x="5244" y="527"/>
                  </a:lnTo>
                  <a:lnTo>
                    <a:pt x="5244" y="525"/>
                  </a:lnTo>
                  <a:lnTo>
                    <a:pt x="5242" y="523"/>
                  </a:lnTo>
                  <a:lnTo>
                    <a:pt x="5242" y="523"/>
                  </a:lnTo>
                  <a:lnTo>
                    <a:pt x="5240" y="523"/>
                  </a:lnTo>
                  <a:lnTo>
                    <a:pt x="5238" y="523"/>
                  </a:lnTo>
                  <a:lnTo>
                    <a:pt x="5238" y="523"/>
                  </a:lnTo>
                  <a:lnTo>
                    <a:pt x="5242" y="520"/>
                  </a:lnTo>
                  <a:lnTo>
                    <a:pt x="5242" y="520"/>
                  </a:lnTo>
                  <a:lnTo>
                    <a:pt x="5244" y="518"/>
                  </a:lnTo>
                  <a:lnTo>
                    <a:pt x="5244" y="516"/>
                  </a:lnTo>
                  <a:lnTo>
                    <a:pt x="5242" y="516"/>
                  </a:lnTo>
                  <a:lnTo>
                    <a:pt x="5240" y="516"/>
                  </a:lnTo>
                  <a:lnTo>
                    <a:pt x="5242" y="516"/>
                  </a:lnTo>
                  <a:lnTo>
                    <a:pt x="5242" y="516"/>
                  </a:lnTo>
                  <a:lnTo>
                    <a:pt x="5238" y="512"/>
                  </a:lnTo>
                  <a:lnTo>
                    <a:pt x="5236" y="512"/>
                  </a:lnTo>
                  <a:lnTo>
                    <a:pt x="5236" y="512"/>
                  </a:lnTo>
                  <a:lnTo>
                    <a:pt x="5238" y="512"/>
                  </a:lnTo>
                  <a:lnTo>
                    <a:pt x="5240" y="512"/>
                  </a:lnTo>
                  <a:lnTo>
                    <a:pt x="5242" y="512"/>
                  </a:lnTo>
                  <a:lnTo>
                    <a:pt x="5242" y="514"/>
                  </a:lnTo>
                  <a:lnTo>
                    <a:pt x="5244" y="514"/>
                  </a:lnTo>
                  <a:lnTo>
                    <a:pt x="5244" y="514"/>
                  </a:lnTo>
                  <a:lnTo>
                    <a:pt x="5248" y="514"/>
                  </a:lnTo>
                  <a:lnTo>
                    <a:pt x="5248" y="516"/>
                  </a:lnTo>
                  <a:lnTo>
                    <a:pt x="5248" y="516"/>
                  </a:lnTo>
                  <a:lnTo>
                    <a:pt x="5250" y="516"/>
                  </a:lnTo>
                  <a:lnTo>
                    <a:pt x="5254" y="514"/>
                  </a:lnTo>
                  <a:lnTo>
                    <a:pt x="5256" y="514"/>
                  </a:lnTo>
                  <a:lnTo>
                    <a:pt x="5258" y="516"/>
                  </a:lnTo>
                  <a:lnTo>
                    <a:pt x="5258" y="516"/>
                  </a:lnTo>
                  <a:lnTo>
                    <a:pt x="5258" y="516"/>
                  </a:lnTo>
                  <a:lnTo>
                    <a:pt x="5260" y="514"/>
                  </a:lnTo>
                  <a:lnTo>
                    <a:pt x="5258" y="512"/>
                  </a:lnTo>
                  <a:lnTo>
                    <a:pt x="5256" y="510"/>
                  </a:lnTo>
                  <a:lnTo>
                    <a:pt x="5254" y="510"/>
                  </a:lnTo>
                  <a:lnTo>
                    <a:pt x="5254" y="508"/>
                  </a:lnTo>
                  <a:lnTo>
                    <a:pt x="5254" y="508"/>
                  </a:lnTo>
                  <a:lnTo>
                    <a:pt x="5256" y="508"/>
                  </a:lnTo>
                  <a:lnTo>
                    <a:pt x="5258" y="510"/>
                  </a:lnTo>
                  <a:lnTo>
                    <a:pt x="5258" y="510"/>
                  </a:lnTo>
                  <a:lnTo>
                    <a:pt x="5260" y="512"/>
                  </a:lnTo>
                  <a:lnTo>
                    <a:pt x="5262" y="512"/>
                  </a:lnTo>
                  <a:lnTo>
                    <a:pt x="5267" y="512"/>
                  </a:lnTo>
                  <a:lnTo>
                    <a:pt x="5267" y="512"/>
                  </a:lnTo>
                  <a:lnTo>
                    <a:pt x="5267" y="510"/>
                  </a:lnTo>
                  <a:lnTo>
                    <a:pt x="5267" y="508"/>
                  </a:lnTo>
                  <a:lnTo>
                    <a:pt x="5267" y="508"/>
                  </a:lnTo>
                  <a:lnTo>
                    <a:pt x="5269" y="506"/>
                  </a:lnTo>
                  <a:lnTo>
                    <a:pt x="5273" y="504"/>
                  </a:lnTo>
                  <a:lnTo>
                    <a:pt x="5275" y="504"/>
                  </a:lnTo>
                  <a:lnTo>
                    <a:pt x="5275" y="504"/>
                  </a:lnTo>
                  <a:lnTo>
                    <a:pt x="5277" y="504"/>
                  </a:lnTo>
                  <a:lnTo>
                    <a:pt x="5277" y="504"/>
                  </a:lnTo>
                  <a:lnTo>
                    <a:pt x="5279" y="502"/>
                  </a:lnTo>
                  <a:lnTo>
                    <a:pt x="5279" y="500"/>
                  </a:lnTo>
                  <a:close/>
                  <a:moveTo>
                    <a:pt x="3347" y="993"/>
                  </a:moveTo>
                  <a:lnTo>
                    <a:pt x="3347" y="995"/>
                  </a:lnTo>
                  <a:lnTo>
                    <a:pt x="3345" y="995"/>
                  </a:lnTo>
                  <a:lnTo>
                    <a:pt x="3345" y="995"/>
                  </a:lnTo>
                  <a:lnTo>
                    <a:pt x="3341" y="995"/>
                  </a:lnTo>
                  <a:lnTo>
                    <a:pt x="3341" y="995"/>
                  </a:lnTo>
                  <a:lnTo>
                    <a:pt x="3341" y="995"/>
                  </a:lnTo>
                  <a:lnTo>
                    <a:pt x="3343" y="997"/>
                  </a:lnTo>
                  <a:lnTo>
                    <a:pt x="3341" y="997"/>
                  </a:lnTo>
                  <a:lnTo>
                    <a:pt x="3341" y="997"/>
                  </a:lnTo>
                  <a:lnTo>
                    <a:pt x="3338" y="997"/>
                  </a:lnTo>
                  <a:lnTo>
                    <a:pt x="3338" y="997"/>
                  </a:lnTo>
                  <a:lnTo>
                    <a:pt x="3334" y="997"/>
                  </a:lnTo>
                  <a:lnTo>
                    <a:pt x="3332" y="997"/>
                  </a:lnTo>
                  <a:lnTo>
                    <a:pt x="3332" y="997"/>
                  </a:lnTo>
                  <a:lnTo>
                    <a:pt x="3330" y="995"/>
                  </a:lnTo>
                  <a:lnTo>
                    <a:pt x="3330" y="995"/>
                  </a:lnTo>
                  <a:lnTo>
                    <a:pt x="3328" y="995"/>
                  </a:lnTo>
                  <a:lnTo>
                    <a:pt x="3326" y="995"/>
                  </a:lnTo>
                  <a:lnTo>
                    <a:pt x="3324" y="995"/>
                  </a:lnTo>
                  <a:lnTo>
                    <a:pt x="3324" y="995"/>
                  </a:lnTo>
                  <a:lnTo>
                    <a:pt x="3322" y="993"/>
                  </a:lnTo>
                  <a:lnTo>
                    <a:pt x="3322" y="993"/>
                  </a:lnTo>
                  <a:lnTo>
                    <a:pt x="3322" y="991"/>
                  </a:lnTo>
                  <a:lnTo>
                    <a:pt x="3320" y="995"/>
                  </a:lnTo>
                  <a:lnTo>
                    <a:pt x="3320" y="997"/>
                  </a:lnTo>
                  <a:lnTo>
                    <a:pt x="3320" y="1000"/>
                  </a:lnTo>
                  <a:lnTo>
                    <a:pt x="3318" y="1002"/>
                  </a:lnTo>
                  <a:lnTo>
                    <a:pt x="3318" y="1006"/>
                  </a:lnTo>
                  <a:lnTo>
                    <a:pt x="3320" y="1008"/>
                  </a:lnTo>
                  <a:lnTo>
                    <a:pt x="3320" y="1010"/>
                  </a:lnTo>
                  <a:lnTo>
                    <a:pt x="3322" y="1012"/>
                  </a:lnTo>
                  <a:lnTo>
                    <a:pt x="3322" y="1012"/>
                  </a:lnTo>
                  <a:lnTo>
                    <a:pt x="3322" y="1010"/>
                  </a:lnTo>
                  <a:lnTo>
                    <a:pt x="3322" y="1010"/>
                  </a:lnTo>
                  <a:lnTo>
                    <a:pt x="3324" y="1010"/>
                  </a:lnTo>
                  <a:lnTo>
                    <a:pt x="3326" y="1010"/>
                  </a:lnTo>
                  <a:lnTo>
                    <a:pt x="3328" y="1010"/>
                  </a:lnTo>
                  <a:lnTo>
                    <a:pt x="3328" y="1010"/>
                  </a:lnTo>
                  <a:lnTo>
                    <a:pt x="3328" y="1010"/>
                  </a:lnTo>
                  <a:lnTo>
                    <a:pt x="3328" y="1012"/>
                  </a:lnTo>
                  <a:lnTo>
                    <a:pt x="3328" y="1014"/>
                  </a:lnTo>
                  <a:lnTo>
                    <a:pt x="3328" y="1014"/>
                  </a:lnTo>
                  <a:lnTo>
                    <a:pt x="3330" y="1016"/>
                  </a:lnTo>
                  <a:lnTo>
                    <a:pt x="3330" y="1016"/>
                  </a:lnTo>
                  <a:lnTo>
                    <a:pt x="3330" y="1016"/>
                  </a:lnTo>
                  <a:lnTo>
                    <a:pt x="3328" y="1016"/>
                  </a:lnTo>
                  <a:lnTo>
                    <a:pt x="3328" y="1016"/>
                  </a:lnTo>
                  <a:lnTo>
                    <a:pt x="3326" y="1016"/>
                  </a:lnTo>
                  <a:lnTo>
                    <a:pt x="3326" y="1016"/>
                  </a:lnTo>
                  <a:lnTo>
                    <a:pt x="3324" y="1018"/>
                  </a:lnTo>
                  <a:lnTo>
                    <a:pt x="3324" y="1020"/>
                  </a:lnTo>
                  <a:lnTo>
                    <a:pt x="3324" y="1022"/>
                  </a:lnTo>
                  <a:lnTo>
                    <a:pt x="3324" y="1020"/>
                  </a:lnTo>
                  <a:lnTo>
                    <a:pt x="3326" y="1020"/>
                  </a:lnTo>
                  <a:lnTo>
                    <a:pt x="3326" y="1020"/>
                  </a:lnTo>
                  <a:lnTo>
                    <a:pt x="3328" y="1020"/>
                  </a:lnTo>
                  <a:lnTo>
                    <a:pt x="3330" y="1020"/>
                  </a:lnTo>
                  <a:lnTo>
                    <a:pt x="3330" y="1022"/>
                  </a:lnTo>
                  <a:lnTo>
                    <a:pt x="3332" y="1022"/>
                  </a:lnTo>
                  <a:lnTo>
                    <a:pt x="3332" y="1022"/>
                  </a:lnTo>
                  <a:lnTo>
                    <a:pt x="3332" y="1024"/>
                  </a:lnTo>
                  <a:lnTo>
                    <a:pt x="3334" y="1026"/>
                  </a:lnTo>
                  <a:lnTo>
                    <a:pt x="3334" y="1026"/>
                  </a:lnTo>
                  <a:lnTo>
                    <a:pt x="3334" y="1028"/>
                  </a:lnTo>
                  <a:lnTo>
                    <a:pt x="3334" y="1031"/>
                  </a:lnTo>
                  <a:lnTo>
                    <a:pt x="3334" y="1033"/>
                  </a:lnTo>
                  <a:lnTo>
                    <a:pt x="3334" y="1035"/>
                  </a:lnTo>
                  <a:lnTo>
                    <a:pt x="3334" y="1035"/>
                  </a:lnTo>
                  <a:lnTo>
                    <a:pt x="3334" y="1037"/>
                  </a:lnTo>
                  <a:lnTo>
                    <a:pt x="3334" y="1041"/>
                  </a:lnTo>
                  <a:lnTo>
                    <a:pt x="3334" y="1043"/>
                  </a:lnTo>
                  <a:lnTo>
                    <a:pt x="3334" y="1047"/>
                  </a:lnTo>
                  <a:lnTo>
                    <a:pt x="3334" y="1051"/>
                  </a:lnTo>
                  <a:lnTo>
                    <a:pt x="3334" y="1053"/>
                  </a:lnTo>
                  <a:lnTo>
                    <a:pt x="3336" y="1055"/>
                  </a:lnTo>
                  <a:lnTo>
                    <a:pt x="3336" y="1059"/>
                  </a:lnTo>
                  <a:lnTo>
                    <a:pt x="3336" y="1059"/>
                  </a:lnTo>
                  <a:lnTo>
                    <a:pt x="3336" y="1061"/>
                  </a:lnTo>
                  <a:lnTo>
                    <a:pt x="3336" y="1061"/>
                  </a:lnTo>
                  <a:lnTo>
                    <a:pt x="3334" y="1061"/>
                  </a:lnTo>
                  <a:lnTo>
                    <a:pt x="3332" y="1061"/>
                  </a:lnTo>
                  <a:lnTo>
                    <a:pt x="3332" y="1061"/>
                  </a:lnTo>
                  <a:lnTo>
                    <a:pt x="3334" y="1059"/>
                  </a:lnTo>
                  <a:lnTo>
                    <a:pt x="3334" y="1059"/>
                  </a:lnTo>
                  <a:lnTo>
                    <a:pt x="3332" y="1059"/>
                  </a:lnTo>
                  <a:lnTo>
                    <a:pt x="3328" y="1061"/>
                  </a:lnTo>
                  <a:lnTo>
                    <a:pt x="3310" y="1066"/>
                  </a:lnTo>
                  <a:lnTo>
                    <a:pt x="3303" y="1066"/>
                  </a:lnTo>
                  <a:lnTo>
                    <a:pt x="3295" y="1064"/>
                  </a:lnTo>
                  <a:lnTo>
                    <a:pt x="3293" y="1061"/>
                  </a:lnTo>
                  <a:lnTo>
                    <a:pt x="3287" y="1057"/>
                  </a:lnTo>
                  <a:lnTo>
                    <a:pt x="3285" y="1055"/>
                  </a:lnTo>
                  <a:lnTo>
                    <a:pt x="3283" y="1053"/>
                  </a:lnTo>
                  <a:lnTo>
                    <a:pt x="3281" y="1053"/>
                  </a:lnTo>
                  <a:lnTo>
                    <a:pt x="3281" y="1051"/>
                  </a:lnTo>
                  <a:lnTo>
                    <a:pt x="3279" y="1051"/>
                  </a:lnTo>
                  <a:lnTo>
                    <a:pt x="3275" y="1051"/>
                  </a:lnTo>
                  <a:lnTo>
                    <a:pt x="3272" y="1051"/>
                  </a:lnTo>
                  <a:lnTo>
                    <a:pt x="3270" y="1049"/>
                  </a:lnTo>
                  <a:lnTo>
                    <a:pt x="3268" y="1049"/>
                  </a:lnTo>
                  <a:lnTo>
                    <a:pt x="3266" y="1047"/>
                  </a:lnTo>
                  <a:lnTo>
                    <a:pt x="3264" y="1045"/>
                  </a:lnTo>
                  <a:lnTo>
                    <a:pt x="3264" y="1045"/>
                  </a:lnTo>
                  <a:lnTo>
                    <a:pt x="3264" y="1043"/>
                  </a:lnTo>
                  <a:lnTo>
                    <a:pt x="3264" y="1041"/>
                  </a:lnTo>
                  <a:lnTo>
                    <a:pt x="3262" y="1037"/>
                  </a:lnTo>
                  <a:lnTo>
                    <a:pt x="3262" y="1035"/>
                  </a:lnTo>
                  <a:lnTo>
                    <a:pt x="3262" y="1028"/>
                  </a:lnTo>
                  <a:lnTo>
                    <a:pt x="3262" y="1028"/>
                  </a:lnTo>
                  <a:lnTo>
                    <a:pt x="3264" y="1026"/>
                  </a:lnTo>
                  <a:lnTo>
                    <a:pt x="3264" y="1024"/>
                  </a:lnTo>
                  <a:lnTo>
                    <a:pt x="3264" y="1024"/>
                  </a:lnTo>
                  <a:lnTo>
                    <a:pt x="3266" y="1024"/>
                  </a:lnTo>
                  <a:lnTo>
                    <a:pt x="3266" y="1024"/>
                  </a:lnTo>
                  <a:lnTo>
                    <a:pt x="3266" y="1026"/>
                  </a:lnTo>
                  <a:lnTo>
                    <a:pt x="3266" y="1024"/>
                  </a:lnTo>
                  <a:lnTo>
                    <a:pt x="3268" y="1024"/>
                  </a:lnTo>
                  <a:lnTo>
                    <a:pt x="3268" y="1020"/>
                  </a:lnTo>
                  <a:lnTo>
                    <a:pt x="3270" y="1020"/>
                  </a:lnTo>
                  <a:lnTo>
                    <a:pt x="3270" y="1020"/>
                  </a:lnTo>
                  <a:lnTo>
                    <a:pt x="3270" y="1018"/>
                  </a:lnTo>
                  <a:lnTo>
                    <a:pt x="3270" y="1018"/>
                  </a:lnTo>
                  <a:lnTo>
                    <a:pt x="3270" y="1016"/>
                  </a:lnTo>
                  <a:lnTo>
                    <a:pt x="3270" y="1012"/>
                  </a:lnTo>
                  <a:lnTo>
                    <a:pt x="3272" y="1008"/>
                  </a:lnTo>
                  <a:lnTo>
                    <a:pt x="3272" y="1006"/>
                  </a:lnTo>
                  <a:lnTo>
                    <a:pt x="3275" y="1006"/>
                  </a:lnTo>
                  <a:lnTo>
                    <a:pt x="3277" y="1004"/>
                  </a:lnTo>
                  <a:lnTo>
                    <a:pt x="3279" y="1004"/>
                  </a:lnTo>
                  <a:lnTo>
                    <a:pt x="3281" y="1004"/>
                  </a:lnTo>
                  <a:lnTo>
                    <a:pt x="3285" y="1004"/>
                  </a:lnTo>
                  <a:lnTo>
                    <a:pt x="3283" y="1002"/>
                  </a:lnTo>
                  <a:lnTo>
                    <a:pt x="3283" y="1002"/>
                  </a:lnTo>
                  <a:lnTo>
                    <a:pt x="3283" y="1002"/>
                  </a:lnTo>
                  <a:lnTo>
                    <a:pt x="3281" y="1000"/>
                  </a:lnTo>
                  <a:lnTo>
                    <a:pt x="3279" y="1000"/>
                  </a:lnTo>
                  <a:lnTo>
                    <a:pt x="3277" y="1000"/>
                  </a:lnTo>
                  <a:lnTo>
                    <a:pt x="3277" y="1000"/>
                  </a:lnTo>
                  <a:lnTo>
                    <a:pt x="3275" y="1000"/>
                  </a:lnTo>
                  <a:lnTo>
                    <a:pt x="3272" y="997"/>
                  </a:lnTo>
                  <a:lnTo>
                    <a:pt x="3270" y="995"/>
                  </a:lnTo>
                  <a:lnTo>
                    <a:pt x="3268" y="991"/>
                  </a:lnTo>
                  <a:lnTo>
                    <a:pt x="3268" y="991"/>
                  </a:lnTo>
                  <a:lnTo>
                    <a:pt x="3266" y="989"/>
                  </a:lnTo>
                  <a:lnTo>
                    <a:pt x="3266" y="987"/>
                  </a:lnTo>
                  <a:lnTo>
                    <a:pt x="3266" y="985"/>
                  </a:lnTo>
                  <a:lnTo>
                    <a:pt x="3262" y="981"/>
                  </a:lnTo>
                  <a:lnTo>
                    <a:pt x="3260" y="979"/>
                  </a:lnTo>
                  <a:lnTo>
                    <a:pt x="3258" y="979"/>
                  </a:lnTo>
                  <a:lnTo>
                    <a:pt x="3258" y="977"/>
                  </a:lnTo>
                  <a:lnTo>
                    <a:pt x="3256" y="977"/>
                  </a:lnTo>
                  <a:lnTo>
                    <a:pt x="3256" y="977"/>
                  </a:lnTo>
                  <a:lnTo>
                    <a:pt x="3256" y="975"/>
                  </a:lnTo>
                  <a:lnTo>
                    <a:pt x="3254" y="973"/>
                  </a:lnTo>
                  <a:lnTo>
                    <a:pt x="3252" y="969"/>
                  </a:lnTo>
                  <a:lnTo>
                    <a:pt x="3248" y="964"/>
                  </a:lnTo>
                  <a:lnTo>
                    <a:pt x="3248" y="964"/>
                  </a:lnTo>
                  <a:lnTo>
                    <a:pt x="3248" y="964"/>
                  </a:lnTo>
                  <a:lnTo>
                    <a:pt x="3246" y="962"/>
                  </a:lnTo>
                  <a:lnTo>
                    <a:pt x="3246" y="960"/>
                  </a:lnTo>
                  <a:lnTo>
                    <a:pt x="3244" y="958"/>
                  </a:lnTo>
                  <a:lnTo>
                    <a:pt x="3244" y="958"/>
                  </a:lnTo>
                  <a:lnTo>
                    <a:pt x="3244" y="958"/>
                  </a:lnTo>
                  <a:lnTo>
                    <a:pt x="3244" y="954"/>
                  </a:lnTo>
                  <a:lnTo>
                    <a:pt x="3244" y="954"/>
                  </a:lnTo>
                  <a:lnTo>
                    <a:pt x="3244" y="952"/>
                  </a:lnTo>
                  <a:lnTo>
                    <a:pt x="3244" y="950"/>
                  </a:lnTo>
                  <a:lnTo>
                    <a:pt x="3244" y="946"/>
                  </a:lnTo>
                  <a:lnTo>
                    <a:pt x="3246" y="944"/>
                  </a:lnTo>
                  <a:lnTo>
                    <a:pt x="3246" y="944"/>
                  </a:lnTo>
                  <a:lnTo>
                    <a:pt x="3244" y="944"/>
                  </a:lnTo>
                  <a:lnTo>
                    <a:pt x="3244" y="948"/>
                  </a:lnTo>
                  <a:lnTo>
                    <a:pt x="3242" y="946"/>
                  </a:lnTo>
                  <a:lnTo>
                    <a:pt x="3242" y="942"/>
                  </a:lnTo>
                  <a:lnTo>
                    <a:pt x="3242" y="940"/>
                  </a:lnTo>
                  <a:lnTo>
                    <a:pt x="3240" y="938"/>
                  </a:lnTo>
                  <a:lnTo>
                    <a:pt x="3237" y="938"/>
                  </a:lnTo>
                  <a:lnTo>
                    <a:pt x="3237" y="936"/>
                  </a:lnTo>
                  <a:lnTo>
                    <a:pt x="3235" y="933"/>
                  </a:lnTo>
                  <a:lnTo>
                    <a:pt x="3233" y="933"/>
                  </a:lnTo>
                  <a:lnTo>
                    <a:pt x="3233" y="933"/>
                  </a:lnTo>
                  <a:lnTo>
                    <a:pt x="3231" y="933"/>
                  </a:lnTo>
                  <a:lnTo>
                    <a:pt x="3233" y="931"/>
                  </a:lnTo>
                  <a:lnTo>
                    <a:pt x="3233" y="929"/>
                  </a:lnTo>
                  <a:lnTo>
                    <a:pt x="3233" y="929"/>
                  </a:lnTo>
                  <a:lnTo>
                    <a:pt x="3235" y="927"/>
                  </a:lnTo>
                  <a:lnTo>
                    <a:pt x="3235" y="927"/>
                  </a:lnTo>
                  <a:lnTo>
                    <a:pt x="3237" y="925"/>
                  </a:lnTo>
                  <a:lnTo>
                    <a:pt x="3237" y="927"/>
                  </a:lnTo>
                  <a:lnTo>
                    <a:pt x="3237" y="927"/>
                  </a:lnTo>
                  <a:lnTo>
                    <a:pt x="3237" y="925"/>
                  </a:lnTo>
                  <a:lnTo>
                    <a:pt x="3240" y="925"/>
                  </a:lnTo>
                  <a:lnTo>
                    <a:pt x="3240" y="923"/>
                  </a:lnTo>
                  <a:lnTo>
                    <a:pt x="3242" y="921"/>
                  </a:lnTo>
                  <a:lnTo>
                    <a:pt x="3242" y="919"/>
                  </a:lnTo>
                  <a:lnTo>
                    <a:pt x="3242" y="919"/>
                  </a:lnTo>
                  <a:lnTo>
                    <a:pt x="3242" y="917"/>
                  </a:lnTo>
                  <a:lnTo>
                    <a:pt x="3244" y="917"/>
                  </a:lnTo>
                  <a:lnTo>
                    <a:pt x="3244" y="915"/>
                  </a:lnTo>
                  <a:lnTo>
                    <a:pt x="3244" y="915"/>
                  </a:lnTo>
                  <a:lnTo>
                    <a:pt x="3244" y="915"/>
                  </a:lnTo>
                  <a:lnTo>
                    <a:pt x="3244" y="913"/>
                  </a:lnTo>
                  <a:lnTo>
                    <a:pt x="3244" y="913"/>
                  </a:lnTo>
                  <a:lnTo>
                    <a:pt x="3244" y="911"/>
                  </a:lnTo>
                  <a:lnTo>
                    <a:pt x="3244" y="913"/>
                  </a:lnTo>
                  <a:lnTo>
                    <a:pt x="3244" y="913"/>
                  </a:lnTo>
                  <a:lnTo>
                    <a:pt x="3246" y="913"/>
                  </a:lnTo>
                  <a:lnTo>
                    <a:pt x="3246" y="913"/>
                  </a:lnTo>
                  <a:lnTo>
                    <a:pt x="3246" y="911"/>
                  </a:lnTo>
                  <a:lnTo>
                    <a:pt x="3248" y="913"/>
                  </a:lnTo>
                  <a:lnTo>
                    <a:pt x="3248" y="913"/>
                  </a:lnTo>
                  <a:lnTo>
                    <a:pt x="3252" y="911"/>
                  </a:lnTo>
                  <a:lnTo>
                    <a:pt x="3254" y="911"/>
                  </a:lnTo>
                  <a:lnTo>
                    <a:pt x="3254" y="911"/>
                  </a:lnTo>
                  <a:lnTo>
                    <a:pt x="3258" y="907"/>
                  </a:lnTo>
                  <a:lnTo>
                    <a:pt x="3258" y="907"/>
                  </a:lnTo>
                  <a:lnTo>
                    <a:pt x="3258" y="907"/>
                  </a:lnTo>
                  <a:lnTo>
                    <a:pt x="3260" y="909"/>
                  </a:lnTo>
                  <a:lnTo>
                    <a:pt x="3260" y="909"/>
                  </a:lnTo>
                  <a:lnTo>
                    <a:pt x="3260" y="909"/>
                  </a:lnTo>
                  <a:lnTo>
                    <a:pt x="3262" y="907"/>
                  </a:lnTo>
                  <a:lnTo>
                    <a:pt x="3260" y="907"/>
                  </a:lnTo>
                  <a:lnTo>
                    <a:pt x="3260" y="907"/>
                  </a:lnTo>
                  <a:lnTo>
                    <a:pt x="3260" y="905"/>
                  </a:lnTo>
                  <a:lnTo>
                    <a:pt x="3262" y="905"/>
                  </a:lnTo>
                  <a:lnTo>
                    <a:pt x="3262" y="905"/>
                  </a:lnTo>
                  <a:lnTo>
                    <a:pt x="3266" y="902"/>
                  </a:lnTo>
                  <a:lnTo>
                    <a:pt x="3266" y="902"/>
                  </a:lnTo>
                  <a:lnTo>
                    <a:pt x="3266" y="900"/>
                  </a:lnTo>
                  <a:lnTo>
                    <a:pt x="3268" y="900"/>
                  </a:lnTo>
                  <a:lnTo>
                    <a:pt x="3268" y="900"/>
                  </a:lnTo>
                  <a:lnTo>
                    <a:pt x="3268" y="900"/>
                  </a:lnTo>
                  <a:lnTo>
                    <a:pt x="3268" y="898"/>
                  </a:lnTo>
                  <a:lnTo>
                    <a:pt x="3270" y="898"/>
                  </a:lnTo>
                  <a:lnTo>
                    <a:pt x="3270" y="898"/>
                  </a:lnTo>
                  <a:lnTo>
                    <a:pt x="3270" y="896"/>
                  </a:lnTo>
                  <a:lnTo>
                    <a:pt x="3270" y="896"/>
                  </a:lnTo>
                  <a:lnTo>
                    <a:pt x="3272" y="896"/>
                  </a:lnTo>
                  <a:lnTo>
                    <a:pt x="3275" y="896"/>
                  </a:lnTo>
                  <a:lnTo>
                    <a:pt x="3277" y="896"/>
                  </a:lnTo>
                  <a:lnTo>
                    <a:pt x="3277" y="896"/>
                  </a:lnTo>
                  <a:lnTo>
                    <a:pt x="3279" y="894"/>
                  </a:lnTo>
                  <a:lnTo>
                    <a:pt x="3281" y="894"/>
                  </a:lnTo>
                  <a:lnTo>
                    <a:pt x="3283" y="892"/>
                  </a:lnTo>
                  <a:lnTo>
                    <a:pt x="3285" y="890"/>
                  </a:lnTo>
                  <a:lnTo>
                    <a:pt x="3287" y="890"/>
                  </a:lnTo>
                  <a:lnTo>
                    <a:pt x="3287" y="890"/>
                  </a:lnTo>
                  <a:lnTo>
                    <a:pt x="3287" y="890"/>
                  </a:lnTo>
                  <a:lnTo>
                    <a:pt x="3289" y="890"/>
                  </a:lnTo>
                  <a:lnTo>
                    <a:pt x="3289" y="890"/>
                  </a:lnTo>
                  <a:lnTo>
                    <a:pt x="3293" y="888"/>
                  </a:lnTo>
                  <a:lnTo>
                    <a:pt x="3295" y="886"/>
                  </a:lnTo>
                  <a:lnTo>
                    <a:pt x="3297" y="886"/>
                  </a:lnTo>
                  <a:lnTo>
                    <a:pt x="3301" y="888"/>
                  </a:lnTo>
                  <a:lnTo>
                    <a:pt x="3303" y="888"/>
                  </a:lnTo>
                  <a:lnTo>
                    <a:pt x="3303" y="890"/>
                  </a:lnTo>
                  <a:lnTo>
                    <a:pt x="3308" y="890"/>
                  </a:lnTo>
                  <a:lnTo>
                    <a:pt x="3308" y="890"/>
                  </a:lnTo>
                  <a:lnTo>
                    <a:pt x="3310" y="892"/>
                  </a:lnTo>
                  <a:lnTo>
                    <a:pt x="3310" y="892"/>
                  </a:lnTo>
                  <a:lnTo>
                    <a:pt x="3310" y="892"/>
                  </a:lnTo>
                  <a:lnTo>
                    <a:pt x="3312" y="890"/>
                  </a:lnTo>
                  <a:lnTo>
                    <a:pt x="3314" y="890"/>
                  </a:lnTo>
                  <a:lnTo>
                    <a:pt x="3314" y="890"/>
                  </a:lnTo>
                  <a:lnTo>
                    <a:pt x="3314" y="888"/>
                  </a:lnTo>
                  <a:lnTo>
                    <a:pt x="3318" y="890"/>
                  </a:lnTo>
                  <a:lnTo>
                    <a:pt x="3320" y="890"/>
                  </a:lnTo>
                  <a:lnTo>
                    <a:pt x="3322" y="890"/>
                  </a:lnTo>
                  <a:lnTo>
                    <a:pt x="3322" y="890"/>
                  </a:lnTo>
                  <a:lnTo>
                    <a:pt x="3324" y="892"/>
                  </a:lnTo>
                  <a:lnTo>
                    <a:pt x="3324" y="894"/>
                  </a:lnTo>
                  <a:lnTo>
                    <a:pt x="3324" y="896"/>
                  </a:lnTo>
                  <a:lnTo>
                    <a:pt x="3324" y="896"/>
                  </a:lnTo>
                  <a:lnTo>
                    <a:pt x="3322" y="898"/>
                  </a:lnTo>
                  <a:lnTo>
                    <a:pt x="3324" y="898"/>
                  </a:lnTo>
                  <a:lnTo>
                    <a:pt x="3324" y="902"/>
                  </a:lnTo>
                  <a:lnTo>
                    <a:pt x="3322" y="907"/>
                  </a:lnTo>
                  <a:lnTo>
                    <a:pt x="3320" y="911"/>
                  </a:lnTo>
                  <a:lnTo>
                    <a:pt x="3318" y="913"/>
                  </a:lnTo>
                  <a:lnTo>
                    <a:pt x="3320" y="915"/>
                  </a:lnTo>
                  <a:lnTo>
                    <a:pt x="3324" y="917"/>
                  </a:lnTo>
                  <a:lnTo>
                    <a:pt x="3324" y="919"/>
                  </a:lnTo>
                  <a:lnTo>
                    <a:pt x="3324" y="919"/>
                  </a:lnTo>
                  <a:lnTo>
                    <a:pt x="3320" y="919"/>
                  </a:lnTo>
                  <a:lnTo>
                    <a:pt x="3318" y="917"/>
                  </a:lnTo>
                  <a:lnTo>
                    <a:pt x="3316" y="917"/>
                  </a:lnTo>
                  <a:lnTo>
                    <a:pt x="3314" y="917"/>
                  </a:lnTo>
                  <a:lnTo>
                    <a:pt x="3308" y="917"/>
                  </a:lnTo>
                  <a:lnTo>
                    <a:pt x="3303" y="917"/>
                  </a:lnTo>
                  <a:lnTo>
                    <a:pt x="3301" y="917"/>
                  </a:lnTo>
                  <a:lnTo>
                    <a:pt x="3299" y="917"/>
                  </a:lnTo>
                  <a:lnTo>
                    <a:pt x="3297" y="919"/>
                  </a:lnTo>
                  <a:lnTo>
                    <a:pt x="3297" y="919"/>
                  </a:lnTo>
                  <a:lnTo>
                    <a:pt x="3297" y="921"/>
                  </a:lnTo>
                  <a:lnTo>
                    <a:pt x="3295" y="923"/>
                  </a:lnTo>
                  <a:lnTo>
                    <a:pt x="3293" y="923"/>
                  </a:lnTo>
                  <a:lnTo>
                    <a:pt x="3293" y="925"/>
                  </a:lnTo>
                  <a:lnTo>
                    <a:pt x="3293" y="927"/>
                  </a:lnTo>
                  <a:lnTo>
                    <a:pt x="3295" y="927"/>
                  </a:lnTo>
                  <a:lnTo>
                    <a:pt x="3297" y="929"/>
                  </a:lnTo>
                  <a:lnTo>
                    <a:pt x="3297" y="931"/>
                  </a:lnTo>
                  <a:lnTo>
                    <a:pt x="3299" y="931"/>
                  </a:lnTo>
                  <a:lnTo>
                    <a:pt x="3299" y="931"/>
                  </a:lnTo>
                  <a:lnTo>
                    <a:pt x="3301" y="931"/>
                  </a:lnTo>
                  <a:lnTo>
                    <a:pt x="3301" y="931"/>
                  </a:lnTo>
                  <a:lnTo>
                    <a:pt x="3299" y="931"/>
                  </a:lnTo>
                  <a:lnTo>
                    <a:pt x="3297" y="931"/>
                  </a:lnTo>
                  <a:lnTo>
                    <a:pt x="3295" y="933"/>
                  </a:lnTo>
                  <a:lnTo>
                    <a:pt x="3295" y="931"/>
                  </a:lnTo>
                  <a:lnTo>
                    <a:pt x="3295" y="931"/>
                  </a:lnTo>
                  <a:lnTo>
                    <a:pt x="3291" y="929"/>
                  </a:lnTo>
                  <a:lnTo>
                    <a:pt x="3289" y="929"/>
                  </a:lnTo>
                  <a:lnTo>
                    <a:pt x="3285" y="929"/>
                  </a:lnTo>
                  <a:lnTo>
                    <a:pt x="3283" y="931"/>
                  </a:lnTo>
                  <a:lnTo>
                    <a:pt x="3283" y="931"/>
                  </a:lnTo>
                  <a:lnTo>
                    <a:pt x="3283" y="933"/>
                  </a:lnTo>
                  <a:lnTo>
                    <a:pt x="3283" y="933"/>
                  </a:lnTo>
                  <a:lnTo>
                    <a:pt x="3283" y="936"/>
                  </a:lnTo>
                  <a:lnTo>
                    <a:pt x="3285" y="936"/>
                  </a:lnTo>
                  <a:lnTo>
                    <a:pt x="3287" y="936"/>
                  </a:lnTo>
                  <a:lnTo>
                    <a:pt x="3289" y="938"/>
                  </a:lnTo>
                  <a:lnTo>
                    <a:pt x="3291" y="938"/>
                  </a:lnTo>
                  <a:lnTo>
                    <a:pt x="3291" y="938"/>
                  </a:lnTo>
                  <a:lnTo>
                    <a:pt x="3293" y="942"/>
                  </a:lnTo>
                  <a:lnTo>
                    <a:pt x="3295" y="946"/>
                  </a:lnTo>
                  <a:lnTo>
                    <a:pt x="3295" y="948"/>
                  </a:lnTo>
                  <a:lnTo>
                    <a:pt x="3297" y="948"/>
                  </a:lnTo>
                  <a:lnTo>
                    <a:pt x="3297" y="950"/>
                  </a:lnTo>
                  <a:lnTo>
                    <a:pt x="3297" y="950"/>
                  </a:lnTo>
                  <a:lnTo>
                    <a:pt x="3297" y="952"/>
                  </a:lnTo>
                  <a:lnTo>
                    <a:pt x="3297" y="952"/>
                  </a:lnTo>
                  <a:lnTo>
                    <a:pt x="3297" y="954"/>
                  </a:lnTo>
                  <a:lnTo>
                    <a:pt x="3297" y="956"/>
                  </a:lnTo>
                  <a:lnTo>
                    <a:pt x="3299" y="956"/>
                  </a:lnTo>
                  <a:lnTo>
                    <a:pt x="3301" y="956"/>
                  </a:lnTo>
                  <a:lnTo>
                    <a:pt x="3301" y="956"/>
                  </a:lnTo>
                  <a:lnTo>
                    <a:pt x="3303" y="956"/>
                  </a:lnTo>
                  <a:lnTo>
                    <a:pt x="3305" y="958"/>
                  </a:lnTo>
                  <a:lnTo>
                    <a:pt x="3305" y="958"/>
                  </a:lnTo>
                  <a:lnTo>
                    <a:pt x="3305" y="960"/>
                  </a:lnTo>
                  <a:lnTo>
                    <a:pt x="3305" y="960"/>
                  </a:lnTo>
                  <a:lnTo>
                    <a:pt x="3308" y="960"/>
                  </a:lnTo>
                  <a:lnTo>
                    <a:pt x="3308" y="960"/>
                  </a:lnTo>
                  <a:lnTo>
                    <a:pt x="3310" y="960"/>
                  </a:lnTo>
                  <a:lnTo>
                    <a:pt x="3310" y="960"/>
                  </a:lnTo>
                  <a:lnTo>
                    <a:pt x="3312" y="962"/>
                  </a:lnTo>
                  <a:lnTo>
                    <a:pt x="3312" y="962"/>
                  </a:lnTo>
                  <a:lnTo>
                    <a:pt x="3314" y="962"/>
                  </a:lnTo>
                  <a:lnTo>
                    <a:pt x="3314" y="962"/>
                  </a:lnTo>
                  <a:lnTo>
                    <a:pt x="3316" y="962"/>
                  </a:lnTo>
                  <a:lnTo>
                    <a:pt x="3316" y="962"/>
                  </a:lnTo>
                  <a:lnTo>
                    <a:pt x="3316" y="966"/>
                  </a:lnTo>
                  <a:lnTo>
                    <a:pt x="3316" y="969"/>
                  </a:lnTo>
                  <a:lnTo>
                    <a:pt x="3316" y="971"/>
                  </a:lnTo>
                  <a:lnTo>
                    <a:pt x="3316" y="971"/>
                  </a:lnTo>
                  <a:lnTo>
                    <a:pt x="3314" y="975"/>
                  </a:lnTo>
                  <a:lnTo>
                    <a:pt x="3314" y="975"/>
                  </a:lnTo>
                  <a:lnTo>
                    <a:pt x="3314" y="977"/>
                  </a:lnTo>
                  <a:lnTo>
                    <a:pt x="3314" y="979"/>
                  </a:lnTo>
                  <a:lnTo>
                    <a:pt x="3316" y="983"/>
                  </a:lnTo>
                  <a:lnTo>
                    <a:pt x="3318" y="987"/>
                  </a:lnTo>
                  <a:lnTo>
                    <a:pt x="3320" y="989"/>
                  </a:lnTo>
                  <a:lnTo>
                    <a:pt x="3320" y="989"/>
                  </a:lnTo>
                  <a:lnTo>
                    <a:pt x="3320" y="989"/>
                  </a:lnTo>
                  <a:lnTo>
                    <a:pt x="3320" y="987"/>
                  </a:lnTo>
                  <a:lnTo>
                    <a:pt x="3320" y="983"/>
                  </a:lnTo>
                  <a:lnTo>
                    <a:pt x="3320" y="981"/>
                  </a:lnTo>
                  <a:lnTo>
                    <a:pt x="3320" y="981"/>
                  </a:lnTo>
                  <a:lnTo>
                    <a:pt x="3320" y="977"/>
                  </a:lnTo>
                  <a:lnTo>
                    <a:pt x="3322" y="977"/>
                  </a:lnTo>
                  <a:lnTo>
                    <a:pt x="3324" y="975"/>
                  </a:lnTo>
                  <a:lnTo>
                    <a:pt x="3324" y="975"/>
                  </a:lnTo>
                  <a:lnTo>
                    <a:pt x="3326" y="975"/>
                  </a:lnTo>
                  <a:lnTo>
                    <a:pt x="3328" y="973"/>
                  </a:lnTo>
                  <a:lnTo>
                    <a:pt x="3330" y="973"/>
                  </a:lnTo>
                  <a:lnTo>
                    <a:pt x="3332" y="973"/>
                  </a:lnTo>
                  <a:lnTo>
                    <a:pt x="3334" y="973"/>
                  </a:lnTo>
                  <a:lnTo>
                    <a:pt x="3334" y="975"/>
                  </a:lnTo>
                  <a:lnTo>
                    <a:pt x="3336" y="977"/>
                  </a:lnTo>
                  <a:lnTo>
                    <a:pt x="3336" y="979"/>
                  </a:lnTo>
                  <a:lnTo>
                    <a:pt x="3336" y="981"/>
                  </a:lnTo>
                  <a:lnTo>
                    <a:pt x="3338" y="983"/>
                  </a:lnTo>
                  <a:lnTo>
                    <a:pt x="3338" y="985"/>
                  </a:lnTo>
                  <a:lnTo>
                    <a:pt x="3341" y="987"/>
                  </a:lnTo>
                  <a:lnTo>
                    <a:pt x="3345" y="989"/>
                  </a:lnTo>
                  <a:lnTo>
                    <a:pt x="3347" y="991"/>
                  </a:lnTo>
                  <a:lnTo>
                    <a:pt x="3347" y="991"/>
                  </a:lnTo>
                  <a:lnTo>
                    <a:pt x="3347" y="991"/>
                  </a:lnTo>
                  <a:lnTo>
                    <a:pt x="3347" y="993"/>
                  </a:lnTo>
                  <a:lnTo>
                    <a:pt x="3347" y="993"/>
                  </a:lnTo>
                  <a:close/>
                </a:path>
              </a:pathLst>
            </a:custGeom>
            <a:solidFill>
              <a:schemeClr val="bg1">
                <a:lumMod val="75000"/>
                <a:alpha val="49804"/>
              </a:schemeClr>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415464"/>
                </a:solidFill>
                <a:ea typeface="ＭＳ Ｐゴシック" charset="0"/>
              </a:endParaRPr>
            </a:p>
          </p:txBody>
        </p:sp>
        <p:grpSp>
          <p:nvGrpSpPr>
            <p:cNvPr id="268" name="Groupe 267">
              <a:extLst>
                <a:ext uri="{FF2B5EF4-FFF2-40B4-BE49-F238E27FC236}">
                  <a16:creationId xmlns:a16="http://schemas.microsoft.com/office/drawing/2014/main" id="{B0F1653F-DBE7-944A-B5FD-1E1366CCFD29}"/>
                </a:ext>
              </a:extLst>
            </p:cNvPr>
            <p:cNvGrpSpPr/>
            <p:nvPr/>
          </p:nvGrpSpPr>
          <p:grpSpPr>
            <a:xfrm>
              <a:off x="4782509" y="2901136"/>
              <a:ext cx="83358" cy="120427"/>
              <a:chOff x="3440308" y="2320613"/>
              <a:chExt cx="311611" cy="450184"/>
            </a:xfrm>
          </p:grpSpPr>
          <p:sp>
            <p:nvSpPr>
              <p:cNvPr id="269" name="Forme libre 268">
                <a:extLst>
                  <a:ext uri="{FF2B5EF4-FFF2-40B4-BE49-F238E27FC236}">
                    <a16:creationId xmlns:a16="http://schemas.microsoft.com/office/drawing/2014/main" id="{F374DC2F-CEB6-DB49-BBD0-D1F3EE2299DC}"/>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70" name="Forme libre 269">
                <a:extLst>
                  <a:ext uri="{FF2B5EF4-FFF2-40B4-BE49-F238E27FC236}">
                    <a16:creationId xmlns:a16="http://schemas.microsoft.com/office/drawing/2014/main" id="{93077A68-B559-8847-B0A3-F2F10DC5CAA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38" name="Groupe 237">
              <a:extLst>
                <a:ext uri="{FF2B5EF4-FFF2-40B4-BE49-F238E27FC236}">
                  <a16:creationId xmlns:a16="http://schemas.microsoft.com/office/drawing/2014/main" id="{4D545F7D-213B-5747-86C6-FAE2DF5EC0A8}"/>
                </a:ext>
              </a:extLst>
            </p:cNvPr>
            <p:cNvGrpSpPr/>
            <p:nvPr/>
          </p:nvGrpSpPr>
          <p:grpSpPr>
            <a:xfrm>
              <a:off x="4636459" y="3145611"/>
              <a:ext cx="83358" cy="120427"/>
              <a:chOff x="3440308" y="2320613"/>
              <a:chExt cx="311611" cy="450184"/>
            </a:xfrm>
          </p:grpSpPr>
          <p:sp>
            <p:nvSpPr>
              <p:cNvPr id="239" name="Forme libre 238">
                <a:extLst>
                  <a:ext uri="{FF2B5EF4-FFF2-40B4-BE49-F238E27FC236}">
                    <a16:creationId xmlns:a16="http://schemas.microsoft.com/office/drawing/2014/main" id="{16BFC20C-62B7-C449-85FA-7CB8B63BD4E8}"/>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40" name="Forme libre 239">
                <a:extLst>
                  <a:ext uri="{FF2B5EF4-FFF2-40B4-BE49-F238E27FC236}">
                    <a16:creationId xmlns:a16="http://schemas.microsoft.com/office/drawing/2014/main" id="{487D9CF5-EDD0-F14A-A38E-002B42D27D6A}"/>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41" name="Groupe 240">
              <a:extLst>
                <a:ext uri="{FF2B5EF4-FFF2-40B4-BE49-F238E27FC236}">
                  <a16:creationId xmlns:a16="http://schemas.microsoft.com/office/drawing/2014/main" id="{A41BF3B4-CCA6-9A49-A251-41E6D74CEBB8}"/>
                </a:ext>
              </a:extLst>
            </p:cNvPr>
            <p:cNvGrpSpPr/>
            <p:nvPr/>
          </p:nvGrpSpPr>
          <p:grpSpPr>
            <a:xfrm>
              <a:off x="4582484" y="2837636"/>
              <a:ext cx="83358" cy="120427"/>
              <a:chOff x="3440308" y="2320613"/>
              <a:chExt cx="311611" cy="450184"/>
            </a:xfrm>
          </p:grpSpPr>
          <p:sp>
            <p:nvSpPr>
              <p:cNvPr id="242" name="Forme libre 241">
                <a:extLst>
                  <a:ext uri="{FF2B5EF4-FFF2-40B4-BE49-F238E27FC236}">
                    <a16:creationId xmlns:a16="http://schemas.microsoft.com/office/drawing/2014/main" id="{C67FE5E9-597F-F04D-AF60-36C58F6D5067}"/>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43" name="Forme libre 242">
                <a:extLst>
                  <a:ext uri="{FF2B5EF4-FFF2-40B4-BE49-F238E27FC236}">
                    <a16:creationId xmlns:a16="http://schemas.microsoft.com/office/drawing/2014/main" id="{4DFB6777-7129-4541-8C82-A07A76C2F455}"/>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44" name="Groupe 243">
              <a:extLst>
                <a:ext uri="{FF2B5EF4-FFF2-40B4-BE49-F238E27FC236}">
                  <a16:creationId xmlns:a16="http://schemas.microsoft.com/office/drawing/2014/main" id="{289F3635-5CE6-BB40-A436-D9A63CBCDE3B}"/>
                </a:ext>
              </a:extLst>
            </p:cNvPr>
            <p:cNvGrpSpPr/>
            <p:nvPr/>
          </p:nvGrpSpPr>
          <p:grpSpPr>
            <a:xfrm>
              <a:off x="5071434" y="2659836"/>
              <a:ext cx="83358" cy="120427"/>
              <a:chOff x="3440308" y="2320613"/>
              <a:chExt cx="311611" cy="450184"/>
            </a:xfrm>
          </p:grpSpPr>
          <p:sp>
            <p:nvSpPr>
              <p:cNvPr id="245" name="Forme libre 244">
                <a:extLst>
                  <a:ext uri="{FF2B5EF4-FFF2-40B4-BE49-F238E27FC236}">
                    <a16:creationId xmlns:a16="http://schemas.microsoft.com/office/drawing/2014/main" id="{502BD393-C3CE-9F4D-A573-CF94A3DBB4DD}"/>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46" name="Forme libre 245">
                <a:extLst>
                  <a:ext uri="{FF2B5EF4-FFF2-40B4-BE49-F238E27FC236}">
                    <a16:creationId xmlns:a16="http://schemas.microsoft.com/office/drawing/2014/main" id="{3D117758-B74C-C643-BA73-2D68F9E3329E}"/>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47" name="Groupe 246">
              <a:extLst>
                <a:ext uri="{FF2B5EF4-FFF2-40B4-BE49-F238E27FC236}">
                  <a16:creationId xmlns:a16="http://schemas.microsoft.com/office/drawing/2014/main" id="{55F4BB96-EAF7-D041-B7BD-529545094C72}"/>
                </a:ext>
              </a:extLst>
            </p:cNvPr>
            <p:cNvGrpSpPr/>
            <p:nvPr/>
          </p:nvGrpSpPr>
          <p:grpSpPr>
            <a:xfrm>
              <a:off x="5236534" y="2609036"/>
              <a:ext cx="83358" cy="120427"/>
              <a:chOff x="3440308" y="2320613"/>
              <a:chExt cx="311611" cy="450184"/>
            </a:xfrm>
          </p:grpSpPr>
          <p:sp>
            <p:nvSpPr>
              <p:cNvPr id="248" name="Forme libre 247">
                <a:extLst>
                  <a:ext uri="{FF2B5EF4-FFF2-40B4-BE49-F238E27FC236}">
                    <a16:creationId xmlns:a16="http://schemas.microsoft.com/office/drawing/2014/main" id="{97F16153-FF18-F443-B32A-899C1F4B11C1}"/>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49" name="Forme libre 248">
                <a:extLst>
                  <a:ext uri="{FF2B5EF4-FFF2-40B4-BE49-F238E27FC236}">
                    <a16:creationId xmlns:a16="http://schemas.microsoft.com/office/drawing/2014/main" id="{280BC5AE-6832-F84F-95B7-1CFD6EA4ED1D}"/>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50" name="Groupe 249">
              <a:extLst>
                <a:ext uri="{FF2B5EF4-FFF2-40B4-BE49-F238E27FC236}">
                  <a16:creationId xmlns:a16="http://schemas.microsoft.com/office/drawing/2014/main" id="{FDEA23E5-8F75-7146-988A-01538530B9E9}"/>
                </a:ext>
              </a:extLst>
            </p:cNvPr>
            <p:cNvGrpSpPr/>
            <p:nvPr/>
          </p:nvGrpSpPr>
          <p:grpSpPr>
            <a:xfrm>
              <a:off x="5134934" y="2850336"/>
              <a:ext cx="83358" cy="120427"/>
              <a:chOff x="3440308" y="2320613"/>
              <a:chExt cx="311611" cy="450184"/>
            </a:xfrm>
          </p:grpSpPr>
          <p:sp>
            <p:nvSpPr>
              <p:cNvPr id="251" name="Forme libre 250">
                <a:extLst>
                  <a:ext uri="{FF2B5EF4-FFF2-40B4-BE49-F238E27FC236}">
                    <a16:creationId xmlns:a16="http://schemas.microsoft.com/office/drawing/2014/main" id="{D41337BD-F851-A24E-9F9A-5B0FC6DA0CA1}"/>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52" name="Forme libre 251">
                <a:extLst>
                  <a:ext uri="{FF2B5EF4-FFF2-40B4-BE49-F238E27FC236}">
                    <a16:creationId xmlns:a16="http://schemas.microsoft.com/office/drawing/2014/main" id="{70C220F0-1977-3344-B2F4-5307E63D0E4D}"/>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53" name="Groupe 252">
              <a:extLst>
                <a:ext uri="{FF2B5EF4-FFF2-40B4-BE49-F238E27FC236}">
                  <a16:creationId xmlns:a16="http://schemas.microsoft.com/office/drawing/2014/main" id="{E7159DBF-D63E-8844-81CD-1B9DCE9ADA55}"/>
                </a:ext>
              </a:extLst>
            </p:cNvPr>
            <p:cNvGrpSpPr/>
            <p:nvPr/>
          </p:nvGrpSpPr>
          <p:grpSpPr>
            <a:xfrm>
              <a:off x="5001584" y="3044011"/>
              <a:ext cx="83358" cy="120427"/>
              <a:chOff x="3440308" y="2320613"/>
              <a:chExt cx="311611" cy="450184"/>
            </a:xfrm>
          </p:grpSpPr>
          <p:sp>
            <p:nvSpPr>
              <p:cNvPr id="254" name="Forme libre 253">
                <a:extLst>
                  <a:ext uri="{FF2B5EF4-FFF2-40B4-BE49-F238E27FC236}">
                    <a16:creationId xmlns:a16="http://schemas.microsoft.com/office/drawing/2014/main" id="{F6C1A6E3-5D51-9148-9888-CE57CE8005C5}"/>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55" name="Forme libre 254">
                <a:extLst>
                  <a:ext uri="{FF2B5EF4-FFF2-40B4-BE49-F238E27FC236}">
                    <a16:creationId xmlns:a16="http://schemas.microsoft.com/office/drawing/2014/main" id="{7FEBC6F6-E1F2-BE4D-A018-476570483F8B}"/>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56" name="Groupe 255">
              <a:extLst>
                <a:ext uri="{FF2B5EF4-FFF2-40B4-BE49-F238E27FC236}">
                  <a16:creationId xmlns:a16="http://schemas.microsoft.com/office/drawing/2014/main" id="{07BB601A-E332-B54E-87D5-B6FE5DB02940}"/>
                </a:ext>
              </a:extLst>
            </p:cNvPr>
            <p:cNvGrpSpPr/>
            <p:nvPr/>
          </p:nvGrpSpPr>
          <p:grpSpPr>
            <a:xfrm>
              <a:off x="5020634" y="2958286"/>
              <a:ext cx="83358" cy="120427"/>
              <a:chOff x="3440308" y="2320613"/>
              <a:chExt cx="311611" cy="450184"/>
            </a:xfrm>
          </p:grpSpPr>
          <p:sp>
            <p:nvSpPr>
              <p:cNvPr id="257" name="Forme libre 256">
                <a:extLst>
                  <a:ext uri="{FF2B5EF4-FFF2-40B4-BE49-F238E27FC236}">
                    <a16:creationId xmlns:a16="http://schemas.microsoft.com/office/drawing/2014/main" id="{36C37A6D-7D67-ED44-9A30-DAC258B51E84}"/>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58" name="Forme libre 257">
                <a:extLst>
                  <a:ext uri="{FF2B5EF4-FFF2-40B4-BE49-F238E27FC236}">
                    <a16:creationId xmlns:a16="http://schemas.microsoft.com/office/drawing/2014/main" id="{05521578-84A0-EA43-94BF-AEBCFB6DD99B}"/>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59" name="Groupe 258">
              <a:extLst>
                <a:ext uri="{FF2B5EF4-FFF2-40B4-BE49-F238E27FC236}">
                  <a16:creationId xmlns:a16="http://schemas.microsoft.com/office/drawing/2014/main" id="{680408EB-7A0D-1C42-A464-446ED545CFFB}"/>
                </a:ext>
              </a:extLst>
            </p:cNvPr>
            <p:cNvGrpSpPr/>
            <p:nvPr/>
          </p:nvGrpSpPr>
          <p:grpSpPr>
            <a:xfrm>
              <a:off x="4833309" y="2999561"/>
              <a:ext cx="83358" cy="120427"/>
              <a:chOff x="3440308" y="2320613"/>
              <a:chExt cx="311611" cy="450184"/>
            </a:xfrm>
          </p:grpSpPr>
          <p:sp>
            <p:nvSpPr>
              <p:cNvPr id="260" name="Forme libre 259">
                <a:extLst>
                  <a:ext uri="{FF2B5EF4-FFF2-40B4-BE49-F238E27FC236}">
                    <a16:creationId xmlns:a16="http://schemas.microsoft.com/office/drawing/2014/main" id="{F88E1531-C8D5-6A4E-8EA3-1944A7EA4663}"/>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61" name="Forme libre 260">
                <a:extLst>
                  <a:ext uri="{FF2B5EF4-FFF2-40B4-BE49-F238E27FC236}">
                    <a16:creationId xmlns:a16="http://schemas.microsoft.com/office/drawing/2014/main" id="{E01D29FB-7B42-8144-ABBA-EE3167CA8C59}"/>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62" name="Groupe 261">
              <a:extLst>
                <a:ext uri="{FF2B5EF4-FFF2-40B4-BE49-F238E27FC236}">
                  <a16:creationId xmlns:a16="http://schemas.microsoft.com/office/drawing/2014/main" id="{EBC62D7B-B7D6-A942-A3FB-851175E34188}"/>
                </a:ext>
              </a:extLst>
            </p:cNvPr>
            <p:cNvGrpSpPr/>
            <p:nvPr/>
          </p:nvGrpSpPr>
          <p:grpSpPr>
            <a:xfrm>
              <a:off x="4912684" y="2964636"/>
              <a:ext cx="83358" cy="120427"/>
              <a:chOff x="3440308" y="2320613"/>
              <a:chExt cx="311611" cy="450184"/>
            </a:xfrm>
          </p:grpSpPr>
          <p:sp>
            <p:nvSpPr>
              <p:cNvPr id="263" name="Forme libre 262">
                <a:extLst>
                  <a:ext uri="{FF2B5EF4-FFF2-40B4-BE49-F238E27FC236}">
                    <a16:creationId xmlns:a16="http://schemas.microsoft.com/office/drawing/2014/main" id="{149DE0C4-8926-FC49-8FA9-F388D0BCEEBA}"/>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64" name="Forme libre 263">
                <a:extLst>
                  <a:ext uri="{FF2B5EF4-FFF2-40B4-BE49-F238E27FC236}">
                    <a16:creationId xmlns:a16="http://schemas.microsoft.com/office/drawing/2014/main" id="{0D25F234-A2FE-4F45-A93E-38A0F1EE43CD}"/>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65" name="Groupe 264">
              <a:extLst>
                <a:ext uri="{FF2B5EF4-FFF2-40B4-BE49-F238E27FC236}">
                  <a16:creationId xmlns:a16="http://schemas.microsoft.com/office/drawing/2014/main" id="{D7D0A948-10B6-1443-8D68-21DDA1219A52}"/>
                </a:ext>
              </a:extLst>
            </p:cNvPr>
            <p:cNvGrpSpPr/>
            <p:nvPr/>
          </p:nvGrpSpPr>
          <p:grpSpPr>
            <a:xfrm>
              <a:off x="4839659" y="2945586"/>
              <a:ext cx="83358" cy="120427"/>
              <a:chOff x="3440308" y="2320613"/>
              <a:chExt cx="311611" cy="450184"/>
            </a:xfrm>
          </p:grpSpPr>
          <p:sp>
            <p:nvSpPr>
              <p:cNvPr id="266" name="Forme libre 265">
                <a:extLst>
                  <a:ext uri="{FF2B5EF4-FFF2-40B4-BE49-F238E27FC236}">
                    <a16:creationId xmlns:a16="http://schemas.microsoft.com/office/drawing/2014/main" id="{F8F8901E-C47B-7745-A24B-FBD2DB75E05C}"/>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67" name="Forme libre 266">
                <a:extLst>
                  <a:ext uri="{FF2B5EF4-FFF2-40B4-BE49-F238E27FC236}">
                    <a16:creationId xmlns:a16="http://schemas.microsoft.com/office/drawing/2014/main" id="{BA286FAE-7FF4-DD42-A371-24F4674253F9}"/>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71" name="Groupe 270">
              <a:extLst>
                <a:ext uri="{FF2B5EF4-FFF2-40B4-BE49-F238E27FC236}">
                  <a16:creationId xmlns:a16="http://schemas.microsoft.com/office/drawing/2014/main" id="{2ABA6300-09EE-964E-95B3-FC526FEFB68A}"/>
                </a:ext>
              </a:extLst>
            </p:cNvPr>
            <p:cNvGrpSpPr/>
            <p:nvPr/>
          </p:nvGrpSpPr>
          <p:grpSpPr>
            <a:xfrm>
              <a:off x="4814259" y="2834461"/>
              <a:ext cx="83358" cy="120427"/>
              <a:chOff x="3440308" y="2320613"/>
              <a:chExt cx="311611" cy="450184"/>
            </a:xfrm>
          </p:grpSpPr>
          <p:sp>
            <p:nvSpPr>
              <p:cNvPr id="272" name="Forme libre 271">
                <a:extLst>
                  <a:ext uri="{FF2B5EF4-FFF2-40B4-BE49-F238E27FC236}">
                    <a16:creationId xmlns:a16="http://schemas.microsoft.com/office/drawing/2014/main" id="{0BB696AC-87E2-094D-89E7-B285B6C0E8E3}"/>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73" name="Forme libre 272">
                <a:extLst>
                  <a:ext uri="{FF2B5EF4-FFF2-40B4-BE49-F238E27FC236}">
                    <a16:creationId xmlns:a16="http://schemas.microsoft.com/office/drawing/2014/main" id="{53929381-9A51-4746-B887-11941ECDADD4}"/>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00" name="Groupe 99">
              <a:extLst>
                <a:ext uri="{FF2B5EF4-FFF2-40B4-BE49-F238E27FC236}">
                  <a16:creationId xmlns:a16="http://schemas.microsoft.com/office/drawing/2014/main" id="{D2C1FF55-D18C-0D44-B913-968B56C8340C}"/>
                </a:ext>
              </a:extLst>
            </p:cNvPr>
            <p:cNvGrpSpPr/>
            <p:nvPr/>
          </p:nvGrpSpPr>
          <p:grpSpPr>
            <a:xfrm>
              <a:off x="2836653" y="2799928"/>
              <a:ext cx="83358" cy="120427"/>
              <a:chOff x="3440308" y="2320613"/>
              <a:chExt cx="311611" cy="450184"/>
            </a:xfrm>
          </p:grpSpPr>
          <p:sp>
            <p:nvSpPr>
              <p:cNvPr id="101" name="Forme libre 100">
                <a:extLst>
                  <a:ext uri="{FF2B5EF4-FFF2-40B4-BE49-F238E27FC236}">
                    <a16:creationId xmlns:a16="http://schemas.microsoft.com/office/drawing/2014/main" id="{241F69F1-F71D-1340-9771-BEE5BF4E36DD}"/>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02" name="Forme libre 101">
                <a:extLst>
                  <a:ext uri="{FF2B5EF4-FFF2-40B4-BE49-F238E27FC236}">
                    <a16:creationId xmlns:a16="http://schemas.microsoft.com/office/drawing/2014/main" id="{11F1667B-780D-DF48-88D5-C1C2FA3A60AB}"/>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03" name="Groupe 102">
              <a:extLst>
                <a:ext uri="{FF2B5EF4-FFF2-40B4-BE49-F238E27FC236}">
                  <a16:creationId xmlns:a16="http://schemas.microsoft.com/office/drawing/2014/main" id="{482E8D01-8E36-E44F-8A55-1E979DF28072}"/>
                </a:ext>
              </a:extLst>
            </p:cNvPr>
            <p:cNvGrpSpPr/>
            <p:nvPr/>
          </p:nvGrpSpPr>
          <p:grpSpPr>
            <a:xfrm>
              <a:off x="3408153" y="3307928"/>
              <a:ext cx="83358" cy="120427"/>
              <a:chOff x="3440308" y="2320613"/>
              <a:chExt cx="311611" cy="450184"/>
            </a:xfrm>
          </p:grpSpPr>
          <p:sp>
            <p:nvSpPr>
              <p:cNvPr id="104" name="Forme libre 103">
                <a:extLst>
                  <a:ext uri="{FF2B5EF4-FFF2-40B4-BE49-F238E27FC236}">
                    <a16:creationId xmlns:a16="http://schemas.microsoft.com/office/drawing/2014/main" id="{6BF67CCB-9045-2046-A03D-AF464983C675}"/>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05" name="Forme libre 104">
                <a:extLst>
                  <a:ext uri="{FF2B5EF4-FFF2-40B4-BE49-F238E27FC236}">
                    <a16:creationId xmlns:a16="http://schemas.microsoft.com/office/drawing/2014/main" id="{F2FBFB85-3DE5-F745-BB86-23F2F44463A8}"/>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09" name="Groupe 108">
              <a:extLst>
                <a:ext uri="{FF2B5EF4-FFF2-40B4-BE49-F238E27FC236}">
                  <a16:creationId xmlns:a16="http://schemas.microsoft.com/office/drawing/2014/main" id="{323C6CCE-6796-1B43-A17C-819161880542}"/>
                </a:ext>
              </a:extLst>
            </p:cNvPr>
            <p:cNvGrpSpPr/>
            <p:nvPr/>
          </p:nvGrpSpPr>
          <p:grpSpPr>
            <a:xfrm>
              <a:off x="3281153" y="4590628"/>
              <a:ext cx="83358" cy="120427"/>
              <a:chOff x="3440308" y="2320613"/>
              <a:chExt cx="311611" cy="450184"/>
            </a:xfrm>
          </p:grpSpPr>
          <p:sp>
            <p:nvSpPr>
              <p:cNvPr id="110" name="Forme libre 109">
                <a:extLst>
                  <a:ext uri="{FF2B5EF4-FFF2-40B4-BE49-F238E27FC236}">
                    <a16:creationId xmlns:a16="http://schemas.microsoft.com/office/drawing/2014/main" id="{3C89AAB1-A684-9C4A-B358-479FAE08C1AE}"/>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11" name="Forme libre 110">
                <a:extLst>
                  <a:ext uri="{FF2B5EF4-FFF2-40B4-BE49-F238E27FC236}">
                    <a16:creationId xmlns:a16="http://schemas.microsoft.com/office/drawing/2014/main" id="{C1E3FB56-1764-ED41-96F0-E0E3AB02AF7B}"/>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15" name="Groupe 114">
              <a:extLst>
                <a:ext uri="{FF2B5EF4-FFF2-40B4-BE49-F238E27FC236}">
                  <a16:creationId xmlns:a16="http://schemas.microsoft.com/office/drawing/2014/main" id="{3AC2637F-1DEE-F742-B393-420E73AC141A}"/>
                </a:ext>
              </a:extLst>
            </p:cNvPr>
            <p:cNvGrpSpPr/>
            <p:nvPr/>
          </p:nvGrpSpPr>
          <p:grpSpPr>
            <a:xfrm>
              <a:off x="3757403" y="4355678"/>
              <a:ext cx="83358" cy="120427"/>
              <a:chOff x="3440308" y="2320613"/>
              <a:chExt cx="311611" cy="450184"/>
            </a:xfrm>
            <a:solidFill>
              <a:srgbClr val="004263"/>
            </a:solidFill>
          </p:grpSpPr>
          <p:sp>
            <p:nvSpPr>
              <p:cNvPr id="116" name="Forme libre 115">
                <a:extLst>
                  <a:ext uri="{FF2B5EF4-FFF2-40B4-BE49-F238E27FC236}">
                    <a16:creationId xmlns:a16="http://schemas.microsoft.com/office/drawing/2014/main" id="{254FFCA6-497D-9C44-9CFC-981655068D6C}"/>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17" name="Forme libre 116">
                <a:extLst>
                  <a:ext uri="{FF2B5EF4-FFF2-40B4-BE49-F238E27FC236}">
                    <a16:creationId xmlns:a16="http://schemas.microsoft.com/office/drawing/2014/main" id="{50C85C17-679D-5F41-98CF-BB91D3B833B2}"/>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21" name="Groupe 120">
              <a:extLst>
                <a:ext uri="{FF2B5EF4-FFF2-40B4-BE49-F238E27FC236}">
                  <a16:creationId xmlns:a16="http://schemas.microsoft.com/office/drawing/2014/main" id="{765FCAC0-77F7-DB47-A1F7-65D53A2C8811}"/>
                </a:ext>
              </a:extLst>
            </p:cNvPr>
            <p:cNvGrpSpPr/>
            <p:nvPr/>
          </p:nvGrpSpPr>
          <p:grpSpPr>
            <a:xfrm>
              <a:off x="3128753" y="3019003"/>
              <a:ext cx="83358" cy="120427"/>
              <a:chOff x="3440308" y="2320613"/>
              <a:chExt cx="311611" cy="450184"/>
            </a:xfrm>
            <a:solidFill>
              <a:srgbClr val="004263"/>
            </a:solidFill>
          </p:grpSpPr>
          <p:sp>
            <p:nvSpPr>
              <p:cNvPr id="122" name="Forme libre 121">
                <a:extLst>
                  <a:ext uri="{FF2B5EF4-FFF2-40B4-BE49-F238E27FC236}">
                    <a16:creationId xmlns:a16="http://schemas.microsoft.com/office/drawing/2014/main" id="{FDD522A8-5788-3A4F-B718-671F576E14EC}"/>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23" name="Forme libre 122">
                <a:extLst>
                  <a:ext uri="{FF2B5EF4-FFF2-40B4-BE49-F238E27FC236}">
                    <a16:creationId xmlns:a16="http://schemas.microsoft.com/office/drawing/2014/main" id="{F1B359F3-A237-0947-9F80-D90AF2200F92}"/>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51" name="Groupe 150">
              <a:extLst>
                <a:ext uri="{FF2B5EF4-FFF2-40B4-BE49-F238E27FC236}">
                  <a16:creationId xmlns:a16="http://schemas.microsoft.com/office/drawing/2014/main" id="{CDF9AEC0-377B-CE46-954B-0E51C6FD800D}"/>
                </a:ext>
              </a:extLst>
            </p:cNvPr>
            <p:cNvGrpSpPr/>
            <p:nvPr/>
          </p:nvGrpSpPr>
          <p:grpSpPr>
            <a:xfrm>
              <a:off x="6288544" y="3408913"/>
              <a:ext cx="83358" cy="120427"/>
              <a:chOff x="3440308" y="2320613"/>
              <a:chExt cx="311611" cy="450184"/>
            </a:xfrm>
            <a:solidFill>
              <a:srgbClr val="004263"/>
            </a:solidFill>
          </p:grpSpPr>
          <p:sp>
            <p:nvSpPr>
              <p:cNvPr id="152" name="Forme libre 151">
                <a:extLst>
                  <a:ext uri="{FF2B5EF4-FFF2-40B4-BE49-F238E27FC236}">
                    <a16:creationId xmlns:a16="http://schemas.microsoft.com/office/drawing/2014/main" id="{331862EA-640F-114F-87E2-C12A3CCABDE9}"/>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53" name="Forme libre 152">
                <a:extLst>
                  <a:ext uri="{FF2B5EF4-FFF2-40B4-BE49-F238E27FC236}">
                    <a16:creationId xmlns:a16="http://schemas.microsoft.com/office/drawing/2014/main" id="{9B51502D-1E9D-664B-ADE4-DA1569920BC3}"/>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54" name="Groupe 153">
              <a:extLst>
                <a:ext uri="{FF2B5EF4-FFF2-40B4-BE49-F238E27FC236}">
                  <a16:creationId xmlns:a16="http://schemas.microsoft.com/office/drawing/2014/main" id="{43289889-0FEB-524B-90B8-00BD687758A8}"/>
                </a:ext>
              </a:extLst>
            </p:cNvPr>
            <p:cNvGrpSpPr/>
            <p:nvPr/>
          </p:nvGrpSpPr>
          <p:grpSpPr>
            <a:xfrm>
              <a:off x="6218694" y="3599413"/>
              <a:ext cx="83358" cy="120427"/>
              <a:chOff x="3440308" y="2320613"/>
              <a:chExt cx="311611" cy="450184"/>
            </a:xfrm>
            <a:solidFill>
              <a:srgbClr val="004263"/>
            </a:solidFill>
          </p:grpSpPr>
          <p:sp>
            <p:nvSpPr>
              <p:cNvPr id="155" name="Forme libre 154">
                <a:extLst>
                  <a:ext uri="{FF2B5EF4-FFF2-40B4-BE49-F238E27FC236}">
                    <a16:creationId xmlns:a16="http://schemas.microsoft.com/office/drawing/2014/main" id="{7E2CE312-B36F-9146-A844-1652594E98CA}"/>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56" name="Forme libre 155">
                <a:extLst>
                  <a:ext uri="{FF2B5EF4-FFF2-40B4-BE49-F238E27FC236}">
                    <a16:creationId xmlns:a16="http://schemas.microsoft.com/office/drawing/2014/main" id="{311D52BD-FDDD-B94A-8981-8ADD1510DC5B}"/>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57" name="Groupe 156">
              <a:extLst>
                <a:ext uri="{FF2B5EF4-FFF2-40B4-BE49-F238E27FC236}">
                  <a16:creationId xmlns:a16="http://schemas.microsoft.com/office/drawing/2014/main" id="{3762A102-0C6E-2B44-B54A-4FB746F5540B}"/>
                </a:ext>
              </a:extLst>
            </p:cNvPr>
            <p:cNvGrpSpPr/>
            <p:nvPr/>
          </p:nvGrpSpPr>
          <p:grpSpPr>
            <a:xfrm>
              <a:off x="7056894" y="3523213"/>
              <a:ext cx="83358" cy="120427"/>
              <a:chOff x="3440308" y="2320613"/>
              <a:chExt cx="311611" cy="450184"/>
            </a:xfrm>
            <a:solidFill>
              <a:srgbClr val="004263"/>
            </a:solidFill>
          </p:grpSpPr>
          <p:sp>
            <p:nvSpPr>
              <p:cNvPr id="158" name="Forme libre 157">
                <a:extLst>
                  <a:ext uri="{FF2B5EF4-FFF2-40B4-BE49-F238E27FC236}">
                    <a16:creationId xmlns:a16="http://schemas.microsoft.com/office/drawing/2014/main" id="{BF9D81CE-7CC0-874B-803A-D1C6D4869C97}"/>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59" name="Forme libre 158">
                <a:extLst>
                  <a:ext uri="{FF2B5EF4-FFF2-40B4-BE49-F238E27FC236}">
                    <a16:creationId xmlns:a16="http://schemas.microsoft.com/office/drawing/2014/main" id="{584B64C6-5546-4441-8EAB-55D7F919CA47}"/>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60" name="Groupe 159">
              <a:extLst>
                <a:ext uri="{FF2B5EF4-FFF2-40B4-BE49-F238E27FC236}">
                  <a16:creationId xmlns:a16="http://schemas.microsoft.com/office/drawing/2014/main" id="{10A36E80-DDF5-E84C-A8CE-640F029F4DAA}"/>
                </a:ext>
              </a:extLst>
            </p:cNvPr>
            <p:cNvGrpSpPr/>
            <p:nvPr/>
          </p:nvGrpSpPr>
          <p:grpSpPr>
            <a:xfrm>
              <a:off x="7228344" y="3488288"/>
              <a:ext cx="83358" cy="120427"/>
              <a:chOff x="3440308" y="2320613"/>
              <a:chExt cx="311611" cy="450184"/>
            </a:xfrm>
            <a:solidFill>
              <a:srgbClr val="004263"/>
            </a:solidFill>
          </p:grpSpPr>
          <p:sp>
            <p:nvSpPr>
              <p:cNvPr id="161" name="Forme libre 160">
                <a:extLst>
                  <a:ext uri="{FF2B5EF4-FFF2-40B4-BE49-F238E27FC236}">
                    <a16:creationId xmlns:a16="http://schemas.microsoft.com/office/drawing/2014/main" id="{1DF7AC4D-017E-B948-88C5-3372D519C192}"/>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62" name="Forme libre 161">
                <a:extLst>
                  <a:ext uri="{FF2B5EF4-FFF2-40B4-BE49-F238E27FC236}">
                    <a16:creationId xmlns:a16="http://schemas.microsoft.com/office/drawing/2014/main" id="{ECF692E6-037F-C140-A62D-F4CD1D8D1750}"/>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63" name="Groupe 162">
              <a:extLst>
                <a:ext uri="{FF2B5EF4-FFF2-40B4-BE49-F238E27FC236}">
                  <a16:creationId xmlns:a16="http://schemas.microsoft.com/office/drawing/2014/main" id="{41ECBA7B-00A1-A54C-B205-04499D58EFCF}"/>
                </a:ext>
              </a:extLst>
            </p:cNvPr>
            <p:cNvGrpSpPr/>
            <p:nvPr/>
          </p:nvGrpSpPr>
          <p:grpSpPr>
            <a:xfrm>
              <a:off x="7193419" y="3348588"/>
              <a:ext cx="83358" cy="120427"/>
              <a:chOff x="3440308" y="2320613"/>
              <a:chExt cx="311611" cy="450184"/>
            </a:xfrm>
            <a:solidFill>
              <a:srgbClr val="004263"/>
            </a:solidFill>
          </p:grpSpPr>
          <p:sp>
            <p:nvSpPr>
              <p:cNvPr id="164" name="Forme libre 163">
                <a:extLst>
                  <a:ext uri="{FF2B5EF4-FFF2-40B4-BE49-F238E27FC236}">
                    <a16:creationId xmlns:a16="http://schemas.microsoft.com/office/drawing/2014/main" id="{39438CA4-7BC2-0444-9E31-0EA2F53B1822}"/>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65" name="Forme libre 164">
                <a:extLst>
                  <a:ext uri="{FF2B5EF4-FFF2-40B4-BE49-F238E27FC236}">
                    <a16:creationId xmlns:a16="http://schemas.microsoft.com/office/drawing/2014/main" id="{10CCB254-2382-264F-9F2E-A10DA76A9EE4}"/>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66" name="Groupe 165">
              <a:extLst>
                <a:ext uri="{FF2B5EF4-FFF2-40B4-BE49-F238E27FC236}">
                  <a16:creationId xmlns:a16="http://schemas.microsoft.com/office/drawing/2014/main" id="{911AD616-70BB-EE41-9D87-6F0FBF992B40}"/>
                </a:ext>
              </a:extLst>
            </p:cNvPr>
            <p:cNvGrpSpPr/>
            <p:nvPr/>
          </p:nvGrpSpPr>
          <p:grpSpPr>
            <a:xfrm>
              <a:off x="7206119" y="3161263"/>
              <a:ext cx="83358" cy="120427"/>
              <a:chOff x="3440308" y="2320613"/>
              <a:chExt cx="311611" cy="450184"/>
            </a:xfrm>
            <a:solidFill>
              <a:srgbClr val="004263"/>
            </a:solidFill>
          </p:grpSpPr>
          <p:sp>
            <p:nvSpPr>
              <p:cNvPr id="167" name="Forme libre 166">
                <a:extLst>
                  <a:ext uri="{FF2B5EF4-FFF2-40B4-BE49-F238E27FC236}">
                    <a16:creationId xmlns:a16="http://schemas.microsoft.com/office/drawing/2014/main" id="{89A4CA5E-FFE3-7C47-9225-BBD923DB283E}"/>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68" name="Forme libre 167">
                <a:extLst>
                  <a:ext uri="{FF2B5EF4-FFF2-40B4-BE49-F238E27FC236}">
                    <a16:creationId xmlns:a16="http://schemas.microsoft.com/office/drawing/2014/main" id="{D958BD66-091A-2E43-A505-DB9945A8910E}"/>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69" name="Groupe 168">
              <a:extLst>
                <a:ext uri="{FF2B5EF4-FFF2-40B4-BE49-F238E27FC236}">
                  <a16:creationId xmlns:a16="http://schemas.microsoft.com/office/drawing/2014/main" id="{AA2040AF-66D8-534D-962E-45AF50948392}"/>
                </a:ext>
              </a:extLst>
            </p:cNvPr>
            <p:cNvGrpSpPr/>
            <p:nvPr/>
          </p:nvGrpSpPr>
          <p:grpSpPr>
            <a:xfrm>
              <a:off x="7333119" y="3202538"/>
              <a:ext cx="83358" cy="120427"/>
              <a:chOff x="3440308" y="2320613"/>
              <a:chExt cx="311611" cy="450184"/>
            </a:xfrm>
            <a:solidFill>
              <a:srgbClr val="004263"/>
            </a:solidFill>
          </p:grpSpPr>
          <p:sp>
            <p:nvSpPr>
              <p:cNvPr id="170" name="Forme libre 169">
                <a:extLst>
                  <a:ext uri="{FF2B5EF4-FFF2-40B4-BE49-F238E27FC236}">
                    <a16:creationId xmlns:a16="http://schemas.microsoft.com/office/drawing/2014/main" id="{80679A05-BF5C-CC4A-BECD-38A6EA30195B}"/>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71" name="Forme libre 170">
                <a:extLst>
                  <a:ext uri="{FF2B5EF4-FFF2-40B4-BE49-F238E27FC236}">
                    <a16:creationId xmlns:a16="http://schemas.microsoft.com/office/drawing/2014/main" id="{12164763-98F5-B645-95A7-49E57251AC1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72" name="Groupe 171">
              <a:extLst>
                <a:ext uri="{FF2B5EF4-FFF2-40B4-BE49-F238E27FC236}">
                  <a16:creationId xmlns:a16="http://schemas.microsoft.com/office/drawing/2014/main" id="{005F7E3B-1A9D-B94D-A3C7-5CC36961B1AD}"/>
                </a:ext>
              </a:extLst>
            </p:cNvPr>
            <p:cNvGrpSpPr/>
            <p:nvPr/>
          </p:nvGrpSpPr>
          <p:grpSpPr>
            <a:xfrm>
              <a:off x="7577594" y="3246988"/>
              <a:ext cx="83358" cy="120427"/>
              <a:chOff x="3440308" y="2320613"/>
              <a:chExt cx="311611" cy="450184"/>
            </a:xfrm>
            <a:solidFill>
              <a:srgbClr val="004263"/>
            </a:solidFill>
          </p:grpSpPr>
          <p:sp>
            <p:nvSpPr>
              <p:cNvPr id="173" name="Forme libre 172">
                <a:extLst>
                  <a:ext uri="{FF2B5EF4-FFF2-40B4-BE49-F238E27FC236}">
                    <a16:creationId xmlns:a16="http://schemas.microsoft.com/office/drawing/2014/main" id="{E84C6A5C-1B03-7341-9A7B-0EED9432DEE0}"/>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74" name="Forme libre 173">
                <a:extLst>
                  <a:ext uri="{FF2B5EF4-FFF2-40B4-BE49-F238E27FC236}">
                    <a16:creationId xmlns:a16="http://schemas.microsoft.com/office/drawing/2014/main" id="{3A59D54C-0AD9-CA4A-9E24-03431C3B799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75" name="Groupe 174">
              <a:extLst>
                <a:ext uri="{FF2B5EF4-FFF2-40B4-BE49-F238E27FC236}">
                  <a16:creationId xmlns:a16="http://schemas.microsoft.com/office/drawing/2014/main" id="{F055CD75-43CD-E648-ABAA-AEB999FFB542}"/>
                </a:ext>
              </a:extLst>
            </p:cNvPr>
            <p:cNvGrpSpPr/>
            <p:nvPr/>
          </p:nvGrpSpPr>
          <p:grpSpPr>
            <a:xfrm>
              <a:off x="6866394" y="3926438"/>
              <a:ext cx="83358" cy="120427"/>
              <a:chOff x="3440308" y="2320613"/>
              <a:chExt cx="311611" cy="450184"/>
            </a:xfrm>
            <a:solidFill>
              <a:srgbClr val="004263"/>
            </a:solidFill>
          </p:grpSpPr>
          <p:sp>
            <p:nvSpPr>
              <p:cNvPr id="176" name="Forme libre 175">
                <a:extLst>
                  <a:ext uri="{FF2B5EF4-FFF2-40B4-BE49-F238E27FC236}">
                    <a16:creationId xmlns:a16="http://schemas.microsoft.com/office/drawing/2014/main" id="{EF0865CF-B827-0B4C-B520-4903E9345F1A}"/>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177" name="Forme libre 176">
                <a:extLst>
                  <a:ext uri="{FF2B5EF4-FFF2-40B4-BE49-F238E27FC236}">
                    <a16:creationId xmlns:a16="http://schemas.microsoft.com/office/drawing/2014/main" id="{6AA1B62A-78D5-C64B-817C-7FD0D85BBFDA}"/>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199" name="Groupe 198">
              <a:extLst>
                <a:ext uri="{FF2B5EF4-FFF2-40B4-BE49-F238E27FC236}">
                  <a16:creationId xmlns:a16="http://schemas.microsoft.com/office/drawing/2014/main" id="{C44CAC59-4763-DA45-8D37-E0B6CBEB8463}"/>
                </a:ext>
              </a:extLst>
            </p:cNvPr>
            <p:cNvGrpSpPr/>
            <p:nvPr/>
          </p:nvGrpSpPr>
          <p:grpSpPr>
            <a:xfrm>
              <a:off x="5865184" y="3478986"/>
              <a:ext cx="83358" cy="120427"/>
              <a:chOff x="3440308" y="2320613"/>
              <a:chExt cx="311611" cy="450184"/>
            </a:xfrm>
          </p:grpSpPr>
          <p:sp>
            <p:nvSpPr>
              <p:cNvPr id="200" name="Forme libre 199">
                <a:extLst>
                  <a:ext uri="{FF2B5EF4-FFF2-40B4-BE49-F238E27FC236}">
                    <a16:creationId xmlns:a16="http://schemas.microsoft.com/office/drawing/2014/main" id="{6F803EA5-D3EC-174B-8F8A-C3211A0C771B}"/>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01" name="Forme libre 200">
                <a:extLst>
                  <a:ext uri="{FF2B5EF4-FFF2-40B4-BE49-F238E27FC236}">
                    <a16:creationId xmlns:a16="http://schemas.microsoft.com/office/drawing/2014/main" id="{E065C83D-6633-8F41-AB22-92A899CFECB8}"/>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02" name="Groupe 201">
              <a:extLst>
                <a:ext uri="{FF2B5EF4-FFF2-40B4-BE49-F238E27FC236}">
                  <a16:creationId xmlns:a16="http://schemas.microsoft.com/office/drawing/2014/main" id="{671F5EA2-2C69-1148-91F7-ADD18FBDA49C}"/>
                </a:ext>
              </a:extLst>
            </p:cNvPr>
            <p:cNvGrpSpPr/>
            <p:nvPr/>
          </p:nvGrpSpPr>
          <p:grpSpPr>
            <a:xfrm>
              <a:off x="6370009" y="3542486"/>
              <a:ext cx="83358" cy="120427"/>
              <a:chOff x="3440308" y="2320613"/>
              <a:chExt cx="311611" cy="450184"/>
            </a:xfrm>
          </p:grpSpPr>
          <p:sp>
            <p:nvSpPr>
              <p:cNvPr id="203" name="Forme libre 202">
                <a:extLst>
                  <a:ext uri="{FF2B5EF4-FFF2-40B4-BE49-F238E27FC236}">
                    <a16:creationId xmlns:a16="http://schemas.microsoft.com/office/drawing/2014/main" id="{9F32AFAD-A7D9-F84E-B578-2A879CB8893D}"/>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04" name="Forme libre 203">
                <a:extLst>
                  <a:ext uri="{FF2B5EF4-FFF2-40B4-BE49-F238E27FC236}">
                    <a16:creationId xmlns:a16="http://schemas.microsoft.com/office/drawing/2014/main" id="{44F52535-49CC-3E48-8551-6B6D287D552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05" name="Groupe 204">
              <a:extLst>
                <a:ext uri="{FF2B5EF4-FFF2-40B4-BE49-F238E27FC236}">
                  <a16:creationId xmlns:a16="http://schemas.microsoft.com/office/drawing/2014/main" id="{EE8F1778-EA55-4041-87A0-112146798A74}"/>
                </a:ext>
              </a:extLst>
            </p:cNvPr>
            <p:cNvGrpSpPr/>
            <p:nvPr/>
          </p:nvGrpSpPr>
          <p:grpSpPr>
            <a:xfrm>
              <a:off x="7195509" y="3529786"/>
              <a:ext cx="83358" cy="120427"/>
              <a:chOff x="3440308" y="2320613"/>
              <a:chExt cx="311611" cy="450184"/>
            </a:xfrm>
          </p:grpSpPr>
          <p:sp>
            <p:nvSpPr>
              <p:cNvPr id="206" name="Forme libre 205">
                <a:extLst>
                  <a:ext uri="{FF2B5EF4-FFF2-40B4-BE49-F238E27FC236}">
                    <a16:creationId xmlns:a16="http://schemas.microsoft.com/office/drawing/2014/main" id="{73D273B0-1D80-5F4E-9459-6109B7E4EAD4}"/>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07" name="Forme libre 206">
                <a:extLst>
                  <a:ext uri="{FF2B5EF4-FFF2-40B4-BE49-F238E27FC236}">
                    <a16:creationId xmlns:a16="http://schemas.microsoft.com/office/drawing/2014/main" id="{435A44BA-1E91-FE46-BAC2-871B16377892}"/>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08" name="Groupe 207">
              <a:extLst>
                <a:ext uri="{FF2B5EF4-FFF2-40B4-BE49-F238E27FC236}">
                  <a16:creationId xmlns:a16="http://schemas.microsoft.com/office/drawing/2014/main" id="{CC25C33A-9F0F-B449-844C-9A131C761E7F}"/>
                </a:ext>
              </a:extLst>
            </p:cNvPr>
            <p:cNvGrpSpPr/>
            <p:nvPr/>
          </p:nvGrpSpPr>
          <p:grpSpPr>
            <a:xfrm>
              <a:off x="6900234" y="3961586"/>
              <a:ext cx="83358" cy="120427"/>
              <a:chOff x="3440308" y="2320613"/>
              <a:chExt cx="311611" cy="450184"/>
            </a:xfrm>
          </p:grpSpPr>
          <p:sp>
            <p:nvSpPr>
              <p:cNvPr id="209" name="Forme libre 208">
                <a:extLst>
                  <a:ext uri="{FF2B5EF4-FFF2-40B4-BE49-F238E27FC236}">
                    <a16:creationId xmlns:a16="http://schemas.microsoft.com/office/drawing/2014/main" id="{FB2A82A5-0FF3-6A4E-9E9F-42E918A9B5BC}"/>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10" name="Forme libre 209">
                <a:extLst>
                  <a:ext uri="{FF2B5EF4-FFF2-40B4-BE49-F238E27FC236}">
                    <a16:creationId xmlns:a16="http://schemas.microsoft.com/office/drawing/2014/main" id="{2EAF4065-452A-6B49-A7AF-21DF493FA180}"/>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11" name="Groupe 210">
              <a:extLst>
                <a:ext uri="{FF2B5EF4-FFF2-40B4-BE49-F238E27FC236}">
                  <a16:creationId xmlns:a16="http://schemas.microsoft.com/office/drawing/2014/main" id="{16597A44-5DF1-574D-9368-53AB5313F753}"/>
                </a:ext>
              </a:extLst>
            </p:cNvPr>
            <p:cNvGrpSpPr/>
            <p:nvPr/>
          </p:nvGrpSpPr>
          <p:grpSpPr>
            <a:xfrm>
              <a:off x="7112959" y="3167836"/>
              <a:ext cx="83358" cy="120427"/>
              <a:chOff x="3440308" y="2320613"/>
              <a:chExt cx="311611" cy="450184"/>
            </a:xfrm>
          </p:grpSpPr>
          <p:sp>
            <p:nvSpPr>
              <p:cNvPr id="212" name="Forme libre 211">
                <a:extLst>
                  <a:ext uri="{FF2B5EF4-FFF2-40B4-BE49-F238E27FC236}">
                    <a16:creationId xmlns:a16="http://schemas.microsoft.com/office/drawing/2014/main" id="{A5346ECF-69E0-C341-A638-757C77E66139}"/>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13" name="Forme libre 212">
                <a:extLst>
                  <a:ext uri="{FF2B5EF4-FFF2-40B4-BE49-F238E27FC236}">
                    <a16:creationId xmlns:a16="http://schemas.microsoft.com/office/drawing/2014/main" id="{900DA53F-01C9-894F-A85E-7FC981329436}"/>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14" name="Groupe 213">
              <a:extLst>
                <a:ext uri="{FF2B5EF4-FFF2-40B4-BE49-F238E27FC236}">
                  <a16:creationId xmlns:a16="http://schemas.microsoft.com/office/drawing/2014/main" id="{18D888FA-4AB3-844B-ACFF-AE2791993A54}"/>
                </a:ext>
              </a:extLst>
            </p:cNvPr>
            <p:cNvGrpSpPr/>
            <p:nvPr/>
          </p:nvGrpSpPr>
          <p:grpSpPr>
            <a:xfrm>
              <a:off x="7376484" y="3224986"/>
              <a:ext cx="83358" cy="120427"/>
              <a:chOff x="3440308" y="2320613"/>
              <a:chExt cx="311611" cy="450184"/>
            </a:xfrm>
          </p:grpSpPr>
          <p:sp>
            <p:nvSpPr>
              <p:cNvPr id="215" name="Forme libre 214">
                <a:extLst>
                  <a:ext uri="{FF2B5EF4-FFF2-40B4-BE49-F238E27FC236}">
                    <a16:creationId xmlns:a16="http://schemas.microsoft.com/office/drawing/2014/main" id="{0F268134-F303-314C-92B8-9A9E8233320F}"/>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16" name="Forme libre 215">
                <a:extLst>
                  <a:ext uri="{FF2B5EF4-FFF2-40B4-BE49-F238E27FC236}">
                    <a16:creationId xmlns:a16="http://schemas.microsoft.com/office/drawing/2014/main" id="{BB186733-0D06-7540-AA96-440256AF8D94}"/>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17" name="Groupe 216">
              <a:extLst>
                <a:ext uri="{FF2B5EF4-FFF2-40B4-BE49-F238E27FC236}">
                  <a16:creationId xmlns:a16="http://schemas.microsoft.com/office/drawing/2014/main" id="{BD729897-0332-9A42-AFDC-E7F43A927CA5}"/>
                </a:ext>
              </a:extLst>
            </p:cNvPr>
            <p:cNvGrpSpPr/>
            <p:nvPr/>
          </p:nvGrpSpPr>
          <p:grpSpPr>
            <a:xfrm>
              <a:off x="7487609" y="3253561"/>
              <a:ext cx="83358" cy="120427"/>
              <a:chOff x="3440308" y="2320613"/>
              <a:chExt cx="311611" cy="450184"/>
            </a:xfrm>
          </p:grpSpPr>
          <p:sp>
            <p:nvSpPr>
              <p:cNvPr id="218" name="Forme libre 217">
                <a:extLst>
                  <a:ext uri="{FF2B5EF4-FFF2-40B4-BE49-F238E27FC236}">
                    <a16:creationId xmlns:a16="http://schemas.microsoft.com/office/drawing/2014/main" id="{029B208B-91B4-E24A-ABF0-D6D18E851B7F}"/>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19" name="Forme libre 218">
                <a:extLst>
                  <a:ext uri="{FF2B5EF4-FFF2-40B4-BE49-F238E27FC236}">
                    <a16:creationId xmlns:a16="http://schemas.microsoft.com/office/drawing/2014/main" id="{2FC71FEE-0810-4B4F-94B8-1D5802975188}"/>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29" name="Groupe 228">
              <a:extLst>
                <a:ext uri="{FF2B5EF4-FFF2-40B4-BE49-F238E27FC236}">
                  <a16:creationId xmlns:a16="http://schemas.microsoft.com/office/drawing/2014/main" id="{D1562CA8-7256-1A4D-A72E-B5D0CCCFF796}"/>
                </a:ext>
              </a:extLst>
            </p:cNvPr>
            <p:cNvGrpSpPr/>
            <p:nvPr/>
          </p:nvGrpSpPr>
          <p:grpSpPr>
            <a:xfrm>
              <a:off x="7890834" y="4491811"/>
              <a:ext cx="83358" cy="120427"/>
              <a:chOff x="3440308" y="2320613"/>
              <a:chExt cx="311611" cy="450184"/>
            </a:xfrm>
          </p:grpSpPr>
          <p:sp>
            <p:nvSpPr>
              <p:cNvPr id="230" name="Forme libre 229">
                <a:extLst>
                  <a:ext uri="{FF2B5EF4-FFF2-40B4-BE49-F238E27FC236}">
                    <a16:creationId xmlns:a16="http://schemas.microsoft.com/office/drawing/2014/main" id="{BE399903-8630-3245-B7A4-F209763F61B3}"/>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31" name="Forme libre 230">
                <a:extLst>
                  <a:ext uri="{FF2B5EF4-FFF2-40B4-BE49-F238E27FC236}">
                    <a16:creationId xmlns:a16="http://schemas.microsoft.com/office/drawing/2014/main" id="{075DD4DD-CF55-1849-872B-C29EDF5DFE14}"/>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32" name="Groupe 231">
              <a:extLst>
                <a:ext uri="{FF2B5EF4-FFF2-40B4-BE49-F238E27FC236}">
                  <a16:creationId xmlns:a16="http://schemas.microsoft.com/office/drawing/2014/main" id="{92E29C8E-E621-D94E-B34F-D4E816CC0AC6}"/>
                </a:ext>
              </a:extLst>
            </p:cNvPr>
            <p:cNvGrpSpPr/>
            <p:nvPr/>
          </p:nvGrpSpPr>
          <p:grpSpPr>
            <a:xfrm>
              <a:off x="7690809" y="4723586"/>
              <a:ext cx="83358" cy="120427"/>
              <a:chOff x="3440308" y="2320613"/>
              <a:chExt cx="311611" cy="450184"/>
            </a:xfrm>
          </p:grpSpPr>
          <p:sp>
            <p:nvSpPr>
              <p:cNvPr id="233" name="Forme libre 232">
                <a:extLst>
                  <a:ext uri="{FF2B5EF4-FFF2-40B4-BE49-F238E27FC236}">
                    <a16:creationId xmlns:a16="http://schemas.microsoft.com/office/drawing/2014/main" id="{2414AFFD-B677-FB46-92A6-5D119997E019}"/>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solidFill>
                <a:schemeClr val="accent1"/>
              </a:solid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34" name="Forme libre 233">
                <a:extLst>
                  <a:ext uri="{FF2B5EF4-FFF2-40B4-BE49-F238E27FC236}">
                    <a16:creationId xmlns:a16="http://schemas.microsoft.com/office/drawing/2014/main" id="{B00FE1E3-E71E-474B-A698-FA82E2CF99A4}"/>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35" name="Groupe 234">
              <a:extLst>
                <a:ext uri="{FF2B5EF4-FFF2-40B4-BE49-F238E27FC236}">
                  <a16:creationId xmlns:a16="http://schemas.microsoft.com/office/drawing/2014/main" id="{EAB314FF-E552-2D44-B6C2-276EF688C4B9}"/>
                </a:ext>
              </a:extLst>
            </p:cNvPr>
            <p:cNvGrpSpPr/>
            <p:nvPr/>
          </p:nvGrpSpPr>
          <p:grpSpPr>
            <a:xfrm>
              <a:off x="7812544" y="4637638"/>
              <a:ext cx="83358" cy="120427"/>
              <a:chOff x="3440308" y="2320613"/>
              <a:chExt cx="311611" cy="450184"/>
            </a:xfrm>
            <a:solidFill>
              <a:srgbClr val="004263"/>
            </a:solidFill>
          </p:grpSpPr>
          <p:sp>
            <p:nvSpPr>
              <p:cNvPr id="236" name="Forme libre 235">
                <a:extLst>
                  <a:ext uri="{FF2B5EF4-FFF2-40B4-BE49-F238E27FC236}">
                    <a16:creationId xmlns:a16="http://schemas.microsoft.com/office/drawing/2014/main" id="{06563068-19EC-974D-938C-596D5C1B945A}"/>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37" name="Forme libre 236">
                <a:extLst>
                  <a:ext uri="{FF2B5EF4-FFF2-40B4-BE49-F238E27FC236}">
                    <a16:creationId xmlns:a16="http://schemas.microsoft.com/office/drawing/2014/main" id="{520677B8-F15B-D641-970F-1271AFF21EA7}"/>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89" name="Groupe 288">
              <a:extLst>
                <a:ext uri="{FF2B5EF4-FFF2-40B4-BE49-F238E27FC236}">
                  <a16:creationId xmlns:a16="http://schemas.microsoft.com/office/drawing/2014/main" id="{9EEF4E3D-C3A7-2E4C-8A0E-B4CC263C33C9}"/>
                </a:ext>
              </a:extLst>
            </p:cNvPr>
            <p:cNvGrpSpPr/>
            <p:nvPr/>
          </p:nvGrpSpPr>
          <p:grpSpPr>
            <a:xfrm>
              <a:off x="4901189" y="2904359"/>
              <a:ext cx="83358" cy="120427"/>
              <a:chOff x="3440308" y="2320613"/>
              <a:chExt cx="311611" cy="450184"/>
            </a:xfrm>
            <a:solidFill>
              <a:srgbClr val="004263"/>
            </a:solidFill>
          </p:grpSpPr>
          <p:sp>
            <p:nvSpPr>
              <p:cNvPr id="290" name="Forme libre 289">
                <a:extLst>
                  <a:ext uri="{FF2B5EF4-FFF2-40B4-BE49-F238E27FC236}">
                    <a16:creationId xmlns:a16="http://schemas.microsoft.com/office/drawing/2014/main" id="{413840A7-F265-4C44-8862-23F5540B3714}"/>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91" name="Forme libre 290">
                <a:extLst>
                  <a:ext uri="{FF2B5EF4-FFF2-40B4-BE49-F238E27FC236}">
                    <a16:creationId xmlns:a16="http://schemas.microsoft.com/office/drawing/2014/main" id="{EDF4237B-3465-4143-B7DC-53F618C296C7}"/>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92" name="Groupe 291">
              <a:extLst>
                <a:ext uri="{FF2B5EF4-FFF2-40B4-BE49-F238E27FC236}">
                  <a16:creationId xmlns:a16="http://schemas.microsoft.com/office/drawing/2014/main" id="{C69DE246-D697-D346-9247-4180260BE710}"/>
                </a:ext>
              </a:extLst>
            </p:cNvPr>
            <p:cNvGrpSpPr/>
            <p:nvPr/>
          </p:nvGrpSpPr>
          <p:grpSpPr>
            <a:xfrm>
              <a:off x="4944294" y="2938190"/>
              <a:ext cx="83358" cy="120427"/>
              <a:chOff x="3440308" y="2320613"/>
              <a:chExt cx="311611" cy="450184"/>
            </a:xfrm>
            <a:solidFill>
              <a:srgbClr val="004263"/>
            </a:solidFill>
          </p:grpSpPr>
          <p:sp>
            <p:nvSpPr>
              <p:cNvPr id="293" name="Forme libre 292">
                <a:extLst>
                  <a:ext uri="{FF2B5EF4-FFF2-40B4-BE49-F238E27FC236}">
                    <a16:creationId xmlns:a16="http://schemas.microsoft.com/office/drawing/2014/main" id="{DD7415AE-465C-4E48-B31A-92E8709CCDD0}"/>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94" name="Forme libre 293">
                <a:extLst>
                  <a:ext uri="{FF2B5EF4-FFF2-40B4-BE49-F238E27FC236}">
                    <a16:creationId xmlns:a16="http://schemas.microsoft.com/office/drawing/2014/main" id="{93FD8EBB-7351-E043-A4C4-D1ABB0ECFB65}"/>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95" name="Groupe 294">
              <a:extLst>
                <a:ext uri="{FF2B5EF4-FFF2-40B4-BE49-F238E27FC236}">
                  <a16:creationId xmlns:a16="http://schemas.microsoft.com/office/drawing/2014/main" id="{205A103A-8BA6-4B45-9917-E7ADBE707DB6}"/>
                </a:ext>
              </a:extLst>
            </p:cNvPr>
            <p:cNvGrpSpPr/>
            <p:nvPr/>
          </p:nvGrpSpPr>
          <p:grpSpPr>
            <a:xfrm>
              <a:off x="4941116" y="3005306"/>
              <a:ext cx="83358" cy="120427"/>
              <a:chOff x="3440308" y="2320613"/>
              <a:chExt cx="311611" cy="450184"/>
            </a:xfrm>
            <a:solidFill>
              <a:srgbClr val="004263"/>
            </a:solidFill>
          </p:grpSpPr>
          <p:sp>
            <p:nvSpPr>
              <p:cNvPr id="296" name="Forme libre 295">
                <a:extLst>
                  <a:ext uri="{FF2B5EF4-FFF2-40B4-BE49-F238E27FC236}">
                    <a16:creationId xmlns:a16="http://schemas.microsoft.com/office/drawing/2014/main" id="{41C41C3D-49E1-A14A-9FC8-F6D758679269}"/>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297" name="Forme libre 296">
                <a:extLst>
                  <a:ext uri="{FF2B5EF4-FFF2-40B4-BE49-F238E27FC236}">
                    <a16:creationId xmlns:a16="http://schemas.microsoft.com/office/drawing/2014/main" id="{EA677A84-C317-4149-8E8C-02B1183EC84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298" name="Groupe 297">
              <a:extLst>
                <a:ext uri="{FF2B5EF4-FFF2-40B4-BE49-F238E27FC236}">
                  <a16:creationId xmlns:a16="http://schemas.microsoft.com/office/drawing/2014/main" id="{243D273E-A2D4-5048-8314-E23265EE9150}"/>
                </a:ext>
              </a:extLst>
            </p:cNvPr>
            <p:cNvGrpSpPr/>
            <p:nvPr/>
          </p:nvGrpSpPr>
          <p:grpSpPr>
            <a:xfrm>
              <a:off x="4714986" y="2866524"/>
              <a:ext cx="83358" cy="120427"/>
              <a:chOff x="3440308" y="2320613"/>
              <a:chExt cx="311611" cy="450184"/>
            </a:xfrm>
            <a:solidFill>
              <a:srgbClr val="004263"/>
            </a:solidFill>
          </p:grpSpPr>
          <p:sp>
            <p:nvSpPr>
              <p:cNvPr id="299" name="Forme libre 298">
                <a:extLst>
                  <a:ext uri="{FF2B5EF4-FFF2-40B4-BE49-F238E27FC236}">
                    <a16:creationId xmlns:a16="http://schemas.microsoft.com/office/drawing/2014/main" id="{5E6C3A61-AF89-DE40-AC06-7F4A5514BA17}"/>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300" name="Forme libre 299">
                <a:extLst>
                  <a:ext uri="{FF2B5EF4-FFF2-40B4-BE49-F238E27FC236}">
                    <a16:creationId xmlns:a16="http://schemas.microsoft.com/office/drawing/2014/main" id="{BF2078F5-CADA-114E-BE27-C35CEA3E8DB6}"/>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nvGrpSpPr>
            <p:cNvPr id="301" name="Groupe 300">
              <a:extLst>
                <a:ext uri="{FF2B5EF4-FFF2-40B4-BE49-F238E27FC236}">
                  <a16:creationId xmlns:a16="http://schemas.microsoft.com/office/drawing/2014/main" id="{8C3CB686-D782-7B44-A4FB-A4F95C2B603C}"/>
                </a:ext>
              </a:extLst>
            </p:cNvPr>
            <p:cNvGrpSpPr/>
            <p:nvPr/>
          </p:nvGrpSpPr>
          <p:grpSpPr>
            <a:xfrm>
              <a:off x="4752308" y="2945809"/>
              <a:ext cx="83358" cy="120427"/>
              <a:chOff x="3440308" y="2320613"/>
              <a:chExt cx="311611" cy="450184"/>
            </a:xfrm>
            <a:solidFill>
              <a:srgbClr val="004263"/>
            </a:solidFill>
          </p:grpSpPr>
          <p:sp>
            <p:nvSpPr>
              <p:cNvPr id="302" name="Forme libre 301">
                <a:extLst>
                  <a:ext uri="{FF2B5EF4-FFF2-40B4-BE49-F238E27FC236}">
                    <a16:creationId xmlns:a16="http://schemas.microsoft.com/office/drawing/2014/main" id="{B10A65A6-6307-6441-B4A4-1155F5C47CE9}"/>
                  </a:ext>
                </a:extLst>
              </p:cNvPr>
              <p:cNvSpPr/>
              <p:nvPr/>
            </p:nvSpPr>
            <p:spPr>
              <a:xfrm>
                <a:off x="3440308" y="2320613"/>
                <a:ext cx="311611" cy="450184"/>
              </a:xfrm>
              <a:custGeom>
                <a:avLst/>
                <a:gdLst>
                  <a:gd name="connsiteX0" fmla="*/ 155326 w 311611"/>
                  <a:gd name="connsiteY0" fmla="*/ -441 h 450184"/>
                  <a:gd name="connsiteX1" fmla="*/ 310993 w 311611"/>
                  <a:gd name="connsiteY1" fmla="*/ 149727 h 450184"/>
                  <a:gd name="connsiteX2" fmla="*/ 168344 w 311611"/>
                  <a:gd name="connsiteY2" fmla="*/ 443130 h 450184"/>
                  <a:gd name="connsiteX3" fmla="*/ 146406 w 311611"/>
                  <a:gd name="connsiteY3" fmla="*/ 447077 h 450184"/>
                  <a:gd name="connsiteX4" fmla="*/ 142307 w 311611"/>
                  <a:gd name="connsiteY4" fmla="*/ 443130 h 450184"/>
                  <a:gd name="connsiteX5" fmla="*/ -619 w 311611"/>
                  <a:gd name="connsiteY5" fmla="*/ 149727 h 450184"/>
                  <a:gd name="connsiteX6" fmla="*/ 155326 w 311611"/>
                  <a:gd name="connsiteY6" fmla="*/ -441 h 45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611" h="450184">
                    <a:moveTo>
                      <a:pt x="155326" y="-441"/>
                    </a:moveTo>
                    <a:cubicBezTo>
                      <a:pt x="241330" y="-281"/>
                      <a:pt x="310993" y="66908"/>
                      <a:pt x="310993" y="149727"/>
                    </a:cubicBezTo>
                    <a:cubicBezTo>
                      <a:pt x="310993" y="217744"/>
                      <a:pt x="205738" y="389784"/>
                      <a:pt x="168344" y="443130"/>
                    </a:cubicBezTo>
                    <a:cubicBezTo>
                      <a:pt x="163414" y="450065"/>
                      <a:pt x="153581" y="451825"/>
                      <a:pt x="146406" y="447077"/>
                    </a:cubicBezTo>
                    <a:cubicBezTo>
                      <a:pt x="144800" y="446010"/>
                      <a:pt x="143416" y="444677"/>
                      <a:pt x="142307" y="443130"/>
                    </a:cubicBezTo>
                    <a:cubicBezTo>
                      <a:pt x="104914" y="389784"/>
                      <a:pt x="-619" y="217744"/>
                      <a:pt x="-619" y="149727"/>
                    </a:cubicBezTo>
                    <a:cubicBezTo>
                      <a:pt x="-619" y="66802"/>
                      <a:pt x="69210" y="-441"/>
                      <a:pt x="155326" y="-441"/>
                    </a:cubicBezTo>
                    <a:close/>
                  </a:path>
                </a:pathLst>
              </a:custGeom>
              <a:grpFill/>
              <a:ln w="30496" cap="flat">
                <a:noFill/>
                <a:prstDash val="solid"/>
                <a:round/>
              </a:ln>
            </p:spPr>
            <p:txBody>
              <a:bodyPr rtlCol="0" anchor="ctr"/>
              <a:lstStyle/>
              <a:p>
                <a:pPr>
                  <a:defRPr/>
                </a:pPr>
                <a:endParaRPr lang="fr-FR">
                  <a:solidFill>
                    <a:srgbClr val="20242B"/>
                  </a:solidFill>
                  <a:ea typeface="ＭＳ Ｐゴシック" charset="0"/>
                </a:endParaRPr>
              </a:p>
            </p:txBody>
          </p:sp>
          <p:sp>
            <p:nvSpPr>
              <p:cNvPr id="303" name="Forme libre 302">
                <a:extLst>
                  <a:ext uri="{FF2B5EF4-FFF2-40B4-BE49-F238E27FC236}">
                    <a16:creationId xmlns:a16="http://schemas.microsoft.com/office/drawing/2014/main" id="{4BECD16D-B32E-724B-A798-12DCC0F07C6C}"/>
                  </a:ext>
                </a:extLst>
              </p:cNvPr>
              <p:cNvSpPr/>
              <p:nvPr/>
            </p:nvSpPr>
            <p:spPr>
              <a:xfrm>
                <a:off x="3518419" y="2395564"/>
                <a:ext cx="155667" cy="149902"/>
              </a:xfrm>
              <a:custGeom>
                <a:avLst/>
                <a:gdLst>
                  <a:gd name="connsiteX0" fmla="*/ 155049 w 155667"/>
                  <a:gd name="connsiteY0" fmla="*/ 74776 h 149902"/>
                  <a:gd name="connsiteX1" fmla="*/ 76938 w 155667"/>
                  <a:gd name="connsiteY1" fmla="*/ 149461 h 149902"/>
                  <a:gd name="connsiteX2" fmla="*/ -618 w 155667"/>
                  <a:gd name="connsiteY2" fmla="*/ 74243 h 149902"/>
                  <a:gd name="connsiteX3" fmla="*/ 77215 w 155667"/>
                  <a:gd name="connsiteY3" fmla="*/ -441 h 149902"/>
                  <a:gd name="connsiteX4" fmla="*/ 155049 w 155667"/>
                  <a:gd name="connsiteY4" fmla="*/ 74510 h 149902"/>
                  <a:gd name="connsiteX5" fmla="*/ 155049 w 155667"/>
                  <a:gd name="connsiteY5" fmla="*/ 74776 h 149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667" h="149902">
                    <a:moveTo>
                      <a:pt x="155049" y="74776"/>
                    </a:moveTo>
                    <a:cubicBezTo>
                      <a:pt x="154910" y="116173"/>
                      <a:pt x="119927" y="149594"/>
                      <a:pt x="76938" y="149461"/>
                    </a:cubicBezTo>
                    <a:cubicBezTo>
                      <a:pt x="33949" y="149301"/>
                      <a:pt x="-757" y="115639"/>
                      <a:pt x="-618" y="74243"/>
                    </a:cubicBezTo>
                    <a:cubicBezTo>
                      <a:pt x="-453" y="32953"/>
                      <a:pt x="34337" y="-441"/>
                      <a:pt x="77215" y="-441"/>
                    </a:cubicBezTo>
                    <a:cubicBezTo>
                      <a:pt x="120204" y="-441"/>
                      <a:pt x="155049" y="33114"/>
                      <a:pt x="155049" y="74510"/>
                    </a:cubicBezTo>
                    <a:cubicBezTo>
                      <a:pt x="155049" y="74590"/>
                      <a:pt x="155049" y="74696"/>
                      <a:pt x="155049" y="74776"/>
                    </a:cubicBezTo>
                  </a:path>
                </a:pathLst>
              </a:custGeom>
              <a:solidFill>
                <a:schemeClr val="bg1"/>
              </a:solidFill>
              <a:ln w="30496" cap="flat">
                <a:noFill/>
                <a:prstDash val="solid"/>
                <a:round/>
              </a:ln>
            </p:spPr>
            <p:txBody>
              <a:bodyPr rtlCol="0" anchor="ctr"/>
              <a:lstStyle/>
              <a:p>
                <a:pPr>
                  <a:defRPr/>
                </a:pPr>
                <a:endParaRPr lang="fr-FR">
                  <a:solidFill>
                    <a:srgbClr val="20242B"/>
                  </a:solidFill>
                  <a:ea typeface="ＭＳ Ｐゴシック" charset="0"/>
                </a:endParaRPr>
              </a:p>
            </p:txBody>
          </p:sp>
        </p:grpSp>
      </p:grpSp>
      <p:sp>
        <p:nvSpPr>
          <p:cNvPr id="27" name="Titre 26">
            <a:extLst>
              <a:ext uri="{FF2B5EF4-FFF2-40B4-BE49-F238E27FC236}">
                <a16:creationId xmlns:a16="http://schemas.microsoft.com/office/drawing/2014/main" id="{6F7F7BA9-C2AF-A04E-8ACC-F0D97B34BD9E}"/>
              </a:ext>
            </a:extLst>
          </p:cNvPr>
          <p:cNvSpPr>
            <a:spLocks noGrp="1"/>
          </p:cNvSpPr>
          <p:nvPr>
            <p:ph type="title"/>
          </p:nvPr>
        </p:nvSpPr>
        <p:spPr/>
        <p:txBody>
          <a:bodyPr/>
          <a:lstStyle/>
          <a:p>
            <a:r>
              <a:rPr lang="fr-FR" dirty="0"/>
              <a:t>Une véritable présence mondiale</a:t>
            </a:r>
          </a:p>
        </p:txBody>
      </p:sp>
      <p:sp>
        <p:nvSpPr>
          <p:cNvPr id="30" name="Espace réservé du texte 29">
            <a:extLst>
              <a:ext uri="{FF2B5EF4-FFF2-40B4-BE49-F238E27FC236}">
                <a16:creationId xmlns:a16="http://schemas.microsoft.com/office/drawing/2014/main" id="{0A412852-EF7C-854B-ACA0-2657896C40A5}"/>
              </a:ext>
            </a:extLst>
          </p:cNvPr>
          <p:cNvSpPr>
            <a:spLocks noGrp="1"/>
          </p:cNvSpPr>
          <p:nvPr>
            <p:ph type="body" sz="quarter" idx="17"/>
          </p:nvPr>
        </p:nvSpPr>
        <p:spPr/>
        <p:txBody>
          <a:bodyPr/>
          <a:lstStyle/>
          <a:p>
            <a:r>
              <a:rPr lang="fr-FR" dirty="0"/>
              <a:t>*La majorité des bureaux de gestion assure également des fonctions commerciales ou opérationnelles</a:t>
            </a:r>
            <a:br>
              <a:rPr lang="fr-FR" dirty="0"/>
            </a:br>
            <a:r>
              <a:rPr lang="fr-FR" dirty="0"/>
              <a:t>Les professionnels de l’investissement incluent les gérants de portefeuille, les analystes, les traders, les directeurs de départements et le support recherche.</a:t>
            </a:r>
          </a:p>
          <a:p>
            <a:r>
              <a:rPr lang="fr-FR" dirty="0"/>
              <a:t>Source : </a:t>
            </a:r>
            <a:r>
              <a:rPr lang="fr-FR" dirty="0" err="1"/>
              <a:t>Fidelity</a:t>
            </a:r>
            <a:r>
              <a:rPr lang="fr-FR" dirty="0"/>
              <a:t> International, 31.12.2020.</a:t>
            </a:r>
          </a:p>
        </p:txBody>
      </p:sp>
      <p:grpSp>
        <p:nvGrpSpPr>
          <p:cNvPr id="14" name="Groupe 13">
            <a:extLst>
              <a:ext uri="{FF2B5EF4-FFF2-40B4-BE49-F238E27FC236}">
                <a16:creationId xmlns:a16="http://schemas.microsoft.com/office/drawing/2014/main" id="{5CFB5922-BE00-A547-969C-0825E74261D7}"/>
              </a:ext>
            </a:extLst>
          </p:cNvPr>
          <p:cNvGrpSpPr/>
          <p:nvPr/>
        </p:nvGrpSpPr>
        <p:grpSpPr>
          <a:xfrm>
            <a:off x="4633711" y="959404"/>
            <a:ext cx="2343446" cy="360000"/>
            <a:chOff x="4610003" y="949244"/>
            <a:chExt cx="2343446" cy="360000"/>
          </a:xfrm>
        </p:grpSpPr>
        <p:sp>
          <p:nvSpPr>
            <p:cNvPr id="23" name="TextBox 204">
              <a:extLst>
                <a:ext uri="{FF2B5EF4-FFF2-40B4-BE49-F238E27FC236}">
                  <a16:creationId xmlns:a16="http://schemas.microsoft.com/office/drawing/2014/main" id="{C9C45008-B7AC-D74F-8DAA-64C2672E12CC}"/>
                </a:ext>
              </a:extLst>
            </p:cNvPr>
            <p:cNvSpPr txBox="1"/>
            <p:nvPr/>
          </p:nvSpPr>
          <p:spPr bwMode="auto">
            <a:xfrm>
              <a:off x="5045226" y="949244"/>
              <a:ext cx="720079"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buClr>
                  <a:srgbClr val="01286D"/>
                </a:buClr>
                <a:buSzPct val="80000"/>
                <a:defRPr/>
              </a:pPr>
              <a:r>
                <a:rPr lang="en-GB" sz="1600" dirty="0">
                  <a:solidFill>
                    <a:srgbClr val="2190C2"/>
                  </a:solidFill>
                  <a:ea typeface="ＭＳ Ｐゴシック" charset="0"/>
                </a:rPr>
                <a:t>&gt;</a:t>
              </a:r>
              <a:r>
                <a:rPr lang="en-GB" sz="2800" dirty="0">
                  <a:solidFill>
                    <a:srgbClr val="2190C2"/>
                  </a:solidFill>
                  <a:ea typeface="ＭＳ Ｐゴシック" charset="0"/>
                </a:rPr>
                <a:t>400</a:t>
              </a:r>
              <a:endParaRPr lang="en-GB" sz="1400" dirty="0">
                <a:solidFill>
                  <a:srgbClr val="2190C2"/>
                </a:solidFill>
                <a:ea typeface="ＭＳ Ｐゴシック" charset="0"/>
              </a:endParaRPr>
            </a:p>
          </p:txBody>
        </p:sp>
        <p:sp>
          <p:nvSpPr>
            <p:cNvPr id="24" name="TextBox 12">
              <a:extLst>
                <a:ext uri="{FF2B5EF4-FFF2-40B4-BE49-F238E27FC236}">
                  <a16:creationId xmlns:a16="http://schemas.microsoft.com/office/drawing/2014/main" id="{DC429CD8-53EA-7948-AF85-40BE9593F99B}"/>
                </a:ext>
              </a:extLst>
            </p:cNvPr>
            <p:cNvSpPr txBox="1"/>
            <p:nvPr/>
          </p:nvSpPr>
          <p:spPr bwMode="auto">
            <a:xfrm>
              <a:off x="5826247" y="949244"/>
              <a:ext cx="1127202"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buClr>
                  <a:srgbClr val="01286D"/>
                </a:buClr>
                <a:buSzPct val="80000"/>
                <a:defRPr/>
              </a:pPr>
              <a:r>
                <a:rPr lang="en-GB" sz="1000" dirty="0" err="1">
                  <a:solidFill>
                    <a:srgbClr val="20242B"/>
                  </a:solidFill>
                  <a:ea typeface="ＭＳ Ｐゴシック" charset="0"/>
                </a:rPr>
                <a:t>Professionnels</a:t>
              </a:r>
              <a:r>
                <a:rPr lang="en-GB" sz="1000" dirty="0">
                  <a:solidFill>
                    <a:srgbClr val="20242B"/>
                  </a:solidFill>
                  <a:ea typeface="ＭＳ Ｐゴシック" charset="0"/>
                </a:rPr>
                <a:t> </a:t>
              </a:r>
              <a:br>
                <a:rPr lang="en-GB" sz="1000" dirty="0">
                  <a:solidFill>
                    <a:srgbClr val="20242B"/>
                  </a:solidFill>
                  <a:ea typeface="ＭＳ Ｐゴシック" charset="0"/>
                </a:rPr>
              </a:br>
              <a:r>
                <a:rPr lang="en-GB" sz="1000" dirty="0">
                  <a:solidFill>
                    <a:srgbClr val="20242B"/>
                  </a:solidFill>
                  <a:ea typeface="ＭＳ Ｐゴシック" charset="0"/>
                </a:rPr>
                <a:t>de </a:t>
              </a:r>
              <a:r>
                <a:rPr lang="en-GB" sz="1000" dirty="0" err="1">
                  <a:solidFill>
                    <a:srgbClr val="20242B"/>
                  </a:solidFill>
                  <a:ea typeface="ＭＳ Ｐゴシック" charset="0"/>
                </a:rPr>
                <a:t>l’investissement</a:t>
              </a:r>
              <a:endParaRPr lang="en-GB" sz="1000" dirty="0">
                <a:solidFill>
                  <a:srgbClr val="20242B"/>
                </a:solidFill>
                <a:ea typeface="ＭＳ Ｐゴシック" charset="0"/>
              </a:endParaRPr>
            </a:p>
          </p:txBody>
        </p:sp>
        <p:grpSp>
          <p:nvGrpSpPr>
            <p:cNvPr id="25" name="Group 208">
              <a:extLst>
                <a:ext uri="{FF2B5EF4-FFF2-40B4-BE49-F238E27FC236}">
                  <a16:creationId xmlns:a16="http://schemas.microsoft.com/office/drawing/2014/main" id="{2BEE2246-13B9-3D45-988D-FFE829D1056B}"/>
                </a:ext>
              </a:extLst>
            </p:cNvPr>
            <p:cNvGrpSpPr/>
            <p:nvPr/>
          </p:nvGrpSpPr>
          <p:grpSpPr>
            <a:xfrm>
              <a:off x="4610003" y="949857"/>
              <a:ext cx="360362" cy="358775"/>
              <a:chOff x="4035425" y="2281238"/>
              <a:chExt cx="360362" cy="358775"/>
            </a:xfrm>
            <a:solidFill>
              <a:schemeClr val="accent1"/>
            </a:solidFill>
          </p:grpSpPr>
          <p:sp>
            <p:nvSpPr>
              <p:cNvPr id="37" name="Freeform 135">
                <a:extLst>
                  <a:ext uri="{FF2B5EF4-FFF2-40B4-BE49-F238E27FC236}">
                    <a16:creationId xmlns:a16="http://schemas.microsoft.com/office/drawing/2014/main" id="{B19953E2-CB7E-884C-AE09-B7C3DC9ED5CA}"/>
                  </a:ext>
                </a:extLst>
              </p:cNvPr>
              <p:cNvSpPr>
                <a:spLocks noEditPoints="1"/>
              </p:cNvSpPr>
              <p:nvPr/>
            </p:nvSpPr>
            <p:spPr bwMode="auto">
              <a:xfrm>
                <a:off x="4035425" y="2281238"/>
                <a:ext cx="360362" cy="306388"/>
              </a:xfrm>
              <a:custGeom>
                <a:avLst/>
                <a:gdLst/>
                <a:ahLst/>
                <a:cxnLst>
                  <a:cxn ang="0">
                    <a:pos x="15" y="82"/>
                  </a:cxn>
                  <a:cxn ang="0">
                    <a:pos x="14" y="82"/>
                  </a:cxn>
                  <a:cxn ang="0">
                    <a:pos x="0" y="48"/>
                  </a:cxn>
                  <a:cxn ang="0">
                    <a:pos x="48" y="0"/>
                  </a:cxn>
                  <a:cxn ang="0">
                    <a:pos x="96" y="48"/>
                  </a:cxn>
                  <a:cxn ang="0">
                    <a:pos x="82" y="82"/>
                  </a:cxn>
                  <a:cxn ang="0">
                    <a:pos x="80" y="82"/>
                  </a:cxn>
                  <a:cxn ang="0">
                    <a:pos x="62" y="74"/>
                  </a:cxn>
                  <a:cxn ang="0">
                    <a:pos x="55" y="72"/>
                  </a:cxn>
                  <a:cxn ang="0">
                    <a:pos x="54" y="70"/>
                  </a:cxn>
                  <a:cxn ang="0">
                    <a:pos x="54" y="60"/>
                  </a:cxn>
                  <a:cxn ang="0">
                    <a:pos x="55" y="58"/>
                  </a:cxn>
                  <a:cxn ang="0">
                    <a:pos x="60" y="48"/>
                  </a:cxn>
                  <a:cxn ang="0">
                    <a:pos x="62" y="46"/>
                  </a:cxn>
                  <a:cxn ang="0">
                    <a:pos x="62" y="44"/>
                  </a:cxn>
                  <a:cxn ang="0">
                    <a:pos x="62" y="42"/>
                  </a:cxn>
                  <a:cxn ang="0">
                    <a:pos x="60" y="40"/>
                  </a:cxn>
                  <a:cxn ang="0">
                    <a:pos x="61" y="38"/>
                  </a:cxn>
                  <a:cxn ang="0">
                    <a:pos x="62" y="26"/>
                  </a:cxn>
                  <a:cxn ang="0">
                    <a:pos x="51" y="22"/>
                  </a:cxn>
                  <a:cxn ang="0">
                    <a:pos x="40" y="26"/>
                  </a:cxn>
                  <a:cxn ang="0">
                    <a:pos x="38" y="28"/>
                  </a:cxn>
                  <a:cxn ang="0">
                    <a:pos x="35" y="28"/>
                  </a:cxn>
                  <a:cxn ang="0">
                    <a:pos x="36" y="38"/>
                  </a:cxn>
                  <a:cxn ang="0">
                    <a:pos x="36" y="40"/>
                  </a:cxn>
                  <a:cxn ang="0">
                    <a:pos x="34" y="42"/>
                  </a:cxn>
                  <a:cxn ang="0">
                    <a:pos x="34" y="44"/>
                  </a:cxn>
                  <a:cxn ang="0">
                    <a:pos x="34" y="46"/>
                  </a:cxn>
                  <a:cxn ang="0">
                    <a:pos x="36" y="48"/>
                  </a:cxn>
                  <a:cxn ang="0">
                    <a:pos x="41" y="58"/>
                  </a:cxn>
                  <a:cxn ang="0">
                    <a:pos x="42" y="60"/>
                  </a:cxn>
                  <a:cxn ang="0">
                    <a:pos x="42" y="70"/>
                  </a:cxn>
                  <a:cxn ang="0">
                    <a:pos x="41" y="72"/>
                  </a:cxn>
                  <a:cxn ang="0">
                    <a:pos x="35" y="74"/>
                  </a:cxn>
                  <a:cxn ang="0">
                    <a:pos x="16" y="82"/>
                  </a:cxn>
                  <a:cxn ang="0">
                    <a:pos x="15" y="82"/>
                  </a:cxn>
                  <a:cxn ang="0">
                    <a:pos x="48" y="4"/>
                  </a:cxn>
                  <a:cxn ang="0">
                    <a:pos x="4" y="48"/>
                  </a:cxn>
                  <a:cxn ang="0">
                    <a:pos x="16" y="78"/>
                  </a:cxn>
                  <a:cxn ang="0">
                    <a:pos x="33" y="70"/>
                  </a:cxn>
                  <a:cxn ang="0">
                    <a:pos x="38" y="69"/>
                  </a:cxn>
                  <a:cxn ang="0">
                    <a:pos x="38" y="61"/>
                  </a:cxn>
                  <a:cxn ang="0">
                    <a:pos x="32" y="49"/>
                  </a:cxn>
                  <a:cxn ang="0">
                    <a:pos x="30" y="44"/>
                  </a:cxn>
                  <a:cxn ang="0">
                    <a:pos x="32" y="39"/>
                  </a:cxn>
                  <a:cxn ang="0">
                    <a:pos x="32" y="26"/>
                  </a:cxn>
                  <a:cxn ang="0">
                    <a:pos x="37" y="24"/>
                  </a:cxn>
                  <a:cxn ang="0">
                    <a:pos x="51" y="18"/>
                  </a:cxn>
                  <a:cxn ang="0">
                    <a:pos x="66" y="26"/>
                  </a:cxn>
                  <a:cxn ang="0">
                    <a:pos x="64" y="39"/>
                  </a:cxn>
                  <a:cxn ang="0">
                    <a:pos x="66" y="44"/>
                  </a:cxn>
                  <a:cxn ang="0">
                    <a:pos x="64" y="49"/>
                  </a:cxn>
                  <a:cxn ang="0">
                    <a:pos x="58" y="61"/>
                  </a:cxn>
                  <a:cxn ang="0">
                    <a:pos x="58" y="69"/>
                  </a:cxn>
                  <a:cxn ang="0">
                    <a:pos x="63" y="70"/>
                  </a:cxn>
                  <a:cxn ang="0">
                    <a:pos x="80" y="78"/>
                  </a:cxn>
                  <a:cxn ang="0">
                    <a:pos x="92" y="48"/>
                  </a:cxn>
                  <a:cxn ang="0">
                    <a:pos x="48" y="4"/>
                  </a:cxn>
                </a:cxnLst>
                <a:rect l="0" t="0" r="r" b="b"/>
                <a:pathLst>
                  <a:path w="96" h="82">
                    <a:moveTo>
                      <a:pt x="15" y="82"/>
                    </a:moveTo>
                    <a:cubicBezTo>
                      <a:pt x="15" y="82"/>
                      <a:pt x="14" y="82"/>
                      <a:pt x="14" y="82"/>
                    </a:cubicBezTo>
                    <a:cubicBezTo>
                      <a:pt x="5" y="73"/>
                      <a:pt x="0" y="61"/>
                      <a:pt x="0" y="48"/>
                    </a:cubicBezTo>
                    <a:cubicBezTo>
                      <a:pt x="0" y="22"/>
                      <a:pt x="22" y="0"/>
                      <a:pt x="48" y="0"/>
                    </a:cubicBezTo>
                    <a:cubicBezTo>
                      <a:pt x="74" y="0"/>
                      <a:pt x="96" y="22"/>
                      <a:pt x="96" y="48"/>
                    </a:cubicBezTo>
                    <a:cubicBezTo>
                      <a:pt x="96" y="61"/>
                      <a:pt x="91" y="73"/>
                      <a:pt x="82" y="82"/>
                    </a:cubicBezTo>
                    <a:cubicBezTo>
                      <a:pt x="81" y="82"/>
                      <a:pt x="80" y="82"/>
                      <a:pt x="80" y="82"/>
                    </a:cubicBezTo>
                    <a:cubicBezTo>
                      <a:pt x="76" y="79"/>
                      <a:pt x="69" y="77"/>
                      <a:pt x="62" y="74"/>
                    </a:cubicBezTo>
                    <a:cubicBezTo>
                      <a:pt x="60" y="73"/>
                      <a:pt x="57" y="73"/>
                      <a:pt x="55" y="72"/>
                    </a:cubicBezTo>
                    <a:cubicBezTo>
                      <a:pt x="55" y="72"/>
                      <a:pt x="54" y="71"/>
                      <a:pt x="54" y="70"/>
                    </a:cubicBezTo>
                    <a:cubicBezTo>
                      <a:pt x="54" y="60"/>
                      <a:pt x="54" y="60"/>
                      <a:pt x="54" y="60"/>
                    </a:cubicBezTo>
                    <a:cubicBezTo>
                      <a:pt x="54" y="59"/>
                      <a:pt x="55" y="58"/>
                      <a:pt x="55" y="58"/>
                    </a:cubicBezTo>
                    <a:cubicBezTo>
                      <a:pt x="56" y="58"/>
                      <a:pt x="60" y="56"/>
                      <a:pt x="60" y="48"/>
                    </a:cubicBezTo>
                    <a:cubicBezTo>
                      <a:pt x="60" y="47"/>
                      <a:pt x="61" y="46"/>
                      <a:pt x="62" y="46"/>
                    </a:cubicBezTo>
                    <a:cubicBezTo>
                      <a:pt x="62" y="46"/>
                      <a:pt x="62" y="45"/>
                      <a:pt x="62" y="44"/>
                    </a:cubicBezTo>
                    <a:cubicBezTo>
                      <a:pt x="62" y="43"/>
                      <a:pt x="62" y="42"/>
                      <a:pt x="62" y="42"/>
                    </a:cubicBezTo>
                    <a:cubicBezTo>
                      <a:pt x="61" y="42"/>
                      <a:pt x="60" y="41"/>
                      <a:pt x="60" y="40"/>
                    </a:cubicBezTo>
                    <a:cubicBezTo>
                      <a:pt x="60" y="39"/>
                      <a:pt x="60" y="39"/>
                      <a:pt x="61" y="38"/>
                    </a:cubicBezTo>
                    <a:cubicBezTo>
                      <a:pt x="61" y="35"/>
                      <a:pt x="63" y="30"/>
                      <a:pt x="62" y="26"/>
                    </a:cubicBezTo>
                    <a:cubicBezTo>
                      <a:pt x="61" y="24"/>
                      <a:pt x="57" y="22"/>
                      <a:pt x="51" y="22"/>
                    </a:cubicBezTo>
                    <a:cubicBezTo>
                      <a:pt x="45" y="22"/>
                      <a:pt x="41" y="24"/>
                      <a:pt x="40" y="26"/>
                    </a:cubicBezTo>
                    <a:cubicBezTo>
                      <a:pt x="40" y="28"/>
                      <a:pt x="39" y="28"/>
                      <a:pt x="38" y="28"/>
                    </a:cubicBezTo>
                    <a:cubicBezTo>
                      <a:pt x="36" y="28"/>
                      <a:pt x="35" y="28"/>
                      <a:pt x="35" y="28"/>
                    </a:cubicBezTo>
                    <a:cubicBezTo>
                      <a:pt x="33" y="30"/>
                      <a:pt x="35" y="36"/>
                      <a:pt x="36" y="38"/>
                    </a:cubicBezTo>
                    <a:cubicBezTo>
                      <a:pt x="36" y="39"/>
                      <a:pt x="36" y="40"/>
                      <a:pt x="36" y="40"/>
                    </a:cubicBezTo>
                    <a:cubicBezTo>
                      <a:pt x="36" y="41"/>
                      <a:pt x="35" y="42"/>
                      <a:pt x="34" y="42"/>
                    </a:cubicBezTo>
                    <a:cubicBezTo>
                      <a:pt x="34" y="42"/>
                      <a:pt x="34" y="43"/>
                      <a:pt x="34" y="44"/>
                    </a:cubicBezTo>
                    <a:cubicBezTo>
                      <a:pt x="34" y="45"/>
                      <a:pt x="34" y="46"/>
                      <a:pt x="34" y="46"/>
                    </a:cubicBezTo>
                    <a:cubicBezTo>
                      <a:pt x="35" y="46"/>
                      <a:pt x="36" y="47"/>
                      <a:pt x="36" y="48"/>
                    </a:cubicBezTo>
                    <a:cubicBezTo>
                      <a:pt x="36" y="56"/>
                      <a:pt x="40" y="58"/>
                      <a:pt x="41" y="58"/>
                    </a:cubicBezTo>
                    <a:cubicBezTo>
                      <a:pt x="41" y="58"/>
                      <a:pt x="42" y="59"/>
                      <a:pt x="42" y="60"/>
                    </a:cubicBezTo>
                    <a:cubicBezTo>
                      <a:pt x="42" y="70"/>
                      <a:pt x="42" y="70"/>
                      <a:pt x="42" y="70"/>
                    </a:cubicBezTo>
                    <a:cubicBezTo>
                      <a:pt x="42" y="71"/>
                      <a:pt x="41" y="72"/>
                      <a:pt x="41" y="72"/>
                    </a:cubicBezTo>
                    <a:cubicBezTo>
                      <a:pt x="39" y="73"/>
                      <a:pt x="37" y="73"/>
                      <a:pt x="35" y="74"/>
                    </a:cubicBezTo>
                    <a:cubicBezTo>
                      <a:pt x="28" y="77"/>
                      <a:pt x="20" y="79"/>
                      <a:pt x="16" y="82"/>
                    </a:cubicBezTo>
                    <a:cubicBezTo>
                      <a:pt x="16" y="82"/>
                      <a:pt x="16" y="82"/>
                      <a:pt x="15" y="82"/>
                    </a:cubicBezTo>
                    <a:close/>
                    <a:moveTo>
                      <a:pt x="48" y="4"/>
                    </a:moveTo>
                    <a:cubicBezTo>
                      <a:pt x="24" y="4"/>
                      <a:pt x="4" y="24"/>
                      <a:pt x="4" y="48"/>
                    </a:cubicBezTo>
                    <a:cubicBezTo>
                      <a:pt x="4" y="59"/>
                      <a:pt x="8" y="70"/>
                      <a:pt x="16" y="78"/>
                    </a:cubicBezTo>
                    <a:cubicBezTo>
                      <a:pt x="20" y="75"/>
                      <a:pt x="27" y="73"/>
                      <a:pt x="33" y="70"/>
                    </a:cubicBezTo>
                    <a:cubicBezTo>
                      <a:pt x="35" y="70"/>
                      <a:pt x="36" y="69"/>
                      <a:pt x="38" y="69"/>
                    </a:cubicBezTo>
                    <a:cubicBezTo>
                      <a:pt x="38" y="61"/>
                      <a:pt x="38" y="61"/>
                      <a:pt x="38" y="61"/>
                    </a:cubicBezTo>
                    <a:cubicBezTo>
                      <a:pt x="36" y="60"/>
                      <a:pt x="32" y="57"/>
                      <a:pt x="32" y="49"/>
                    </a:cubicBezTo>
                    <a:cubicBezTo>
                      <a:pt x="30" y="49"/>
                      <a:pt x="30" y="47"/>
                      <a:pt x="30" y="44"/>
                    </a:cubicBezTo>
                    <a:cubicBezTo>
                      <a:pt x="30" y="42"/>
                      <a:pt x="30" y="40"/>
                      <a:pt x="32" y="39"/>
                    </a:cubicBezTo>
                    <a:cubicBezTo>
                      <a:pt x="31" y="35"/>
                      <a:pt x="29" y="29"/>
                      <a:pt x="32" y="26"/>
                    </a:cubicBezTo>
                    <a:cubicBezTo>
                      <a:pt x="32" y="25"/>
                      <a:pt x="34" y="24"/>
                      <a:pt x="37" y="24"/>
                    </a:cubicBezTo>
                    <a:cubicBezTo>
                      <a:pt x="39" y="20"/>
                      <a:pt x="46" y="18"/>
                      <a:pt x="51" y="18"/>
                    </a:cubicBezTo>
                    <a:cubicBezTo>
                      <a:pt x="57" y="18"/>
                      <a:pt x="65" y="20"/>
                      <a:pt x="66" y="26"/>
                    </a:cubicBezTo>
                    <a:cubicBezTo>
                      <a:pt x="67" y="30"/>
                      <a:pt x="65" y="36"/>
                      <a:pt x="64" y="39"/>
                    </a:cubicBezTo>
                    <a:cubicBezTo>
                      <a:pt x="66" y="40"/>
                      <a:pt x="66" y="42"/>
                      <a:pt x="66" y="44"/>
                    </a:cubicBezTo>
                    <a:cubicBezTo>
                      <a:pt x="66" y="47"/>
                      <a:pt x="66" y="49"/>
                      <a:pt x="64" y="49"/>
                    </a:cubicBezTo>
                    <a:cubicBezTo>
                      <a:pt x="64" y="57"/>
                      <a:pt x="60" y="60"/>
                      <a:pt x="58" y="61"/>
                    </a:cubicBezTo>
                    <a:cubicBezTo>
                      <a:pt x="58" y="69"/>
                      <a:pt x="58" y="69"/>
                      <a:pt x="58" y="69"/>
                    </a:cubicBezTo>
                    <a:cubicBezTo>
                      <a:pt x="60" y="69"/>
                      <a:pt x="61" y="70"/>
                      <a:pt x="63" y="70"/>
                    </a:cubicBezTo>
                    <a:cubicBezTo>
                      <a:pt x="70" y="73"/>
                      <a:pt x="76" y="75"/>
                      <a:pt x="80" y="78"/>
                    </a:cubicBezTo>
                    <a:cubicBezTo>
                      <a:pt x="88" y="70"/>
                      <a:pt x="92" y="59"/>
                      <a:pt x="92" y="48"/>
                    </a:cubicBezTo>
                    <a:cubicBezTo>
                      <a:pt x="92" y="24"/>
                      <a:pt x="72" y="4"/>
                      <a:pt x="48"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38" name="Freeform 136">
                <a:extLst>
                  <a:ext uri="{FF2B5EF4-FFF2-40B4-BE49-F238E27FC236}">
                    <a16:creationId xmlns:a16="http://schemas.microsoft.com/office/drawing/2014/main" id="{6F51439C-E91E-B14F-A78F-39E0536B2684}"/>
                  </a:ext>
                </a:extLst>
              </p:cNvPr>
              <p:cNvSpPr>
                <a:spLocks/>
              </p:cNvSpPr>
              <p:nvPr/>
            </p:nvSpPr>
            <p:spPr bwMode="auto">
              <a:xfrm>
                <a:off x="4087813" y="2576513"/>
                <a:ext cx="254000" cy="63500"/>
              </a:xfrm>
              <a:custGeom>
                <a:avLst/>
                <a:gdLst/>
                <a:ahLst/>
                <a:cxnLst>
                  <a:cxn ang="0">
                    <a:pos x="34" y="17"/>
                  </a:cxn>
                  <a:cxn ang="0">
                    <a:pos x="0" y="3"/>
                  </a:cxn>
                  <a:cxn ang="0">
                    <a:pos x="3" y="0"/>
                  </a:cxn>
                  <a:cxn ang="0">
                    <a:pos x="34" y="13"/>
                  </a:cxn>
                  <a:cxn ang="0">
                    <a:pos x="65" y="0"/>
                  </a:cxn>
                  <a:cxn ang="0">
                    <a:pos x="68" y="3"/>
                  </a:cxn>
                  <a:cxn ang="0">
                    <a:pos x="34" y="17"/>
                  </a:cxn>
                </a:cxnLst>
                <a:rect l="0" t="0" r="r" b="b"/>
                <a:pathLst>
                  <a:path w="68" h="17">
                    <a:moveTo>
                      <a:pt x="34" y="17"/>
                    </a:moveTo>
                    <a:cubicBezTo>
                      <a:pt x="21" y="17"/>
                      <a:pt x="9" y="12"/>
                      <a:pt x="0" y="3"/>
                    </a:cubicBezTo>
                    <a:cubicBezTo>
                      <a:pt x="3" y="0"/>
                      <a:pt x="3" y="0"/>
                      <a:pt x="3" y="0"/>
                    </a:cubicBezTo>
                    <a:cubicBezTo>
                      <a:pt x="11" y="8"/>
                      <a:pt x="22" y="13"/>
                      <a:pt x="34" y="13"/>
                    </a:cubicBezTo>
                    <a:cubicBezTo>
                      <a:pt x="46" y="13"/>
                      <a:pt x="57" y="8"/>
                      <a:pt x="65" y="0"/>
                    </a:cubicBezTo>
                    <a:cubicBezTo>
                      <a:pt x="68" y="3"/>
                      <a:pt x="68" y="3"/>
                      <a:pt x="68" y="3"/>
                    </a:cubicBezTo>
                    <a:cubicBezTo>
                      <a:pt x="59" y="12"/>
                      <a:pt x="47" y="17"/>
                      <a:pt x="34"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grpSp>
      </p:grpSp>
      <p:sp>
        <p:nvSpPr>
          <p:cNvPr id="40" name="TextBox 212">
            <a:extLst>
              <a:ext uri="{FF2B5EF4-FFF2-40B4-BE49-F238E27FC236}">
                <a16:creationId xmlns:a16="http://schemas.microsoft.com/office/drawing/2014/main" id="{6F5A869A-B5ED-5D4C-A2EE-853DF5E9F227}"/>
              </a:ext>
            </a:extLst>
          </p:cNvPr>
          <p:cNvSpPr txBox="1"/>
          <p:nvPr/>
        </p:nvSpPr>
        <p:spPr bwMode="auto">
          <a:xfrm>
            <a:off x="7642510" y="959404"/>
            <a:ext cx="440677"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buClr>
                <a:srgbClr val="01286D"/>
              </a:buClr>
              <a:buSzPct val="80000"/>
              <a:defRPr/>
            </a:pPr>
            <a:r>
              <a:rPr lang="en-GB" sz="2800" dirty="0">
                <a:solidFill>
                  <a:srgbClr val="2190C2"/>
                </a:solidFill>
                <a:ea typeface="ＭＳ Ｐゴシック" charset="0"/>
              </a:rPr>
              <a:t>18</a:t>
            </a:r>
            <a:endParaRPr lang="en-GB" sz="1400" dirty="0">
              <a:solidFill>
                <a:srgbClr val="2190C2"/>
              </a:solidFill>
              <a:ea typeface="ＭＳ Ｐゴシック" charset="0"/>
            </a:endParaRPr>
          </a:p>
        </p:txBody>
      </p:sp>
      <p:sp>
        <p:nvSpPr>
          <p:cNvPr id="41" name="TextBox 213">
            <a:extLst>
              <a:ext uri="{FF2B5EF4-FFF2-40B4-BE49-F238E27FC236}">
                <a16:creationId xmlns:a16="http://schemas.microsoft.com/office/drawing/2014/main" id="{E1C969C5-C60E-EF40-A931-1EB76B8E8FAF}"/>
              </a:ext>
            </a:extLst>
          </p:cNvPr>
          <p:cNvSpPr txBox="1"/>
          <p:nvPr/>
        </p:nvSpPr>
        <p:spPr bwMode="auto">
          <a:xfrm>
            <a:off x="8102273" y="959404"/>
            <a:ext cx="645491"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buClr>
                <a:srgbClr val="01286D"/>
              </a:buClr>
              <a:buSzPct val="80000"/>
              <a:defRPr/>
            </a:pPr>
            <a:r>
              <a:rPr lang="en-GB" sz="1000" dirty="0">
                <a:solidFill>
                  <a:srgbClr val="20242B"/>
                </a:solidFill>
                <a:ea typeface="ＭＳ Ｐゴシック" charset="0"/>
              </a:rPr>
              <a:t>Centres </a:t>
            </a:r>
            <a:br>
              <a:rPr lang="en-GB" sz="1000" dirty="0">
                <a:solidFill>
                  <a:srgbClr val="20242B"/>
                </a:solidFill>
                <a:ea typeface="ＭＳ Ｐゴシック" charset="0"/>
              </a:rPr>
            </a:br>
            <a:r>
              <a:rPr lang="en-GB" sz="1000" dirty="0">
                <a:solidFill>
                  <a:srgbClr val="20242B"/>
                </a:solidFill>
                <a:ea typeface="ＭＳ Ｐゴシック" charset="0"/>
              </a:rPr>
              <a:t>de gestion</a:t>
            </a:r>
          </a:p>
        </p:txBody>
      </p:sp>
      <p:grpSp>
        <p:nvGrpSpPr>
          <p:cNvPr id="44" name="Group 225">
            <a:extLst>
              <a:ext uri="{FF2B5EF4-FFF2-40B4-BE49-F238E27FC236}">
                <a16:creationId xmlns:a16="http://schemas.microsoft.com/office/drawing/2014/main" id="{FF2F7E6E-6541-A744-B25C-7DBF24410667}"/>
              </a:ext>
            </a:extLst>
          </p:cNvPr>
          <p:cNvGrpSpPr/>
          <p:nvPr/>
        </p:nvGrpSpPr>
        <p:grpSpPr>
          <a:xfrm>
            <a:off x="7374798" y="959223"/>
            <a:ext cx="239712" cy="360362"/>
            <a:chOff x="1222375" y="1560513"/>
            <a:chExt cx="239712" cy="360362"/>
          </a:xfrm>
          <a:solidFill>
            <a:schemeClr val="accent1"/>
          </a:solidFill>
        </p:grpSpPr>
        <p:sp>
          <p:nvSpPr>
            <p:cNvPr id="45" name="Freeform 10">
              <a:extLst>
                <a:ext uri="{FF2B5EF4-FFF2-40B4-BE49-F238E27FC236}">
                  <a16:creationId xmlns:a16="http://schemas.microsoft.com/office/drawing/2014/main" id="{0FCD255F-6F21-1C4B-8C2E-6CD75F356FA5}"/>
                </a:ext>
              </a:extLst>
            </p:cNvPr>
            <p:cNvSpPr>
              <a:spLocks noEditPoints="1"/>
            </p:cNvSpPr>
            <p:nvPr/>
          </p:nvSpPr>
          <p:spPr bwMode="auto">
            <a:xfrm>
              <a:off x="1222375" y="1560513"/>
              <a:ext cx="239712" cy="360362"/>
            </a:xfrm>
            <a:custGeom>
              <a:avLst/>
              <a:gdLst/>
              <a:ahLst/>
              <a:cxnLst>
                <a:cxn ang="0">
                  <a:pos x="32" y="96"/>
                </a:cxn>
                <a:cxn ang="0">
                  <a:pos x="30" y="95"/>
                </a:cxn>
                <a:cxn ang="0">
                  <a:pos x="0" y="32"/>
                </a:cxn>
                <a:cxn ang="0">
                  <a:pos x="32" y="0"/>
                </a:cxn>
                <a:cxn ang="0">
                  <a:pos x="64" y="32"/>
                </a:cxn>
                <a:cxn ang="0">
                  <a:pos x="34" y="95"/>
                </a:cxn>
                <a:cxn ang="0">
                  <a:pos x="32" y="96"/>
                </a:cxn>
                <a:cxn ang="0">
                  <a:pos x="32" y="4"/>
                </a:cxn>
                <a:cxn ang="0">
                  <a:pos x="4" y="32"/>
                </a:cxn>
                <a:cxn ang="0">
                  <a:pos x="32" y="90"/>
                </a:cxn>
                <a:cxn ang="0">
                  <a:pos x="60" y="32"/>
                </a:cxn>
                <a:cxn ang="0">
                  <a:pos x="32" y="4"/>
                </a:cxn>
              </a:cxnLst>
              <a:rect l="0" t="0" r="r" b="b"/>
              <a:pathLst>
                <a:path w="64" h="96">
                  <a:moveTo>
                    <a:pt x="32" y="96"/>
                  </a:moveTo>
                  <a:cubicBezTo>
                    <a:pt x="31" y="96"/>
                    <a:pt x="31" y="96"/>
                    <a:pt x="30" y="95"/>
                  </a:cubicBezTo>
                  <a:cubicBezTo>
                    <a:pt x="29" y="93"/>
                    <a:pt x="0" y="49"/>
                    <a:pt x="0" y="32"/>
                  </a:cubicBezTo>
                  <a:cubicBezTo>
                    <a:pt x="0" y="14"/>
                    <a:pt x="14" y="0"/>
                    <a:pt x="32" y="0"/>
                  </a:cubicBezTo>
                  <a:cubicBezTo>
                    <a:pt x="50" y="0"/>
                    <a:pt x="64" y="14"/>
                    <a:pt x="64" y="32"/>
                  </a:cubicBezTo>
                  <a:cubicBezTo>
                    <a:pt x="64" y="49"/>
                    <a:pt x="35" y="93"/>
                    <a:pt x="34" y="95"/>
                  </a:cubicBezTo>
                  <a:cubicBezTo>
                    <a:pt x="33" y="96"/>
                    <a:pt x="33" y="96"/>
                    <a:pt x="32" y="96"/>
                  </a:cubicBezTo>
                  <a:close/>
                  <a:moveTo>
                    <a:pt x="32" y="4"/>
                  </a:moveTo>
                  <a:cubicBezTo>
                    <a:pt x="17" y="4"/>
                    <a:pt x="4" y="17"/>
                    <a:pt x="4" y="32"/>
                  </a:cubicBezTo>
                  <a:cubicBezTo>
                    <a:pt x="4" y="46"/>
                    <a:pt x="26" y="81"/>
                    <a:pt x="32" y="90"/>
                  </a:cubicBezTo>
                  <a:cubicBezTo>
                    <a:pt x="38" y="81"/>
                    <a:pt x="60" y="46"/>
                    <a:pt x="60" y="32"/>
                  </a:cubicBezTo>
                  <a:cubicBezTo>
                    <a:pt x="60" y="17"/>
                    <a:pt x="47" y="4"/>
                    <a:pt x="3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46" name="Freeform 11">
              <a:extLst>
                <a:ext uri="{FF2B5EF4-FFF2-40B4-BE49-F238E27FC236}">
                  <a16:creationId xmlns:a16="http://schemas.microsoft.com/office/drawing/2014/main" id="{555C726C-55CF-3941-B3C9-4F74777A7C2B}"/>
                </a:ext>
              </a:extLst>
            </p:cNvPr>
            <p:cNvSpPr>
              <a:spLocks noEditPoints="1"/>
            </p:cNvSpPr>
            <p:nvPr/>
          </p:nvSpPr>
          <p:spPr bwMode="auto">
            <a:xfrm>
              <a:off x="1289050" y="1627188"/>
              <a:ext cx="106362" cy="106362"/>
            </a:xfrm>
            <a:custGeom>
              <a:avLst/>
              <a:gdLst/>
              <a:ahLst/>
              <a:cxnLst>
                <a:cxn ang="0">
                  <a:pos x="14" y="28"/>
                </a:cxn>
                <a:cxn ang="0">
                  <a:pos x="0" y="14"/>
                </a:cxn>
                <a:cxn ang="0">
                  <a:pos x="14" y="0"/>
                </a:cxn>
                <a:cxn ang="0">
                  <a:pos x="28" y="14"/>
                </a:cxn>
                <a:cxn ang="0">
                  <a:pos x="14" y="28"/>
                </a:cxn>
                <a:cxn ang="0">
                  <a:pos x="14" y="4"/>
                </a:cxn>
                <a:cxn ang="0">
                  <a:pos x="4" y="14"/>
                </a:cxn>
                <a:cxn ang="0">
                  <a:pos x="14" y="24"/>
                </a:cxn>
                <a:cxn ang="0">
                  <a:pos x="24" y="14"/>
                </a:cxn>
                <a:cxn ang="0">
                  <a:pos x="14" y="4"/>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grpSp>
      <p:graphicFrame>
        <p:nvGraphicFramePr>
          <p:cNvPr id="89" name="Table 112">
            <a:extLst>
              <a:ext uri="{FF2B5EF4-FFF2-40B4-BE49-F238E27FC236}">
                <a16:creationId xmlns:a16="http://schemas.microsoft.com/office/drawing/2014/main" id="{F667D468-B1D8-A343-B80B-8659832DB625}"/>
              </a:ext>
            </a:extLst>
          </p:cNvPr>
          <p:cNvGraphicFramePr>
            <a:graphicFrameLocks noGrp="1"/>
          </p:cNvGraphicFramePr>
          <p:nvPr/>
        </p:nvGraphicFramePr>
        <p:xfrm>
          <a:off x="467544" y="1572005"/>
          <a:ext cx="2196966" cy="4039200"/>
        </p:xfrm>
        <a:graphic>
          <a:graphicData uri="http://schemas.openxmlformats.org/drawingml/2006/table">
            <a:tbl>
              <a:tblPr/>
              <a:tblGrid>
                <a:gridCol w="1040668">
                  <a:extLst>
                    <a:ext uri="{9D8B030D-6E8A-4147-A177-3AD203B41FA5}">
                      <a16:colId xmlns:a16="http://schemas.microsoft.com/office/drawing/2014/main" val="20000"/>
                    </a:ext>
                  </a:extLst>
                </a:gridCol>
                <a:gridCol w="1156298">
                  <a:extLst>
                    <a:ext uri="{9D8B030D-6E8A-4147-A177-3AD203B41FA5}">
                      <a16:colId xmlns:a16="http://schemas.microsoft.com/office/drawing/2014/main" val="20001"/>
                    </a:ext>
                  </a:extLst>
                </a:gridCol>
              </a:tblGrid>
              <a:tr h="5400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Centres </a:t>
                      </a:r>
                      <a:br>
                        <a:rPr kumimoji="0" lang="en-GB" sz="800" b="1" i="0" u="none" strike="noStrike" cap="none" normalizeH="0" baseline="0" dirty="0">
                          <a:ln>
                            <a:noFill/>
                          </a:ln>
                          <a:solidFill>
                            <a:schemeClr val="bg1"/>
                          </a:solidFill>
                          <a:effectLst/>
                          <a:latin typeface="Arial" panose="020B0604020202020204" pitchFamily="34" charset="0"/>
                          <a:cs typeface="Arial" panose="020B0604020202020204" pitchFamily="34" charset="0"/>
                        </a:rPr>
                      </a:br>
                      <a:r>
                        <a:rPr kumimoji="0" lang="en-GB" sz="8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de gestion ²</a:t>
                      </a:r>
                      <a:endParaRPr kumimoji="0" lang="en-GB" sz="800" b="1" i="0" u="none" strike="noStrike" cap="none" normalizeH="0" baseline="0" dirty="0">
                        <a:ln>
                          <a:noFill/>
                        </a:ln>
                        <a:solidFill>
                          <a:srgbClr val="FF0000"/>
                        </a:solidFill>
                        <a:effectLst/>
                        <a:latin typeface="Arial" panose="020B0604020202020204" pitchFamily="34" charset="0"/>
                        <a:cs typeface="Arial" panose="020B0604020202020204" pitchFamily="34" charset="0"/>
                      </a:endParaRPr>
                    </a:p>
                  </a:txBody>
                  <a:tcPr marL="0" marR="0" marT="0" marB="0" anchor="ctr" horzOverflow="overflow">
                    <a:lnL w="6350" cap="flat" cmpd="sng" algn="ctr">
                      <a:solidFill>
                        <a:srgbClr val="004263"/>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4263"/>
                      </a:solidFill>
                      <a:prstDash val="solid"/>
                      <a:round/>
                      <a:headEnd type="none" w="med" len="med"/>
                      <a:tailEnd type="none" w="med" len="med"/>
                    </a:lnT>
                    <a:lnB w="6350" cap="flat" cmpd="sng" algn="ctr">
                      <a:solidFill>
                        <a:srgbClr val="004263"/>
                      </a:solidFill>
                      <a:prstDash val="solid"/>
                      <a:round/>
                      <a:headEnd type="none" w="med" len="med"/>
                      <a:tailEnd type="none" w="med" len="med"/>
                    </a:lnB>
                    <a:lnTlToBr>
                      <a:noFill/>
                    </a:lnTlToBr>
                    <a:lnBlToTr>
                      <a:noFill/>
                    </a:lnBlToTr>
                    <a:solidFill>
                      <a:srgbClr val="004263"/>
                    </a:solidFill>
                  </a:tcPr>
                </a:tc>
                <a:tc>
                  <a:txBody>
                    <a:bodyPr/>
                    <a:lstStyle/>
                    <a:p>
                      <a:pPr marL="0" algn="ctr">
                        <a:spcBef>
                          <a:spcPts val="0"/>
                        </a:spcBef>
                        <a:spcAft>
                          <a:spcPts val="0"/>
                        </a:spcAft>
                      </a:pPr>
                      <a:r>
                        <a:rPr lang="en-GB" sz="800" b="1" dirty="0" err="1">
                          <a:solidFill>
                            <a:schemeClr val="bg1"/>
                          </a:solidFill>
                          <a:latin typeface="Arial" panose="020B0604020202020204" pitchFamily="34" charset="0"/>
                          <a:cs typeface="Arial" panose="020B0604020202020204" pitchFamily="34" charset="0"/>
                        </a:rPr>
                        <a:t>Equipes</a:t>
                      </a:r>
                      <a:r>
                        <a:rPr lang="en-GB" sz="800" b="1" dirty="0">
                          <a:solidFill>
                            <a:schemeClr val="bg1"/>
                          </a:solidFill>
                          <a:latin typeface="Arial" panose="020B0604020202020204" pitchFamily="34" charset="0"/>
                          <a:cs typeface="Arial" panose="020B0604020202020204" pitchFamily="34" charset="0"/>
                        </a:rPr>
                        <a:t> </a:t>
                      </a:r>
                      <a:br>
                        <a:rPr lang="en-GB" sz="800" b="1" dirty="0">
                          <a:solidFill>
                            <a:schemeClr val="bg1"/>
                          </a:solidFill>
                          <a:latin typeface="Arial" panose="020B0604020202020204" pitchFamily="34" charset="0"/>
                          <a:cs typeface="Arial" panose="020B0604020202020204" pitchFamily="34" charset="0"/>
                        </a:rPr>
                      </a:br>
                      <a:r>
                        <a:rPr lang="en-GB" sz="800" b="1" dirty="0" err="1">
                          <a:solidFill>
                            <a:schemeClr val="bg1"/>
                          </a:solidFill>
                          <a:latin typeface="Arial" panose="020B0604020202020204" pitchFamily="34" charset="0"/>
                          <a:cs typeface="Arial" panose="020B0604020202020204" pitchFamily="34" charset="0"/>
                        </a:rPr>
                        <a:t>commerciales</a:t>
                      </a:r>
                      <a:r>
                        <a:rPr lang="en-GB" sz="800" b="1" dirty="0">
                          <a:solidFill>
                            <a:schemeClr val="bg1"/>
                          </a:solidFill>
                          <a:latin typeface="Arial" panose="020B0604020202020204" pitchFamily="34" charset="0"/>
                          <a:cs typeface="Arial" panose="020B0604020202020204" pitchFamily="34" charset="0"/>
                        </a:rPr>
                        <a:t> – </a:t>
                      </a:r>
                      <a:r>
                        <a:rPr lang="en-GB" sz="800" b="1" dirty="0" err="1">
                          <a:solidFill>
                            <a:schemeClr val="bg1"/>
                          </a:solidFill>
                          <a:latin typeface="Arial" panose="020B0604020202020204" pitchFamily="34" charset="0"/>
                          <a:cs typeface="Arial" panose="020B0604020202020204" pitchFamily="34" charset="0"/>
                        </a:rPr>
                        <a:t>opérationnelles</a:t>
                      </a:r>
                      <a:r>
                        <a:rPr lang="en-GB" sz="800" b="1" dirty="0">
                          <a:solidFill>
                            <a:schemeClr val="bg1"/>
                          </a:solidFill>
                          <a:latin typeface="Arial" panose="020B0604020202020204" pitchFamily="34" charset="0"/>
                          <a:cs typeface="Arial" panose="020B0604020202020204" pitchFamily="34" charset="0"/>
                        </a:rPr>
                        <a:t> </a:t>
                      </a:r>
                      <a:br>
                        <a:rPr lang="en-GB" sz="800" b="1" dirty="0">
                          <a:solidFill>
                            <a:schemeClr val="bg1"/>
                          </a:solidFill>
                          <a:latin typeface="Arial" panose="020B0604020202020204" pitchFamily="34" charset="0"/>
                          <a:cs typeface="Arial" panose="020B0604020202020204" pitchFamily="34" charset="0"/>
                        </a:rPr>
                      </a:br>
                      <a:r>
                        <a:rPr lang="en-GB" sz="800" b="1" dirty="0">
                          <a:solidFill>
                            <a:schemeClr val="bg1"/>
                          </a:solidFill>
                          <a:latin typeface="Arial" panose="020B0604020202020204" pitchFamily="34" charset="0"/>
                          <a:cs typeface="Arial" panose="020B0604020202020204" pitchFamily="34" charset="0"/>
                        </a:rPr>
                        <a:t>&amp; autres</a:t>
                      </a:r>
                      <a:r>
                        <a:rPr lang="en-GB" sz="800" b="1" baseline="30000" dirty="0">
                          <a:solidFill>
                            <a:schemeClr val="bg1"/>
                          </a:solidFill>
                          <a:latin typeface="Arial" panose="020B0604020202020204" pitchFamily="34" charset="0"/>
                          <a:cs typeface="Arial" panose="020B0604020202020204" pitchFamily="34" charset="0"/>
                        </a:rPr>
                        <a:t>3</a:t>
                      </a:r>
                      <a:r>
                        <a:rPr lang="en-GB" sz="800" b="1" dirty="0">
                          <a:solidFill>
                            <a:schemeClr val="bg1"/>
                          </a:solidFill>
                          <a:latin typeface="Arial" panose="020B0604020202020204" pitchFamily="34" charset="0"/>
                          <a:cs typeface="Arial" panose="020B0604020202020204" pitchFamily="34" charset="0"/>
                        </a:rPr>
                        <a:t> </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msterdam</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rgbClr val="004263"/>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ustrali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alia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ustri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nkfurt</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lgium</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urgao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rmud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2"/>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ong Kong</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razil</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4"/>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Londo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anad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5"/>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Mila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ile</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129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Mumbai</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in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Munich</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nmark</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aris</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inland</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129600">
                <a:tc>
                  <a:txBody>
                    <a:bodyPr/>
                    <a:lstStyle/>
                    <a:p>
                      <a:pPr marL="0" algn="ctr">
                        <a:spcBef>
                          <a:spcPts val="0"/>
                        </a:spcBef>
                        <a:spcAft>
                          <a:spcPts val="0"/>
                        </a:spcAf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ão Paulo</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France</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hanghai</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ermany</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ingapore</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di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ydney</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reland</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3"/>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ipei</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taly</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kyo</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Japa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defRPr/>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ronto</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Luxembourg</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129600">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etherlands</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oland</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Republic of Korea</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ingapore</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pai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8"/>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wede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witzerland</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0"/>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aiwan</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6"/>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K</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21"/>
                  </a:ext>
                </a:extLst>
              </a:tr>
              <a:tr h="129600">
                <a:tc>
                  <a:txBody>
                    <a:bodyPr/>
                    <a:lstStyle/>
                    <a:p>
                      <a:pPr marL="0" marR="0" lvl="0" indent="0" algn="l" defTabSz="914400" rtl="0" eaLnBrk="1" fontAlgn="base" latinLnBrk="0" hangingPunct="1">
                        <a:lnSpc>
                          <a:spcPct val="100000"/>
                        </a:lnSpc>
                        <a:spcBef>
                          <a:spcPts val="0"/>
                        </a:spcBef>
                        <a:spcAft>
                          <a:spcPts val="0"/>
                        </a:spcAft>
                        <a:buClrTx/>
                        <a:buSzTx/>
                        <a:buFont typeface="Wingdings" pitchFamily="2" charset="2"/>
                        <a:buNone/>
                        <a:tabLst>
                          <a:tab pos="55563" algn="l"/>
                          <a:tab pos="292100" algn="l"/>
                          <a:tab pos="365125" algn="l"/>
                        </a:tabLst>
                      </a:pPr>
                      <a:endPar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GB"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nited Arab Emirates</a:t>
                      </a:r>
                    </a:p>
                  </a:txBody>
                  <a:tcPr marL="0" marR="0" marT="0" marB="0" anchor="ctr" horzOverflow="overflow">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42510579"/>
                  </a:ext>
                </a:extLst>
              </a:tr>
            </a:tbl>
          </a:graphicData>
        </a:graphic>
      </p:graphicFrame>
      <p:cxnSp>
        <p:nvCxnSpPr>
          <p:cNvPr id="304" name="Connecteur droit 303">
            <a:extLst>
              <a:ext uri="{FF2B5EF4-FFF2-40B4-BE49-F238E27FC236}">
                <a16:creationId xmlns:a16="http://schemas.microsoft.com/office/drawing/2014/main" id="{E4DE37F5-5E95-0546-BB80-D5E4869960F3}"/>
              </a:ext>
            </a:extLst>
          </p:cNvPr>
          <p:cNvCxnSpPr>
            <a:cxnSpLocks/>
          </p:cNvCxnSpPr>
          <p:nvPr/>
        </p:nvCxnSpPr>
        <p:spPr>
          <a:xfrm>
            <a:off x="2685029" y="869404"/>
            <a:ext cx="0" cy="5400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5" name="Connecteur droit 304">
            <a:extLst>
              <a:ext uri="{FF2B5EF4-FFF2-40B4-BE49-F238E27FC236}">
                <a16:creationId xmlns:a16="http://schemas.microsoft.com/office/drawing/2014/main" id="{011FCCDC-99A5-274D-939C-74ECA5BA910C}"/>
              </a:ext>
            </a:extLst>
          </p:cNvPr>
          <p:cNvCxnSpPr>
            <a:cxnSpLocks/>
          </p:cNvCxnSpPr>
          <p:nvPr/>
        </p:nvCxnSpPr>
        <p:spPr>
          <a:xfrm>
            <a:off x="4434891" y="869404"/>
            <a:ext cx="0" cy="5400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6" name="Connecteur droit 305">
            <a:extLst>
              <a:ext uri="{FF2B5EF4-FFF2-40B4-BE49-F238E27FC236}">
                <a16:creationId xmlns:a16="http://schemas.microsoft.com/office/drawing/2014/main" id="{232DB419-5488-6249-8DB2-126F7957D493}"/>
              </a:ext>
            </a:extLst>
          </p:cNvPr>
          <p:cNvCxnSpPr>
            <a:cxnSpLocks/>
          </p:cNvCxnSpPr>
          <p:nvPr/>
        </p:nvCxnSpPr>
        <p:spPr>
          <a:xfrm>
            <a:off x="7175977" y="869404"/>
            <a:ext cx="0" cy="5400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e 14">
            <a:extLst>
              <a:ext uri="{FF2B5EF4-FFF2-40B4-BE49-F238E27FC236}">
                <a16:creationId xmlns:a16="http://schemas.microsoft.com/office/drawing/2014/main" id="{A334996D-6A79-D748-B7BF-540C708D41B1}"/>
              </a:ext>
            </a:extLst>
          </p:cNvPr>
          <p:cNvGrpSpPr/>
          <p:nvPr/>
        </p:nvGrpSpPr>
        <p:grpSpPr>
          <a:xfrm>
            <a:off x="2883849" y="959223"/>
            <a:ext cx="1352222" cy="360363"/>
            <a:chOff x="2907555" y="949063"/>
            <a:chExt cx="1352222" cy="360363"/>
          </a:xfrm>
        </p:grpSpPr>
        <p:sp>
          <p:nvSpPr>
            <p:cNvPr id="17" name="TextBox 191">
              <a:extLst>
                <a:ext uri="{FF2B5EF4-FFF2-40B4-BE49-F238E27FC236}">
                  <a16:creationId xmlns:a16="http://schemas.microsoft.com/office/drawing/2014/main" id="{7FBE5C7C-52FE-D342-AC69-22A9AB52DCB0}"/>
                </a:ext>
              </a:extLst>
            </p:cNvPr>
            <p:cNvSpPr txBox="1"/>
            <p:nvPr/>
          </p:nvSpPr>
          <p:spPr bwMode="auto">
            <a:xfrm>
              <a:off x="3339603" y="949244"/>
              <a:ext cx="554086"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spcBef>
                  <a:spcPct val="0"/>
                </a:spcBef>
                <a:buClr>
                  <a:srgbClr val="01286D"/>
                </a:buClr>
                <a:buSzPct val="80000"/>
                <a:buFont typeface="Wingdings" pitchFamily="2" charset="2"/>
                <a:buNone/>
                <a:defRPr/>
              </a:pPr>
              <a:r>
                <a:rPr lang="en-GB" sz="1600" dirty="0">
                  <a:solidFill>
                    <a:srgbClr val="2190C2"/>
                  </a:solidFill>
                  <a:ea typeface="ＭＳ Ｐゴシック" charset="0"/>
                </a:rPr>
                <a:t>&gt;</a:t>
              </a:r>
              <a:r>
                <a:rPr lang="en-GB" sz="2800" dirty="0">
                  <a:solidFill>
                    <a:srgbClr val="2190C2"/>
                  </a:solidFill>
                  <a:ea typeface="ＭＳ Ｐゴシック" charset="0"/>
                </a:rPr>
                <a:t>25</a:t>
              </a:r>
              <a:endParaRPr lang="en-GB" sz="1200" dirty="0">
                <a:solidFill>
                  <a:srgbClr val="2190C2"/>
                </a:solidFill>
                <a:ea typeface="ＭＳ Ｐゴシック" charset="0"/>
              </a:endParaRPr>
            </a:p>
          </p:txBody>
        </p:sp>
        <p:grpSp>
          <p:nvGrpSpPr>
            <p:cNvPr id="18" name="Group 200">
              <a:extLst>
                <a:ext uri="{FF2B5EF4-FFF2-40B4-BE49-F238E27FC236}">
                  <a16:creationId xmlns:a16="http://schemas.microsoft.com/office/drawing/2014/main" id="{4993A953-1DC7-A346-ADE2-7D35536BAE5C}"/>
                </a:ext>
              </a:extLst>
            </p:cNvPr>
            <p:cNvGrpSpPr/>
            <p:nvPr/>
          </p:nvGrpSpPr>
          <p:grpSpPr>
            <a:xfrm>
              <a:off x="2907555" y="949063"/>
              <a:ext cx="360362" cy="360363"/>
              <a:chOff x="6915150" y="2279651"/>
              <a:chExt cx="360362" cy="360363"/>
            </a:xfrm>
            <a:solidFill>
              <a:schemeClr val="accent1"/>
            </a:solidFill>
          </p:grpSpPr>
          <p:sp>
            <p:nvSpPr>
              <p:cNvPr id="19" name="Freeform 51">
                <a:extLst>
                  <a:ext uri="{FF2B5EF4-FFF2-40B4-BE49-F238E27FC236}">
                    <a16:creationId xmlns:a16="http://schemas.microsoft.com/office/drawing/2014/main" id="{5B9582EF-B30E-DB4E-91B0-A73BE3710532}"/>
                  </a:ext>
                </a:extLst>
              </p:cNvPr>
              <p:cNvSpPr>
                <a:spLocks noEditPoints="1"/>
              </p:cNvSpPr>
              <p:nvPr/>
            </p:nvSpPr>
            <p:spPr bwMode="auto">
              <a:xfrm>
                <a:off x="6915150" y="2279651"/>
                <a:ext cx="360362" cy="360363"/>
              </a:xfrm>
              <a:custGeom>
                <a:avLst/>
                <a:gdLst/>
                <a:ahLst/>
                <a:cxnLst>
                  <a:cxn ang="0">
                    <a:pos x="48" y="96"/>
                  </a:cxn>
                  <a:cxn ang="0">
                    <a:pos x="0" y="48"/>
                  </a:cxn>
                  <a:cxn ang="0">
                    <a:pos x="48" y="0"/>
                  </a:cxn>
                  <a:cxn ang="0">
                    <a:pos x="96" y="48"/>
                  </a:cxn>
                  <a:cxn ang="0">
                    <a:pos x="48" y="96"/>
                  </a:cxn>
                  <a:cxn ang="0">
                    <a:pos x="48" y="4"/>
                  </a:cxn>
                  <a:cxn ang="0">
                    <a:pos x="4" y="48"/>
                  </a:cxn>
                  <a:cxn ang="0">
                    <a:pos x="48" y="92"/>
                  </a:cxn>
                  <a:cxn ang="0">
                    <a:pos x="92" y="48"/>
                  </a:cxn>
                  <a:cxn ang="0">
                    <a:pos x="48" y="4"/>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20" name="Freeform 52">
                <a:extLst>
                  <a:ext uri="{FF2B5EF4-FFF2-40B4-BE49-F238E27FC236}">
                    <a16:creationId xmlns:a16="http://schemas.microsoft.com/office/drawing/2014/main" id="{55D6187E-C40D-394E-8EBE-445D83C26378}"/>
                  </a:ext>
                </a:extLst>
              </p:cNvPr>
              <p:cNvSpPr>
                <a:spLocks/>
              </p:cNvSpPr>
              <p:nvPr/>
            </p:nvSpPr>
            <p:spPr bwMode="auto">
              <a:xfrm>
                <a:off x="6975475" y="2287588"/>
                <a:ext cx="254000" cy="300038"/>
              </a:xfrm>
              <a:custGeom>
                <a:avLst/>
                <a:gdLst/>
                <a:ahLst/>
                <a:cxnLst>
                  <a:cxn ang="0">
                    <a:pos x="20" y="68"/>
                  </a:cxn>
                  <a:cxn ang="0">
                    <a:pos x="22" y="62"/>
                  </a:cxn>
                  <a:cxn ang="0">
                    <a:pos x="18" y="56"/>
                  </a:cxn>
                  <a:cxn ang="0">
                    <a:pos x="11" y="52"/>
                  </a:cxn>
                  <a:cxn ang="0">
                    <a:pos x="0" y="42"/>
                  </a:cxn>
                  <a:cxn ang="0">
                    <a:pos x="22" y="25"/>
                  </a:cxn>
                  <a:cxn ang="0">
                    <a:pos x="33" y="27"/>
                  </a:cxn>
                  <a:cxn ang="0">
                    <a:pos x="36" y="18"/>
                  </a:cxn>
                  <a:cxn ang="0">
                    <a:pos x="26" y="12"/>
                  </a:cxn>
                  <a:cxn ang="0">
                    <a:pos x="47" y="2"/>
                  </a:cxn>
                  <a:cxn ang="0">
                    <a:pos x="30" y="12"/>
                  </a:cxn>
                  <a:cxn ang="0">
                    <a:pos x="35" y="14"/>
                  </a:cxn>
                  <a:cxn ang="0">
                    <a:pos x="40" y="28"/>
                  </a:cxn>
                  <a:cxn ang="0">
                    <a:pos x="34" y="31"/>
                  </a:cxn>
                  <a:cxn ang="0">
                    <a:pos x="20" y="28"/>
                  </a:cxn>
                  <a:cxn ang="0">
                    <a:pos x="4" y="42"/>
                  </a:cxn>
                  <a:cxn ang="0">
                    <a:pos x="11" y="48"/>
                  </a:cxn>
                  <a:cxn ang="0">
                    <a:pos x="22" y="55"/>
                  </a:cxn>
                  <a:cxn ang="0">
                    <a:pos x="25" y="66"/>
                  </a:cxn>
                  <a:cxn ang="0">
                    <a:pos x="28" y="76"/>
                  </a:cxn>
                  <a:cxn ang="0">
                    <a:pos x="39" y="66"/>
                  </a:cxn>
                  <a:cxn ang="0">
                    <a:pos x="45" y="62"/>
                  </a:cxn>
                  <a:cxn ang="0">
                    <a:pos x="42" y="58"/>
                  </a:cxn>
                  <a:cxn ang="0">
                    <a:pos x="51" y="44"/>
                  </a:cxn>
                  <a:cxn ang="0">
                    <a:pos x="44" y="42"/>
                  </a:cxn>
                  <a:cxn ang="0">
                    <a:pos x="40" y="35"/>
                  </a:cxn>
                  <a:cxn ang="0">
                    <a:pos x="56" y="28"/>
                  </a:cxn>
                  <a:cxn ang="0">
                    <a:pos x="66" y="13"/>
                  </a:cxn>
                  <a:cxn ang="0">
                    <a:pos x="57" y="32"/>
                  </a:cxn>
                  <a:cxn ang="0">
                    <a:pos x="45" y="34"/>
                  </a:cxn>
                  <a:cxn ang="0">
                    <a:pos x="51" y="40"/>
                  </a:cxn>
                  <a:cxn ang="0">
                    <a:pos x="48" y="56"/>
                  </a:cxn>
                  <a:cxn ang="0">
                    <a:pos x="47" y="58"/>
                  </a:cxn>
                  <a:cxn ang="0">
                    <a:pos x="47" y="65"/>
                  </a:cxn>
                  <a:cxn ang="0">
                    <a:pos x="28" y="80"/>
                  </a:cxn>
                </a:cxnLst>
                <a:rect l="0" t="0" r="r" b="b"/>
                <a:pathLst>
                  <a:path w="68" h="80">
                    <a:moveTo>
                      <a:pt x="28" y="80"/>
                    </a:moveTo>
                    <a:cubicBezTo>
                      <a:pt x="24" y="80"/>
                      <a:pt x="20" y="70"/>
                      <a:pt x="20" y="68"/>
                    </a:cubicBezTo>
                    <a:cubicBezTo>
                      <a:pt x="20" y="67"/>
                      <a:pt x="21" y="65"/>
                      <a:pt x="21" y="64"/>
                    </a:cubicBezTo>
                    <a:cubicBezTo>
                      <a:pt x="22" y="63"/>
                      <a:pt x="22" y="63"/>
                      <a:pt x="22" y="62"/>
                    </a:cubicBezTo>
                    <a:cubicBezTo>
                      <a:pt x="22" y="61"/>
                      <a:pt x="20" y="59"/>
                      <a:pt x="19" y="57"/>
                    </a:cubicBezTo>
                    <a:cubicBezTo>
                      <a:pt x="18" y="57"/>
                      <a:pt x="18" y="57"/>
                      <a:pt x="18" y="56"/>
                    </a:cubicBezTo>
                    <a:cubicBezTo>
                      <a:pt x="18" y="54"/>
                      <a:pt x="18" y="53"/>
                      <a:pt x="17" y="53"/>
                    </a:cubicBezTo>
                    <a:cubicBezTo>
                      <a:pt x="16" y="52"/>
                      <a:pt x="14" y="52"/>
                      <a:pt x="11" y="52"/>
                    </a:cubicBezTo>
                    <a:cubicBezTo>
                      <a:pt x="10" y="52"/>
                      <a:pt x="9" y="52"/>
                      <a:pt x="8" y="52"/>
                    </a:cubicBezTo>
                    <a:cubicBezTo>
                      <a:pt x="2" y="52"/>
                      <a:pt x="0" y="45"/>
                      <a:pt x="0" y="42"/>
                    </a:cubicBezTo>
                    <a:cubicBezTo>
                      <a:pt x="0" y="41"/>
                      <a:pt x="0" y="26"/>
                      <a:pt x="12" y="24"/>
                    </a:cubicBezTo>
                    <a:cubicBezTo>
                      <a:pt x="17" y="23"/>
                      <a:pt x="20" y="23"/>
                      <a:pt x="22" y="25"/>
                    </a:cubicBezTo>
                    <a:cubicBezTo>
                      <a:pt x="23" y="26"/>
                      <a:pt x="24" y="26"/>
                      <a:pt x="24" y="27"/>
                    </a:cubicBezTo>
                    <a:cubicBezTo>
                      <a:pt x="26" y="28"/>
                      <a:pt x="30" y="28"/>
                      <a:pt x="33" y="27"/>
                    </a:cubicBezTo>
                    <a:cubicBezTo>
                      <a:pt x="34" y="27"/>
                      <a:pt x="35" y="26"/>
                      <a:pt x="36" y="26"/>
                    </a:cubicBezTo>
                    <a:cubicBezTo>
                      <a:pt x="37" y="23"/>
                      <a:pt x="37" y="20"/>
                      <a:pt x="36" y="18"/>
                    </a:cubicBezTo>
                    <a:cubicBezTo>
                      <a:pt x="34" y="19"/>
                      <a:pt x="31" y="19"/>
                      <a:pt x="29" y="18"/>
                    </a:cubicBezTo>
                    <a:cubicBezTo>
                      <a:pt x="27" y="17"/>
                      <a:pt x="26" y="15"/>
                      <a:pt x="26" y="12"/>
                    </a:cubicBezTo>
                    <a:cubicBezTo>
                      <a:pt x="25" y="5"/>
                      <a:pt x="42" y="1"/>
                      <a:pt x="45" y="0"/>
                    </a:cubicBezTo>
                    <a:cubicBezTo>
                      <a:pt x="46" y="0"/>
                      <a:pt x="47" y="1"/>
                      <a:pt x="47" y="2"/>
                    </a:cubicBezTo>
                    <a:cubicBezTo>
                      <a:pt x="48" y="3"/>
                      <a:pt x="47" y="4"/>
                      <a:pt x="46" y="4"/>
                    </a:cubicBezTo>
                    <a:cubicBezTo>
                      <a:pt x="38" y="6"/>
                      <a:pt x="30" y="9"/>
                      <a:pt x="30" y="12"/>
                    </a:cubicBezTo>
                    <a:cubicBezTo>
                      <a:pt x="30" y="13"/>
                      <a:pt x="30" y="14"/>
                      <a:pt x="31" y="15"/>
                    </a:cubicBezTo>
                    <a:cubicBezTo>
                      <a:pt x="32" y="15"/>
                      <a:pt x="34" y="15"/>
                      <a:pt x="35" y="14"/>
                    </a:cubicBezTo>
                    <a:cubicBezTo>
                      <a:pt x="36" y="14"/>
                      <a:pt x="38" y="14"/>
                      <a:pt x="38" y="14"/>
                    </a:cubicBezTo>
                    <a:cubicBezTo>
                      <a:pt x="41" y="16"/>
                      <a:pt x="41" y="23"/>
                      <a:pt x="40" y="28"/>
                    </a:cubicBezTo>
                    <a:cubicBezTo>
                      <a:pt x="40" y="29"/>
                      <a:pt x="39" y="30"/>
                      <a:pt x="38" y="30"/>
                    </a:cubicBezTo>
                    <a:cubicBezTo>
                      <a:pt x="37" y="30"/>
                      <a:pt x="36" y="30"/>
                      <a:pt x="34" y="31"/>
                    </a:cubicBezTo>
                    <a:cubicBezTo>
                      <a:pt x="30" y="32"/>
                      <a:pt x="24" y="33"/>
                      <a:pt x="21" y="29"/>
                    </a:cubicBezTo>
                    <a:cubicBezTo>
                      <a:pt x="20" y="29"/>
                      <a:pt x="20" y="29"/>
                      <a:pt x="20" y="28"/>
                    </a:cubicBezTo>
                    <a:cubicBezTo>
                      <a:pt x="20" y="28"/>
                      <a:pt x="18" y="27"/>
                      <a:pt x="12" y="28"/>
                    </a:cubicBezTo>
                    <a:cubicBezTo>
                      <a:pt x="4" y="30"/>
                      <a:pt x="4" y="42"/>
                      <a:pt x="4" y="42"/>
                    </a:cubicBezTo>
                    <a:cubicBezTo>
                      <a:pt x="4" y="42"/>
                      <a:pt x="4" y="48"/>
                      <a:pt x="8" y="48"/>
                    </a:cubicBezTo>
                    <a:cubicBezTo>
                      <a:pt x="9" y="48"/>
                      <a:pt x="10" y="48"/>
                      <a:pt x="11" y="48"/>
                    </a:cubicBezTo>
                    <a:cubicBezTo>
                      <a:pt x="14" y="48"/>
                      <a:pt x="18" y="48"/>
                      <a:pt x="20" y="50"/>
                    </a:cubicBezTo>
                    <a:cubicBezTo>
                      <a:pt x="21" y="51"/>
                      <a:pt x="22" y="53"/>
                      <a:pt x="22" y="55"/>
                    </a:cubicBezTo>
                    <a:cubicBezTo>
                      <a:pt x="24" y="57"/>
                      <a:pt x="26" y="60"/>
                      <a:pt x="26" y="62"/>
                    </a:cubicBezTo>
                    <a:cubicBezTo>
                      <a:pt x="26" y="63"/>
                      <a:pt x="25" y="65"/>
                      <a:pt x="25" y="66"/>
                    </a:cubicBezTo>
                    <a:cubicBezTo>
                      <a:pt x="24" y="67"/>
                      <a:pt x="24" y="67"/>
                      <a:pt x="24" y="68"/>
                    </a:cubicBezTo>
                    <a:cubicBezTo>
                      <a:pt x="24" y="69"/>
                      <a:pt x="27" y="75"/>
                      <a:pt x="28" y="76"/>
                    </a:cubicBezTo>
                    <a:cubicBezTo>
                      <a:pt x="35" y="76"/>
                      <a:pt x="38" y="73"/>
                      <a:pt x="38" y="68"/>
                    </a:cubicBezTo>
                    <a:cubicBezTo>
                      <a:pt x="38" y="67"/>
                      <a:pt x="39" y="66"/>
                      <a:pt x="39" y="66"/>
                    </a:cubicBezTo>
                    <a:cubicBezTo>
                      <a:pt x="39" y="66"/>
                      <a:pt x="42" y="65"/>
                      <a:pt x="45" y="63"/>
                    </a:cubicBezTo>
                    <a:cubicBezTo>
                      <a:pt x="45" y="62"/>
                      <a:pt x="45" y="62"/>
                      <a:pt x="45" y="62"/>
                    </a:cubicBezTo>
                    <a:cubicBezTo>
                      <a:pt x="45" y="62"/>
                      <a:pt x="44" y="62"/>
                      <a:pt x="44" y="61"/>
                    </a:cubicBezTo>
                    <a:cubicBezTo>
                      <a:pt x="43" y="61"/>
                      <a:pt x="42" y="60"/>
                      <a:pt x="42" y="58"/>
                    </a:cubicBezTo>
                    <a:cubicBezTo>
                      <a:pt x="42" y="57"/>
                      <a:pt x="43" y="55"/>
                      <a:pt x="45" y="53"/>
                    </a:cubicBezTo>
                    <a:cubicBezTo>
                      <a:pt x="48" y="50"/>
                      <a:pt x="51" y="47"/>
                      <a:pt x="51" y="44"/>
                    </a:cubicBezTo>
                    <a:cubicBezTo>
                      <a:pt x="49" y="45"/>
                      <a:pt x="47" y="45"/>
                      <a:pt x="45" y="43"/>
                    </a:cubicBezTo>
                    <a:cubicBezTo>
                      <a:pt x="44" y="43"/>
                      <a:pt x="44" y="43"/>
                      <a:pt x="44" y="42"/>
                    </a:cubicBezTo>
                    <a:cubicBezTo>
                      <a:pt x="43" y="40"/>
                      <a:pt x="42" y="37"/>
                      <a:pt x="42" y="36"/>
                    </a:cubicBezTo>
                    <a:cubicBezTo>
                      <a:pt x="41" y="36"/>
                      <a:pt x="40" y="35"/>
                      <a:pt x="40" y="35"/>
                    </a:cubicBezTo>
                    <a:cubicBezTo>
                      <a:pt x="40" y="34"/>
                      <a:pt x="39" y="33"/>
                      <a:pt x="40" y="32"/>
                    </a:cubicBezTo>
                    <a:cubicBezTo>
                      <a:pt x="42" y="30"/>
                      <a:pt x="49" y="27"/>
                      <a:pt x="56" y="28"/>
                    </a:cubicBezTo>
                    <a:cubicBezTo>
                      <a:pt x="62" y="24"/>
                      <a:pt x="64" y="15"/>
                      <a:pt x="64" y="15"/>
                    </a:cubicBezTo>
                    <a:cubicBezTo>
                      <a:pt x="64" y="14"/>
                      <a:pt x="65" y="13"/>
                      <a:pt x="66" y="13"/>
                    </a:cubicBezTo>
                    <a:cubicBezTo>
                      <a:pt x="67" y="13"/>
                      <a:pt x="68" y="14"/>
                      <a:pt x="68" y="15"/>
                    </a:cubicBezTo>
                    <a:cubicBezTo>
                      <a:pt x="68" y="16"/>
                      <a:pt x="66" y="27"/>
                      <a:pt x="57" y="32"/>
                    </a:cubicBezTo>
                    <a:cubicBezTo>
                      <a:pt x="56" y="32"/>
                      <a:pt x="56" y="32"/>
                      <a:pt x="56" y="32"/>
                    </a:cubicBezTo>
                    <a:cubicBezTo>
                      <a:pt x="51" y="31"/>
                      <a:pt x="47" y="32"/>
                      <a:pt x="45" y="34"/>
                    </a:cubicBezTo>
                    <a:cubicBezTo>
                      <a:pt x="46" y="35"/>
                      <a:pt x="47" y="37"/>
                      <a:pt x="48" y="41"/>
                    </a:cubicBezTo>
                    <a:cubicBezTo>
                      <a:pt x="49" y="41"/>
                      <a:pt x="50" y="41"/>
                      <a:pt x="51" y="40"/>
                    </a:cubicBezTo>
                    <a:cubicBezTo>
                      <a:pt x="52" y="40"/>
                      <a:pt x="53" y="40"/>
                      <a:pt x="53" y="41"/>
                    </a:cubicBezTo>
                    <a:cubicBezTo>
                      <a:pt x="58" y="45"/>
                      <a:pt x="52" y="52"/>
                      <a:pt x="48" y="56"/>
                    </a:cubicBezTo>
                    <a:cubicBezTo>
                      <a:pt x="48" y="57"/>
                      <a:pt x="47" y="57"/>
                      <a:pt x="46" y="58"/>
                    </a:cubicBezTo>
                    <a:cubicBezTo>
                      <a:pt x="46" y="58"/>
                      <a:pt x="47" y="58"/>
                      <a:pt x="47" y="58"/>
                    </a:cubicBezTo>
                    <a:cubicBezTo>
                      <a:pt x="48" y="59"/>
                      <a:pt x="49" y="60"/>
                      <a:pt x="49" y="62"/>
                    </a:cubicBezTo>
                    <a:cubicBezTo>
                      <a:pt x="49" y="63"/>
                      <a:pt x="48" y="64"/>
                      <a:pt x="47" y="65"/>
                    </a:cubicBezTo>
                    <a:cubicBezTo>
                      <a:pt x="45" y="67"/>
                      <a:pt x="43" y="69"/>
                      <a:pt x="42" y="69"/>
                    </a:cubicBezTo>
                    <a:cubicBezTo>
                      <a:pt x="41" y="76"/>
                      <a:pt x="36" y="80"/>
                      <a:pt x="28" y="8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grpSp>
        <p:sp>
          <p:nvSpPr>
            <p:cNvPr id="307" name="TextBox 191">
              <a:extLst>
                <a:ext uri="{FF2B5EF4-FFF2-40B4-BE49-F238E27FC236}">
                  <a16:creationId xmlns:a16="http://schemas.microsoft.com/office/drawing/2014/main" id="{9BD9AA8B-3E5B-3447-AA42-55BA5C9F95D8}"/>
                </a:ext>
              </a:extLst>
            </p:cNvPr>
            <p:cNvSpPr txBox="1"/>
            <p:nvPr/>
          </p:nvSpPr>
          <p:spPr bwMode="auto">
            <a:xfrm>
              <a:off x="3908563" y="949244"/>
              <a:ext cx="351214"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spcBef>
                  <a:spcPct val="0"/>
                </a:spcBef>
                <a:buClr>
                  <a:srgbClr val="01286D"/>
                </a:buClr>
                <a:buSzPct val="80000"/>
                <a:defRPr/>
              </a:pPr>
              <a:r>
                <a:rPr lang="en-GB" sz="1100" dirty="0">
                  <a:solidFill>
                    <a:srgbClr val="20242B"/>
                  </a:solidFill>
                  <a:ea typeface="ＭＳ Ｐゴシック" charset="0"/>
                </a:rPr>
                <a:t>Pays</a:t>
              </a:r>
            </a:p>
          </p:txBody>
        </p:sp>
      </p:grpSp>
      <p:sp>
        <p:nvSpPr>
          <p:cNvPr id="43" name="TextBox 218">
            <a:extLst>
              <a:ext uri="{FF2B5EF4-FFF2-40B4-BE49-F238E27FC236}">
                <a16:creationId xmlns:a16="http://schemas.microsoft.com/office/drawing/2014/main" id="{EB6758B6-FD5B-1245-8897-7EA2220A0538}"/>
              </a:ext>
            </a:extLst>
          </p:cNvPr>
          <p:cNvSpPr txBox="1"/>
          <p:nvPr/>
        </p:nvSpPr>
        <p:spPr bwMode="auto">
          <a:xfrm>
            <a:off x="910641" y="959404"/>
            <a:ext cx="909398"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spcBef>
                <a:spcPct val="0"/>
              </a:spcBef>
              <a:buClr>
                <a:srgbClr val="01286D"/>
              </a:buClr>
              <a:buSzPct val="80000"/>
              <a:buFont typeface="Wingdings" pitchFamily="2" charset="2"/>
              <a:buNone/>
              <a:defRPr/>
            </a:pPr>
            <a:r>
              <a:rPr lang="en-GB" sz="2800" dirty="0">
                <a:solidFill>
                  <a:srgbClr val="2190C2"/>
                </a:solidFill>
                <a:ea typeface="ＭＳ Ｐゴシック" charset="0"/>
              </a:rPr>
              <a:t>8,000</a:t>
            </a:r>
            <a:endParaRPr lang="en-GB" sz="1200" dirty="0">
              <a:solidFill>
                <a:srgbClr val="2190C2"/>
              </a:solidFill>
              <a:ea typeface="ＭＳ Ｐゴシック" charset="0"/>
            </a:endParaRPr>
          </a:p>
        </p:txBody>
      </p:sp>
      <p:grpSp>
        <p:nvGrpSpPr>
          <p:cNvPr id="47" name="Group 235">
            <a:extLst>
              <a:ext uri="{FF2B5EF4-FFF2-40B4-BE49-F238E27FC236}">
                <a16:creationId xmlns:a16="http://schemas.microsoft.com/office/drawing/2014/main" id="{2B4862D9-30EE-A241-8990-69A35D6B3143}"/>
              </a:ext>
            </a:extLst>
          </p:cNvPr>
          <p:cNvGrpSpPr/>
          <p:nvPr/>
        </p:nvGrpSpPr>
        <p:grpSpPr>
          <a:xfrm>
            <a:off x="478592" y="982242"/>
            <a:ext cx="360362" cy="314325"/>
            <a:chOff x="6915150" y="2325688"/>
            <a:chExt cx="360362" cy="314325"/>
          </a:xfrm>
          <a:solidFill>
            <a:schemeClr val="accent1"/>
          </a:solidFill>
        </p:grpSpPr>
        <p:sp>
          <p:nvSpPr>
            <p:cNvPr id="48" name="Freeform 469">
              <a:extLst>
                <a:ext uri="{FF2B5EF4-FFF2-40B4-BE49-F238E27FC236}">
                  <a16:creationId xmlns:a16="http://schemas.microsoft.com/office/drawing/2014/main" id="{8EE8E220-7F8F-B143-A364-EF0D8C1663B9}"/>
                </a:ext>
              </a:extLst>
            </p:cNvPr>
            <p:cNvSpPr>
              <a:spLocks noEditPoints="1"/>
            </p:cNvSpPr>
            <p:nvPr/>
          </p:nvSpPr>
          <p:spPr bwMode="auto">
            <a:xfrm>
              <a:off x="6915150" y="2430463"/>
              <a:ext cx="90487" cy="150813"/>
            </a:xfrm>
            <a:custGeom>
              <a:avLst/>
              <a:gdLst/>
              <a:ahLst/>
              <a:cxnLst>
                <a:cxn ang="0">
                  <a:pos x="20" y="40"/>
                </a:cxn>
                <a:cxn ang="0">
                  <a:pos x="4" y="40"/>
                </a:cxn>
                <a:cxn ang="0">
                  <a:pos x="4" y="22"/>
                </a:cxn>
                <a:cxn ang="0">
                  <a:pos x="0" y="14"/>
                </a:cxn>
                <a:cxn ang="0">
                  <a:pos x="0" y="0"/>
                </a:cxn>
                <a:cxn ang="0">
                  <a:pos x="24" y="0"/>
                </a:cxn>
                <a:cxn ang="0">
                  <a:pos x="24" y="14"/>
                </a:cxn>
                <a:cxn ang="0">
                  <a:pos x="20" y="22"/>
                </a:cxn>
                <a:cxn ang="0">
                  <a:pos x="20" y="40"/>
                </a:cxn>
                <a:cxn ang="0">
                  <a:pos x="8" y="36"/>
                </a:cxn>
                <a:cxn ang="0">
                  <a:pos x="16" y="36"/>
                </a:cxn>
                <a:cxn ang="0">
                  <a:pos x="16" y="18"/>
                </a:cxn>
                <a:cxn ang="0">
                  <a:pos x="18" y="18"/>
                </a:cxn>
                <a:cxn ang="0">
                  <a:pos x="20" y="14"/>
                </a:cxn>
                <a:cxn ang="0">
                  <a:pos x="20" y="4"/>
                </a:cxn>
                <a:cxn ang="0">
                  <a:pos x="4" y="4"/>
                </a:cxn>
                <a:cxn ang="0">
                  <a:pos x="4" y="14"/>
                </a:cxn>
                <a:cxn ang="0">
                  <a:pos x="6" y="18"/>
                </a:cxn>
                <a:cxn ang="0">
                  <a:pos x="8" y="18"/>
                </a:cxn>
                <a:cxn ang="0">
                  <a:pos x="8" y="36"/>
                </a:cxn>
              </a:cxnLst>
              <a:rect l="0" t="0" r="r" b="b"/>
              <a:pathLst>
                <a:path w="24" h="40">
                  <a:moveTo>
                    <a:pt x="20" y="40"/>
                  </a:moveTo>
                  <a:cubicBezTo>
                    <a:pt x="4" y="40"/>
                    <a:pt x="4" y="40"/>
                    <a:pt x="4" y="40"/>
                  </a:cubicBezTo>
                  <a:cubicBezTo>
                    <a:pt x="4" y="22"/>
                    <a:pt x="4" y="22"/>
                    <a:pt x="4" y="22"/>
                  </a:cubicBezTo>
                  <a:cubicBezTo>
                    <a:pt x="1" y="21"/>
                    <a:pt x="0" y="18"/>
                    <a:pt x="0" y="14"/>
                  </a:cubicBezTo>
                  <a:cubicBezTo>
                    <a:pt x="0" y="0"/>
                    <a:pt x="0" y="0"/>
                    <a:pt x="0" y="0"/>
                  </a:cubicBezTo>
                  <a:cubicBezTo>
                    <a:pt x="24" y="0"/>
                    <a:pt x="24" y="0"/>
                    <a:pt x="24" y="0"/>
                  </a:cubicBezTo>
                  <a:cubicBezTo>
                    <a:pt x="24" y="14"/>
                    <a:pt x="24" y="14"/>
                    <a:pt x="24" y="14"/>
                  </a:cubicBezTo>
                  <a:cubicBezTo>
                    <a:pt x="24" y="18"/>
                    <a:pt x="23" y="21"/>
                    <a:pt x="20" y="22"/>
                  </a:cubicBezTo>
                  <a:lnTo>
                    <a:pt x="20" y="40"/>
                  </a:lnTo>
                  <a:close/>
                  <a:moveTo>
                    <a:pt x="8" y="36"/>
                  </a:moveTo>
                  <a:cubicBezTo>
                    <a:pt x="16" y="36"/>
                    <a:pt x="16" y="36"/>
                    <a:pt x="16" y="36"/>
                  </a:cubicBezTo>
                  <a:cubicBezTo>
                    <a:pt x="16" y="18"/>
                    <a:pt x="16" y="18"/>
                    <a:pt x="16" y="18"/>
                  </a:cubicBezTo>
                  <a:cubicBezTo>
                    <a:pt x="18" y="18"/>
                    <a:pt x="18"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8" y="18"/>
                    <a:pt x="8" y="18"/>
                    <a:pt x="8" y="18"/>
                  </a:cubicBezTo>
                  <a:lnTo>
                    <a:pt x="8"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49" name="Freeform 470">
              <a:extLst>
                <a:ext uri="{FF2B5EF4-FFF2-40B4-BE49-F238E27FC236}">
                  <a16:creationId xmlns:a16="http://schemas.microsoft.com/office/drawing/2014/main" id="{3E6B74D7-E694-8143-9A0F-FDBDD3D4396F}"/>
                </a:ext>
              </a:extLst>
            </p:cNvPr>
            <p:cNvSpPr>
              <a:spLocks noEditPoints="1"/>
            </p:cNvSpPr>
            <p:nvPr/>
          </p:nvSpPr>
          <p:spPr bwMode="auto">
            <a:xfrm>
              <a:off x="7185025" y="2430463"/>
              <a:ext cx="90487" cy="150813"/>
            </a:xfrm>
            <a:custGeom>
              <a:avLst/>
              <a:gdLst/>
              <a:ahLst/>
              <a:cxnLst>
                <a:cxn ang="0">
                  <a:pos x="20" y="40"/>
                </a:cxn>
                <a:cxn ang="0">
                  <a:pos x="4" y="40"/>
                </a:cxn>
                <a:cxn ang="0">
                  <a:pos x="4" y="22"/>
                </a:cxn>
                <a:cxn ang="0">
                  <a:pos x="0" y="14"/>
                </a:cxn>
                <a:cxn ang="0">
                  <a:pos x="0" y="0"/>
                </a:cxn>
                <a:cxn ang="0">
                  <a:pos x="24" y="0"/>
                </a:cxn>
                <a:cxn ang="0">
                  <a:pos x="24" y="14"/>
                </a:cxn>
                <a:cxn ang="0">
                  <a:pos x="20" y="22"/>
                </a:cxn>
                <a:cxn ang="0">
                  <a:pos x="20" y="40"/>
                </a:cxn>
                <a:cxn ang="0">
                  <a:pos x="8" y="36"/>
                </a:cxn>
                <a:cxn ang="0">
                  <a:pos x="16" y="36"/>
                </a:cxn>
                <a:cxn ang="0">
                  <a:pos x="16" y="18"/>
                </a:cxn>
                <a:cxn ang="0">
                  <a:pos x="18" y="18"/>
                </a:cxn>
                <a:cxn ang="0">
                  <a:pos x="20" y="14"/>
                </a:cxn>
                <a:cxn ang="0">
                  <a:pos x="20" y="4"/>
                </a:cxn>
                <a:cxn ang="0">
                  <a:pos x="4" y="4"/>
                </a:cxn>
                <a:cxn ang="0">
                  <a:pos x="4" y="14"/>
                </a:cxn>
                <a:cxn ang="0">
                  <a:pos x="6" y="18"/>
                </a:cxn>
                <a:cxn ang="0">
                  <a:pos x="8" y="18"/>
                </a:cxn>
                <a:cxn ang="0">
                  <a:pos x="8" y="36"/>
                </a:cxn>
              </a:cxnLst>
              <a:rect l="0" t="0" r="r" b="b"/>
              <a:pathLst>
                <a:path w="24" h="40">
                  <a:moveTo>
                    <a:pt x="20" y="40"/>
                  </a:moveTo>
                  <a:cubicBezTo>
                    <a:pt x="4" y="40"/>
                    <a:pt x="4" y="40"/>
                    <a:pt x="4" y="40"/>
                  </a:cubicBezTo>
                  <a:cubicBezTo>
                    <a:pt x="4" y="22"/>
                    <a:pt x="4" y="22"/>
                    <a:pt x="4" y="22"/>
                  </a:cubicBezTo>
                  <a:cubicBezTo>
                    <a:pt x="1" y="21"/>
                    <a:pt x="0" y="18"/>
                    <a:pt x="0" y="14"/>
                  </a:cubicBezTo>
                  <a:cubicBezTo>
                    <a:pt x="0" y="0"/>
                    <a:pt x="0" y="0"/>
                    <a:pt x="0" y="0"/>
                  </a:cubicBezTo>
                  <a:cubicBezTo>
                    <a:pt x="24" y="0"/>
                    <a:pt x="24" y="0"/>
                    <a:pt x="24" y="0"/>
                  </a:cubicBezTo>
                  <a:cubicBezTo>
                    <a:pt x="24" y="14"/>
                    <a:pt x="24" y="14"/>
                    <a:pt x="24" y="14"/>
                  </a:cubicBezTo>
                  <a:cubicBezTo>
                    <a:pt x="24" y="18"/>
                    <a:pt x="23" y="21"/>
                    <a:pt x="20" y="22"/>
                  </a:cubicBezTo>
                  <a:lnTo>
                    <a:pt x="20" y="40"/>
                  </a:lnTo>
                  <a:close/>
                  <a:moveTo>
                    <a:pt x="8" y="36"/>
                  </a:moveTo>
                  <a:cubicBezTo>
                    <a:pt x="16" y="36"/>
                    <a:pt x="16" y="36"/>
                    <a:pt x="16" y="36"/>
                  </a:cubicBezTo>
                  <a:cubicBezTo>
                    <a:pt x="16" y="18"/>
                    <a:pt x="16" y="18"/>
                    <a:pt x="16" y="18"/>
                  </a:cubicBezTo>
                  <a:cubicBezTo>
                    <a:pt x="18" y="18"/>
                    <a:pt x="18"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8" y="18"/>
                    <a:pt x="8" y="18"/>
                    <a:pt x="8" y="18"/>
                  </a:cubicBezTo>
                  <a:lnTo>
                    <a:pt x="8"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50" name="Freeform 471">
              <a:extLst>
                <a:ext uri="{FF2B5EF4-FFF2-40B4-BE49-F238E27FC236}">
                  <a16:creationId xmlns:a16="http://schemas.microsoft.com/office/drawing/2014/main" id="{E59A8D63-3F73-E44E-B932-DBE69633D86C}"/>
                </a:ext>
              </a:extLst>
            </p:cNvPr>
            <p:cNvSpPr>
              <a:spLocks noEditPoints="1"/>
            </p:cNvSpPr>
            <p:nvPr/>
          </p:nvSpPr>
          <p:spPr bwMode="auto">
            <a:xfrm>
              <a:off x="7035800" y="2430463"/>
              <a:ext cx="119062" cy="209550"/>
            </a:xfrm>
            <a:custGeom>
              <a:avLst/>
              <a:gdLst/>
              <a:ahLst/>
              <a:cxnLst>
                <a:cxn ang="0">
                  <a:pos x="24" y="56"/>
                </a:cxn>
                <a:cxn ang="0">
                  <a:pos x="8" y="56"/>
                </a:cxn>
                <a:cxn ang="0">
                  <a:pos x="8" y="32"/>
                </a:cxn>
                <a:cxn ang="0">
                  <a:pos x="0" y="22"/>
                </a:cxn>
                <a:cxn ang="0">
                  <a:pos x="0" y="0"/>
                </a:cxn>
                <a:cxn ang="0">
                  <a:pos x="32" y="0"/>
                </a:cxn>
                <a:cxn ang="0">
                  <a:pos x="32" y="22"/>
                </a:cxn>
                <a:cxn ang="0">
                  <a:pos x="24" y="32"/>
                </a:cxn>
                <a:cxn ang="0">
                  <a:pos x="24" y="56"/>
                </a:cxn>
                <a:cxn ang="0">
                  <a:pos x="12" y="52"/>
                </a:cxn>
                <a:cxn ang="0">
                  <a:pos x="20" y="52"/>
                </a:cxn>
                <a:cxn ang="0">
                  <a:pos x="20" y="28"/>
                </a:cxn>
                <a:cxn ang="0">
                  <a:pos x="22" y="28"/>
                </a:cxn>
                <a:cxn ang="0">
                  <a:pos x="28" y="22"/>
                </a:cxn>
                <a:cxn ang="0">
                  <a:pos x="28" y="4"/>
                </a:cxn>
                <a:cxn ang="0">
                  <a:pos x="4" y="4"/>
                </a:cxn>
                <a:cxn ang="0">
                  <a:pos x="4" y="22"/>
                </a:cxn>
                <a:cxn ang="0">
                  <a:pos x="10" y="28"/>
                </a:cxn>
                <a:cxn ang="0">
                  <a:pos x="12" y="28"/>
                </a:cxn>
                <a:cxn ang="0">
                  <a:pos x="12" y="52"/>
                </a:cxn>
              </a:cxnLst>
              <a:rect l="0" t="0" r="r" b="b"/>
              <a:pathLst>
                <a:path w="32" h="56">
                  <a:moveTo>
                    <a:pt x="24" y="56"/>
                  </a:moveTo>
                  <a:cubicBezTo>
                    <a:pt x="8" y="56"/>
                    <a:pt x="8" y="56"/>
                    <a:pt x="8" y="56"/>
                  </a:cubicBezTo>
                  <a:cubicBezTo>
                    <a:pt x="8" y="32"/>
                    <a:pt x="8" y="32"/>
                    <a:pt x="8" y="32"/>
                  </a:cubicBezTo>
                  <a:cubicBezTo>
                    <a:pt x="3" y="31"/>
                    <a:pt x="0" y="27"/>
                    <a:pt x="0" y="22"/>
                  </a:cubicBezTo>
                  <a:cubicBezTo>
                    <a:pt x="0" y="0"/>
                    <a:pt x="0" y="0"/>
                    <a:pt x="0" y="0"/>
                  </a:cubicBezTo>
                  <a:cubicBezTo>
                    <a:pt x="32" y="0"/>
                    <a:pt x="32" y="0"/>
                    <a:pt x="32" y="0"/>
                  </a:cubicBezTo>
                  <a:cubicBezTo>
                    <a:pt x="32" y="22"/>
                    <a:pt x="32" y="22"/>
                    <a:pt x="32" y="22"/>
                  </a:cubicBezTo>
                  <a:cubicBezTo>
                    <a:pt x="32" y="27"/>
                    <a:pt x="29" y="31"/>
                    <a:pt x="24" y="32"/>
                  </a:cubicBezTo>
                  <a:lnTo>
                    <a:pt x="24" y="56"/>
                  </a:lnTo>
                  <a:close/>
                  <a:moveTo>
                    <a:pt x="12" y="52"/>
                  </a:moveTo>
                  <a:cubicBezTo>
                    <a:pt x="20" y="52"/>
                    <a:pt x="20" y="52"/>
                    <a:pt x="20" y="52"/>
                  </a:cubicBezTo>
                  <a:cubicBezTo>
                    <a:pt x="20" y="28"/>
                    <a:pt x="20" y="28"/>
                    <a:pt x="20" y="28"/>
                  </a:cubicBezTo>
                  <a:cubicBezTo>
                    <a:pt x="22" y="28"/>
                    <a:pt x="22" y="28"/>
                    <a:pt x="22" y="28"/>
                  </a:cubicBezTo>
                  <a:cubicBezTo>
                    <a:pt x="25" y="28"/>
                    <a:pt x="28" y="25"/>
                    <a:pt x="28" y="22"/>
                  </a:cubicBezTo>
                  <a:cubicBezTo>
                    <a:pt x="28" y="4"/>
                    <a:pt x="28" y="4"/>
                    <a:pt x="28" y="4"/>
                  </a:cubicBezTo>
                  <a:cubicBezTo>
                    <a:pt x="4" y="4"/>
                    <a:pt x="4" y="4"/>
                    <a:pt x="4" y="4"/>
                  </a:cubicBezTo>
                  <a:cubicBezTo>
                    <a:pt x="4" y="22"/>
                    <a:pt x="4" y="22"/>
                    <a:pt x="4" y="22"/>
                  </a:cubicBezTo>
                  <a:cubicBezTo>
                    <a:pt x="4" y="25"/>
                    <a:pt x="7" y="28"/>
                    <a:pt x="10" y="28"/>
                  </a:cubicBezTo>
                  <a:cubicBezTo>
                    <a:pt x="12" y="28"/>
                    <a:pt x="12" y="28"/>
                    <a:pt x="12" y="28"/>
                  </a:cubicBezTo>
                  <a:lnTo>
                    <a:pt x="12" y="5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51" name="Freeform 472">
              <a:extLst>
                <a:ext uri="{FF2B5EF4-FFF2-40B4-BE49-F238E27FC236}">
                  <a16:creationId xmlns:a16="http://schemas.microsoft.com/office/drawing/2014/main" id="{BB32E4BF-4450-BD43-B6DE-ACCFCA8B1421}"/>
                </a:ext>
              </a:extLst>
            </p:cNvPr>
            <p:cNvSpPr>
              <a:spLocks noEditPoints="1"/>
            </p:cNvSpPr>
            <p:nvPr/>
          </p:nvSpPr>
          <p:spPr bwMode="auto">
            <a:xfrm>
              <a:off x="7200900" y="2355851"/>
              <a:ext cx="58737" cy="60325"/>
            </a:xfrm>
            <a:custGeom>
              <a:avLst/>
              <a:gdLst/>
              <a:ahLst/>
              <a:cxnLst>
                <a:cxn ang="0">
                  <a:pos x="8" y="4"/>
                </a:cxn>
                <a:cxn ang="0">
                  <a:pos x="12" y="8"/>
                </a:cxn>
                <a:cxn ang="0">
                  <a:pos x="8" y="12"/>
                </a:cxn>
                <a:cxn ang="0">
                  <a:pos x="4" y="8"/>
                </a:cxn>
                <a:cxn ang="0">
                  <a:pos x="8" y="4"/>
                </a:cxn>
                <a:cxn ang="0">
                  <a:pos x="8" y="0"/>
                </a:cxn>
                <a:cxn ang="0">
                  <a:pos x="0" y="8"/>
                </a:cxn>
                <a:cxn ang="0">
                  <a:pos x="8" y="16"/>
                </a:cxn>
                <a:cxn ang="0">
                  <a:pos x="16" y="8"/>
                </a:cxn>
                <a:cxn ang="0">
                  <a:pos x="8" y="0"/>
                </a:cxn>
              </a:cxnLst>
              <a:rect l="0" t="0" r="r" b="b"/>
              <a:pathLst>
                <a:path w="16" h="16">
                  <a:moveTo>
                    <a:pt x="8" y="4"/>
                  </a:moveTo>
                  <a:cubicBezTo>
                    <a:pt x="10" y="4"/>
                    <a:pt x="12" y="6"/>
                    <a:pt x="12" y="8"/>
                  </a:cubicBezTo>
                  <a:cubicBezTo>
                    <a:pt x="12" y="10"/>
                    <a:pt x="10" y="12"/>
                    <a:pt x="8" y="12"/>
                  </a:cubicBezTo>
                  <a:cubicBezTo>
                    <a:pt x="6" y="12"/>
                    <a:pt x="4" y="10"/>
                    <a:pt x="4" y="8"/>
                  </a:cubicBezTo>
                  <a:cubicBezTo>
                    <a:pt x="4" y="6"/>
                    <a:pt x="6" y="4"/>
                    <a:pt x="8" y="4"/>
                  </a:cubicBezTo>
                  <a:moveTo>
                    <a:pt x="8" y="0"/>
                  </a:moveTo>
                  <a:cubicBezTo>
                    <a:pt x="4" y="0"/>
                    <a:pt x="0" y="4"/>
                    <a:pt x="0" y="8"/>
                  </a:cubicBezTo>
                  <a:cubicBezTo>
                    <a:pt x="0" y="12"/>
                    <a:pt x="4" y="16"/>
                    <a:pt x="8" y="16"/>
                  </a:cubicBezTo>
                  <a:cubicBezTo>
                    <a:pt x="12" y="16"/>
                    <a:pt x="16" y="12"/>
                    <a:pt x="16" y="8"/>
                  </a:cubicBezTo>
                  <a:cubicBezTo>
                    <a:pt x="16" y="4"/>
                    <a:pt x="12" y="0"/>
                    <a:pt x="8"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52" name="Freeform 473">
              <a:extLst>
                <a:ext uri="{FF2B5EF4-FFF2-40B4-BE49-F238E27FC236}">
                  <a16:creationId xmlns:a16="http://schemas.microsoft.com/office/drawing/2014/main" id="{162A838B-305C-C94C-BD2B-1CF13C5951DC}"/>
                </a:ext>
              </a:extLst>
            </p:cNvPr>
            <p:cNvSpPr>
              <a:spLocks noEditPoints="1"/>
            </p:cNvSpPr>
            <p:nvPr/>
          </p:nvSpPr>
          <p:spPr bwMode="auto">
            <a:xfrm>
              <a:off x="6929438" y="2355851"/>
              <a:ext cx="60325" cy="60325"/>
            </a:xfrm>
            <a:custGeom>
              <a:avLst/>
              <a:gdLst/>
              <a:ahLst/>
              <a:cxnLst>
                <a:cxn ang="0">
                  <a:pos x="8" y="4"/>
                </a:cxn>
                <a:cxn ang="0">
                  <a:pos x="12" y="8"/>
                </a:cxn>
                <a:cxn ang="0">
                  <a:pos x="8" y="12"/>
                </a:cxn>
                <a:cxn ang="0">
                  <a:pos x="4" y="8"/>
                </a:cxn>
                <a:cxn ang="0">
                  <a:pos x="8" y="4"/>
                </a:cxn>
                <a:cxn ang="0">
                  <a:pos x="8" y="0"/>
                </a:cxn>
                <a:cxn ang="0">
                  <a:pos x="0" y="8"/>
                </a:cxn>
                <a:cxn ang="0">
                  <a:pos x="8" y="16"/>
                </a:cxn>
                <a:cxn ang="0">
                  <a:pos x="16" y="8"/>
                </a:cxn>
                <a:cxn ang="0">
                  <a:pos x="8" y="0"/>
                </a:cxn>
              </a:cxnLst>
              <a:rect l="0" t="0" r="r" b="b"/>
              <a:pathLst>
                <a:path w="16" h="16">
                  <a:moveTo>
                    <a:pt x="8" y="4"/>
                  </a:moveTo>
                  <a:cubicBezTo>
                    <a:pt x="10" y="4"/>
                    <a:pt x="12" y="6"/>
                    <a:pt x="12" y="8"/>
                  </a:cubicBezTo>
                  <a:cubicBezTo>
                    <a:pt x="12" y="10"/>
                    <a:pt x="10" y="12"/>
                    <a:pt x="8" y="12"/>
                  </a:cubicBezTo>
                  <a:cubicBezTo>
                    <a:pt x="6" y="12"/>
                    <a:pt x="4" y="10"/>
                    <a:pt x="4" y="8"/>
                  </a:cubicBezTo>
                  <a:cubicBezTo>
                    <a:pt x="4" y="6"/>
                    <a:pt x="6" y="4"/>
                    <a:pt x="8" y="4"/>
                  </a:cubicBezTo>
                  <a:moveTo>
                    <a:pt x="8" y="0"/>
                  </a:moveTo>
                  <a:cubicBezTo>
                    <a:pt x="4" y="0"/>
                    <a:pt x="0" y="4"/>
                    <a:pt x="0" y="8"/>
                  </a:cubicBezTo>
                  <a:cubicBezTo>
                    <a:pt x="0" y="12"/>
                    <a:pt x="4" y="16"/>
                    <a:pt x="8" y="16"/>
                  </a:cubicBezTo>
                  <a:cubicBezTo>
                    <a:pt x="12" y="16"/>
                    <a:pt x="16" y="12"/>
                    <a:pt x="16" y="8"/>
                  </a:cubicBezTo>
                  <a:cubicBezTo>
                    <a:pt x="16" y="4"/>
                    <a:pt x="12" y="0"/>
                    <a:pt x="8"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sp>
          <p:nvSpPr>
            <p:cNvPr id="53" name="Freeform 474">
              <a:extLst>
                <a:ext uri="{FF2B5EF4-FFF2-40B4-BE49-F238E27FC236}">
                  <a16:creationId xmlns:a16="http://schemas.microsoft.com/office/drawing/2014/main" id="{623CC0A3-5641-2448-86BD-14FE17383717}"/>
                </a:ext>
              </a:extLst>
            </p:cNvPr>
            <p:cNvSpPr>
              <a:spLocks noEditPoints="1"/>
            </p:cNvSpPr>
            <p:nvPr/>
          </p:nvSpPr>
          <p:spPr bwMode="auto">
            <a:xfrm>
              <a:off x="7050088" y="2325688"/>
              <a:ext cx="90487" cy="90488"/>
            </a:xfrm>
            <a:custGeom>
              <a:avLst/>
              <a:gdLst/>
              <a:ahLst/>
              <a:cxnLst>
                <a:cxn ang="0">
                  <a:pos x="12" y="4"/>
                </a:cxn>
                <a:cxn ang="0">
                  <a:pos x="20" y="12"/>
                </a:cxn>
                <a:cxn ang="0">
                  <a:pos x="12" y="20"/>
                </a:cxn>
                <a:cxn ang="0">
                  <a:pos x="4" y="12"/>
                </a:cxn>
                <a:cxn ang="0">
                  <a:pos x="12" y="4"/>
                </a:cxn>
                <a:cxn ang="0">
                  <a:pos x="12" y="0"/>
                </a:cxn>
                <a:cxn ang="0">
                  <a:pos x="0" y="12"/>
                </a:cxn>
                <a:cxn ang="0">
                  <a:pos x="12" y="24"/>
                </a:cxn>
                <a:cxn ang="0">
                  <a:pos x="24" y="12"/>
                </a:cxn>
                <a:cxn ang="0">
                  <a:pos x="12" y="0"/>
                </a:cxn>
              </a:cxnLst>
              <a:rect l="0" t="0" r="r" b="b"/>
              <a:pathLst>
                <a:path w="24" h="24">
                  <a:moveTo>
                    <a:pt x="12" y="4"/>
                  </a:moveTo>
                  <a:cubicBezTo>
                    <a:pt x="16" y="4"/>
                    <a:pt x="20" y="8"/>
                    <a:pt x="20" y="12"/>
                  </a:cubicBezTo>
                  <a:cubicBezTo>
                    <a:pt x="20" y="16"/>
                    <a:pt x="16" y="20"/>
                    <a:pt x="12" y="20"/>
                  </a:cubicBezTo>
                  <a:cubicBezTo>
                    <a:pt x="8" y="20"/>
                    <a:pt x="4" y="16"/>
                    <a:pt x="4" y="12"/>
                  </a:cubicBezTo>
                  <a:cubicBezTo>
                    <a:pt x="4" y="8"/>
                    <a:pt x="8" y="4"/>
                    <a:pt x="12" y="4"/>
                  </a:cubicBezTo>
                  <a:moveTo>
                    <a:pt x="12" y="0"/>
                  </a:moveTo>
                  <a:cubicBezTo>
                    <a:pt x="5" y="0"/>
                    <a:pt x="0" y="5"/>
                    <a:pt x="0" y="12"/>
                  </a:cubicBezTo>
                  <a:cubicBezTo>
                    <a:pt x="0" y="19"/>
                    <a:pt x="5" y="24"/>
                    <a:pt x="12" y="24"/>
                  </a:cubicBezTo>
                  <a:cubicBezTo>
                    <a:pt x="19" y="24"/>
                    <a:pt x="24" y="19"/>
                    <a:pt x="24" y="12"/>
                  </a:cubicBezTo>
                  <a:cubicBezTo>
                    <a:pt x="24" y="5"/>
                    <a:pt x="19" y="0"/>
                    <a:pt x="12" y="0"/>
                  </a:cubicBez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20242B"/>
                </a:solidFill>
                <a:ea typeface="ＭＳ Ｐゴシック" charset="0"/>
              </a:endParaRPr>
            </a:p>
          </p:txBody>
        </p:sp>
      </p:grpSp>
      <p:sp>
        <p:nvSpPr>
          <p:cNvPr id="308" name="TextBox 218">
            <a:extLst>
              <a:ext uri="{FF2B5EF4-FFF2-40B4-BE49-F238E27FC236}">
                <a16:creationId xmlns:a16="http://schemas.microsoft.com/office/drawing/2014/main" id="{47E9298F-B6B6-C048-9E0E-AC89F998A5ED}"/>
              </a:ext>
            </a:extLst>
          </p:cNvPr>
          <p:cNvSpPr txBox="1"/>
          <p:nvPr/>
        </p:nvSpPr>
        <p:spPr bwMode="auto">
          <a:xfrm>
            <a:off x="1845361" y="959404"/>
            <a:ext cx="640848"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ctr" anchorCtr="0">
            <a:noAutofit/>
          </a:bodyPr>
          <a:lstStyle/>
          <a:p>
            <a:pPr>
              <a:spcBef>
                <a:spcPct val="0"/>
              </a:spcBef>
              <a:buClr>
                <a:srgbClr val="01286D"/>
              </a:buClr>
              <a:buSzPct val="80000"/>
              <a:defRPr/>
            </a:pPr>
            <a:r>
              <a:rPr lang="en-GB" sz="1100" dirty="0" err="1">
                <a:solidFill>
                  <a:srgbClr val="20242B"/>
                </a:solidFill>
                <a:ea typeface="ＭＳ Ｐゴシック" charset="0"/>
              </a:rPr>
              <a:t>Employés</a:t>
            </a:r>
            <a:endParaRPr lang="en-GB" sz="1100" dirty="0">
              <a:solidFill>
                <a:srgbClr val="20242B"/>
              </a:solidFill>
              <a:ea typeface="ＭＳ Ｐゴシック" charset="0"/>
            </a:endParaRPr>
          </a:p>
        </p:txBody>
      </p:sp>
    </p:spTree>
    <p:extLst>
      <p:ext uri="{BB962C8B-B14F-4D97-AF65-F5344CB8AC3E}">
        <p14:creationId xmlns:p14="http://schemas.microsoft.com/office/powerpoint/2010/main" val="11988013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817629" y="1394366"/>
            <a:ext cx="7343164" cy="3693319"/>
          </a:xfrm>
          <a:prstGeom prst="rect">
            <a:avLst/>
          </a:prstGeom>
          <a:noFill/>
        </p:spPr>
        <p:txBody>
          <a:bodyPr wrap="none" rtlCol="0">
            <a:spAutoFit/>
          </a:bodyPr>
          <a:lstStyle/>
          <a:p>
            <a:pPr algn="ctr"/>
            <a:r>
              <a:rPr lang="fr-FR" sz="3600" i="1" u="sng" dirty="0" smtClean="0">
                <a:solidFill>
                  <a:srgbClr val="002060"/>
                </a:solidFill>
                <a:effectLst>
                  <a:outerShdw blurRad="38100" dist="38100" dir="2700000" algn="tl">
                    <a:srgbClr val="000000">
                      <a:alpha val="43137"/>
                    </a:srgbClr>
                  </a:outerShdw>
                </a:effectLst>
              </a:rPr>
              <a:t>SOMMAIRE</a:t>
            </a:r>
          </a:p>
          <a:p>
            <a:endParaRPr lang="fr-FR" dirty="0" smtClean="0">
              <a:solidFill>
                <a:srgbClr val="223A66"/>
              </a:solidFill>
            </a:endParaRPr>
          </a:p>
          <a:p>
            <a:endParaRPr lang="fr-FR" dirty="0"/>
          </a:p>
          <a:p>
            <a:endParaRPr lang="fr-FR" dirty="0" smtClean="0"/>
          </a:p>
          <a:p>
            <a:pPr algn="just"/>
            <a:endParaRPr lang="fr-FR" sz="2400" dirty="0" smtClean="0"/>
          </a:p>
          <a:p>
            <a:pPr marL="400050" indent="-400050" algn="just">
              <a:buFont typeface="+mj-lt"/>
              <a:buAutoNum type="romanUcPeriod"/>
            </a:pPr>
            <a:r>
              <a:rPr lang="fr-FR" sz="2400" b="1" dirty="0" smtClean="0"/>
              <a:t>SINDEL </a:t>
            </a:r>
            <a:r>
              <a:rPr lang="fr-FR" sz="2400" dirty="0" smtClean="0"/>
              <a:t>: Historique et contexte</a:t>
            </a:r>
          </a:p>
          <a:p>
            <a:pPr marL="400050" indent="-400050" algn="just">
              <a:buFont typeface="+mj-lt"/>
              <a:buAutoNum type="romanUcPeriod"/>
            </a:pPr>
            <a:endParaRPr lang="fr-FR" sz="2400" dirty="0" smtClean="0"/>
          </a:p>
          <a:p>
            <a:pPr marL="400050" indent="-400050" algn="just">
              <a:buFont typeface="+mj-lt"/>
              <a:buAutoNum type="romanUcPeriod"/>
            </a:pPr>
            <a:r>
              <a:rPr lang="fr-FR" sz="2400" b="1" dirty="0" smtClean="0"/>
              <a:t>GENERALI </a:t>
            </a:r>
            <a:r>
              <a:rPr lang="fr-FR" sz="2400" dirty="0" smtClean="0"/>
              <a:t>: Taux d’intérêts et fonds en euros</a:t>
            </a:r>
          </a:p>
          <a:p>
            <a:pPr marL="400050" indent="-400050" algn="just">
              <a:buFont typeface="+mj-lt"/>
              <a:buAutoNum type="romanUcPeriod"/>
            </a:pPr>
            <a:endParaRPr lang="fr-FR" sz="2400" dirty="0" smtClean="0"/>
          </a:p>
          <a:p>
            <a:pPr marL="400050" indent="-400050" algn="just">
              <a:buFont typeface="+mj-lt"/>
              <a:buAutoNum type="romanUcPeriod"/>
            </a:pPr>
            <a:r>
              <a:rPr lang="fr-FR" sz="2400" b="1" dirty="0" smtClean="0"/>
              <a:t>FIDELITY </a:t>
            </a:r>
            <a:r>
              <a:rPr lang="fr-FR" sz="2400" dirty="0" smtClean="0"/>
              <a:t>: Perspectives et solutions d’investissements </a:t>
            </a:r>
            <a:endParaRPr lang="fr-FR" sz="2400" dirty="0"/>
          </a:p>
        </p:txBody>
      </p:sp>
    </p:spTree>
    <p:extLst>
      <p:ext uri="{BB962C8B-B14F-4D97-AF65-F5344CB8AC3E}">
        <p14:creationId xmlns:p14="http://schemas.microsoft.com/office/powerpoint/2010/main" val="15677015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22BE09B5-15EE-A898-8F24-18FCB2975ED7}"/>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46000"/>
                    </a14:imgEffect>
                  </a14:imgLayer>
                </a14:imgProps>
              </a:ext>
              <a:ext uri="{28A0092B-C50C-407E-A947-70E740481C1C}">
                <a14:useLocalDpi xmlns:a14="http://schemas.microsoft.com/office/drawing/2010/main" val="0"/>
              </a:ext>
            </a:extLst>
          </a:blip>
          <a:stretch>
            <a:fillRect/>
          </a:stretch>
        </p:blipFill>
        <p:spPr>
          <a:xfrm>
            <a:off x="1" y="0"/>
            <a:ext cx="5345135" cy="6246000"/>
          </a:xfrm>
          <a:prstGeom prst="rect">
            <a:avLst/>
          </a:prstGeom>
        </p:spPr>
      </p:pic>
      <p:pic>
        <p:nvPicPr>
          <p:cNvPr id="19" name="Picture 9">
            <a:extLst>
              <a:ext uri="{FF2B5EF4-FFF2-40B4-BE49-F238E27FC236}">
                <a16:creationId xmlns:a16="http://schemas.microsoft.com/office/drawing/2014/main" id="{10689C39-8FE6-0330-C784-925CF11F0B2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23688" y="6369149"/>
            <a:ext cx="1152000" cy="363978"/>
          </a:xfrm>
          <a:prstGeom prst="rect">
            <a:avLst/>
          </a:prstGeom>
        </p:spPr>
      </p:pic>
      <p:sp>
        <p:nvSpPr>
          <p:cNvPr id="4" name="Titre 3">
            <a:extLst>
              <a:ext uri="{FF2B5EF4-FFF2-40B4-BE49-F238E27FC236}">
                <a16:creationId xmlns:a16="http://schemas.microsoft.com/office/drawing/2014/main" id="{F98DF20C-A10A-0E43-B073-AEF28E171AD9}"/>
              </a:ext>
            </a:extLst>
          </p:cNvPr>
          <p:cNvSpPr>
            <a:spLocks noGrp="1"/>
          </p:cNvSpPr>
          <p:nvPr>
            <p:ph type="title"/>
          </p:nvPr>
        </p:nvSpPr>
        <p:spPr/>
        <p:txBody>
          <a:bodyPr/>
          <a:lstStyle/>
          <a:p>
            <a:pPr algn="r"/>
            <a:r>
              <a:rPr lang="fr-FR" dirty="0"/>
              <a:t>Fidelity en France : la « French </a:t>
            </a:r>
            <a:r>
              <a:rPr lang="fr-FR" dirty="0" err="1"/>
              <a:t>touch</a:t>
            </a:r>
            <a:r>
              <a:rPr lang="fr-FR" dirty="0"/>
              <a:t> » </a:t>
            </a:r>
            <a:br>
              <a:rPr lang="fr-FR" dirty="0"/>
            </a:br>
            <a:r>
              <a:rPr lang="fr-FR" dirty="0"/>
              <a:t>des sociétés de gestion internationales </a:t>
            </a:r>
            <a:endParaRPr lang="en-GB" dirty="0"/>
          </a:p>
        </p:txBody>
      </p:sp>
      <p:sp>
        <p:nvSpPr>
          <p:cNvPr id="15" name="Sous-titre 14">
            <a:extLst>
              <a:ext uri="{FF2B5EF4-FFF2-40B4-BE49-F238E27FC236}">
                <a16:creationId xmlns:a16="http://schemas.microsoft.com/office/drawing/2014/main" id="{BBC58596-ADBA-DD41-A72D-808DCE935F8A}"/>
              </a:ext>
            </a:extLst>
          </p:cNvPr>
          <p:cNvSpPr>
            <a:spLocks noGrp="1"/>
          </p:cNvSpPr>
          <p:nvPr>
            <p:ph type="subTitle" idx="16"/>
          </p:nvPr>
        </p:nvSpPr>
        <p:spPr/>
        <p:txBody>
          <a:bodyPr/>
          <a:lstStyle/>
          <a:p>
            <a:pPr algn="r"/>
            <a:r>
              <a:rPr lang="fr-FR" dirty="0"/>
              <a:t>Chiffres clés</a:t>
            </a:r>
          </a:p>
        </p:txBody>
      </p:sp>
      <p:sp>
        <p:nvSpPr>
          <p:cNvPr id="2" name="Espace réservé du texte 1">
            <a:extLst>
              <a:ext uri="{FF2B5EF4-FFF2-40B4-BE49-F238E27FC236}">
                <a16:creationId xmlns:a16="http://schemas.microsoft.com/office/drawing/2014/main" id="{7A63AD99-2AE3-2A4A-9051-0C50563CDBB9}"/>
              </a:ext>
            </a:extLst>
          </p:cNvPr>
          <p:cNvSpPr>
            <a:spLocks noGrp="1"/>
          </p:cNvSpPr>
          <p:nvPr>
            <p:ph type="body" sz="quarter" idx="17"/>
          </p:nvPr>
        </p:nvSpPr>
        <p:spPr/>
        <p:txBody>
          <a:bodyPr/>
          <a:lstStyle/>
          <a:p>
            <a:r>
              <a:rPr lang="fr-FR" dirty="0">
                <a:solidFill>
                  <a:schemeClr val="bg1"/>
                </a:solidFill>
              </a:rPr>
              <a:t>Source : FIL Gestion, au 31.12.2021. </a:t>
            </a:r>
          </a:p>
        </p:txBody>
      </p:sp>
      <p:sp>
        <p:nvSpPr>
          <p:cNvPr id="137" name="Rectangle 136">
            <a:extLst>
              <a:ext uri="{FF2B5EF4-FFF2-40B4-BE49-F238E27FC236}">
                <a16:creationId xmlns:a16="http://schemas.microsoft.com/office/drawing/2014/main" id="{EBB05385-DD4A-524B-92D4-24C8AFF5C3E0}"/>
              </a:ext>
            </a:extLst>
          </p:cNvPr>
          <p:cNvSpPr/>
          <p:nvPr/>
        </p:nvSpPr>
        <p:spPr>
          <a:xfrm>
            <a:off x="1505435" y="2540407"/>
            <a:ext cx="1011192" cy="1526520"/>
          </a:xfrm>
          <a:prstGeom prst="rect">
            <a:avLst/>
          </a:prstGeom>
          <a:noFill/>
        </p:spPr>
        <p:txBody>
          <a:bodyPr wrap="square" lIns="0" tIns="0" rIns="0" bIns="0" anchor="ctr">
            <a:noAutofit/>
          </a:bodyPr>
          <a:lstStyle/>
          <a:p>
            <a:pPr algn="r" defTabSz="912813" fontAlgn="base">
              <a:spcBef>
                <a:spcPct val="0"/>
              </a:spcBef>
              <a:spcAft>
                <a:spcPts val="675"/>
              </a:spcAft>
              <a:defRPr/>
            </a:pPr>
            <a:endParaRPr lang="fr-FR" sz="1000" b="1" dirty="0">
              <a:solidFill>
                <a:srgbClr val="415464"/>
              </a:solidFill>
              <a:ea typeface="ＭＳ Ｐゴシック" charset="0"/>
            </a:endParaRPr>
          </a:p>
        </p:txBody>
      </p:sp>
      <p:sp>
        <p:nvSpPr>
          <p:cNvPr id="138" name="Rectangle 137">
            <a:extLst>
              <a:ext uri="{FF2B5EF4-FFF2-40B4-BE49-F238E27FC236}">
                <a16:creationId xmlns:a16="http://schemas.microsoft.com/office/drawing/2014/main" id="{63078B25-DBA4-6B4E-8C53-1C443683602B}"/>
              </a:ext>
            </a:extLst>
          </p:cNvPr>
          <p:cNvSpPr/>
          <p:nvPr/>
        </p:nvSpPr>
        <p:spPr>
          <a:xfrm>
            <a:off x="468001" y="1802654"/>
            <a:ext cx="3780034" cy="3088934"/>
          </a:xfrm>
          <a:prstGeom prst="rect">
            <a:avLst/>
          </a:prstGeom>
          <a:noFill/>
        </p:spPr>
        <p:txBody>
          <a:bodyPr wrap="square" lIns="0" tIns="0" rIns="0" bIns="0" anchor="ctr" anchorCtr="0">
            <a:noAutofit/>
          </a:bodyPr>
          <a:lstStyle/>
          <a:p>
            <a:pPr defTabSz="912813" fontAlgn="base">
              <a:spcBef>
                <a:spcPct val="0"/>
              </a:spcBef>
              <a:spcAft>
                <a:spcPts val="1200"/>
              </a:spcAft>
              <a:defRPr/>
            </a:pPr>
            <a:r>
              <a:rPr lang="fr-FR" sz="2800" dirty="0">
                <a:solidFill>
                  <a:srgbClr val="FFFFFF"/>
                </a:solidFill>
                <a:ea typeface="ＭＳ Ｐゴシック" charset="0"/>
              </a:rPr>
              <a:t>Une société</a:t>
            </a:r>
            <a:br>
              <a:rPr lang="fr-FR" sz="2800" dirty="0">
                <a:solidFill>
                  <a:srgbClr val="FFFFFF"/>
                </a:solidFill>
                <a:ea typeface="ＭＳ Ｐゴシック" charset="0"/>
              </a:rPr>
            </a:br>
            <a:r>
              <a:rPr lang="fr-FR" sz="2800" dirty="0">
                <a:solidFill>
                  <a:srgbClr val="FFFFFF"/>
                </a:solidFill>
                <a:ea typeface="ＭＳ Ｐゴシック" charset="0"/>
              </a:rPr>
              <a:t>de gestion agréée par l’AMF à Paris</a:t>
            </a:r>
          </a:p>
          <a:p>
            <a:pPr defTabSz="912813" fontAlgn="base">
              <a:spcBef>
                <a:spcPct val="0"/>
              </a:spcBef>
              <a:spcAft>
                <a:spcPts val="1200"/>
              </a:spcAft>
              <a:defRPr/>
            </a:pPr>
            <a:r>
              <a:rPr lang="fr-FR" sz="1400" dirty="0">
                <a:solidFill>
                  <a:srgbClr val="FFFFFF"/>
                </a:solidFill>
                <a:ea typeface="ＭＳ Ｐゴシック" charset="0"/>
              </a:rPr>
              <a:t>Des gérants basés à Paris, </a:t>
            </a:r>
            <a:br>
              <a:rPr lang="fr-FR" sz="1400" dirty="0">
                <a:solidFill>
                  <a:srgbClr val="FFFFFF"/>
                </a:solidFill>
                <a:ea typeface="ＭＳ Ｐゴシック" charset="0"/>
              </a:rPr>
            </a:br>
            <a:r>
              <a:rPr lang="fr-FR" sz="1400" dirty="0">
                <a:solidFill>
                  <a:srgbClr val="FFFFFF"/>
                </a:solidFill>
                <a:ea typeface="ＭＳ Ｐゴシック" charset="0"/>
              </a:rPr>
              <a:t>spécialistes des marchés financiers agissant pour le compte de clients français </a:t>
            </a:r>
            <a:br>
              <a:rPr lang="fr-FR" sz="1400" dirty="0">
                <a:solidFill>
                  <a:srgbClr val="FFFFFF"/>
                </a:solidFill>
                <a:ea typeface="ＭＳ Ｐゴシック" charset="0"/>
              </a:rPr>
            </a:br>
            <a:r>
              <a:rPr lang="fr-FR" sz="1400" dirty="0">
                <a:solidFill>
                  <a:srgbClr val="FFFFFF"/>
                </a:solidFill>
                <a:ea typeface="ＭＳ Ｐゴシック" charset="0"/>
              </a:rPr>
              <a:t>ou internationaux.</a:t>
            </a:r>
          </a:p>
          <a:p>
            <a:pPr defTabSz="912813" fontAlgn="base">
              <a:spcBef>
                <a:spcPct val="0"/>
              </a:spcBef>
              <a:spcAft>
                <a:spcPts val="1200"/>
              </a:spcAft>
              <a:defRPr/>
            </a:pPr>
            <a:r>
              <a:rPr lang="fr-FR" sz="1400" dirty="0">
                <a:solidFill>
                  <a:srgbClr val="FFFFFF"/>
                </a:solidFill>
                <a:ea typeface="ＭＳ Ｐゴシック" charset="0"/>
              </a:rPr>
              <a:t>L’accès à l’expertise de gestion </a:t>
            </a:r>
            <a:br>
              <a:rPr lang="fr-FR" sz="1400" dirty="0">
                <a:solidFill>
                  <a:srgbClr val="FFFFFF"/>
                </a:solidFill>
                <a:ea typeface="ＭＳ Ｐゴシック" charset="0"/>
              </a:rPr>
            </a:br>
            <a:r>
              <a:rPr lang="fr-FR" sz="1400" dirty="0">
                <a:solidFill>
                  <a:srgbClr val="FFFFFF"/>
                </a:solidFill>
                <a:ea typeface="ＭＳ Ｐゴシック" charset="0"/>
              </a:rPr>
              <a:t>du groupe au travers de </a:t>
            </a:r>
            <a:r>
              <a:rPr lang="fr-FR" sz="1400" b="1" dirty="0">
                <a:solidFill>
                  <a:srgbClr val="FFFFFF"/>
                </a:solidFill>
                <a:ea typeface="ＭＳ Ｐゴシック" charset="0"/>
              </a:rPr>
              <a:t>mandats </a:t>
            </a:r>
            <a:br>
              <a:rPr lang="fr-FR" sz="1400" b="1" dirty="0">
                <a:solidFill>
                  <a:srgbClr val="FFFFFF"/>
                </a:solidFill>
                <a:ea typeface="ＭＳ Ｐゴシック" charset="0"/>
              </a:rPr>
            </a:br>
            <a:r>
              <a:rPr lang="fr-FR" sz="1400" b="1" dirty="0">
                <a:solidFill>
                  <a:srgbClr val="FFFFFF"/>
                </a:solidFill>
                <a:ea typeface="ＭＳ Ｐゴシック" charset="0"/>
              </a:rPr>
              <a:t>et de près de 200 fonds.</a:t>
            </a:r>
          </a:p>
        </p:txBody>
      </p:sp>
      <p:sp>
        <p:nvSpPr>
          <p:cNvPr id="135" name="Rectangle 134">
            <a:extLst>
              <a:ext uri="{FF2B5EF4-FFF2-40B4-BE49-F238E27FC236}">
                <a16:creationId xmlns:a16="http://schemas.microsoft.com/office/drawing/2014/main" id="{1A930AEA-64F2-744B-BCF1-3FBDCF53EBB0}"/>
              </a:ext>
            </a:extLst>
          </p:cNvPr>
          <p:cNvSpPr/>
          <p:nvPr/>
        </p:nvSpPr>
        <p:spPr>
          <a:xfrm>
            <a:off x="5694437" y="1520756"/>
            <a:ext cx="3246968" cy="432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defTabSz="912813" fontAlgn="base">
              <a:spcBef>
                <a:spcPct val="0"/>
              </a:spcBef>
              <a:spcAft>
                <a:spcPct val="0"/>
              </a:spcAft>
              <a:buClr>
                <a:srgbClr val="01286D"/>
              </a:buClr>
              <a:buSzPct val="80000"/>
              <a:defRPr/>
            </a:pPr>
            <a:r>
              <a:rPr lang="fr-FR" sz="2400" dirty="0">
                <a:solidFill>
                  <a:srgbClr val="0A4D80"/>
                </a:solidFill>
              </a:rPr>
              <a:t>12 Mds $</a:t>
            </a:r>
            <a:r>
              <a:rPr lang="fr-FR" sz="1100" dirty="0">
                <a:solidFill>
                  <a:srgbClr val="0A4D80"/>
                </a:solidFill>
              </a:rPr>
              <a:t> d’encours</a:t>
            </a:r>
            <a:r>
              <a:rPr lang="fr-FR" sz="1050" dirty="0">
                <a:solidFill>
                  <a:srgbClr val="0A4D80"/>
                </a:solidFill>
              </a:rPr>
              <a:t>,</a:t>
            </a:r>
            <a:r>
              <a:rPr lang="fr-FR" sz="900" dirty="0">
                <a:solidFill>
                  <a:srgbClr val="0A4D80"/>
                </a:solidFill>
              </a:rPr>
              <a:t> à fin mars 2022</a:t>
            </a:r>
            <a:endParaRPr lang="fr-FR" sz="1050" dirty="0">
              <a:solidFill>
                <a:srgbClr val="0A4D80"/>
              </a:solidFill>
            </a:endParaRPr>
          </a:p>
          <a:p>
            <a:pPr defTabSz="912813" fontAlgn="base">
              <a:spcBef>
                <a:spcPct val="0"/>
              </a:spcBef>
              <a:spcAft>
                <a:spcPct val="0"/>
              </a:spcAft>
              <a:buClr>
                <a:srgbClr val="01286D"/>
              </a:buClr>
              <a:buSzPct val="80000"/>
              <a:defRPr/>
            </a:pPr>
            <a:r>
              <a:rPr lang="fr-FR" sz="1100" dirty="0">
                <a:solidFill>
                  <a:srgbClr val="20242B"/>
                </a:solidFill>
              </a:rPr>
              <a:t>Gérés et distribués auprès de nos clients français</a:t>
            </a:r>
          </a:p>
        </p:txBody>
      </p:sp>
      <p:cxnSp>
        <p:nvCxnSpPr>
          <p:cNvPr id="12" name="Connecteur droit 11">
            <a:extLst>
              <a:ext uri="{FF2B5EF4-FFF2-40B4-BE49-F238E27FC236}">
                <a16:creationId xmlns:a16="http://schemas.microsoft.com/office/drawing/2014/main" id="{233499B7-EF9A-38D1-B32A-435D2808AFAD}"/>
              </a:ext>
            </a:extLst>
          </p:cNvPr>
          <p:cNvCxnSpPr>
            <a:cxnSpLocks/>
          </p:cNvCxnSpPr>
          <p:nvPr/>
        </p:nvCxnSpPr>
        <p:spPr>
          <a:xfrm flipH="1">
            <a:off x="5496793" y="1520756"/>
            <a:ext cx="119110" cy="465044"/>
          </a:xfrm>
          <a:prstGeom prst="line">
            <a:avLst/>
          </a:prstGeom>
          <a:ln w="12700">
            <a:solidFill>
              <a:srgbClr val="004263"/>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4992331E-28E6-E64F-88CB-D17282D4CE33}"/>
              </a:ext>
            </a:extLst>
          </p:cNvPr>
          <p:cNvSpPr/>
          <p:nvPr/>
        </p:nvSpPr>
        <p:spPr>
          <a:xfrm>
            <a:off x="5505871" y="2174976"/>
            <a:ext cx="3033724" cy="432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defTabSz="912813" fontAlgn="base">
              <a:spcBef>
                <a:spcPct val="0"/>
              </a:spcBef>
              <a:spcAft>
                <a:spcPct val="0"/>
              </a:spcAft>
              <a:buClr>
                <a:srgbClr val="01286D"/>
              </a:buClr>
              <a:buSzPct val="80000"/>
              <a:defRPr/>
            </a:pPr>
            <a:r>
              <a:rPr lang="fr-FR" sz="2400" dirty="0">
                <a:solidFill>
                  <a:srgbClr val="EA6A19"/>
                </a:solidFill>
              </a:rPr>
              <a:t>1994</a:t>
            </a:r>
            <a:r>
              <a:rPr lang="fr-FR" sz="1100" dirty="0">
                <a:solidFill>
                  <a:srgbClr val="EA6A19"/>
                </a:solidFill>
              </a:rPr>
              <a:t> création</a:t>
            </a:r>
            <a:r>
              <a:rPr lang="fr-FR" sz="1100" dirty="0">
                <a:solidFill>
                  <a:srgbClr val="415464"/>
                </a:solidFill>
              </a:rPr>
              <a:t> </a:t>
            </a:r>
            <a:r>
              <a:rPr lang="fr-FR" sz="1100" dirty="0">
                <a:solidFill>
                  <a:srgbClr val="20242B"/>
                </a:solidFill>
              </a:rPr>
              <a:t>de </a:t>
            </a:r>
            <a:r>
              <a:rPr lang="fr-FR" sz="1100" dirty="0" err="1">
                <a:solidFill>
                  <a:srgbClr val="20242B"/>
                </a:solidFill>
              </a:rPr>
              <a:t>Fidelity</a:t>
            </a:r>
            <a:r>
              <a:rPr lang="fr-FR" sz="1100" dirty="0">
                <a:solidFill>
                  <a:srgbClr val="20242B"/>
                </a:solidFill>
              </a:rPr>
              <a:t> en France</a:t>
            </a:r>
          </a:p>
        </p:txBody>
      </p:sp>
      <p:sp>
        <p:nvSpPr>
          <p:cNvPr id="136" name="Rectangle 135">
            <a:extLst>
              <a:ext uri="{FF2B5EF4-FFF2-40B4-BE49-F238E27FC236}">
                <a16:creationId xmlns:a16="http://schemas.microsoft.com/office/drawing/2014/main" id="{9502E0C2-A50D-CC44-8836-9DA2B90168E6}"/>
              </a:ext>
            </a:extLst>
          </p:cNvPr>
          <p:cNvSpPr/>
          <p:nvPr/>
        </p:nvSpPr>
        <p:spPr>
          <a:xfrm>
            <a:off x="5312700" y="2822807"/>
            <a:ext cx="3564303" cy="85593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2813" fontAlgn="base">
              <a:spcBef>
                <a:spcPct val="0"/>
              </a:spcBef>
              <a:spcAft>
                <a:spcPct val="0"/>
              </a:spcAft>
              <a:buClr>
                <a:srgbClr val="01286D"/>
              </a:buClr>
              <a:buSzPct val="80000"/>
              <a:defRPr/>
            </a:pPr>
            <a:r>
              <a:rPr lang="fr-FR" sz="2400" dirty="0">
                <a:solidFill>
                  <a:srgbClr val="FFC000"/>
                </a:solidFill>
              </a:rPr>
              <a:t>~</a:t>
            </a:r>
            <a:r>
              <a:rPr lang="fr-FR" sz="2400" dirty="0">
                <a:solidFill>
                  <a:srgbClr val="11C5C5"/>
                </a:solidFill>
              </a:rPr>
              <a:t> </a:t>
            </a:r>
            <a:r>
              <a:rPr lang="fr-FR" sz="2400" dirty="0">
                <a:solidFill>
                  <a:srgbClr val="FFC000"/>
                </a:solidFill>
              </a:rPr>
              <a:t>200</a:t>
            </a:r>
            <a:r>
              <a:rPr lang="fr-FR" sz="1100" dirty="0">
                <a:solidFill>
                  <a:srgbClr val="FFC000"/>
                </a:solidFill>
              </a:rPr>
              <a:t> fonds</a:t>
            </a:r>
          </a:p>
          <a:p>
            <a:pPr defTabSz="912813" fontAlgn="base">
              <a:spcBef>
                <a:spcPct val="0"/>
              </a:spcBef>
              <a:spcAft>
                <a:spcPct val="0"/>
              </a:spcAft>
              <a:buClr>
                <a:srgbClr val="01286D"/>
              </a:buClr>
              <a:buSzPct val="80000"/>
              <a:defRPr/>
            </a:pPr>
            <a:r>
              <a:rPr lang="fr-FR" sz="1100" dirty="0">
                <a:solidFill>
                  <a:srgbClr val="20242B"/>
                </a:solidFill>
              </a:rPr>
              <a:t>enregistrés à la commercialisation, dont 8 fonds éligibles </a:t>
            </a:r>
            <a:br>
              <a:rPr lang="fr-FR" sz="1100" dirty="0">
                <a:solidFill>
                  <a:srgbClr val="20242B"/>
                </a:solidFill>
              </a:rPr>
            </a:br>
            <a:r>
              <a:rPr lang="fr-FR" sz="1100" dirty="0">
                <a:solidFill>
                  <a:srgbClr val="20242B"/>
                </a:solidFill>
              </a:rPr>
              <a:t>au PEA, composés de Gestion de SICAV et d’une gamme de FCPE</a:t>
            </a:r>
          </a:p>
        </p:txBody>
      </p:sp>
      <p:sp>
        <p:nvSpPr>
          <p:cNvPr id="131" name="Rectangle 130">
            <a:extLst>
              <a:ext uri="{FF2B5EF4-FFF2-40B4-BE49-F238E27FC236}">
                <a16:creationId xmlns:a16="http://schemas.microsoft.com/office/drawing/2014/main" id="{27BB4693-7ACA-AE47-B68C-A5D630BB7814}"/>
              </a:ext>
            </a:extLst>
          </p:cNvPr>
          <p:cNvSpPr/>
          <p:nvPr/>
        </p:nvSpPr>
        <p:spPr>
          <a:xfrm>
            <a:off x="5021390" y="3866827"/>
            <a:ext cx="3832092" cy="432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defTabSz="912813" fontAlgn="base">
              <a:spcBef>
                <a:spcPct val="0"/>
              </a:spcBef>
              <a:spcAft>
                <a:spcPct val="0"/>
              </a:spcAft>
              <a:buClr>
                <a:srgbClr val="01286D"/>
              </a:buClr>
              <a:buSzPct val="80000"/>
              <a:defRPr/>
            </a:pPr>
            <a:r>
              <a:rPr lang="fr-FR" sz="2400" dirty="0">
                <a:solidFill>
                  <a:srgbClr val="11C5C5"/>
                </a:solidFill>
              </a:rPr>
              <a:t>~ 35</a:t>
            </a:r>
            <a:r>
              <a:rPr lang="fr-FR" sz="1100" dirty="0">
                <a:solidFill>
                  <a:srgbClr val="11C5C5"/>
                </a:solidFill>
              </a:rPr>
              <a:t> collaborateurs </a:t>
            </a:r>
            <a:r>
              <a:rPr lang="fr-FR" sz="1100" dirty="0">
                <a:solidFill>
                  <a:srgbClr val="20242B"/>
                </a:solidFill>
              </a:rPr>
              <a:t>au sein de la société de gestion</a:t>
            </a:r>
          </a:p>
        </p:txBody>
      </p:sp>
      <p:cxnSp>
        <p:nvCxnSpPr>
          <p:cNvPr id="38" name="Connecteur droit 37">
            <a:extLst>
              <a:ext uri="{FF2B5EF4-FFF2-40B4-BE49-F238E27FC236}">
                <a16:creationId xmlns:a16="http://schemas.microsoft.com/office/drawing/2014/main" id="{A10F80BB-E622-B935-0D78-98F8372B6B7A}"/>
              </a:ext>
            </a:extLst>
          </p:cNvPr>
          <p:cNvCxnSpPr>
            <a:cxnSpLocks/>
          </p:cNvCxnSpPr>
          <p:nvPr/>
        </p:nvCxnSpPr>
        <p:spPr>
          <a:xfrm flipH="1">
            <a:off x="5325116" y="2174975"/>
            <a:ext cx="119110" cy="46504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D6D7022B-F59D-29C0-3671-D8BE700DB80B}"/>
              </a:ext>
            </a:extLst>
          </p:cNvPr>
          <p:cNvCxnSpPr>
            <a:cxnSpLocks/>
          </p:cNvCxnSpPr>
          <p:nvPr/>
        </p:nvCxnSpPr>
        <p:spPr>
          <a:xfrm flipH="1">
            <a:off x="5012117" y="2823380"/>
            <a:ext cx="238939" cy="855936"/>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A917F624-A0E4-36C1-5FFE-322F9DBEA62A}"/>
              </a:ext>
            </a:extLst>
          </p:cNvPr>
          <p:cNvCxnSpPr>
            <a:cxnSpLocks/>
          </p:cNvCxnSpPr>
          <p:nvPr/>
        </p:nvCxnSpPr>
        <p:spPr>
          <a:xfrm flipH="1">
            <a:off x="4840636" y="3849120"/>
            <a:ext cx="119110" cy="46504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1F5038CF-E6EA-ECA8-07D2-FC9298BB086C}"/>
              </a:ext>
            </a:extLst>
          </p:cNvPr>
          <p:cNvSpPr/>
          <p:nvPr/>
        </p:nvSpPr>
        <p:spPr>
          <a:xfrm>
            <a:off x="4844271" y="4480735"/>
            <a:ext cx="3974636" cy="85593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2813" fontAlgn="base">
              <a:spcBef>
                <a:spcPct val="0"/>
              </a:spcBef>
              <a:spcAft>
                <a:spcPct val="0"/>
              </a:spcAft>
              <a:buClr>
                <a:srgbClr val="01286D"/>
              </a:buClr>
              <a:buSzPct val="80000"/>
              <a:defRPr/>
            </a:pPr>
            <a:r>
              <a:rPr lang="fr-FR" sz="2400" dirty="0">
                <a:solidFill>
                  <a:srgbClr val="82C823"/>
                </a:solidFill>
              </a:rPr>
              <a:t>1</a:t>
            </a:r>
            <a:r>
              <a:rPr lang="fr-FR" sz="2400" baseline="30000" dirty="0">
                <a:solidFill>
                  <a:srgbClr val="82C823"/>
                </a:solidFill>
              </a:rPr>
              <a:t>er</a:t>
            </a:r>
            <a:r>
              <a:rPr lang="fr-FR" sz="1100" dirty="0">
                <a:solidFill>
                  <a:srgbClr val="82C823"/>
                </a:solidFill>
              </a:rPr>
              <a:t> en France</a:t>
            </a:r>
          </a:p>
          <a:p>
            <a:pPr defTabSz="912813" fontAlgn="base">
              <a:spcBef>
                <a:spcPct val="0"/>
              </a:spcBef>
              <a:spcAft>
                <a:spcPct val="0"/>
              </a:spcAft>
              <a:buClr>
                <a:srgbClr val="01286D"/>
              </a:buClr>
              <a:buSzPct val="80000"/>
              <a:defRPr/>
            </a:pPr>
            <a:r>
              <a:rPr lang="fr-FR" sz="1100" dirty="0">
                <a:solidFill>
                  <a:srgbClr val="20242B"/>
                </a:solidFill>
              </a:rPr>
              <a:t>La notoriété spontanée de Fidelity International par rapport à ses pairs internationaux, d’après une étude réalisée par </a:t>
            </a:r>
            <a:r>
              <a:rPr lang="fr-FR" sz="1100" dirty="0" err="1">
                <a:solidFill>
                  <a:srgbClr val="20242B"/>
                </a:solidFill>
              </a:rPr>
              <a:t>Broadridge</a:t>
            </a:r>
            <a:r>
              <a:rPr lang="fr-FR" sz="1100" dirty="0">
                <a:solidFill>
                  <a:srgbClr val="20242B"/>
                </a:solidFill>
              </a:rPr>
              <a:t> (juin 2022) </a:t>
            </a:r>
          </a:p>
        </p:txBody>
      </p:sp>
      <p:cxnSp>
        <p:nvCxnSpPr>
          <p:cNvPr id="43" name="Connecteur droit 42">
            <a:extLst>
              <a:ext uri="{FF2B5EF4-FFF2-40B4-BE49-F238E27FC236}">
                <a16:creationId xmlns:a16="http://schemas.microsoft.com/office/drawing/2014/main" id="{DFC26FAD-4528-F5D1-7D43-4A0CFE777E8F}"/>
              </a:ext>
            </a:extLst>
          </p:cNvPr>
          <p:cNvCxnSpPr>
            <a:cxnSpLocks/>
          </p:cNvCxnSpPr>
          <p:nvPr/>
        </p:nvCxnSpPr>
        <p:spPr>
          <a:xfrm flipH="1">
            <a:off x="4543688" y="4481308"/>
            <a:ext cx="238939" cy="85593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4CC6314-2B8C-4B01-BC78-4FC2BC26BB1D}"/>
              </a:ext>
            </a:extLst>
          </p:cNvPr>
          <p:cNvSpPr/>
          <p:nvPr/>
        </p:nvSpPr>
        <p:spPr>
          <a:xfrm>
            <a:off x="4482045" y="5675019"/>
            <a:ext cx="3974636" cy="4650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2813" fontAlgn="base">
              <a:spcBef>
                <a:spcPct val="0"/>
              </a:spcBef>
              <a:spcAft>
                <a:spcPct val="0"/>
              </a:spcAft>
              <a:buClr>
                <a:srgbClr val="01286D"/>
              </a:buClr>
              <a:buSzPct val="80000"/>
              <a:defRPr/>
            </a:pPr>
            <a:r>
              <a:rPr lang="fr-FR" sz="1400" dirty="0">
                <a:solidFill>
                  <a:srgbClr val="018BC8"/>
                </a:solidFill>
              </a:rPr>
              <a:t>Développement </a:t>
            </a:r>
            <a:r>
              <a:rPr lang="fr-FR" sz="1100" dirty="0">
                <a:solidFill>
                  <a:srgbClr val="20242B"/>
                </a:solidFill>
              </a:rPr>
              <a:t>d’une offre d’</a:t>
            </a:r>
            <a:r>
              <a:rPr lang="fr-FR" sz="1400" dirty="0">
                <a:solidFill>
                  <a:srgbClr val="018BC8"/>
                </a:solidFill>
              </a:rPr>
              <a:t>Epargne Retraite &amp; Salariale </a:t>
            </a:r>
            <a:r>
              <a:rPr lang="fr-FR" sz="1100" dirty="0">
                <a:solidFill>
                  <a:srgbClr val="20242B"/>
                </a:solidFill>
              </a:rPr>
              <a:t>pour la clientèle française</a:t>
            </a:r>
          </a:p>
        </p:txBody>
      </p:sp>
      <p:cxnSp>
        <p:nvCxnSpPr>
          <p:cNvPr id="22" name="Connecteur droit 42">
            <a:extLst>
              <a:ext uri="{FF2B5EF4-FFF2-40B4-BE49-F238E27FC236}">
                <a16:creationId xmlns:a16="http://schemas.microsoft.com/office/drawing/2014/main" id="{BEBE84B0-6AA2-4744-B6CC-9DDEDFCA2225}"/>
              </a:ext>
            </a:extLst>
          </p:cNvPr>
          <p:cNvCxnSpPr>
            <a:cxnSpLocks/>
          </p:cNvCxnSpPr>
          <p:nvPr/>
        </p:nvCxnSpPr>
        <p:spPr>
          <a:xfrm flipH="1">
            <a:off x="4285638" y="5563187"/>
            <a:ext cx="168663" cy="620468"/>
          </a:xfrm>
          <a:prstGeom prst="line">
            <a:avLst/>
          </a:prstGeom>
          <a:ln w="12700">
            <a:solidFill>
              <a:schemeClr val="accent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8545997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FE8A2DB8-DA70-417C-B057-46D23F5BB163}"/>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t="8622" r="15596"/>
          <a:stretch/>
        </p:blipFill>
        <p:spPr>
          <a:xfrm>
            <a:off x="5029200" y="2205037"/>
            <a:ext cx="4119066" cy="2566825"/>
          </a:xfrm>
          <a:prstGeom prst="rect">
            <a:avLst/>
          </a:prstGeom>
        </p:spPr>
      </p:pic>
      <p:sp>
        <p:nvSpPr>
          <p:cNvPr id="25" name="Freeform: Shape 24">
            <a:extLst>
              <a:ext uri="{FF2B5EF4-FFF2-40B4-BE49-F238E27FC236}">
                <a16:creationId xmlns:a16="http://schemas.microsoft.com/office/drawing/2014/main" id="{641E187A-1A1C-482D-B957-CB0E1CE36696}"/>
              </a:ext>
            </a:extLst>
          </p:cNvPr>
          <p:cNvSpPr/>
          <p:nvPr/>
        </p:nvSpPr>
        <p:spPr>
          <a:xfrm>
            <a:off x="-6531" y="2205037"/>
            <a:ext cx="5628320" cy="2567700"/>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algn="ctr" defTabSz="685800"/>
            <a:endParaRPr lang="en-GB" sz="1500" dirty="0">
              <a:solidFill>
                <a:srgbClr val="FFFFFF"/>
              </a:solidFill>
            </a:endParaRPr>
          </a:p>
        </p:txBody>
      </p:sp>
      <p:cxnSp>
        <p:nvCxnSpPr>
          <p:cNvPr id="26" name="Straight Connector 25">
            <a:extLst>
              <a:ext uri="{FF2B5EF4-FFF2-40B4-BE49-F238E27FC236}">
                <a16:creationId xmlns:a16="http://schemas.microsoft.com/office/drawing/2014/main" id="{1CA45E70-B503-44D4-9C7B-FAD188963664}"/>
              </a:ext>
            </a:extLst>
          </p:cNvPr>
          <p:cNvCxnSpPr>
            <a:cxnSpLocks/>
          </p:cNvCxnSpPr>
          <p:nvPr/>
        </p:nvCxnSpPr>
        <p:spPr>
          <a:xfrm>
            <a:off x="929481" y="3228380"/>
            <a:ext cx="372071"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8AB02847-B803-4793-9BBC-5D4E060468A4}"/>
              </a:ext>
            </a:extLst>
          </p:cNvPr>
          <p:cNvSpPr>
            <a:spLocks noGrp="1"/>
          </p:cNvSpPr>
          <p:nvPr>
            <p:ph type="ftr" sz="quarter" idx="11"/>
          </p:nvPr>
        </p:nvSpPr>
        <p:spPr/>
        <p:txBody>
          <a:bodyPr/>
          <a:lstStyle/>
          <a:p>
            <a:pPr defTabSz="685800" fontAlgn="auto">
              <a:spcBef>
                <a:spcPts val="0"/>
              </a:spcBef>
              <a:spcAft>
                <a:spcPts val="0"/>
              </a:spcAft>
            </a:pPr>
            <a:endParaRPr lang="en-GB" b="0" dirty="0">
              <a:latin typeface="Arial"/>
              <a:cs typeface="+mn-cs"/>
            </a:endParaRPr>
          </a:p>
        </p:txBody>
      </p:sp>
      <p:sp>
        <p:nvSpPr>
          <p:cNvPr id="8" name="Slide Number Placeholder 7">
            <a:extLst>
              <a:ext uri="{FF2B5EF4-FFF2-40B4-BE49-F238E27FC236}">
                <a16:creationId xmlns:a16="http://schemas.microsoft.com/office/drawing/2014/main" id="{09C09A0F-3B95-44BB-8794-FBDFCA466D8A}"/>
              </a:ext>
            </a:extLst>
          </p:cNvPr>
          <p:cNvSpPr>
            <a:spLocks noGrp="1"/>
          </p:cNvSpPr>
          <p:nvPr>
            <p:ph type="sldNum" sz="quarter" idx="12"/>
          </p:nvPr>
        </p:nvSpPr>
        <p:spPr/>
        <p:txBody>
          <a:bodyPr/>
          <a:lstStyle/>
          <a:p>
            <a:pPr defTabSz="685800" fontAlgn="auto">
              <a:spcBef>
                <a:spcPts val="0"/>
              </a:spcBef>
              <a:spcAft>
                <a:spcPts val="0"/>
              </a:spcAft>
            </a:pPr>
            <a:fld id="{793E3E21-9F49-4D85-BC8F-2C5B8DFBB14E}" type="slidenum">
              <a:rPr lang="en-GB" sz="2400" b="0">
                <a:latin typeface="Arial" panose="020B0604020202020204" pitchFamily="34" charset="0"/>
                <a:cs typeface="+mn-cs"/>
              </a:rPr>
              <a:pPr defTabSz="685800" fontAlgn="auto">
                <a:spcBef>
                  <a:spcPts val="0"/>
                </a:spcBef>
                <a:spcAft>
                  <a:spcPts val="0"/>
                </a:spcAft>
              </a:pPr>
              <a:t>21</a:t>
            </a:fld>
            <a:endParaRPr lang="en-GB" sz="2400" b="0" dirty="0">
              <a:latin typeface="Arial" panose="020B0604020202020204" pitchFamily="34" charset="0"/>
              <a:cs typeface="+mn-cs"/>
            </a:endParaRPr>
          </a:p>
        </p:txBody>
      </p:sp>
      <p:sp>
        <p:nvSpPr>
          <p:cNvPr id="6" name="Date Placeholder 5">
            <a:extLst>
              <a:ext uri="{FF2B5EF4-FFF2-40B4-BE49-F238E27FC236}">
                <a16:creationId xmlns:a16="http://schemas.microsoft.com/office/drawing/2014/main" id="{BE619489-F40D-477D-85C4-460BB8E0C24C}"/>
              </a:ext>
            </a:extLst>
          </p:cNvPr>
          <p:cNvSpPr>
            <a:spLocks noGrp="1"/>
          </p:cNvSpPr>
          <p:nvPr>
            <p:ph type="dt" sz="half" idx="10"/>
          </p:nvPr>
        </p:nvSpPr>
        <p:spPr/>
        <p:txBody>
          <a:bodyPr/>
          <a:lstStyle/>
          <a:p>
            <a:pPr defTabSz="685800" fontAlgn="auto">
              <a:spcBef>
                <a:spcPts val="0"/>
              </a:spcBef>
              <a:spcAft>
                <a:spcPts val="0"/>
              </a:spcAft>
            </a:pPr>
            <a:r>
              <a:rPr lang="en-GB" b="0" dirty="0">
                <a:solidFill>
                  <a:srgbClr val="20242B"/>
                </a:solidFill>
                <a:latin typeface="Arial" panose="020B0604020202020204" pitchFamily="34" charset="0"/>
                <a:cs typeface="+mn-cs"/>
              </a:rPr>
              <a:t>October 2022</a:t>
            </a:r>
          </a:p>
        </p:txBody>
      </p:sp>
      <p:sp>
        <p:nvSpPr>
          <p:cNvPr id="11" name="text" descr="{&quot;templafy&quot;:{&quot;id&quot;:&quot;fbbcabf0-af38-438a-8f0d-ffe73ec6eff4&quot;}}" title="Form.PresentationTitle">
            <a:extLst>
              <a:ext uri="{FF2B5EF4-FFF2-40B4-BE49-F238E27FC236}">
                <a16:creationId xmlns:a16="http://schemas.microsoft.com/office/drawing/2014/main" id="{1851C079-F420-467F-A8DD-83E67C24C1F2}"/>
              </a:ext>
            </a:extLst>
          </p:cNvPr>
          <p:cNvSpPr txBox="1"/>
          <p:nvPr/>
        </p:nvSpPr>
        <p:spPr>
          <a:xfrm>
            <a:off x="929481" y="2839081"/>
            <a:ext cx="4109206" cy="276999"/>
          </a:xfrm>
          <a:prstGeom prst="rect">
            <a:avLst/>
          </a:prstGeom>
          <a:noFill/>
        </p:spPr>
        <p:txBody>
          <a:bodyPr wrap="square" lIns="0" tIns="0" rIns="0" bIns="0" rtlCol="0" anchor="b">
            <a:spAutoFit/>
          </a:bodyPr>
          <a:lstStyle/>
          <a:p>
            <a:pPr defTabSz="685800"/>
            <a:r>
              <a:rPr lang="en-GB" b="1" dirty="0">
                <a:solidFill>
                  <a:srgbClr val="FFFFFF"/>
                </a:solidFill>
                <a:ea typeface="ＭＳ Ｐゴシック" charset="0"/>
              </a:rPr>
              <a:t>Fidelity Funds (FF) - World Fund</a:t>
            </a:r>
          </a:p>
        </p:txBody>
      </p:sp>
      <p:sp>
        <p:nvSpPr>
          <p:cNvPr id="18" name="Text Placeholder 3">
            <a:extLst>
              <a:ext uri="{FF2B5EF4-FFF2-40B4-BE49-F238E27FC236}">
                <a16:creationId xmlns:a16="http://schemas.microsoft.com/office/drawing/2014/main" id="{33DE6F1E-B8DC-433E-A013-CF1C452535FC}"/>
              </a:ext>
            </a:extLst>
          </p:cNvPr>
          <p:cNvSpPr>
            <a:spLocks noGrp="1"/>
          </p:cNvSpPr>
          <p:nvPr>
            <p:ph type="body" sz="quarter" idx="13"/>
          </p:nvPr>
        </p:nvSpPr>
        <p:spPr>
          <a:xfrm>
            <a:off x="929481" y="4270245"/>
            <a:ext cx="3084736" cy="190500"/>
          </a:xfrm>
        </p:spPr>
        <p:txBody>
          <a:bodyPr/>
          <a:lstStyle/>
          <a:p>
            <a:r>
              <a:rPr lang="en-IN" dirty="0">
                <a:latin typeface="Arial" panose="020B0604020202020204" pitchFamily="34" charset="0"/>
              </a:rPr>
              <a:t>Radhika Surie</a:t>
            </a:r>
            <a:endParaRPr lang="en-GB" dirty="0">
              <a:latin typeface="Arial" panose="020B0604020202020204" pitchFamily="34" charset="0"/>
            </a:endParaRPr>
          </a:p>
        </p:txBody>
      </p:sp>
      <p:sp>
        <p:nvSpPr>
          <p:cNvPr id="19" name="Text Placeholder 4">
            <a:extLst>
              <a:ext uri="{FF2B5EF4-FFF2-40B4-BE49-F238E27FC236}">
                <a16:creationId xmlns:a16="http://schemas.microsoft.com/office/drawing/2014/main" id="{8ED3C2AE-9C14-40CD-BDC3-D5B1ECCED099}"/>
              </a:ext>
            </a:extLst>
          </p:cNvPr>
          <p:cNvSpPr>
            <a:spLocks noGrp="1"/>
          </p:cNvSpPr>
          <p:nvPr>
            <p:ph type="body" sz="quarter" idx="14"/>
          </p:nvPr>
        </p:nvSpPr>
        <p:spPr>
          <a:xfrm>
            <a:off x="929481" y="4456918"/>
            <a:ext cx="3084736" cy="190500"/>
          </a:xfrm>
        </p:spPr>
        <p:txBody>
          <a:bodyPr/>
          <a:lstStyle/>
          <a:p>
            <a:r>
              <a:rPr lang="en-IN" dirty="0">
                <a:latin typeface="Arial" panose="020B0604020202020204" pitchFamily="34" charset="0"/>
              </a:rPr>
              <a:t>Investment Director</a:t>
            </a:r>
            <a:endParaRPr lang="en-GB" dirty="0">
              <a:latin typeface="Arial" panose="020B0604020202020204" pitchFamily="34" charset="0"/>
            </a:endParaRPr>
          </a:p>
        </p:txBody>
      </p:sp>
      <p:sp>
        <p:nvSpPr>
          <p:cNvPr id="20" name="Text Placeholder 3">
            <a:extLst>
              <a:ext uri="{FF2B5EF4-FFF2-40B4-BE49-F238E27FC236}">
                <a16:creationId xmlns:a16="http://schemas.microsoft.com/office/drawing/2014/main" id="{C3B86F3F-437B-48D0-8D36-6C874A654084}"/>
              </a:ext>
            </a:extLst>
          </p:cNvPr>
          <p:cNvSpPr txBox="1">
            <a:spLocks/>
          </p:cNvSpPr>
          <p:nvPr/>
        </p:nvSpPr>
        <p:spPr>
          <a:xfrm>
            <a:off x="929481" y="3418413"/>
            <a:ext cx="3084736" cy="190500"/>
          </a:xfrm>
          <a:prstGeom prst="rect">
            <a:avLst/>
          </a:prstGeom>
        </p:spPr>
        <p:txBody>
          <a:bodyPr vert="horz" lIns="0" tIns="0" rIns="0" bIns="0" rtlCol="0">
            <a:noAutofit/>
          </a:bodyPr>
          <a:lstStyle>
            <a:lvl1pPr marL="0" indent="0" algn="l" defTabSz="685783" rtl="0" eaLnBrk="1" latinLnBrk="0" hangingPunct="1">
              <a:lnSpc>
                <a:spcPct val="100000"/>
              </a:lnSpc>
              <a:spcBef>
                <a:spcPts val="300"/>
              </a:spcBef>
              <a:spcAft>
                <a:spcPts val="300"/>
              </a:spcAft>
              <a:buClr>
                <a:srgbClr val="006193"/>
              </a:buClr>
              <a:buFont typeface="Wingdings" panose="05000000000000000000" pitchFamily="2" charset="2"/>
              <a:buNone/>
              <a:defRPr sz="1200" kern="1200">
                <a:solidFill>
                  <a:srgbClr val="94D6EF"/>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defTabSz="514337">
              <a:spcBef>
                <a:spcPts val="225"/>
              </a:spcBef>
              <a:spcAft>
                <a:spcPts val="225"/>
              </a:spcAft>
            </a:pPr>
            <a:r>
              <a:rPr lang="en-IN" sz="1050" dirty="0"/>
              <a:t>Jeremy Podger </a:t>
            </a:r>
            <a:endParaRPr lang="en-GB" sz="1050" dirty="0"/>
          </a:p>
        </p:txBody>
      </p:sp>
      <p:sp>
        <p:nvSpPr>
          <p:cNvPr id="21" name="Text Placeholder 4">
            <a:extLst>
              <a:ext uri="{FF2B5EF4-FFF2-40B4-BE49-F238E27FC236}">
                <a16:creationId xmlns:a16="http://schemas.microsoft.com/office/drawing/2014/main" id="{06EA56E8-AFBE-46D1-B3DC-75B87F7D6691}"/>
              </a:ext>
            </a:extLst>
          </p:cNvPr>
          <p:cNvSpPr txBox="1">
            <a:spLocks/>
          </p:cNvSpPr>
          <p:nvPr/>
        </p:nvSpPr>
        <p:spPr>
          <a:xfrm>
            <a:off x="929481" y="3605383"/>
            <a:ext cx="3084736" cy="190500"/>
          </a:xfrm>
          <a:prstGeom prst="rect">
            <a:avLst/>
          </a:prstGeom>
        </p:spPr>
        <p:txBody>
          <a:bodyPr vert="horz" lIns="0" tIns="0" rIns="0" bIns="0" rtlCol="0">
            <a:noAutofit/>
          </a:bodyPr>
          <a:lstStyle>
            <a:lvl1pPr marL="0" indent="0" algn="l" defTabSz="685783" rtl="0" eaLnBrk="1" latinLnBrk="0" hangingPunct="1">
              <a:lnSpc>
                <a:spcPct val="100000"/>
              </a:lnSpc>
              <a:spcBef>
                <a:spcPts val="300"/>
              </a:spcBef>
              <a:spcAft>
                <a:spcPts val="300"/>
              </a:spcAft>
              <a:buClr>
                <a:srgbClr val="006193"/>
              </a:buClr>
              <a:buFont typeface="Wingdings" panose="05000000000000000000" pitchFamily="2" charset="2"/>
              <a:buNone/>
              <a:defRPr sz="1200" kern="1200">
                <a:solidFill>
                  <a:schemeClr val="bg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defTabSz="514337">
              <a:spcBef>
                <a:spcPts val="225"/>
              </a:spcBef>
              <a:spcAft>
                <a:spcPts val="225"/>
              </a:spcAft>
            </a:pPr>
            <a:r>
              <a:rPr lang="en-IN" sz="900" dirty="0">
                <a:solidFill>
                  <a:srgbClr val="FFFFFF"/>
                </a:solidFill>
              </a:rPr>
              <a:t>Portfolio Manager</a:t>
            </a:r>
            <a:endParaRPr lang="en-GB" sz="900" dirty="0">
              <a:solidFill>
                <a:srgbClr val="FFFFFF"/>
              </a:solidFill>
            </a:endParaRPr>
          </a:p>
        </p:txBody>
      </p:sp>
      <p:sp>
        <p:nvSpPr>
          <p:cNvPr id="22" name="Text Placeholder 3">
            <a:extLst>
              <a:ext uri="{FF2B5EF4-FFF2-40B4-BE49-F238E27FC236}">
                <a16:creationId xmlns:a16="http://schemas.microsoft.com/office/drawing/2014/main" id="{6A29E1C5-2373-4807-B44E-BF8931E889A3}"/>
              </a:ext>
            </a:extLst>
          </p:cNvPr>
          <p:cNvSpPr txBox="1">
            <a:spLocks/>
          </p:cNvSpPr>
          <p:nvPr/>
        </p:nvSpPr>
        <p:spPr>
          <a:xfrm>
            <a:off x="929481" y="3841620"/>
            <a:ext cx="3084736" cy="190500"/>
          </a:xfrm>
          <a:prstGeom prst="rect">
            <a:avLst/>
          </a:prstGeom>
        </p:spPr>
        <p:txBody>
          <a:bodyPr vert="horz" lIns="0" tIns="0" rIns="0" bIns="0" rtlCol="0">
            <a:noAutofit/>
          </a:bodyPr>
          <a:lstStyle>
            <a:lvl1pPr marL="0" indent="0" algn="l" defTabSz="685783" rtl="0" eaLnBrk="1" latinLnBrk="0" hangingPunct="1">
              <a:lnSpc>
                <a:spcPct val="100000"/>
              </a:lnSpc>
              <a:spcBef>
                <a:spcPts val="300"/>
              </a:spcBef>
              <a:spcAft>
                <a:spcPts val="300"/>
              </a:spcAft>
              <a:buClr>
                <a:srgbClr val="006193"/>
              </a:buClr>
              <a:buFont typeface="Wingdings" panose="05000000000000000000" pitchFamily="2" charset="2"/>
              <a:buNone/>
              <a:defRPr sz="1200" kern="1200">
                <a:solidFill>
                  <a:srgbClr val="94D6EF"/>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defTabSz="514337">
              <a:spcBef>
                <a:spcPts val="225"/>
              </a:spcBef>
              <a:spcAft>
                <a:spcPts val="225"/>
              </a:spcAft>
            </a:pPr>
            <a:r>
              <a:rPr lang="en-US" sz="1050" dirty="0"/>
              <a:t>Jamie Harvey</a:t>
            </a:r>
          </a:p>
        </p:txBody>
      </p:sp>
      <p:sp>
        <p:nvSpPr>
          <p:cNvPr id="23" name="Text Placeholder 4">
            <a:extLst>
              <a:ext uri="{FF2B5EF4-FFF2-40B4-BE49-F238E27FC236}">
                <a16:creationId xmlns:a16="http://schemas.microsoft.com/office/drawing/2014/main" id="{A09605F9-1EDB-499A-B792-A30E5F815D54}"/>
              </a:ext>
            </a:extLst>
          </p:cNvPr>
          <p:cNvSpPr txBox="1">
            <a:spLocks/>
          </p:cNvSpPr>
          <p:nvPr/>
        </p:nvSpPr>
        <p:spPr>
          <a:xfrm>
            <a:off x="929481" y="4051153"/>
            <a:ext cx="3084736" cy="190500"/>
          </a:xfrm>
          <a:prstGeom prst="rect">
            <a:avLst/>
          </a:prstGeom>
        </p:spPr>
        <p:txBody>
          <a:bodyPr vert="horz" lIns="0" tIns="0" rIns="0" bIns="0" rtlCol="0">
            <a:noAutofit/>
          </a:bodyPr>
          <a:lstStyle>
            <a:lvl1pPr marL="0" indent="0" algn="l" defTabSz="685783" rtl="0" eaLnBrk="1" latinLnBrk="0" hangingPunct="1">
              <a:lnSpc>
                <a:spcPct val="100000"/>
              </a:lnSpc>
              <a:spcBef>
                <a:spcPts val="300"/>
              </a:spcBef>
              <a:spcAft>
                <a:spcPts val="300"/>
              </a:spcAft>
              <a:buClr>
                <a:srgbClr val="006193"/>
              </a:buClr>
              <a:buFont typeface="Wingdings" panose="05000000000000000000" pitchFamily="2" charset="2"/>
              <a:buNone/>
              <a:defRPr sz="1200" kern="1200">
                <a:solidFill>
                  <a:schemeClr val="bg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a:lstStyle>
          <a:p>
            <a:pPr defTabSz="514337">
              <a:spcBef>
                <a:spcPts val="225"/>
              </a:spcBef>
              <a:spcAft>
                <a:spcPts val="225"/>
              </a:spcAft>
            </a:pPr>
            <a:r>
              <a:rPr lang="en-IN" sz="900" dirty="0">
                <a:solidFill>
                  <a:srgbClr val="FFFFFF"/>
                </a:solidFill>
              </a:rPr>
              <a:t>Portfolio Manager</a:t>
            </a:r>
            <a:endParaRPr lang="en-GB" sz="900" dirty="0">
              <a:solidFill>
                <a:srgbClr val="FFFFFF"/>
              </a:solidFill>
            </a:endParaRPr>
          </a:p>
        </p:txBody>
      </p:sp>
    </p:spTree>
    <p:extLst>
      <p:ext uri="{BB962C8B-B14F-4D97-AF65-F5344CB8AC3E}">
        <p14:creationId xmlns:p14="http://schemas.microsoft.com/office/powerpoint/2010/main" val="242349005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0" name="Group 308">
            <a:extLst>
              <a:ext uri="{FF2B5EF4-FFF2-40B4-BE49-F238E27FC236}">
                <a16:creationId xmlns:a16="http://schemas.microsoft.com/office/drawing/2014/main" id="{63F777D1-DA24-42FF-B1B9-10125D8D5102}"/>
              </a:ext>
            </a:extLst>
          </p:cNvPr>
          <p:cNvGrpSpPr>
            <a:grpSpLocks/>
          </p:cNvGrpSpPr>
          <p:nvPr/>
        </p:nvGrpSpPr>
        <p:grpSpPr bwMode="gray">
          <a:xfrm>
            <a:off x="1197780" y="2132016"/>
            <a:ext cx="6669997" cy="3009814"/>
            <a:chOff x="555899" y="1602619"/>
            <a:chExt cx="8020701" cy="4265967"/>
          </a:xfrm>
          <a:solidFill>
            <a:schemeClr val="bg1">
              <a:lumMod val="85000"/>
            </a:schemeClr>
          </a:solidFill>
        </p:grpSpPr>
        <p:sp>
          <p:nvSpPr>
            <p:cNvPr id="772" name="Freeform 534">
              <a:extLst>
                <a:ext uri="{FF2B5EF4-FFF2-40B4-BE49-F238E27FC236}">
                  <a16:creationId xmlns:a16="http://schemas.microsoft.com/office/drawing/2014/main" id="{FE76EA92-EE64-4D7B-8B83-C2AD67FFC549}"/>
                </a:ext>
              </a:extLst>
            </p:cNvPr>
            <p:cNvSpPr>
              <a:spLocks noEditPoints="1"/>
            </p:cNvSpPr>
            <p:nvPr/>
          </p:nvSpPr>
          <p:spPr bwMode="gray">
            <a:xfrm>
              <a:off x="6441357" y="1951054"/>
              <a:ext cx="1916305" cy="1184205"/>
            </a:xfrm>
            <a:custGeom>
              <a:avLst/>
              <a:gdLst>
                <a:gd name="T0" fmla="*/ 2147483647 w 1036"/>
                <a:gd name="T1" fmla="*/ 2147483647 h 640"/>
                <a:gd name="T2" fmla="*/ 2147483647 w 1036"/>
                <a:gd name="T3" fmla="*/ 2147483647 h 640"/>
                <a:gd name="T4" fmla="*/ 2147483647 w 1036"/>
                <a:gd name="T5" fmla="*/ 2147483647 h 640"/>
                <a:gd name="T6" fmla="*/ 2147483647 w 1036"/>
                <a:gd name="T7" fmla="*/ 2147483647 h 640"/>
                <a:gd name="T8" fmla="*/ 2147483647 w 1036"/>
                <a:gd name="T9" fmla="*/ 2147483647 h 640"/>
                <a:gd name="T10" fmla="*/ 2147483647 w 1036"/>
                <a:gd name="T11" fmla="*/ 2147483647 h 640"/>
                <a:gd name="T12" fmla="*/ 2147483647 w 1036"/>
                <a:gd name="T13" fmla="*/ 2147483647 h 640"/>
                <a:gd name="T14" fmla="*/ 2147483647 w 1036"/>
                <a:gd name="T15" fmla="*/ 2147483647 h 640"/>
                <a:gd name="T16" fmla="*/ 2147483647 w 1036"/>
                <a:gd name="T17" fmla="*/ 2147483647 h 640"/>
                <a:gd name="T18" fmla="*/ 2147483647 w 1036"/>
                <a:gd name="T19" fmla="*/ 2147483647 h 640"/>
                <a:gd name="T20" fmla="*/ 2147483647 w 1036"/>
                <a:gd name="T21" fmla="*/ 2147483647 h 640"/>
                <a:gd name="T22" fmla="*/ 2147483647 w 1036"/>
                <a:gd name="T23" fmla="*/ 2147483647 h 640"/>
                <a:gd name="T24" fmla="*/ 2147483647 w 1036"/>
                <a:gd name="T25" fmla="*/ 2147483647 h 640"/>
                <a:gd name="T26" fmla="*/ 2147483647 w 1036"/>
                <a:gd name="T27" fmla="*/ 2147483647 h 640"/>
                <a:gd name="T28" fmla="*/ 2147483647 w 1036"/>
                <a:gd name="T29" fmla="*/ 2147483647 h 640"/>
                <a:gd name="T30" fmla="*/ 2147483647 w 1036"/>
                <a:gd name="T31" fmla="*/ 2147483647 h 640"/>
                <a:gd name="T32" fmla="*/ 2147483647 w 1036"/>
                <a:gd name="T33" fmla="*/ 2147483647 h 640"/>
                <a:gd name="T34" fmla="*/ 2147483647 w 1036"/>
                <a:gd name="T35" fmla="*/ 2147483647 h 640"/>
                <a:gd name="T36" fmla="*/ 2147483647 w 1036"/>
                <a:gd name="T37" fmla="*/ 2147483647 h 640"/>
                <a:gd name="T38" fmla="*/ 2147483647 w 1036"/>
                <a:gd name="T39" fmla="*/ 2147483647 h 640"/>
                <a:gd name="T40" fmla="*/ 2147483647 w 1036"/>
                <a:gd name="T41" fmla="*/ 2147483647 h 640"/>
                <a:gd name="T42" fmla="*/ 2147483647 w 1036"/>
                <a:gd name="T43" fmla="*/ 2147483647 h 640"/>
                <a:gd name="T44" fmla="*/ 2147483647 w 1036"/>
                <a:gd name="T45" fmla="*/ 2147483647 h 640"/>
                <a:gd name="T46" fmla="*/ 2147483647 w 1036"/>
                <a:gd name="T47" fmla="*/ 2147483647 h 640"/>
                <a:gd name="T48" fmla="*/ 2147483647 w 1036"/>
                <a:gd name="T49" fmla="*/ 2147483647 h 640"/>
                <a:gd name="T50" fmla="*/ 2147483647 w 1036"/>
                <a:gd name="T51" fmla="*/ 2147483647 h 640"/>
                <a:gd name="T52" fmla="*/ 2147483647 w 1036"/>
                <a:gd name="T53" fmla="*/ 2147483647 h 640"/>
                <a:gd name="T54" fmla="*/ 2147483647 w 1036"/>
                <a:gd name="T55" fmla="*/ 2147483647 h 640"/>
                <a:gd name="T56" fmla="*/ 2147483647 w 1036"/>
                <a:gd name="T57" fmla="*/ 2147483647 h 640"/>
                <a:gd name="T58" fmla="*/ 2147483647 w 1036"/>
                <a:gd name="T59" fmla="*/ 2147483647 h 640"/>
                <a:gd name="T60" fmla="*/ 2147483647 w 1036"/>
                <a:gd name="T61" fmla="*/ 2147483647 h 640"/>
                <a:gd name="T62" fmla="*/ 2147483647 w 1036"/>
                <a:gd name="T63" fmla="*/ 2147483647 h 640"/>
                <a:gd name="T64" fmla="*/ 2147483647 w 1036"/>
                <a:gd name="T65" fmla="*/ 2147483647 h 640"/>
                <a:gd name="T66" fmla="*/ 2147483647 w 1036"/>
                <a:gd name="T67" fmla="*/ 2147483647 h 640"/>
                <a:gd name="T68" fmla="*/ 2147483647 w 1036"/>
                <a:gd name="T69" fmla="*/ 2147483647 h 640"/>
                <a:gd name="T70" fmla="*/ 2147483647 w 1036"/>
                <a:gd name="T71" fmla="*/ 2147483647 h 640"/>
                <a:gd name="T72" fmla="*/ 2147483647 w 1036"/>
                <a:gd name="T73" fmla="*/ 2147483647 h 640"/>
                <a:gd name="T74" fmla="*/ 2147483647 w 1036"/>
                <a:gd name="T75" fmla="*/ 2147483647 h 640"/>
                <a:gd name="T76" fmla="*/ 2147483647 w 1036"/>
                <a:gd name="T77" fmla="*/ 2147483647 h 640"/>
                <a:gd name="T78" fmla="*/ 2147483647 w 1036"/>
                <a:gd name="T79" fmla="*/ 2147483647 h 640"/>
                <a:gd name="T80" fmla="*/ 2147483647 w 1036"/>
                <a:gd name="T81" fmla="*/ 2147483647 h 640"/>
                <a:gd name="T82" fmla="*/ 2147483647 w 1036"/>
                <a:gd name="T83" fmla="*/ 2147483647 h 640"/>
                <a:gd name="T84" fmla="*/ 2147483647 w 1036"/>
                <a:gd name="T85" fmla="*/ 2147483647 h 640"/>
                <a:gd name="T86" fmla="*/ 2147483647 w 1036"/>
                <a:gd name="T87" fmla="*/ 2147483647 h 640"/>
                <a:gd name="T88" fmla="*/ 2147483647 w 1036"/>
                <a:gd name="T89" fmla="*/ 2147483647 h 640"/>
                <a:gd name="T90" fmla="*/ 2147483647 w 1036"/>
                <a:gd name="T91" fmla="*/ 2147483647 h 640"/>
                <a:gd name="T92" fmla="*/ 2147483647 w 1036"/>
                <a:gd name="T93" fmla="*/ 2147483647 h 640"/>
                <a:gd name="T94" fmla="*/ 2147483647 w 1036"/>
                <a:gd name="T95" fmla="*/ 2147483647 h 640"/>
                <a:gd name="T96" fmla="*/ 2147483647 w 1036"/>
                <a:gd name="T97" fmla="*/ 2147483647 h 640"/>
                <a:gd name="T98" fmla="*/ 2147483647 w 1036"/>
                <a:gd name="T99" fmla="*/ 2147483647 h 640"/>
                <a:gd name="T100" fmla="*/ 2147483647 w 1036"/>
                <a:gd name="T101" fmla="*/ 2147483647 h 640"/>
                <a:gd name="T102" fmla="*/ 2147483647 w 1036"/>
                <a:gd name="T103" fmla="*/ 2147483647 h 640"/>
                <a:gd name="T104" fmla="*/ 2147483647 w 1036"/>
                <a:gd name="T105" fmla="*/ 2147483647 h 640"/>
                <a:gd name="T106" fmla="*/ 2147483647 w 1036"/>
                <a:gd name="T107" fmla="*/ 2147483647 h 640"/>
                <a:gd name="T108" fmla="*/ 2147483647 w 1036"/>
                <a:gd name="T109" fmla="*/ 2147483647 h 640"/>
                <a:gd name="T110" fmla="*/ 2147483647 w 1036"/>
                <a:gd name="T111" fmla="*/ 2147483647 h 640"/>
                <a:gd name="T112" fmla="*/ 2147483647 w 1036"/>
                <a:gd name="T113" fmla="*/ 2147483647 h 640"/>
                <a:gd name="T114" fmla="*/ 2147483647 w 1036"/>
                <a:gd name="T115" fmla="*/ 2147483647 h 640"/>
                <a:gd name="T116" fmla="*/ 2147483647 w 1036"/>
                <a:gd name="T117" fmla="*/ 2147483647 h 640"/>
                <a:gd name="T118" fmla="*/ 2147483647 w 1036"/>
                <a:gd name="T119" fmla="*/ 2147483647 h 640"/>
                <a:gd name="T120" fmla="*/ 2147483647 w 1036"/>
                <a:gd name="T121" fmla="*/ 2147483647 h 640"/>
                <a:gd name="T122" fmla="*/ 2147483647 w 1036"/>
                <a:gd name="T123" fmla="*/ 2147483647 h 6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36"/>
                <a:gd name="T187" fmla="*/ 0 h 640"/>
                <a:gd name="T188" fmla="*/ 1036 w 1036"/>
                <a:gd name="T189" fmla="*/ 640 h 64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36" h="640">
                  <a:moveTo>
                    <a:pt x="446" y="432"/>
                  </a:moveTo>
                  <a:lnTo>
                    <a:pt x="446" y="432"/>
                  </a:lnTo>
                  <a:lnTo>
                    <a:pt x="444" y="434"/>
                  </a:lnTo>
                  <a:lnTo>
                    <a:pt x="442" y="436"/>
                  </a:lnTo>
                  <a:lnTo>
                    <a:pt x="442" y="440"/>
                  </a:lnTo>
                  <a:lnTo>
                    <a:pt x="444" y="440"/>
                  </a:lnTo>
                  <a:lnTo>
                    <a:pt x="444" y="442"/>
                  </a:lnTo>
                  <a:lnTo>
                    <a:pt x="446" y="442"/>
                  </a:lnTo>
                  <a:lnTo>
                    <a:pt x="448" y="442"/>
                  </a:lnTo>
                  <a:lnTo>
                    <a:pt x="452" y="436"/>
                  </a:lnTo>
                  <a:lnTo>
                    <a:pt x="446" y="432"/>
                  </a:lnTo>
                  <a:close/>
                  <a:moveTo>
                    <a:pt x="504" y="446"/>
                  </a:moveTo>
                  <a:lnTo>
                    <a:pt x="504" y="446"/>
                  </a:lnTo>
                  <a:lnTo>
                    <a:pt x="502" y="450"/>
                  </a:lnTo>
                  <a:lnTo>
                    <a:pt x="500" y="452"/>
                  </a:lnTo>
                  <a:lnTo>
                    <a:pt x="502" y="458"/>
                  </a:lnTo>
                  <a:lnTo>
                    <a:pt x="504" y="462"/>
                  </a:lnTo>
                  <a:lnTo>
                    <a:pt x="502" y="466"/>
                  </a:lnTo>
                  <a:lnTo>
                    <a:pt x="498" y="468"/>
                  </a:lnTo>
                  <a:lnTo>
                    <a:pt x="496" y="472"/>
                  </a:lnTo>
                  <a:lnTo>
                    <a:pt x="494" y="474"/>
                  </a:lnTo>
                  <a:lnTo>
                    <a:pt x="492" y="482"/>
                  </a:lnTo>
                  <a:lnTo>
                    <a:pt x="494" y="488"/>
                  </a:lnTo>
                  <a:lnTo>
                    <a:pt x="496" y="498"/>
                  </a:lnTo>
                  <a:lnTo>
                    <a:pt x="496" y="518"/>
                  </a:lnTo>
                  <a:lnTo>
                    <a:pt x="494" y="536"/>
                  </a:lnTo>
                  <a:lnTo>
                    <a:pt x="496" y="536"/>
                  </a:lnTo>
                  <a:lnTo>
                    <a:pt x="496" y="538"/>
                  </a:lnTo>
                  <a:lnTo>
                    <a:pt x="496" y="542"/>
                  </a:lnTo>
                  <a:lnTo>
                    <a:pt x="494" y="544"/>
                  </a:lnTo>
                  <a:lnTo>
                    <a:pt x="494" y="546"/>
                  </a:lnTo>
                  <a:lnTo>
                    <a:pt x="498" y="552"/>
                  </a:lnTo>
                  <a:lnTo>
                    <a:pt x="496" y="568"/>
                  </a:lnTo>
                  <a:lnTo>
                    <a:pt x="492" y="586"/>
                  </a:lnTo>
                  <a:lnTo>
                    <a:pt x="496" y="580"/>
                  </a:lnTo>
                  <a:lnTo>
                    <a:pt x="498" y="576"/>
                  </a:lnTo>
                  <a:lnTo>
                    <a:pt x="502" y="578"/>
                  </a:lnTo>
                  <a:lnTo>
                    <a:pt x="506" y="582"/>
                  </a:lnTo>
                  <a:lnTo>
                    <a:pt x="510" y="588"/>
                  </a:lnTo>
                  <a:lnTo>
                    <a:pt x="510" y="584"/>
                  </a:lnTo>
                  <a:lnTo>
                    <a:pt x="510" y="580"/>
                  </a:lnTo>
                  <a:lnTo>
                    <a:pt x="506" y="572"/>
                  </a:lnTo>
                  <a:lnTo>
                    <a:pt x="502" y="564"/>
                  </a:lnTo>
                  <a:lnTo>
                    <a:pt x="502" y="556"/>
                  </a:lnTo>
                  <a:lnTo>
                    <a:pt x="502" y="548"/>
                  </a:lnTo>
                  <a:lnTo>
                    <a:pt x="506" y="532"/>
                  </a:lnTo>
                  <a:lnTo>
                    <a:pt x="508" y="532"/>
                  </a:lnTo>
                  <a:lnTo>
                    <a:pt x="508" y="528"/>
                  </a:lnTo>
                  <a:lnTo>
                    <a:pt x="512" y="528"/>
                  </a:lnTo>
                  <a:lnTo>
                    <a:pt x="516" y="528"/>
                  </a:lnTo>
                  <a:lnTo>
                    <a:pt x="524" y="536"/>
                  </a:lnTo>
                  <a:lnTo>
                    <a:pt x="520" y="526"/>
                  </a:lnTo>
                  <a:lnTo>
                    <a:pt x="516" y="522"/>
                  </a:lnTo>
                  <a:lnTo>
                    <a:pt x="514" y="518"/>
                  </a:lnTo>
                  <a:lnTo>
                    <a:pt x="512" y="518"/>
                  </a:lnTo>
                  <a:lnTo>
                    <a:pt x="512" y="510"/>
                  </a:lnTo>
                  <a:lnTo>
                    <a:pt x="512" y="500"/>
                  </a:lnTo>
                  <a:lnTo>
                    <a:pt x="512" y="490"/>
                  </a:lnTo>
                  <a:lnTo>
                    <a:pt x="510" y="484"/>
                  </a:lnTo>
                  <a:lnTo>
                    <a:pt x="512" y="480"/>
                  </a:lnTo>
                  <a:lnTo>
                    <a:pt x="514" y="476"/>
                  </a:lnTo>
                  <a:lnTo>
                    <a:pt x="510" y="470"/>
                  </a:lnTo>
                  <a:lnTo>
                    <a:pt x="506" y="464"/>
                  </a:lnTo>
                  <a:lnTo>
                    <a:pt x="508" y="458"/>
                  </a:lnTo>
                  <a:lnTo>
                    <a:pt x="510" y="454"/>
                  </a:lnTo>
                  <a:lnTo>
                    <a:pt x="508" y="450"/>
                  </a:lnTo>
                  <a:lnTo>
                    <a:pt x="504" y="446"/>
                  </a:lnTo>
                  <a:close/>
                  <a:moveTo>
                    <a:pt x="132" y="420"/>
                  </a:moveTo>
                  <a:lnTo>
                    <a:pt x="134" y="420"/>
                  </a:lnTo>
                  <a:lnTo>
                    <a:pt x="130" y="430"/>
                  </a:lnTo>
                  <a:lnTo>
                    <a:pt x="132" y="438"/>
                  </a:lnTo>
                  <a:lnTo>
                    <a:pt x="132" y="446"/>
                  </a:lnTo>
                  <a:lnTo>
                    <a:pt x="126" y="454"/>
                  </a:lnTo>
                  <a:lnTo>
                    <a:pt x="126" y="452"/>
                  </a:lnTo>
                  <a:lnTo>
                    <a:pt x="122" y="452"/>
                  </a:lnTo>
                  <a:lnTo>
                    <a:pt x="122" y="454"/>
                  </a:lnTo>
                  <a:lnTo>
                    <a:pt x="120" y="456"/>
                  </a:lnTo>
                  <a:lnTo>
                    <a:pt x="122" y="458"/>
                  </a:lnTo>
                  <a:lnTo>
                    <a:pt x="124" y="460"/>
                  </a:lnTo>
                  <a:lnTo>
                    <a:pt x="116" y="468"/>
                  </a:lnTo>
                  <a:lnTo>
                    <a:pt x="116" y="470"/>
                  </a:lnTo>
                  <a:lnTo>
                    <a:pt x="112" y="470"/>
                  </a:lnTo>
                  <a:lnTo>
                    <a:pt x="108" y="470"/>
                  </a:lnTo>
                  <a:lnTo>
                    <a:pt x="108" y="472"/>
                  </a:lnTo>
                  <a:lnTo>
                    <a:pt x="106" y="474"/>
                  </a:lnTo>
                  <a:lnTo>
                    <a:pt x="104" y="476"/>
                  </a:lnTo>
                  <a:lnTo>
                    <a:pt x="104" y="478"/>
                  </a:lnTo>
                  <a:lnTo>
                    <a:pt x="100" y="478"/>
                  </a:lnTo>
                  <a:lnTo>
                    <a:pt x="96" y="478"/>
                  </a:lnTo>
                  <a:lnTo>
                    <a:pt x="92" y="484"/>
                  </a:lnTo>
                  <a:lnTo>
                    <a:pt x="88" y="490"/>
                  </a:lnTo>
                  <a:lnTo>
                    <a:pt x="82" y="498"/>
                  </a:lnTo>
                  <a:lnTo>
                    <a:pt x="80" y="500"/>
                  </a:lnTo>
                  <a:lnTo>
                    <a:pt x="76" y="500"/>
                  </a:lnTo>
                  <a:lnTo>
                    <a:pt x="72" y="500"/>
                  </a:lnTo>
                  <a:lnTo>
                    <a:pt x="68" y="498"/>
                  </a:lnTo>
                  <a:lnTo>
                    <a:pt x="64" y="496"/>
                  </a:lnTo>
                  <a:lnTo>
                    <a:pt x="76" y="490"/>
                  </a:lnTo>
                  <a:lnTo>
                    <a:pt x="80" y="486"/>
                  </a:lnTo>
                  <a:lnTo>
                    <a:pt x="84" y="482"/>
                  </a:lnTo>
                  <a:lnTo>
                    <a:pt x="86" y="476"/>
                  </a:lnTo>
                  <a:lnTo>
                    <a:pt x="88" y="472"/>
                  </a:lnTo>
                  <a:lnTo>
                    <a:pt x="92" y="472"/>
                  </a:lnTo>
                  <a:lnTo>
                    <a:pt x="94" y="470"/>
                  </a:lnTo>
                  <a:lnTo>
                    <a:pt x="96" y="468"/>
                  </a:lnTo>
                  <a:lnTo>
                    <a:pt x="98" y="464"/>
                  </a:lnTo>
                  <a:lnTo>
                    <a:pt x="100" y="462"/>
                  </a:lnTo>
                  <a:lnTo>
                    <a:pt x="104" y="462"/>
                  </a:lnTo>
                  <a:lnTo>
                    <a:pt x="110" y="454"/>
                  </a:lnTo>
                  <a:lnTo>
                    <a:pt x="118" y="444"/>
                  </a:lnTo>
                  <a:lnTo>
                    <a:pt x="130" y="420"/>
                  </a:lnTo>
                  <a:lnTo>
                    <a:pt x="132" y="420"/>
                  </a:lnTo>
                  <a:close/>
                  <a:moveTo>
                    <a:pt x="460" y="0"/>
                  </a:moveTo>
                  <a:lnTo>
                    <a:pt x="460" y="0"/>
                  </a:lnTo>
                  <a:lnTo>
                    <a:pt x="454" y="8"/>
                  </a:lnTo>
                  <a:lnTo>
                    <a:pt x="448" y="18"/>
                  </a:lnTo>
                  <a:lnTo>
                    <a:pt x="446" y="20"/>
                  </a:lnTo>
                  <a:lnTo>
                    <a:pt x="448" y="30"/>
                  </a:lnTo>
                  <a:lnTo>
                    <a:pt x="450" y="38"/>
                  </a:lnTo>
                  <a:lnTo>
                    <a:pt x="452" y="42"/>
                  </a:lnTo>
                  <a:lnTo>
                    <a:pt x="458" y="42"/>
                  </a:lnTo>
                  <a:lnTo>
                    <a:pt x="462" y="44"/>
                  </a:lnTo>
                  <a:lnTo>
                    <a:pt x="468" y="38"/>
                  </a:lnTo>
                  <a:lnTo>
                    <a:pt x="468" y="36"/>
                  </a:lnTo>
                  <a:lnTo>
                    <a:pt x="468" y="34"/>
                  </a:lnTo>
                  <a:lnTo>
                    <a:pt x="474" y="28"/>
                  </a:lnTo>
                  <a:lnTo>
                    <a:pt x="476" y="24"/>
                  </a:lnTo>
                  <a:lnTo>
                    <a:pt x="476" y="20"/>
                  </a:lnTo>
                  <a:lnTo>
                    <a:pt x="468" y="10"/>
                  </a:lnTo>
                  <a:lnTo>
                    <a:pt x="460" y="0"/>
                  </a:lnTo>
                  <a:close/>
                  <a:moveTo>
                    <a:pt x="508" y="10"/>
                  </a:moveTo>
                  <a:lnTo>
                    <a:pt x="508" y="10"/>
                  </a:lnTo>
                  <a:lnTo>
                    <a:pt x="508" y="18"/>
                  </a:lnTo>
                  <a:lnTo>
                    <a:pt x="510" y="26"/>
                  </a:lnTo>
                  <a:lnTo>
                    <a:pt x="512" y="28"/>
                  </a:lnTo>
                  <a:lnTo>
                    <a:pt x="514" y="28"/>
                  </a:lnTo>
                  <a:lnTo>
                    <a:pt x="520" y="26"/>
                  </a:lnTo>
                  <a:lnTo>
                    <a:pt x="528" y="20"/>
                  </a:lnTo>
                  <a:lnTo>
                    <a:pt x="526" y="18"/>
                  </a:lnTo>
                  <a:lnTo>
                    <a:pt x="524" y="14"/>
                  </a:lnTo>
                  <a:lnTo>
                    <a:pt x="516" y="16"/>
                  </a:lnTo>
                  <a:lnTo>
                    <a:pt x="508" y="10"/>
                  </a:lnTo>
                  <a:close/>
                  <a:moveTo>
                    <a:pt x="552" y="14"/>
                  </a:moveTo>
                  <a:lnTo>
                    <a:pt x="552" y="14"/>
                  </a:lnTo>
                  <a:lnTo>
                    <a:pt x="558" y="24"/>
                  </a:lnTo>
                  <a:lnTo>
                    <a:pt x="562" y="28"/>
                  </a:lnTo>
                  <a:lnTo>
                    <a:pt x="566" y="30"/>
                  </a:lnTo>
                  <a:lnTo>
                    <a:pt x="570" y="32"/>
                  </a:lnTo>
                  <a:lnTo>
                    <a:pt x="574" y="32"/>
                  </a:lnTo>
                  <a:lnTo>
                    <a:pt x="584" y="26"/>
                  </a:lnTo>
                  <a:lnTo>
                    <a:pt x="588" y="24"/>
                  </a:lnTo>
                  <a:lnTo>
                    <a:pt x="592" y="24"/>
                  </a:lnTo>
                  <a:lnTo>
                    <a:pt x="588" y="20"/>
                  </a:lnTo>
                  <a:lnTo>
                    <a:pt x="580" y="16"/>
                  </a:lnTo>
                  <a:lnTo>
                    <a:pt x="570" y="14"/>
                  </a:lnTo>
                  <a:lnTo>
                    <a:pt x="552" y="14"/>
                  </a:lnTo>
                  <a:close/>
                  <a:moveTo>
                    <a:pt x="164" y="42"/>
                  </a:moveTo>
                  <a:lnTo>
                    <a:pt x="164" y="42"/>
                  </a:lnTo>
                  <a:lnTo>
                    <a:pt x="160" y="44"/>
                  </a:lnTo>
                  <a:lnTo>
                    <a:pt x="158" y="48"/>
                  </a:lnTo>
                  <a:lnTo>
                    <a:pt x="158" y="52"/>
                  </a:lnTo>
                  <a:lnTo>
                    <a:pt x="162" y="50"/>
                  </a:lnTo>
                  <a:lnTo>
                    <a:pt x="166" y="46"/>
                  </a:lnTo>
                  <a:lnTo>
                    <a:pt x="166" y="42"/>
                  </a:lnTo>
                  <a:lnTo>
                    <a:pt x="164" y="42"/>
                  </a:lnTo>
                  <a:close/>
                  <a:moveTo>
                    <a:pt x="476" y="42"/>
                  </a:moveTo>
                  <a:lnTo>
                    <a:pt x="474" y="48"/>
                  </a:lnTo>
                  <a:lnTo>
                    <a:pt x="480" y="50"/>
                  </a:lnTo>
                  <a:lnTo>
                    <a:pt x="480" y="44"/>
                  </a:lnTo>
                  <a:lnTo>
                    <a:pt x="480" y="42"/>
                  </a:lnTo>
                  <a:lnTo>
                    <a:pt x="476" y="42"/>
                  </a:lnTo>
                  <a:close/>
                  <a:moveTo>
                    <a:pt x="492" y="48"/>
                  </a:moveTo>
                  <a:lnTo>
                    <a:pt x="492" y="48"/>
                  </a:lnTo>
                  <a:lnTo>
                    <a:pt x="476" y="60"/>
                  </a:lnTo>
                  <a:lnTo>
                    <a:pt x="476" y="62"/>
                  </a:lnTo>
                  <a:lnTo>
                    <a:pt x="474" y="62"/>
                  </a:lnTo>
                  <a:lnTo>
                    <a:pt x="492" y="66"/>
                  </a:lnTo>
                  <a:lnTo>
                    <a:pt x="514" y="68"/>
                  </a:lnTo>
                  <a:lnTo>
                    <a:pt x="512" y="62"/>
                  </a:lnTo>
                  <a:lnTo>
                    <a:pt x="514" y="58"/>
                  </a:lnTo>
                  <a:lnTo>
                    <a:pt x="504" y="52"/>
                  </a:lnTo>
                  <a:lnTo>
                    <a:pt x="500" y="48"/>
                  </a:lnTo>
                  <a:lnTo>
                    <a:pt x="496" y="48"/>
                  </a:lnTo>
                  <a:lnTo>
                    <a:pt x="492" y="48"/>
                  </a:lnTo>
                  <a:close/>
                  <a:moveTo>
                    <a:pt x="340" y="74"/>
                  </a:moveTo>
                  <a:lnTo>
                    <a:pt x="340" y="74"/>
                  </a:lnTo>
                  <a:lnTo>
                    <a:pt x="342" y="76"/>
                  </a:lnTo>
                  <a:lnTo>
                    <a:pt x="348" y="76"/>
                  </a:lnTo>
                  <a:lnTo>
                    <a:pt x="348" y="74"/>
                  </a:lnTo>
                  <a:lnTo>
                    <a:pt x="346" y="74"/>
                  </a:lnTo>
                  <a:lnTo>
                    <a:pt x="340" y="74"/>
                  </a:lnTo>
                  <a:close/>
                  <a:moveTo>
                    <a:pt x="168" y="82"/>
                  </a:moveTo>
                  <a:lnTo>
                    <a:pt x="168" y="82"/>
                  </a:lnTo>
                  <a:lnTo>
                    <a:pt x="166" y="88"/>
                  </a:lnTo>
                  <a:lnTo>
                    <a:pt x="164" y="88"/>
                  </a:lnTo>
                  <a:lnTo>
                    <a:pt x="166" y="86"/>
                  </a:lnTo>
                  <a:lnTo>
                    <a:pt x="168" y="82"/>
                  </a:lnTo>
                  <a:close/>
                  <a:moveTo>
                    <a:pt x="928" y="106"/>
                  </a:moveTo>
                  <a:lnTo>
                    <a:pt x="928" y="106"/>
                  </a:lnTo>
                  <a:lnTo>
                    <a:pt x="922" y="114"/>
                  </a:lnTo>
                  <a:lnTo>
                    <a:pt x="916" y="120"/>
                  </a:lnTo>
                  <a:lnTo>
                    <a:pt x="924" y="122"/>
                  </a:lnTo>
                  <a:lnTo>
                    <a:pt x="930" y="122"/>
                  </a:lnTo>
                  <a:lnTo>
                    <a:pt x="932" y="120"/>
                  </a:lnTo>
                  <a:lnTo>
                    <a:pt x="936" y="118"/>
                  </a:lnTo>
                  <a:lnTo>
                    <a:pt x="952" y="122"/>
                  </a:lnTo>
                  <a:lnTo>
                    <a:pt x="954" y="116"/>
                  </a:lnTo>
                  <a:lnTo>
                    <a:pt x="942" y="110"/>
                  </a:lnTo>
                  <a:lnTo>
                    <a:pt x="934" y="106"/>
                  </a:lnTo>
                  <a:lnTo>
                    <a:pt x="928" y="106"/>
                  </a:lnTo>
                  <a:close/>
                  <a:moveTo>
                    <a:pt x="602" y="110"/>
                  </a:moveTo>
                  <a:lnTo>
                    <a:pt x="602" y="110"/>
                  </a:lnTo>
                  <a:lnTo>
                    <a:pt x="598" y="122"/>
                  </a:lnTo>
                  <a:lnTo>
                    <a:pt x="606" y="122"/>
                  </a:lnTo>
                  <a:lnTo>
                    <a:pt x="612" y="122"/>
                  </a:lnTo>
                  <a:lnTo>
                    <a:pt x="614" y="120"/>
                  </a:lnTo>
                  <a:lnTo>
                    <a:pt x="614" y="118"/>
                  </a:lnTo>
                  <a:lnTo>
                    <a:pt x="612" y="118"/>
                  </a:lnTo>
                  <a:lnTo>
                    <a:pt x="612" y="116"/>
                  </a:lnTo>
                  <a:lnTo>
                    <a:pt x="612" y="114"/>
                  </a:lnTo>
                  <a:lnTo>
                    <a:pt x="610" y="116"/>
                  </a:lnTo>
                  <a:lnTo>
                    <a:pt x="608" y="110"/>
                  </a:lnTo>
                  <a:lnTo>
                    <a:pt x="604" y="110"/>
                  </a:lnTo>
                  <a:lnTo>
                    <a:pt x="602" y="110"/>
                  </a:lnTo>
                  <a:close/>
                  <a:moveTo>
                    <a:pt x="654" y="502"/>
                  </a:moveTo>
                  <a:lnTo>
                    <a:pt x="654" y="502"/>
                  </a:lnTo>
                  <a:lnTo>
                    <a:pt x="648" y="506"/>
                  </a:lnTo>
                  <a:lnTo>
                    <a:pt x="648" y="510"/>
                  </a:lnTo>
                  <a:lnTo>
                    <a:pt x="652" y="510"/>
                  </a:lnTo>
                  <a:lnTo>
                    <a:pt x="654" y="504"/>
                  </a:lnTo>
                  <a:lnTo>
                    <a:pt x="656" y="502"/>
                  </a:lnTo>
                  <a:lnTo>
                    <a:pt x="654" y="502"/>
                  </a:lnTo>
                  <a:close/>
                  <a:moveTo>
                    <a:pt x="324" y="64"/>
                  </a:moveTo>
                  <a:lnTo>
                    <a:pt x="326" y="68"/>
                  </a:lnTo>
                  <a:lnTo>
                    <a:pt x="328" y="68"/>
                  </a:lnTo>
                  <a:lnTo>
                    <a:pt x="328" y="66"/>
                  </a:lnTo>
                  <a:lnTo>
                    <a:pt x="324" y="64"/>
                  </a:lnTo>
                  <a:close/>
                  <a:moveTo>
                    <a:pt x="316" y="68"/>
                  </a:moveTo>
                  <a:lnTo>
                    <a:pt x="316" y="68"/>
                  </a:lnTo>
                  <a:lnTo>
                    <a:pt x="316" y="70"/>
                  </a:lnTo>
                  <a:lnTo>
                    <a:pt x="318" y="72"/>
                  </a:lnTo>
                  <a:lnTo>
                    <a:pt x="320" y="70"/>
                  </a:lnTo>
                  <a:lnTo>
                    <a:pt x="320" y="68"/>
                  </a:lnTo>
                  <a:lnTo>
                    <a:pt x="316" y="68"/>
                  </a:lnTo>
                  <a:close/>
                  <a:moveTo>
                    <a:pt x="286" y="70"/>
                  </a:moveTo>
                  <a:lnTo>
                    <a:pt x="286" y="70"/>
                  </a:lnTo>
                  <a:lnTo>
                    <a:pt x="286" y="72"/>
                  </a:lnTo>
                  <a:lnTo>
                    <a:pt x="288" y="74"/>
                  </a:lnTo>
                  <a:lnTo>
                    <a:pt x="288" y="70"/>
                  </a:lnTo>
                  <a:lnTo>
                    <a:pt x="286" y="70"/>
                  </a:lnTo>
                  <a:close/>
                  <a:moveTo>
                    <a:pt x="336" y="70"/>
                  </a:moveTo>
                  <a:lnTo>
                    <a:pt x="336" y="70"/>
                  </a:lnTo>
                  <a:lnTo>
                    <a:pt x="334" y="72"/>
                  </a:lnTo>
                  <a:lnTo>
                    <a:pt x="334" y="74"/>
                  </a:lnTo>
                  <a:lnTo>
                    <a:pt x="336" y="74"/>
                  </a:lnTo>
                  <a:lnTo>
                    <a:pt x="338" y="70"/>
                  </a:lnTo>
                  <a:lnTo>
                    <a:pt x="336" y="70"/>
                  </a:lnTo>
                  <a:close/>
                  <a:moveTo>
                    <a:pt x="172" y="72"/>
                  </a:moveTo>
                  <a:lnTo>
                    <a:pt x="172" y="72"/>
                  </a:lnTo>
                  <a:lnTo>
                    <a:pt x="174" y="72"/>
                  </a:lnTo>
                  <a:lnTo>
                    <a:pt x="172" y="76"/>
                  </a:lnTo>
                  <a:lnTo>
                    <a:pt x="170" y="82"/>
                  </a:lnTo>
                  <a:lnTo>
                    <a:pt x="168" y="82"/>
                  </a:lnTo>
                  <a:lnTo>
                    <a:pt x="166" y="78"/>
                  </a:lnTo>
                  <a:lnTo>
                    <a:pt x="168" y="74"/>
                  </a:lnTo>
                  <a:lnTo>
                    <a:pt x="172" y="72"/>
                  </a:lnTo>
                  <a:close/>
                  <a:moveTo>
                    <a:pt x="310" y="72"/>
                  </a:moveTo>
                  <a:lnTo>
                    <a:pt x="310" y="72"/>
                  </a:lnTo>
                  <a:lnTo>
                    <a:pt x="308" y="78"/>
                  </a:lnTo>
                  <a:lnTo>
                    <a:pt x="312" y="78"/>
                  </a:lnTo>
                  <a:lnTo>
                    <a:pt x="314" y="76"/>
                  </a:lnTo>
                  <a:lnTo>
                    <a:pt x="312" y="74"/>
                  </a:lnTo>
                  <a:lnTo>
                    <a:pt x="312" y="72"/>
                  </a:lnTo>
                  <a:lnTo>
                    <a:pt x="310" y="72"/>
                  </a:lnTo>
                  <a:close/>
                  <a:moveTo>
                    <a:pt x="326" y="74"/>
                  </a:moveTo>
                  <a:lnTo>
                    <a:pt x="326" y="74"/>
                  </a:lnTo>
                  <a:lnTo>
                    <a:pt x="324" y="80"/>
                  </a:lnTo>
                  <a:lnTo>
                    <a:pt x="324" y="82"/>
                  </a:lnTo>
                  <a:lnTo>
                    <a:pt x="328" y="76"/>
                  </a:lnTo>
                  <a:lnTo>
                    <a:pt x="328" y="74"/>
                  </a:lnTo>
                  <a:lnTo>
                    <a:pt x="326" y="74"/>
                  </a:lnTo>
                  <a:close/>
                  <a:moveTo>
                    <a:pt x="318" y="80"/>
                  </a:moveTo>
                  <a:lnTo>
                    <a:pt x="320" y="86"/>
                  </a:lnTo>
                  <a:lnTo>
                    <a:pt x="320" y="82"/>
                  </a:lnTo>
                  <a:lnTo>
                    <a:pt x="320" y="80"/>
                  </a:lnTo>
                  <a:lnTo>
                    <a:pt x="318" y="80"/>
                  </a:lnTo>
                  <a:close/>
                  <a:moveTo>
                    <a:pt x="344" y="80"/>
                  </a:moveTo>
                  <a:lnTo>
                    <a:pt x="344" y="80"/>
                  </a:lnTo>
                  <a:lnTo>
                    <a:pt x="344" y="88"/>
                  </a:lnTo>
                  <a:lnTo>
                    <a:pt x="348" y="88"/>
                  </a:lnTo>
                  <a:lnTo>
                    <a:pt x="348" y="86"/>
                  </a:lnTo>
                  <a:lnTo>
                    <a:pt x="348" y="82"/>
                  </a:lnTo>
                  <a:lnTo>
                    <a:pt x="344" y="80"/>
                  </a:lnTo>
                  <a:close/>
                  <a:moveTo>
                    <a:pt x="334" y="82"/>
                  </a:moveTo>
                  <a:lnTo>
                    <a:pt x="334" y="82"/>
                  </a:lnTo>
                  <a:lnTo>
                    <a:pt x="330" y="88"/>
                  </a:lnTo>
                  <a:lnTo>
                    <a:pt x="332" y="88"/>
                  </a:lnTo>
                  <a:lnTo>
                    <a:pt x="336" y="88"/>
                  </a:lnTo>
                  <a:lnTo>
                    <a:pt x="336" y="90"/>
                  </a:lnTo>
                  <a:lnTo>
                    <a:pt x="338" y="92"/>
                  </a:lnTo>
                  <a:lnTo>
                    <a:pt x="340" y="94"/>
                  </a:lnTo>
                  <a:lnTo>
                    <a:pt x="342" y="94"/>
                  </a:lnTo>
                  <a:lnTo>
                    <a:pt x="342" y="92"/>
                  </a:lnTo>
                  <a:lnTo>
                    <a:pt x="338" y="90"/>
                  </a:lnTo>
                  <a:lnTo>
                    <a:pt x="340" y="86"/>
                  </a:lnTo>
                  <a:lnTo>
                    <a:pt x="336" y="84"/>
                  </a:lnTo>
                  <a:lnTo>
                    <a:pt x="334" y="82"/>
                  </a:lnTo>
                  <a:close/>
                  <a:moveTo>
                    <a:pt x="478" y="88"/>
                  </a:moveTo>
                  <a:lnTo>
                    <a:pt x="478" y="88"/>
                  </a:lnTo>
                  <a:lnTo>
                    <a:pt x="480" y="90"/>
                  </a:lnTo>
                  <a:lnTo>
                    <a:pt x="482" y="92"/>
                  </a:lnTo>
                  <a:lnTo>
                    <a:pt x="478" y="90"/>
                  </a:lnTo>
                  <a:lnTo>
                    <a:pt x="476" y="90"/>
                  </a:lnTo>
                  <a:lnTo>
                    <a:pt x="478" y="88"/>
                  </a:lnTo>
                  <a:close/>
                  <a:moveTo>
                    <a:pt x="596" y="114"/>
                  </a:moveTo>
                  <a:lnTo>
                    <a:pt x="596" y="114"/>
                  </a:lnTo>
                  <a:lnTo>
                    <a:pt x="592" y="116"/>
                  </a:lnTo>
                  <a:lnTo>
                    <a:pt x="594" y="118"/>
                  </a:lnTo>
                  <a:lnTo>
                    <a:pt x="598" y="118"/>
                  </a:lnTo>
                  <a:lnTo>
                    <a:pt x="598" y="114"/>
                  </a:lnTo>
                  <a:lnTo>
                    <a:pt x="596" y="114"/>
                  </a:lnTo>
                  <a:close/>
                  <a:moveTo>
                    <a:pt x="582" y="116"/>
                  </a:moveTo>
                  <a:lnTo>
                    <a:pt x="582" y="116"/>
                  </a:lnTo>
                  <a:lnTo>
                    <a:pt x="580" y="120"/>
                  </a:lnTo>
                  <a:lnTo>
                    <a:pt x="578" y="120"/>
                  </a:lnTo>
                  <a:lnTo>
                    <a:pt x="578" y="118"/>
                  </a:lnTo>
                  <a:lnTo>
                    <a:pt x="582" y="116"/>
                  </a:lnTo>
                  <a:close/>
                  <a:moveTo>
                    <a:pt x="744" y="350"/>
                  </a:moveTo>
                  <a:lnTo>
                    <a:pt x="744" y="350"/>
                  </a:lnTo>
                  <a:lnTo>
                    <a:pt x="738" y="356"/>
                  </a:lnTo>
                  <a:lnTo>
                    <a:pt x="738" y="360"/>
                  </a:lnTo>
                  <a:lnTo>
                    <a:pt x="738" y="364"/>
                  </a:lnTo>
                  <a:lnTo>
                    <a:pt x="740" y="364"/>
                  </a:lnTo>
                  <a:lnTo>
                    <a:pt x="744" y="360"/>
                  </a:lnTo>
                  <a:lnTo>
                    <a:pt x="748" y="356"/>
                  </a:lnTo>
                  <a:lnTo>
                    <a:pt x="746" y="354"/>
                  </a:lnTo>
                  <a:lnTo>
                    <a:pt x="744" y="350"/>
                  </a:lnTo>
                  <a:close/>
                  <a:moveTo>
                    <a:pt x="326" y="98"/>
                  </a:moveTo>
                  <a:lnTo>
                    <a:pt x="326" y="98"/>
                  </a:lnTo>
                  <a:lnTo>
                    <a:pt x="328" y="98"/>
                  </a:lnTo>
                  <a:lnTo>
                    <a:pt x="326" y="100"/>
                  </a:lnTo>
                  <a:lnTo>
                    <a:pt x="324" y="102"/>
                  </a:lnTo>
                  <a:lnTo>
                    <a:pt x="324" y="98"/>
                  </a:lnTo>
                  <a:lnTo>
                    <a:pt x="326" y="98"/>
                  </a:lnTo>
                  <a:close/>
                  <a:moveTo>
                    <a:pt x="800" y="130"/>
                  </a:moveTo>
                  <a:lnTo>
                    <a:pt x="796" y="138"/>
                  </a:lnTo>
                  <a:lnTo>
                    <a:pt x="800" y="140"/>
                  </a:lnTo>
                  <a:lnTo>
                    <a:pt x="802" y="142"/>
                  </a:lnTo>
                  <a:lnTo>
                    <a:pt x="802" y="140"/>
                  </a:lnTo>
                  <a:lnTo>
                    <a:pt x="804" y="140"/>
                  </a:lnTo>
                  <a:lnTo>
                    <a:pt x="806" y="140"/>
                  </a:lnTo>
                  <a:lnTo>
                    <a:pt x="808" y="138"/>
                  </a:lnTo>
                  <a:lnTo>
                    <a:pt x="808" y="136"/>
                  </a:lnTo>
                  <a:lnTo>
                    <a:pt x="800" y="130"/>
                  </a:lnTo>
                  <a:close/>
                  <a:moveTo>
                    <a:pt x="606" y="566"/>
                  </a:moveTo>
                  <a:lnTo>
                    <a:pt x="606" y="566"/>
                  </a:lnTo>
                  <a:lnTo>
                    <a:pt x="604" y="572"/>
                  </a:lnTo>
                  <a:lnTo>
                    <a:pt x="604" y="574"/>
                  </a:lnTo>
                  <a:lnTo>
                    <a:pt x="608" y="568"/>
                  </a:lnTo>
                  <a:lnTo>
                    <a:pt x="608" y="566"/>
                  </a:lnTo>
                  <a:lnTo>
                    <a:pt x="606" y="566"/>
                  </a:lnTo>
                  <a:close/>
                  <a:moveTo>
                    <a:pt x="586" y="580"/>
                  </a:moveTo>
                  <a:lnTo>
                    <a:pt x="586" y="580"/>
                  </a:lnTo>
                  <a:lnTo>
                    <a:pt x="584" y="584"/>
                  </a:lnTo>
                  <a:lnTo>
                    <a:pt x="582" y="590"/>
                  </a:lnTo>
                  <a:lnTo>
                    <a:pt x="580" y="592"/>
                  </a:lnTo>
                  <a:lnTo>
                    <a:pt x="582" y="592"/>
                  </a:lnTo>
                  <a:lnTo>
                    <a:pt x="586" y="590"/>
                  </a:lnTo>
                  <a:lnTo>
                    <a:pt x="588" y="584"/>
                  </a:lnTo>
                  <a:lnTo>
                    <a:pt x="588" y="582"/>
                  </a:lnTo>
                  <a:lnTo>
                    <a:pt x="586" y="580"/>
                  </a:lnTo>
                  <a:close/>
                  <a:moveTo>
                    <a:pt x="570" y="592"/>
                  </a:moveTo>
                  <a:lnTo>
                    <a:pt x="570" y="592"/>
                  </a:lnTo>
                  <a:lnTo>
                    <a:pt x="566" y="598"/>
                  </a:lnTo>
                  <a:lnTo>
                    <a:pt x="566" y="602"/>
                  </a:lnTo>
                  <a:lnTo>
                    <a:pt x="568" y="602"/>
                  </a:lnTo>
                  <a:lnTo>
                    <a:pt x="570" y="602"/>
                  </a:lnTo>
                  <a:lnTo>
                    <a:pt x="570" y="596"/>
                  </a:lnTo>
                  <a:lnTo>
                    <a:pt x="570" y="592"/>
                  </a:lnTo>
                  <a:close/>
                  <a:moveTo>
                    <a:pt x="560" y="598"/>
                  </a:moveTo>
                  <a:lnTo>
                    <a:pt x="556" y="606"/>
                  </a:lnTo>
                  <a:lnTo>
                    <a:pt x="552" y="606"/>
                  </a:lnTo>
                  <a:lnTo>
                    <a:pt x="550" y="610"/>
                  </a:lnTo>
                  <a:lnTo>
                    <a:pt x="554" y="610"/>
                  </a:lnTo>
                  <a:lnTo>
                    <a:pt x="564" y="604"/>
                  </a:lnTo>
                  <a:lnTo>
                    <a:pt x="564" y="600"/>
                  </a:lnTo>
                  <a:lnTo>
                    <a:pt x="562" y="600"/>
                  </a:lnTo>
                  <a:lnTo>
                    <a:pt x="562" y="598"/>
                  </a:lnTo>
                  <a:lnTo>
                    <a:pt x="560" y="598"/>
                  </a:lnTo>
                  <a:close/>
                  <a:moveTo>
                    <a:pt x="542" y="612"/>
                  </a:moveTo>
                  <a:lnTo>
                    <a:pt x="542" y="612"/>
                  </a:lnTo>
                  <a:lnTo>
                    <a:pt x="538" y="620"/>
                  </a:lnTo>
                  <a:lnTo>
                    <a:pt x="536" y="624"/>
                  </a:lnTo>
                  <a:lnTo>
                    <a:pt x="536" y="626"/>
                  </a:lnTo>
                  <a:lnTo>
                    <a:pt x="538" y="624"/>
                  </a:lnTo>
                  <a:lnTo>
                    <a:pt x="542" y="618"/>
                  </a:lnTo>
                  <a:lnTo>
                    <a:pt x="544" y="614"/>
                  </a:lnTo>
                  <a:lnTo>
                    <a:pt x="544" y="612"/>
                  </a:lnTo>
                  <a:lnTo>
                    <a:pt x="542" y="612"/>
                  </a:lnTo>
                  <a:close/>
                  <a:moveTo>
                    <a:pt x="0" y="482"/>
                  </a:moveTo>
                  <a:lnTo>
                    <a:pt x="8" y="484"/>
                  </a:lnTo>
                  <a:lnTo>
                    <a:pt x="14" y="484"/>
                  </a:lnTo>
                  <a:lnTo>
                    <a:pt x="22" y="484"/>
                  </a:lnTo>
                  <a:lnTo>
                    <a:pt x="26" y="488"/>
                  </a:lnTo>
                  <a:lnTo>
                    <a:pt x="34" y="490"/>
                  </a:lnTo>
                  <a:lnTo>
                    <a:pt x="44" y="498"/>
                  </a:lnTo>
                  <a:lnTo>
                    <a:pt x="50" y="504"/>
                  </a:lnTo>
                  <a:lnTo>
                    <a:pt x="54" y="510"/>
                  </a:lnTo>
                  <a:lnTo>
                    <a:pt x="58" y="514"/>
                  </a:lnTo>
                  <a:lnTo>
                    <a:pt x="66" y="520"/>
                  </a:lnTo>
                  <a:lnTo>
                    <a:pt x="72" y="518"/>
                  </a:lnTo>
                  <a:lnTo>
                    <a:pt x="76" y="518"/>
                  </a:lnTo>
                  <a:lnTo>
                    <a:pt x="82" y="516"/>
                  </a:lnTo>
                  <a:lnTo>
                    <a:pt x="86" y="512"/>
                  </a:lnTo>
                  <a:lnTo>
                    <a:pt x="94" y="516"/>
                  </a:lnTo>
                  <a:lnTo>
                    <a:pt x="104" y="518"/>
                  </a:lnTo>
                  <a:lnTo>
                    <a:pt x="108" y="520"/>
                  </a:lnTo>
                  <a:lnTo>
                    <a:pt x="108" y="524"/>
                  </a:lnTo>
                  <a:lnTo>
                    <a:pt x="112" y="526"/>
                  </a:lnTo>
                  <a:lnTo>
                    <a:pt x="118" y="526"/>
                  </a:lnTo>
                  <a:lnTo>
                    <a:pt x="124" y="530"/>
                  </a:lnTo>
                  <a:lnTo>
                    <a:pt x="128" y="530"/>
                  </a:lnTo>
                  <a:lnTo>
                    <a:pt x="134" y="528"/>
                  </a:lnTo>
                  <a:lnTo>
                    <a:pt x="140" y="530"/>
                  </a:lnTo>
                  <a:lnTo>
                    <a:pt x="146" y="532"/>
                  </a:lnTo>
                  <a:lnTo>
                    <a:pt x="156" y="530"/>
                  </a:lnTo>
                  <a:lnTo>
                    <a:pt x="160" y="526"/>
                  </a:lnTo>
                  <a:lnTo>
                    <a:pt x="170" y="526"/>
                  </a:lnTo>
                  <a:lnTo>
                    <a:pt x="182" y="518"/>
                  </a:lnTo>
                  <a:lnTo>
                    <a:pt x="184" y="516"/>
                  </a:lnTo>
                  <a:lnTo>
                    <a:pt x="192" y="522"/>
                  </a:lnTo>
                  <a:lnTo>
                    <a:pt x="198" y="522"/>
                  </a:lnTo>
                  <a:lnTo>
                    <a:pt x="206" y="524"/>
                  </a:lnTo>
                  <a:lnTo>
                    <a:pt x="212" y="522"/>
                  </a:lnTo>
                  <a:lnTo>
                    <a:pt x="220" y="526"/>
                  </a:lnTo>
                  <a:lnTo>
                    <a:pt x="224" y="530"/>
                  </a:lnTo>
                  <a:lnTo>
                    <a:pt x="232" y="522"/>
                  </a:lnTo>
                  <a:lnTo>
                    <a:pt x="236" y="522"/>
                  </a:lnTo>
                  <a:lnTo>
                    <a:pt x="238" y="520"/>
                  </a:lnTo>
                  <a:lnTo>
                    <a:pt x="240" y="518"/>
                  </a:lnTo>
                  <a:lnTo>
                    <a:pt x="238" y="516"/>
                  </a:lnTo>
                  <a:lnTo>
                    <a:pt x="240" y="514"/>
                  </a:lnTo>
                  <a:lnTo>
                    <a:pt x="244" y="510"/>
                  </a:lnTo>
                  <a:lnTo>
                    <a:pt x="248" y="504"/>
                  </a:lnTo>
                  <a:lnTo>
                    <a:pt x="252" y="498"/>
                  </a:lnTo>
                  <a:lnTo>
                    <a:pt x="250" y="492"/>
                  </a:lnTo>
                  <a:lnTo>
                    <a:pt x="254" y="490"/>
                  </a:lnTo>
                  <a:lnTo>
                    <a:pt x="254" y="484"/>
                  </a:lnTo>
                  <a:lnTo>
                    <a:pt x="254" y="478"/>
                  </a:lnTo>
                  <a:lnTo>
                    <a:pt x="250" y="480"/>
                  </a:lnTo>
                  <a:lnTo>
                    <a:pt x="250" y="476"/>
                  </a:lnTo>
                  <a:lnTo>
                    <a:pt x="252" y="474"/>
                  </a:lnTo>
                  <a:lnTo>
                    <a:pt x="256" y="470"/>
                  </a:lnTo>
                  <a:lnTo>
                    <a:pt x="262" y="466"/>
                  </a:lnTo>
                  <a:lnTo>
                    <a:pt x="266" y="462"/>
                  </a:lnTo>
                  <a:lnTo>
                    <a:pt x="272" y="462"/>
                  </a:lnTo>
                  <a:lnTo>
                    <a:pt x="278" y="460"/>
                  </a:lnTo>
                  <a:lnTo>
                    <a:pt x="282" y="458"/>
                  </a:lnTo>
                  <a:lnTo>
                    <a:pt x="288" y="458"/>
                  </a:lnTo>
                  <a:lnTo>
                    <a:pt x="294" y="462"/>
                  </a:lnTo>
                  <a:lnTo>
                    <a:pt x="298" y="466"/>
                  </a:lnTo>
                  <a:lnTo>
                    <a:pt x="302" y="470"/>
                  </a:lnTo>
                  <a:lnTo>
                    <a:pt x="310" y="472"/>
                  </a:lnTo>
                  <a:lnTo>
                    <a:pt x="316" y="476"/>
                  </a:lnTo>
                  <a:lnTo>
                    <a:pt x="318" y="480"/>
                  </a:lnTo>
                  <a:lnTo>
                    <a:pt x="324" y="486"/>
                  </a:lnTo>
                  <a:lnTo>
                    <a:pt x="324" y="492"/>
                  </a:lnTo>
                  <a:lnTo>
                    <a:pt x="324" y="498"/>
                  </a:lnTo>
                  <a:lnTo>
                    <a:pt x="330" y="506"/>
                  </a:lnTo>
                  <a:lnTo>
                    <a:pt x="334" y="514"/>
                  </a:lnTo>
                  <a:lnTo>
                    <a:pt x="338" y="518"/>
                  </a:lnTo>
                  <a:lnTo>
                    <a:pt x="342" y="518"/>
                  </a:lnTo>
                  <a:lnTo>
                    <a:pt x="346" y="518"/>
                  </a:lnTo>
                  <a:lnTo>
                    <a:pt x="354" y="520"/>
                  </a:lnTo>
                  <a:lnTo>
                    <a:pt x="356" y="524"/>
                  </a:lnTo>
                  <a:lnTo>
                    <a:pt x="358" y="528"/>
                  </a:lnTo>
                  <a:lnTo>
                    <a:pt x="360" y="534"/>
                  </a:lnTo>
                  <a:lnTo>
                    <a:pt x="366" y="540"/>
                  </a:lnTo>
                  <a:lnTo>
                    <a:pt x="368" y="544"/>
                  </a:lnTo>
                  <a:lnTo>
                    <a:pt x="366" y="550"/>
                  </a:lnTo>
                  <a:lnTo>
                    <a:pt x="370" y="554"/>
                  </a:lnTo>
                  <a:lnTo>
                    <a:pt x="374" y="556"/>
                  </a:lnTo>
                  <a:lnTo>
                    <a:pt x="380" y="560"/>
                  </a:lnTo>
                  <a:lnTo>
                    <a:pt x="384" y="558"/>
                  </a:lnTo>
                  <a:lnTo>
                    <a:pt x="388" y="556"/>
                  </a:lnTo>
                  <a:lnTo>
                    <a:pt x="392" y="552"/>
                  </a:lnTo>
                  <a:lnTo>
                    <a:pt x="396" y="550"/>
                  </a:lnTo>
                  <a:lnTo>
                    <a:pt x="400" y="550"/>
                  </a:lnTo>
                  <a:lnTo>
                    <a:pt x="404" y="548"/>
                  </a:lnTo>
                  <a:lnTo>
                    <a:pt x="406" y="544"/>
                  </a:lnTo>
                  <a:lnTo>
                    <a:pt x="414" y="542"/>
                  </a:lnTo>
                  <a:lnTo>
                    <a:pt x="410" y="548"/>
                  </a:lnTo>
                  <a:lnTo>
                    <a:pt x="410" y="554"/>
                  </a:lnTo>
                  <a:lnTo>
                    <a:pt x="412" y="556"/>
                  </a:lnTo>
                  <a:lnTo>
                    <a:pt x="412" y="562"/>
                  </a:lnTo>
                  <a:lnTo>
                    <a:pt x="408" y="566"/>
                  </a:lnTo>
                  <a:lnTo>
                    <a:pt x="410" y="570"/>
                  </a:lnTo>
                  <a:lnTo>
                    <a:pt x="408" y="578"/>
                  </a:lnTo>
                  <a:lnTo>
                    <a:pt x="406" y="584"/>
                  </a:lnTo>
                  <a:lnTo>
                    <a:pt x="400" y="588"/>
                  </a:lnTo>
                  <a:lnTo>
                    <a:pt x="398" y="590"/>
                  </a:lnTo>
                  <a:lnTo>
                    <a:pt x="396" y="594"/>
                  </a:lnTo>
                  <a:lnTo>
                    <a:pt x="390" y="596"/>
                  </a:lnTo>
                  <a:lnTo>
                    <a:pt x="388" y="600"/>
                  </a:lnTo>
                  <a:lnTo>
                    <a:pt x="386" y="598"/>
                  </a:lnTo>
                  <a:lnTo>
                    <a:pt x="386" y="602"/>
                  </a:lnTo>
                  <a:lnTo>
                    <a:pt x="386" y="608"/>
                  </a:lnTo>
                  <a:lnTo>
                    <a:pt x="380" y="608"/>
                  </a:lnTo>
                  <a:lnTo>
                    <a:pt x="380" y="606"/>
                  </a:lnTo>
                  <a:lnTo>
                    <a:pt x="380" y="604"/>
                  </a:lnTo>
                  <a:lnTo>
                    <a:pt x="382" y="600"/>
                  </a:lnTo>
                  <a:lnTo>
                    <a:pt x="382" y="598"/>
                  </a:lnTo>
                  <a:lnTo>
                    <a:pt x="378" y="600"/>
                  </a:lnTo>
                  <a:lnTo>
                    <a:pt x="374" y="602"/>
                  </a:lnTo>
                  <a:lnTo>
                    <a:pt x="374" y="608"/>
                  </a:lnTo>
                  <a:lnTo>
                    <a:pt x="372" y="614"/>
                  </a:lnTo>
                  <a:lnTo>
                    <a:pt x="374" y="622"/>
                  </a:lnTo>
                  <a:lnTo>
                    <a:pt x="374" y="626"/>
                  </a:lnTo>
                  <a:lnTo>
                    <a:pt x="370" y="630"/>
                  </a:lnTo>
                  <a:lnTo>
                    <a:pt x="370" y="634"/>
                  </a:lnTo>
                  <a:lnTo>
                    <a:pt x="368" y="636"/>
                  </a:lnTo>
                  <a:lnTo>
                    <a:pt x="370" y="638"/>
                  </a:lnTo>
                  <a:lnTo>
                    <a:pt x="378" y="632"/>
                  </a:lnTo>
                  <a:lnTo>
                    <a:pt x="380" y="626"/>
                  </a:lnTo>
                  <a:lnTo>
                    <a:pt x="390" y="626"/>
                  </a:lnTo>
                  <a:lnTo>
                    <a:pt x="388" y="634"/>
                  </a:lnTo>
                  <a:lnTo>
                    <a:pt x="398" y="640"/>
                  </a:lnTo>
                  <a:lnTo>
                    <a:pt x="402" y="640"/>
                  </a:lnTo>
                  <a:lnTo>
                    <a:pt x="406" y="638"/>
                  </a:lnTo>
                  <a:lnTo>
                    <a:pt x="406" y="634"/>
                  </a:lnTo>
                  <a:lnTo>
                    <a:pt x="412" y="632"/>
                  </a:lnTo>
                  <a:lnTo>
                    <a:pt x="414" y="628"/>
                  </a:lnTo>
                  <a:lnTo>
                    <a:pt x="418" y="622"/>
                  </a:lnTo>
                  <a:lnTo>
                    <a:pt x="420" y="622"/>
                  </a:lnTo>
                  <a:lnTo>
                    <a:pt x="422" y="618"/>
                  </a:lnTo>
                  <a:lnTo>
                    <a:pt x="424" y="612"/>
                  </a:lnTo>
                  <a:lnTo>
                    <a:pt x="428" y="610"/>
                  </a:lnTo>
                  <a:lnTo>
                    <a:pt x="434" y="606"/>
                  </a:lnTo>
                  <a:lnTo>
                    <a:pt x="434" y="602"/>
                  </a:lnTo>
                  <a:lnTo>
                    <a:pt x="436" y="596"/>
                  </a:lnTo>
                  <a:lnTo>
                    <a:pt x="444" y="590"/>
                  </a:lnTo>
                  <a:lnTo>
                    <a:pt x="450" y="584"/>
                  </a:lnTo>
                  <a:lnTo>
                    <a:pt x="454" y="574"/>
                  </a:lnTo>
                  <a:lnTo>
                    <a:pt x="454" y="568"/>
                  </a:lnTo>
                  <a:lnTo>
                    <a:pt x="458" y="564"/>
                  </a:lnTo>
                  <a:lnTo>
                    <a:pt x="462" y="562"/>
                  </a:lnTo>
                  <a:lnTo>
                    <a:pt x="464" y="558"/>
                  </a:lnTo>
                  <a:lnTo>
                    <a:pt x="464" y="552"/>
                  </a:lnTo>
                  <a:lnTo>
                    <a:pt x="470" y="548"/>
                  </a:lnTo>
                  <a:lnTo>
                    <a:pt x="474" y="544"/>
                  </a:lnTo>
                  <a:lnTo>
                    <a:pt x="474" y="540"/>
                  </a:lnTo>
                  <a:lnTo>
                    <a:pt x="474" y="538"/>
                  </a:lnTo>
                  <a:lnTo>
                    <a:pt x="478" y="538"/>
                  </a:lnTo>
                  <a:lnTo>
                    <a:pt x="474" y="532"/>
                  </a:lnTo>
                  <a:lnTo>
                    <a:pt x="478" y="528"/>
                  </a:lnTo>
                  <a:lnTo>
                    <a:pt x="480" y="524"/>
                  </a:lnTo>
                  <a:lnTo>
                    <a:pt x="478" y="516"/>
                  </a:lnTo>
                  <a:lnTo>
                    <a:pt x="476" y="510"/>
                  </a:lnTo>
                  <a:lnTo>
                    <a:pt x="478" y="508"/>
                  </a:lnTo>
                  <a:lnTo>
                    <a:pt x="480" y="504"/>
                  </a:lnTo>
                  <a:lnTo>
                    <a:pt x="478" y="502"/>
                  </a:lnTo>
                  <a:lnTo>
                    <a:pt x="478" y="498"/>
                  </a:lnTo>
                  <a:lnTo>
                    <a:pt x="484" y="496"/>
                  </a:lnTo>
                  <a:lnTo>
                    <a:pt x="486" y="490"/>
                  </a:lnTo>
                  <a:lnTo>
                    <a:pt x="486" y="486"/>
                  </a:lnTo>
                  <a:lnTo>
                    <a:pt x="484" y="474"/>
                  </a:lnTo>
                  <a:lnTo>
                    <a:pt x="492" y="474"/>
                  </a:lnTo>
                  <a:lnTo>
                    <a:pt x="492" y="472"/>
                  </a:lnTo>
                  <a:lnTo>
                    <a:pt x="486" y="470"/>
                  </a:lnTo>
                  <a:lnTo>
                    <a:pt x="486" y="468"/>
                  </a:lnTo>
                  <a:lnTo>
                    <a:pt x="484" y="468"/>
                  </a:lnTo>
                  <a:lnTo>
                    <a:pt x="484" y="470"/>
                  </a:lnTo>
                  <a:lnTo>
                    <a:pt x="482" y="470"/>
                  </a:lnTo>
                  <a:lnTo>
                    <a:pt x="478" y="466"/>
                  </a:lnTo>
                  <a:lnTo>
                    <a:pt x="476" y="460"/>
                  </a:lnTo>
                  <a:lnTo>
                    <a:pt x="472" y="456"/>
                  </a:lnTo>
                  <a:lnTo>
                    <a:pt x="468" y="454"/>
                  </a:lnTo>
                  <a:lnTo>
                    <a:pt x="458" y="452"/>
                  </a:lnTo>
                  <a:lnTo>
                    <a:pt x="456" y="454"/>
                  </a:lnTo>
                  <a:lnTo>
                    <a:pt x="458" y="460"/>
                  </a:lnTo>
                  <a:lnTo>
                    <a:pt x="454" y="460"/>
                  </a:lnTo>
                  <a:lnTo>
                    <a:pt x="456" y="460"/>
                  </a:lnTo>
                  <a:lnTo>
                    <a:pt x="454" y="458"/>
                  </a:lnTo>
                  <a:lnTo>
                    <a:pt x="452" y="458"/>
                  </a:lnTo>
                  <a:lnTo>
                    <a:pt x="450" y="462"/>
                  </a:lnTo>
                  <a:lnTo>
                    <a:pt x="448" y="464"/>
                  </a:lnTo>
                  <a:lnTo>
                    <a:pt x="448" y="466"/>
                  </a:lnTo>
                  <a:lnTo>
                    <a:pt x="444" y="464"/>
                  </a:lnTo>
                  <a:lnTo>
                    <a:pt x="446" y="462"/>
                  </a:lnTo>
                  <a:lnTo>
                    <a:pt x="448" y="456"/>
                  </a:lnTo>
                  <a:lnTo>
                    <a:pt x="446" y="456"/>
                  </a:lnTo>
                  <a:lnTo>
                    <a:pt x="444" y="456"/>
                  </a:lnTo>
                  <a:lnTo>
                    <a:pt x="444" y="454"/>
                  </a:lnTo>
                  <a:lnTo>
                    <a:pt x="442" y="454"/>
                  </a:lnTo>
                  <a:lnTo>
                    <a:pt x="442" y="456"/>
                  </a:lnTo>
                  <a:lnTo>
                    <a:pt x="440" y="456"/>
                  </a:lnTo>
                  <a:lnTo>
                    <a:pt x="440" y="458"/>
                  </a:lnTo>
                  <a:lnTo>
                    <a:pt x="440" y="460"/>
                  </a:lnTo>
                  <a:lnTo>
                    <a:pt x="436" y="460"/>
                  </a:lnTo>
                  <a:lnTo>
                    <a:pt x="436" y="442"/>
                  </a:lnTo>
                  <a:lnTo>
                    <a:pt x="420" y="442"/>
                  </a:lnTo>
                  <a:lnTo>
                    <a:pt x="420" y="438"/>
                  </a:lnTo>
                  <a:lnTo>
                    <a:pt x="422" y="434"/>
                  </a:lnTo>
                  <a:lnTo>
                    <a:pt x="444" y="416"/>
                  </a:lnTo>
                  <a:lnTo>
                    <a:pt x="448" y="416"/>
                  </a:lnTo>
                  <a:lnTo>
                    <a:pt x="448" y="412"/>
                  </a:lnTo>
                  <a:lnTo>
                    <a:pt x="448" y="410"/>
                  </a:lnTo>
                  <a:lnTo>
                    <a:pt x="452" y="408"/>
                  </a:lnTo>
                  <a:lnTo>
                    <a:pt x="454" y="400"/>
                  </a:lnTo>
                  <a:lnTo>
                    <a:pt x="456" y="394"/>
                  </a:lnTo>
                  <a:lnTo>
                    <a:pt x="458" y="396"/>
                  </a:lnTo>
                  <a:lnTo>
                    <a:pt x="460" y="396"/>
                  </a:lnTo>
                  <a:lnTo>
                    <a:pt x="464" y="388"/>
                  </a:lnTo>
                  <a:lnTo>
                    <a:pt x="474" y="384"/>
                  </a:lnTo>
                  <a:lnTo>
                    <a:pt x="474" y="378"/>
                  </a:lnTo>
                  <a:lnTo>
                    <a:pt x="478" y="378"/>
                  </a:lnTo>
                  <a:lnTo>
                    <a:pt x="482" y="378"/>
                  </a:lnTo>
                  <a:lnTo>
                    <a:pt x="484" y="374"/>
                  </a:lnTo>
                  <a:lnTo>
                    <a:pt x="484" y="368"/>
                  </a:lnTo>
                  <a:lnTo>
                    <a:pt x="492" y="358"/>
                  </a:lnTo>
                  <a:lnTo>
                    <a:pt x="502" y="350"/>
                  </a:lnTo>
                  <a:lnTo>
                    <a:pt x="502" y="348"/>
                  </a:lnTo>
                  <a:lnTo>
                    <a:pt x="506" y="348"/>
                  </a:lnTo>
                  <a:lnTo>
                    <a:pt x="506" y="346"/>
                  </a:lnTo>
                  <a:lnTo>
                    <a:pt x="506" y="344"/>
                  </a:lnTo>
                  <a:lnTo>
                    <a:pt x="510" y="344"/>
                  </a:lnTo>
                  <a:lnTo>
                    <a:pt x="512" y="346"/>
                  </a:lnTo>
                  <a:lnTo>
                    <a:pt x="514" y="348"/>
                  </a:lnTo>
                  <a:lnTo>
                    <a:pt x="528" y="348"/>
                  </a:lnTo>
                  <a:lnTo>
                    <a:pt x="542" y="348"/>
                  </a:lnTo>
                  <a:lnTo>
                    <a:pt x="542" y="350"/>
                  </a:lnTo>
                  <a:lnTo>
                    <a:pt x="542" y="352"/>
                  </a:lnTo>
                  <a:lnTo>
                    <a:pt x="542" y="356"/>
                  </a:lnTo>
                  <a:lnTo>
                    <a:pt x="548" y="354"/>
                  </a:lnTo>
                  <a:lnTo>
                    <a:pt x="550" y="348"/>
                  </a:lnTo>
                  <a:lnTo>
                    <a:pt x="556" y="354"/>
                  </a:lnTo>
                  <a:lnTo>
                    <a:pt x="560" y="354"/>
                  </a:lnTo>
                  <a:lnTo>
                    <a:pt x="564" y="354"/>
                  </a:lnTo>
                  <a:lnTo>
                    <a:pt x="570" y="352"/>
                  </a:lnTo>
                  <a:lnTo>
                    <a:pt x="572" y="354"/>
                  </a:lnTo>
                  <a:lnTo>
                    <a:pt x="574" y="356"/>
                  </a:lnTo>
                  <a:lnTo>
                    <a:pt x="578" y="356"/>
                  </a:lnTo>
                  <a:lnTo>
                    <a:pt x="578" y="344"/>
                  </a:lnTo>
                  <a:lnTo>
                    <a:pt x="588" y="344"/>
                  </a:lnTo>
                  <a:lnTo>
                    <a:pt x="598" y="346"/>
                  </a:lnTo>
                  <a:lnTo>
                    <a:pt x="598" y="348"/>
                  </a:lnTo>
                  <a:lnTo>
                    <a:pt x="600" y="348"/>
                  </a:lnTo>
                  <a:lnTo>
                    <a:pt x="600" y="346"/>
                  </a:lnTo>
                  <a:lnTo>
                    <a:pt x="608" y="344"/>
                  </a:lnTo>
                  <a:lnTo>
                    <a:pt x="610" y="352"/>
                  </a:lnTo>
                  <a:lnTo>
                    <a:pt x="614" y="352"/>
                  </a:lnTo>
                  <a:lnTo>
                    <a:pt x="614" y="354"/>
                  </a:lnTo>
                  <a:lnTo>
                    <a:pt x="614" y="356"/>
                  </a:lnTo>
                  <a:lnTo>
                    <a:pt x="602" y="356"/>
                  </a:lnTo>
                  <a:lnTo>
                    <a:pt x="604" y="364"/>
                  </a:lnTo>
                  <a:lnTo>
                    <a:pt x="616" y="364"/>
                  </a:lnTo>
                  <a:lnTo>
                    <a:pt x="616" y="362"/>
                  </a:lnTo>
                  <a:lnTo>
                    <a:pt x="618" y="360"/>
                  </a:lnTo>
                  <a:lnTo>
                    <a:pt x="620" y="362"/>
                  </a:lnTo>
                  <a:lnTo>
                    <a:pt x="624" y="362"/>
                  </a:lnTo>
                  <a:lnTo>
                    <a:pt x="624" y="360"/>
                  </a:lnTo>
                  <a:lnTo>
                    <a:pt x="624" y="358"/>
                  </a:lnTo>
                  <a:lnTo>
                    <a:pt x="626" y="358"/>
                  </a:lnTo>
                  <a:lnTo>
                    <a:pt x="628" y="352"/>
                  </a:lnTo>
                  <a:lnTo>
                    <a:pt x="636" y="352"/>
                  </a:lnTo>
                  <a:lnTo>
                    <a:pt x="644" y="352"/>
                  </a:lnTo>
                  <a:lnTo>
                    <a:pt x="644" y="350"/>
                  </a:lnTo>
                  <a:lnTo>
                    <a:pt x="648" y="350"/>
                  </a:lnTo>
                  <a:lnTo>
                    <a:pt x="646" y="346"/>
                  </a:lnTo>
                  <a:lnTo>
                    <a:pt x="638" y="346"/>
                  </a:lnTo>
                  <a:lnTo>
                    <a:pt x="638" y="348"/>
                  </a:lnTo>
                  <a:lnTo>
                    <a:pt x="636" y="348"/>
                  </a:lnTo>
                  <a:lnTo>
                    <a:pt x="636" y="334"/>
                  </a:lnTo>
                  <a:lnTo>
                    <a:pt x="638" y="336"/>
                  </a:lnTo>
                  <a:lnTo>
                    <a:pt x="640" y="332"/>
                  </a:lnTo>
                  <a:lnTo>
                    <a:pt x="640" y="328"/>
                  </a:lnTo>
                  <a:lnTo>
                    <a:pt x="644" y="326"/>
                  </a:lnTo>
                  <a:lnTo>
                    <a:pt x="650" y="324"/>
                  </a:lnTo>
                  <a:lnTo>
                    <a:pt x="654" y="322"/>
                  </a:lnTo>
                  <a:lnTo>
                    <a:pt x="658" y="320"/>
                  </a:lnTo>
                  <a:lnTo>
                    <a:pt x="658" y="316"/>
                  </a:lnTo>
                  <a:lnTo>
                    <a:pt x="658" y="314"/>
                  </a:lnTo>
                  <a:lnTo>
                    <a:pt x="660" y="314"/>
                  </a:lnTo>
                  <a:lnTo>
                    <a:pt x="664" y="310"/>
                  </a:lnTo>
                  <a:lnTo>
                    <a:pt x="666" y="306"/>
                  </a:lnTo>
                  <a:lnTo>
                    <a:pt x="668" y="306"/>
                  </a:lnTo>
                  <a:lnTo>
                    <a:pt x="672" y="304"/>
                  </a:lnTo>
                  <a:lnTo>
                    <a:pt x="682" y="304"/>
                  </a:lnTo>
                  <a:lnTo>
                    <a:pt x="688" y="302"/>
                  </a:lnTo>
                  <a:lnTo>
                    <a:pt x="690" y="300"/>
                  </a:lnTo>
                  <a:lnTo>
                    <a:pt x="692" y="300"/>
                  </a:lnTo>
                  <a:lnTo>
                    <a:pt x="694" y="306"/>
                  </a:lnTo>
                  <a:lnTo>
                    <a:pt x="700" y="306"/>
                  </a:lnTo>
                  <a:lnTo>
                    <a:pt x="706" y="302"/>
                  </a:lnTo>
                  <a:lnTo>
                    <a:pt x="704" y="310"/>
                  </a:lnTo>
                  <a:lnTo>
                    <a:pt x="702" y="314"/>
                  </a:lnTo>
                  <a:lnTo>
                    <a:pt x="700" y="316"/>
                  </a:lnTo>
                  <a:lnTo>
                    <a:pt x="702" y="318"/>
                  </a:lnTo>
                  <a:lnTo>
                    <a:pt x="702" y="320"/>
                  </a:lnTo>
                  <a:lnTo>
                    <a:pt x="706" y="318"/>
                  </a:lnTo>
                  <a:lnTo>
                    <a:pt x="706" y="322"/>
                  </a:lnTo>
                  <a:lnTo>
                    <a:pt x="706" y="326"/>
                  </a:lnTo>
                  <a:lnTo>
                    <a:pt x="710" y="320"/>
                  </a:lnTo>
                  <a:lnTo>
                    <a:pt x="718" y="312"/>
                  </a:lnTo>
                  <a:lnTo>
                    <a:pt x="726" y="306"/>
                  </a:lnTo>
                  <a:lnTo>
                    <a:pt x="732" y="304"/>
                  </a:lnTo>
                  <a:lnTo>
                    <a:pt x="736" y="304"/>
                  </a:lnTo>
                  <a:lnTo>
                    <a:pt x="736" y="306"/>
                  </a:lnTo>
                  <a:lnTo>
                    <a:pt x="738" y="306"/>
                  </a:lnTo>
                  <a:lnTo>
                    <a:pt x="742" y="306"/>
                  </a:lnTo>
                  <a:lnTo>
                    <a:pt x="740" y="300"/>
                  </a:lnTo>
                  <a:lnTo>
                    <a:pt x="740" y="298"/>
                  </a:lnTo>
                  <a:lnTo>
                    <a:pt x="740" y="296"/>
                  </a:lnTo>
                  <a:lnTo>
                    <a:pt x="738" y="298"/>
                  </a:lnTo>
                  <a:lnTo>
                    <a:pt x="738" y="296"/>
                  </a:lnTo>
                  <a:lnTo>
                    <a:pt x="738" y="292"/>
                  </a:lnTo>
                  <a:lnTo>
                    <a:pt x="746" y="286"/>
                  </a:lnTo>
                  <a:lnTo>
                    <a:pt x="750" y="286"/>
                  </a:lnTo>
                  <a:lnTo>
                    <a:pt x="762" y="290"/>
                  </a:lnTo>
                  <a:lnTo>
                    <a:pt x="762" y="292"/>
                  </a:lnTo>
                  <a:lnTo>
                    <a:pt x="758" y="292"/>
                  </a:lnTo>
                  <a:lnTo>
                    <a:pt x="758" y="290"/>
                  </a:lnTo>
                  <a:lnTo>
                    <a:pt x="756" y="290"/>
                  </a:lnTo>
                  <a:lnTo>
                    <a:pt x="752" y="290"/>
                  </a:lnTo>
                  <a:lnTo>
                    <a:pt x="750" y="292"/>
                  </a:lnTo>
                  <a:lnTo>
                    <a:pt x="748" y="292"/>
                  </a:lnTo>
                  <a:lnTo>
                    <a:pt x="746" y="310"/>
                  </a:lnTo>
                  <a:lnTo>
                    <a:pt x="744" y="320"/>
                  </a:lnTo>
                  <a:lnTo>
                    <a:pt x="742" y="322"/>
                  </a:lnTo>
                  <a:lnTo>
                    <a:pt x="740" y="322"/>
                  </a:lnTo>
                  <a:lnTo>
                    <a:pt x="732" y="322"/>
                  </a:lnTo>
                  <a:lnTo>
                    <a:pt x="722" y="324"/>
                  </a:lnTo>
                  <a:lnTo>
                    <a:pt x="722" y="328"/>
                  </a:lnTo>
                  <a:lnTo>
                    <a:pt x="722" y="334"/>
                  </a:lnTo>
                  <a:lnTo>
                    <a:pt x="720" y="334"/>
                  </a:lnTo>
                  <a:lnTo>
                    <a:pt x="718" y="334"/>
                  </a:lnTo>
                  <a:lnTo>
                    <a:pt x="718" y="338"/>
                  </a:lnTo>
                  <a:lnTo>
                    <a:pt x="718" y="340"/>
                  </a:lnTo>
                  <a:lnTo>
                    <a:pt x="710" y="346"/>
                  </a:lnTo>
                  <a:lnTo>
                    <a:pt x="702" y="352"/>
                  </a:lnTo>
                  <a:lnTo>
                    <a:pt x="694" y="364"/>
                  </a:lnTo>
                  <a:lnTo>
                    <a:pt x="690" y="370"/>
                  </a:lnTo>
                  <a:lnTo>
                    <a:pt x="684" y="374"/>
                  </a:lnTo>
                  <a:lnTo>
                    <a:pt x="682" y="376"/>
                  </a:lnTo>
                  <a:lnTo>
                    <a:pt x="682" y="374"/>
                  </a:lnTo>
                  <a:lnTo>
                    <a:pt x="680" y="374"/>
                  </a:lnTo>
                  <a:lnTo>
                    <a:pt x="678" y="374"/>
                  </a:lnTo>
                  <a:lnTo>
                    <a:pt x="678" y="376"/>
                  </a:lnTo>
                  <a:lnTo>
                    <a:pt x="676" y="378"/>
                  </a:lnTo>
                  <a:lnTo>
                    <a:pt x="670" y="378"/>
                  </a:lnTo>
                  <a:lnTo>
                    <a:pt x="666" y="378"/>
                  </a:lnTo>
                  <a:lnTo>
                    <a:pt x="666" y="382"/>
                  </a:lnTo>
                  <a:lnTo>
                    <a:pt x="668" y="382"/>
                  </a:lnTo>
                  <a:lnTo>
                    <a:pt x="666" y="390"/>
                  </a:lnTo>
                  <a:lnTo>
                    <a:pt x="666" y="394"/>
                  </a:lnTo>
                  <a:lnTo>
                    <a:pt x="662" y="396"/>
                  </a:lnTo>
                  <a:lnTo>
                    <a:pt x="658" y="396"/>
                  </a:lnTo>
                  <a:lnTo>
                    <a:pt x="656" y="398"/>
                  </a:lnTo>
                  <a:lnTo>
                    <a:pt x="654" y="406"/>
                  </a:lnTo>
                  <a:lnTo>
                    <a:pt x="652" y="418"/>
                  </a:lnTo>
                  <a:lnTo>
                    <a:pt x="652" y="432"/>
                  </a:lnTo>
                  <a:lnTo>
                    <a:pt x="654" y="448"/>
                  </a:lnTo>
                  <a:lnTo>
                    <a:pt x="666" y="502"/>
                  </a:lnTo>
                  <a:lnTo>
                    <a:pt x="676" y="494"/>
                  </a:lnTo>
                  <a:lnTo>
                    <a:pt x="684" y="486"/>
                  </a:lnTo>
                  <a:lnTo>
                    <a:pt x="686" y="476"/>
                  </a:lnTo>
                  <a:lnTo>
                    <a:pt x="686" y="472"/>
                  </a:lnTo>
                  <a:lnTo>
                    <a:pt x="688" y="470"/>
                  </a:lnTo>
                  <a:lnTo>
                    <a:pt x="698" y="468"/>
                  </a:lnTo>
                  <a:lnTo>
                    <a:pt x="698" y="456"/>
                  </a:lnTo>
                  <a:lnTo>
                    <a:pt x="698" y="452"/>
                  </a:lnTo>
                  <a:lnTo>
                    <a:pt x="702" y="448"/>
                  </a:lnTo>
                  <a:lnTo>
                    <a:pt x="706" y="446"/>
                  </a:lnTo>
                  <a:lnTo>
                    <a:pt x="706" y="442"/>
                  </a:lnTo>
                  <a:lnTo>
                    <a:pt x="710" y="440"/>
                  </a:lnTo>
                  <a:lnTo>
                    <a:pt x="714" y="442"/>
                  </a:lnTo>
                  <a:lnTo>
                    <a:pt x="716" y="442"/>
                  </a:lnTo>
                  <a:lnTo>
                    <a:pt x="720" y="442"/>
                  </a:lnTo>
                  <a:lnTo>
                    <a:pt x="726" y="436"/>
                  </a:lnTo>
                  <a:lnTo>
                    <a:pt x="720" y="426"/>
                  </a:lnTo>
                  <a:lnTo>
                    <a:pt x="720" y="420"/>
                  </a:lnTo>
                  <a:lnTo>
                    <a:pt x="720" y="416"/>
                  </a:lnTo>
                  <a:lnTo>
                    <a:pt x="722" y="414"/>
                  </a:lnTo>
                  <a:lnTo>
                    <a:pt x="726" y="410"/>
                  </a:lnTo>
                  <a:lnTo>
                    <a:pt x="732" y="408"/>
                  </a:lnTo>
                  <a:lnTo>
                    <a:pt x="738" y="408"/>
                  </a:lnTo>
                  <a:lnTo>
                    <a:pt x="738" y="402"/>
                  </a:lnTo>
                  <a:lnTo>
                    <a:pt x="734" y="402"/>
                  </a:lnTo>
                  <a:lnTo>
                    <a:pt x="732" y="402"/>
                  </a:lnTo>
                  <a:lnTo>
                    <a:pt x="728" y="396"/>
                  </a:lnTo>
                  <a:lnTo>
                    <a:pt x="728" y="390"/>
                  </a:lnTo>
                  <a:lnTo>
                    <a:pt x="730" y="390"/>
                  </a:lnTo>
                  <a:lnTo>
                    <a:pt x="732" y="386"/>
                  </a:lnTo>
                  <a:lnTo>
                    <a:pt x="734" y="386"/>
                  </a:lnTo>
                  <a:lnTo>
                    <a:pt x="734" y="382"/>
                  </a:lnTo>
                  <a:lnTo>
                    <a:pt x="734" y="380"/>
                  </a:lnTo>
                  <a:lnTo>
                    <a:pt x="736" y="380"/>
                  </a:lnTo>
                  <a:lnTo>
                    <a:pt x="736" y="376"/>
                  </a:lnTo>
                  <a:lnTo>
                    <a:pt x="732" y="376"/>
                  </a:lnTo>
                  <a:lnTo>
                    <a:pt x="724" y="374"/>
                  </a:lnTo>
                  <a:lnTo>
                    <a:pt x="724" y="368"/>
                  </a:lnTo>
                  <a:lnTo>
                    <a:pt x="724" y="362"/>
                  </a:lnTo>
                  <a:lnTo>
                    <a:pt x="736" y="352"/>
                  </a:lnTo>
                  <a:lnTo>
                    <a:pt x="736" y="350"/>
                  </a:lnTo>
                  <a:lnTo>
                    <a:pt x="736" y="348"/>
                  </a:lnTo>
                  <a:lnTo>
                    <a:pt x="740" y="348"/>
                  </a:lnTo>
                  <a:lnTo>
                    <a:pt x="740" y="344"/>
                  </a:lnTo>
                  <a:lnTo>
                    <a:pt x="738" y="344"/>
                  </a:lnTo>
                  <a:lnTo>
                    <a:pt x="738" y="342"/>
                  </a:lnTo>
                  <a:lnTo>
                    <a:pt x="740" y="340"/>
                  </a:lnTo>
                  <a:lnTo>
                    <a:pt x="742" y="336"/>
                  </a:lnTo>
                  <a:lnTo>
                    <a:pt x="760" y="338"/>
                  </a:lnTo>
                  <a:lnTo>
                    <a:pt x="760" y="334"/>
                  </a:lnTo>
                  <a:lnTo>
                    <a:pt x="772" y="326"/>
                  </a:lnTo>
                  <a:lnTo>
                    <a:pt x="770" y="334"/>
                  </a:lnTo>
                  <a:lnTo>
                    <a:pt x="770" y="338"/>
                  </a:lnTo>
                  <a:lnTo>
                    <a:pt x="772" y="340"/>
                  </a:lnTo>
                  <a:lnTo>
                    <a:pt x="774" y="340"/>
                  </a:lnTo>
                  <a:lnTo>
                    <a:pt x="774" y="338"/>
                  </a:lnTo>
                  <a:lnTo>
                    <a:pt x="776" y="338"/>
                  </a:lnTo>
                  <a:lnTo>
                    <a:pt x="780" y="332"/>
                  </a:lnTo>
                  <a:lnTo>
                    <a:pt x="784" y="326"/>
                  </a:lnTo>
                  <a:lnTo>
                    <a:pt x="790" y="322"/>
                  </a:lnTo>
                  <a:lnTo>
                    <a:pt x="796" y="322"/>
                  </a:lnTo>
                  <a:lnTo>
                    <a:pt x="802" y="324"/>
                  </a:lnTo>
                  <a:lnTo>
                    <a:pt x="808" y="328"/>
                  </a:lnTo>
                  <a:lnTo>
                    <a:pt x="808" y="334"/>
                  </a:lnTo>
                  <a:lnTo>
                    <a:pt x="814" y="336"/>
                  </a:lnTo>
                  <a:lnTo>
                    <a:pt x="818" y="338"/>
                  </a:lnTo>
                  <a:lnTo>
                    <a:pt x="822" y="330"/>
                  </a:lnTo>
                  <a:lnTo>
                    <a:pt x="828" y="322"/>
                  </a:lnTo>
                  <a:lnTo>
                    <a:pt x="834" y="318"/>
                  </a:lnTo>
                  <a:lnTo>
                    <a:pt x="842" y="314"/>
                  </a:lnTo>
                  <a:lnTo>
                    <a:pt x="842" y="312"/>
                  </a:lnTo>
                  <a:lnTo>
                    <a:pt x="842" y="310"/>
                  </a:lnTo>
                  <a:lnTo>
                    <a:pt x="842" y="308"/>
                  </a:lnTo>
                  <a:lnTo>
                    <a:pt x="844" y="308"/>
                  </a:lnTo>
                  <a:lnTo>
                    <a:pt x="846" y="310"/>
                  </a:lnTo>
                  <a:lnTo>
                    <a:pt x="848" y="310"/>
                  </a:lnTo>
                  <a:lnTo>
                    <a:pt x="850" y="310"/>
                  </a:lnTo>
                  <a:lnTo>
                    <a:pt x="852" y="306"/>
                  </a:lnTo>
                  <a:lnTo>
                    <a:pt x="852" y="304"/>
                  </a:lnTo>
                  <a:lnTo>
                    <a:pt x="850" y="304"/>
                  </a:lnTo>
                  <a:lnTo>
                    <a:pt x="852" y="304"/>
                  </a:lnTo>
                  <a:lnTo>
                    <a:pt x="854" y="304"/>
                  </a:lnTo>
                  <a:lnTo>
                    <a:pt x="854" y="306"/>
                  </a:lnTo>
                  <a:lnTo>
                    <a:pt x="856" y="306"/>
                  </a:lnTo>
                  <a:lnTo>
                    <a:pt x="860" y="300"/>
                  </a:lnTo>
                  <a:lnTo>
                    <a:pt x="866" y="298"/>
                  </a:lnTo>
                  <a:lnTo>
                    <a:pt x="870" y="298"/>
                  </a:lnTo>
                  <a:lnTo>
                    <a:pt x="878" y="294"/>
                  </a:lnTo>
                  <a:lnTo>
                    <a:pt x="886" y="290"/>
                  </a:lnTo>
                  <a:lnTo>
                    <a:pt x="894" y="290"/>
                  </a:lnTo>
                  <a:lnTo>
                    <a:pt x="902" y="292"/>
                  </a:lnTo>
                  <a:lnTo>
                    <a:pt x="908" y="292"/>
                  </a:lnTo>
                  <a:lnTo>
                    <a:pt x="912" y="292"/>
                  </a:lnTo>
                  <a:lnTo>
                    <a:pt x="918" y="288"/>
                  </a:lnTo>
                  <a:lnTo>
                    <a:pt x="916" y="284"/>
                  </a:lnTo>
                  <a:lnTo>
                    <a:pt x="916" y="282"/>
                  </a:lnTo>
                  <a:lnTo>
                    <a:pt x="918" y="280"/>
                  </a:lnTo>
                  <a:lnTo>
                    <a:pt x="916" y="280"/>
                  </a:lnTo>
                  <a:lnTo>
                    <a:pt x="912" y="280"/>
                  </a:lnTo>
                  <a:lnTo>
                    <a:pt x="906" y="260"/>
                  </a:lnTo>
                  <a:lnTo>
                    <a:pt x="904" y="260"/>
                  </a:lnTo>
                  <a:lnTo>
                    <a:pt x="904" y="256"/>
                  </a:lnTo>
                  <a:lnTo>
                    <a:pt x="898" y="258"/>
                  </a:lnTo>
                  <a:lnTo>
                    <a:pt x="900" y="258"/>
                  </a:lnTo>
                  <a:lnTo>
                    <a:pt x="898" y="260"/>
                  </a:lnTo>
                  <a:lnTo>
                    <a:pt x="896" y="260"/>
                  </a:lnTo>
                  <a:lnTo>
                    <a:pt x="896" y="256"/>
                  </a:lnTo>
                  <a:lnTo>
                    <a:pt x="896" y="254"/>
                  </a:lnTo>
                  <a:lnTo>
                    <a:pt x="898" y="252"/>
                  </a:lnTo>
                  <a:lnTo>
                    <a:pt x="890" y="252"/>
                  </a:lnTo>
                  <a:lnTo>
                    <a:pt x="884" y="252"/>
                  </a:lnTo>
                  <a:lnTo>
                    <a:pt x="884" y="248"/>
                  </a:lnTo>
                  <a:lnTo>
                    <a:pt x="896" y="246"/>
                  </a:lnTo>
                  <a:lnTo>
                    <a:pt x="900" y="250"/>
                  </a:lnTo>
                  <a:lnTo>
                    <a:pt x="912" y="250"/>
                  </a:lnTo>
                  <a:lnTo>
                    <a:pt x="922" y="252"/>
                  </a:lnTo>
                  <a:lnTo>
                    <a:pt x="928" y="246"/>
                  </a:lnTo>
                  <a:lnTo>
                    <a:pt x="932" y="238"/>
                  </a:lnTo>
                  <a:lnTo>
                    <a:pt x="932" y="232"/>
                  </a:lnTo>
                  <a:lnTo>
                    <a:pt x="926" y="230"/>
                  </a:lnTo>
                  <a:lnTo>
                    <a:pt x="926" y="226"/>
                  </a:lnTo>
                  <a:lnTo>
                    <a:pt x="928" y="224"/>
                  </a:lnTo>
                  <a:lnTo>
                    <a:pt x="928" y="218"/>
                  </a:lnTo>
                  <a:lnTo>
                    <a:pt x="936" y="216"/>
                  </a:lnTo>
                  <a:lnTo>
                    <a:pt x="934" y="222"/>
                  </a:lnTo>
                  <a:lnTo>
                    <a:pt x="934" y="220"/>
                  </a:lnTo>
                  <a:lnTo>
                    <a:pt x="936" y="222"/>
                  </a:lnTo>
                  <a:lnTo>
                    <a:pt x="938" y="224"/>
                  </a:lnTo>
                  <a:lnTo>
                    <a:pt x="934" y="224"/>
                  </a:lnTo>
                  <a:lnTo>
                    <a:pt x="934" y="226"/>
                  </a:lnTo>
                  <a:lnTo>
                    <a:pt x="936" y="232"/>
                  </a:lnTo>
                  <a:lnTo>
                    <a:pt x="944" y="238"/>
                  </a:lnTo>
                  <a:lnTo>
                    <a:pt x="946" y="238"/>
                  </a:lnTo>
                  <a:lnTo>
                    <a:pt x="944" y="236"/>
                  </a:lnTo>
                  <a:lnTo>
                    <a:pt x="952" y="232"/>
                  </a:lnTo>
                  <a:lnTo>
                    <a:pt x="956" y="230"/>
                  </a:lnTo>
                  <a:lnTo>
                    <a:pt x="962" y="232"/>
                  </a:lnTo>
                  <a:lnTo>
                    <a:pt x="966" y="238"/>
                  </a:lnTo>
                  <a:lnTo>
                    <a:pt x="972" y="240"/>
                  </a:lnTo>
                  <a:lnTo>
                    <a:pt x="972" y="246"/>
                  </a:lnTo>
                  <a:lnTo>
                    <a:pt x="970" y="248"/>
                  </a:lnTo>
                  <a:lnTo>
                    <a:pt x="974" y="250"/>
                  </a:lnTo>
                  <a:lnTo>
                    <a:pt x="980" y="252"/>
                  </a:lnTo>
                  <a:lnTo>
                    <a:pt x="994" y="256"/>
                  </a:lnTo>
                  <a:lnTo>
                    <a:pt x="994" y="260"/>
                  </a:lnTo>
                  <a:lnTo>
                    <a:pt x="1004" y="256"/>
                  </a:lnTo>
                  <a:lnTo>
                    <a:pt x="1004" y="260"/>
                  </a:lnTo>
                  <a:lnTo>
                    <a:pt x="1014" y="260"/>
                  </a:lnTo>
                  <a:lnTo>
                    <a:pt x="1014" y="258"/>
                  </a:lnTo>
                  <a:lnTo>
                    <a:pt x="1008" y="252"/>
                  </a:lnTo>
                  <a:lnTo>
                    <a:pt x="1008" y="248"/>
                  </a:lnTo>
                  <a:lnTo>
                    <a:pt x="1016" y="248"/>
                  </a:lnTo>
                  <a:lnTo>
                    <a:pt x="1016" y="240"/>
                  </a:lnTo>
                  <a:lnTo>
                    <a:pt x="1010" y="242"/>
                  </a:lnTo>
                  <a:lnTo>
                    <a:pt x="1010" y="238"/>
                  </a:lnTo>
                  <a:lnTo>
                    <a:pt x="1008" y="236"/>
                  </a:lnTo>
                  <a:lnTo>
                    <a:pt x="1016" y="236"/>
                  </a:lnTo>
                  <a:lnTo>
                    <a:pt x="1016" y="238"/>
                  </a:lnTo>
                  <a:lnTo>
                    <a:pt x="1018" y="238"/>
                  </a:lnTo>
                  <a:lnTo>
                    <a:pt x="1020" y="238"/>
                  </a:lnTo>
                  <a:lnTo>
                    <a:pt x="1028" y="238"/>
                  </a:lnTo>
                  <a:lnTo>
                    <a:pt x="1028" y="240"/>
                  </a:lnTo>
                  <a:lnTo>
                    <a:pt x="1030" y="240"/>
                  </a:lnTo>
                  <a:lnTo>
                    <a:pt x="1030" y="238"/>
                  </a:lnTo>
                  <a:lnTo>
                    <a:pt x="1028" y="234"/>
                  </a:lnTo>
                  <a:lnTo>
                    <a:pt x="1032" y="234"/>
                  </a:lnTo>
                  <a:lnTo>
                    <a:pt x="1032" y="226"/>
                  </a:lnTo>
                  <a:lnTo>
                    <a:pt x="1036" y="226"/>
                  </a:lnTo>
                  <a:lnTo>
                    <a:pt x="1022" y="220"/>
                  </a:lnTo>
                  <a:lnTo>
                    <a:pt x="1018" y="216"/>
                  </a:lnTo>
                  <a:lnTo>
                    <a:pt x="1016" y="212"/>
                  </a:lnTo>
                  <a:lnTo>
                    <a:pt x="1012" y="206"/>
                  </a:lnTo>
                  <a:lnTo>
                    <a:pt x="1006" y="204"/>
                  </a:lnTo>
                  <a:lnTo>
                    <a:pt x="998" y="204"/>
                  </a:lnTo>
                  <a:lnTo>
                    <a:pt x="988" y="204"/>
                  </a:lnTo>
                  <a:lnTo>
                    <a:pt x="986" y="206"/>
                  </a:lnTo>
                  <a:lnTo>
                    <a:pt x="984" y="208"/>
                  </a:lnTo>
                  <a:lnTo>
                    <a:pt x="986" y="208"/>
                  </a:lnTo>
                  <a:lnTo>
                    <a:pt x="986" y="210"/>
                  </a:lnTo>
                  <a:lnTo>
                    <a:pt x="986" y="212"/>
                  </a:lnTo>
                  <a:lnTo>
                    <a:pt x="980" y="212"/>
                  </a:lnTo>
                  <a:lnTo>
                    <a:pt x="982" y="212"/>
                  </a:lnTo>
                  <a:lnTo>
                    <a:pt x="984" y="210"/>
                  </a:lnTo>
                  <a:lnTo>
                    <a:pt x="982" y="202"/>
                  </a:lnTo>
                  <a:lnTo>
                    <a:pt x="976" y="192"/>
                  </a:lnTo>
                  <a:lnTo>
                    <a:pt x="974" y="194"/>
                  </a:lnTo>
                  <a:lnTo>
                    <a:pt x="972" y="194"/>
                  </a:lnTo>
                  <a:lnTo>
                    <a:pt x="968" y="188"/>
                  </a:lnTo>
                  <a:lnTo>
                    <a:pt x="964" y="188"/>
                  </a:lnTo>
                  <a:lnTo>
                    <a:pt x="958" y="188"/>
                  </a:lnTo>
                  <a:lnTo>
                    <a:pt x="958" y="184"/>
                  </a:lnTo>
                  <a:lnTo>
                    <a:pt x="956" y="182"/>
                  </a:lnTo>
                  <a:lnTo>
                    <a:pt x="952" y="182"/>
                  </a:lnTo>
                  <a:lnTo>
                    <a:pt x="952" y="178"/>
                  </a:lnTo>
                  <a:lnTo>
                    <a:pt x="948" y="178"/>
                  </a:lnTo>
                  <a:lnTo>
                    <a:pt x="944" y="176"/>
                  </a:lnTo>
                  <a:lnTo>
                    <a:pt x="940" y="170"/>
                  </a:lnTo>
                  <a:lnTo>
                    <a:pt x="938" y="168"/>
                  </a:lnTo>
                  <a:lnTo>
                    <a:pt x="936" y="166"/>
                  </a:lnTo>
                  <a:lnTo>
                    <a:pt x="932" y="166"/>
                  </a:lnTo>
                  <a:lnTo>
                    <a:pt x="928" y="166"/>
                  </a:lnTo>
                  <a:lnTo>
                    <a:pt x="916" y="156"/>
                  </a:lnTo>
                  <a:lnTo>
                    <a:pt x="916" y="152"/>
                  </a:lnTo>
                  <a:lnTo>
                    <a:pt x="914" y="150"/>
                  </a:lnTo>
                  <a:lnTo>
                    <a:pt x="908" y="148"/>
                  </a:lnTo>
                  <a:lnTo>
                    <a:pt x="904" y="148"/>
                  </a:lnTo>
                  <a:lnTo>
                    <a:pt x="896" y="150"/>
                  </a:lnTo>
                  <a:lnTo>
                    <a:pt x="894" y="148"/>
                  </a:lnTo>
                  <a:lnTo>
                    <a:pt x="892" y="146"/>
                  </a:lnTo>
                  <a:lnTo>
                    <a:pt x="888" y="142"/>
                  </a:lnTo>
                  <a:lnTo>
                    <a:pt x="884" y="140"/>
                  </a:lnTo>
                  <a:lnTo>
                    <a:pt x="878" y="140"/>
                  </a:lnTo>
                  <a:lnTo>
                    <a:pt x="874" y="134"/>
                  </a:lnTo>
                  <a:lnTo>
                    <a:pt x="868" y="134"/>
                  </a:lnTo>
                  <a:lnTo>
                    <a:pt x="860" y="134"/>
                  </a:lnTo>
                  <a:lnTo>
                    <a:pt x="844" y="136"/>
                  </a:lnTo>
                  <a:lnTo>
                    <a:pt x="842" y="132"/>
                  </a:lnTo>
                  <a:lnTo>
                    <a:pt x="836" y="134"/>
                  </a:lnTo>
                  <a:lnTo>
                    <a:pt x="832" y="134"/>
                  </a:lnTo>
                  <a:lnTo>
                    <a:pt x="828" y="134"/>
                  </a:lnTo>
                  <a:lnTo>
                    <a:pt x="824" y="132"/>
                  </a:lnTo>
                  <a:lnTo>
                    <a:pt x="822" y="130"/>
                  </a:lnTo>
                  <a:lnTo>
                    <a:pt x="820" y="142"/>
                  </a:lnTo>
                  <a:lnTo>
                    <a:pt x="824" y="144"/>
                  </a:lnTo>
                  <a:lnTo>
                    <a:pt x="828" y="146"/>
                  </a:lnTo>
                  <a:lnTo>
                    <a:pt x="826" y="148"/>
                  </a:lnTo>
                  <a:lnTo>
                    <a:pt x="826" y="150"/>
                  </a:lnTo>
                  <a:lnTo>
                    <a:pt x="828" y="156"/>
                  </a:lnTo>
                  <a:lnTo>
                    <a:pt x="824" y="156"/>
                  </a:lnTo>
                  <a:lnTo>
                    <a:pt x="818" y="164"/>
                  </a:lnTo>
                  <a:lnTo>
                    <a:pt x="814" y="162"/>
                  </a:lnTo>
                  <a:lnTo>
                    <a:pt x="812" y="166"/>
                  </a:lnTo>
                  <a:lnTo>
                    <a:pt x="802" y="166"/>
                  </a:lnTo>
                  <a:lnTo>
                    <a:pt x="802" y="160"/>
                  </a:lnTo>
                  <a:lnTo>
                    <a:pt x="802" y="154"/>
                  </a:lnTo>
                  <a:lnTo>
                    <a:pt x="796" y="152"/>
                  </a:lnTo>
                  <a:lnTo>
                    <a:pt x="796" y="150"/>
                  </a:lnTo>
                  <a:lnTo>
                    <a:pt x="796" y="148"/>
                  </a:lnTo>
                  <a:lnTo>
                    <a:pt x="796" y="142"/>
                  </a:lnTo>
                  <a:lnTo>
                    <a:pt x="790" y="148"/>
                  </a:lnTo>
                  <a:lnTo>
                    <a:pt x="782" y="150"/>
                  </a:lnTo>
                  <a:lnTo>
                    <a:pt x="778" y="150"/>
                  </a:lnTo>
                  <a:lnTo>
                    <a:pt x="778" y="148"/>
                  </a:lnTo>
                  <a:lnTo>
                    <a:pt x="778" y="146"/>
                  </a:lnTo>
                  <a:lnTo>
                    <a:pt x="770" y="144"/>
                  </a:lnTo>
                  <a:lnTo>
                    <a:pt x="766" y="144"/>
                  </a:lnTo>
                  <a:lnTo>
                    <a:pt x="760" y="144"/>
                  </a:lnTo>
                  <a:lnTo>
                    <a:pt x="758" y="146"/>
                  </a:lnTo>
                  <a:lnTo>
                    <a:pt x="756" y="148"/>
                  </a:lnTo>
                  <a:lnTo>
                    <a:pt x="754" y="146"/>
                  </a:lnTo>
                  <a:lnTo>
                    <a:pt x="754" y="142"/>
                  </a:lnTo>
                  <a:lnTo>
                    <a:pt x="738" y="144"/>
                  </a:lnTo>
                  <a:lnTo>
                    <a:pt x="726" y="144"/>
                  </a:lnTo>
                  <a:lnTo>
                    <a:pt x="722" y="146"/>
                  </a:lnTo>
                  <a:lnTo>
                    <a:pt x="718" y="150"/>
                  </a:lnTo>
                  <a:lnTo>
                    <a:pt x="716" y="156"/>
                  </a:lnTo>
                  <a:lnTo>
                    <a:pt x="714" y="162"/>
                  </a:lnTo>
                  <a:lnTo>
                    <a:pt x="708" y="146"/>
                  </a:lnTo>
                  <a:lnTo>
                    <a:pt x="704" y="146"/>
                  </a:lnTo>
                  <a:lnTo>
                    <a:pt x="702" y="144"/>
                  </a:lnTo>
                  <a:lnTo>
                    <a:pt x="702" y="140"/>
                  </a:lnTo>
                  <a:lnTo>
                    <a:pt x="704" y="138"/>
                  </a:lnTo>
                  <a:lnTo>
                    <a:pt x="702" y="136"/>
                  </a:lnTo>
                  <a:lnTo>
                    <a:pt x="704" y="136"/>
                  </a:lnTo>
                  <a:lnTo>
                    <a:pt x="706" y="134"/>
                  </a:lnTo>
                  <a:lnTo>
                    <a:pt x="694" y="128"/>
                  </a:lnTo>
                  <a:lnTo>
                    <a:pt x="692" y="122"/>
                  </a:lnTo>
                  <a:lnTo>
                    <a:pt x="688" y="120"/>
                  </a:lnTo>
                  <a:lnTo>
                    <a:pt x="682" y="120"/>
                  </a:lnTo>
                  <a:lnTo>
                    <a:pt x="678" y="116"/>
                  </a:lnTo>
                  <a:lnTo>
                    <a:pt x="662" y="122"/>
                  </a:lnTo>
                  <a:lnTo>
                    <a:pt x="660" y="120"/>
                  </a:lnTo>
                  <a:lnTo>
                    <a:pt x="658" y="118"/>
                  </a:lnTo>
                  <a:lnTo>
                    <a:pt x="642" y="118"/>
                  </a:lnTo>
                  <a:lnTo>
                    <a:pt x="638" y="122"/>
                  </a:lnTo>
                  <a:lnTo>
                    <a:pt x="632" y="122"/>
                  </a:lnTo>
                  <a:lnTo>
                    <a:pt x="630" y="122"/>
                  </a:lnTo>
                  <a:lnTo>
                    <a:pt x="622" y="120"/>
                  </a:lnTo>
                  <a:lnTo>
                    <a:pt x="618" y="124"/>
                  </a:lnTo>
                  <a:lnTo>
                    <a:pt x="606" y="126"/>
                  </a:lnTo>
                  <a:lnTo>
                    <a:pt x="592" y="126"/>
                  </a:lnTo>
                  <a:lnTo>
                    <a:pt x="572" y="124"/>
                  </a:lnTo>
                  <a:lnTo>
                    <a:pt x="574" y="122"/>
                  </a:lnTo>
                  <a:lnTo>
                    <a:pt x="576" y="120"/>
                  </a:lnTo>
                  <a:lnTo>
                    <a:pt x="578" y="122"/>
                  </a:lnTo>
                  <a:lnTo>
                    <a:pt x="580" y="122"/>
                  </a:lnTo>
                  <a:lnTo>
                    <a:pt x="584" y="122"/>
                  </a:lnTo>
                  <a:lnTo>
                    <a:pt x="596" y="110"/>
                  </a:lnTo>
                  <a:lnTo>
                    <a:pt x="598" y="104"/>
                  </a:lnTo>
                  <a:lnTo>
                    <a:pt x="594" y="106"/>
                  </a:lnTo>
                  <a:lnTo>
                    <a:pt x="588" y="112"/>
                  </a:lnTo>
                  <a:lnTo>
                    <a:pt x="588" y="114"/>
                  </a:lnTo>
                  <a:lnTo>
                    <a:pt x="586" y="114"/>
                  </a:lnTo>
                  <a:lnTo>
                    <a:pt x="584" y="114"/>
                  </a:lnTo>
                  <a:lnTo>
                    <a:pt x="576" y="110"/>
                  </a:lnTo>
                  <a:lnTo>
                    <a:pt x="576" y="108"/>
                  </a:lnTo>
                  <a:lnTo>
                    <a:pt x="576" y="106"/>
                  </a:lnTo>
                  <a:lnTo>
                    <a:pt x="578" y="106"/>
                  </a:lnTo>
                  <a:lnTo>
                    <a:pt x="580" y="106"/>
                  </a:lnTo>
                  <a:lnTo>
                    <a:pt x="584" y="108"/>
                  </a:lnTo>
                  <a:lnTo>
                    <a:pt x="588" y="100"/>
                  </a:lnTo>
                  <a:lnTo>
                    <a:pt x="578" y="94"/>
                  </a:lnTo>
                  <a:lnTo>
                    <a:pt x="568" y="90"/>
                  </a:lnTo>
                  <a:lnTo>
                    <a:pt x="564" y="92"/>
                  </a:lnTo>
                  <a:lnTo>
                    <a:pt x="556" y="92"/>
                  </a:lnTo>
                  <a:lnTo>
                    <a:pt x="554" y="92"/>
                  </a:lnTo>
                  <a:lnTo>
                    <a:pt x="550" y="94"/>
                  </a:lnTo>
                  <a:lnTo>
                    <a:pt x="550" y="100"/>
                  </a:lnTo>
                  <a:lnTo>
                    <a:pt x="546" y="108"/>
                  </a:lnTo>
                  <a:lnTo>
                    <a:pt x="542" y="112"/>
                  </a:lnTo>
                  <a:lnTo>
                    <a:pt x="538" y="114"/>
                  </a:lnTo>
                  <a:lnTo>
                    <a:pt x="532" y="114"/>
                  </a:lnTo>
                  <a:lnTo>
                    <a:pt x="530" y="114"/>
                  </a:lnTo>
                  <a:lnTo>
                    <a:pt x="530" y="112"/>
                  </a:lnTo>
                  <a:lnTo>
                    <a:pt x="536" y="108"/>
                  </a:lnTo>
                  <a:lnTo>
                    <a:pt x="534" y="106"/>
                  </a:lnTo>
                  <a:lnTo>
                    <a:pt x="532" y="104"/>
                  </a:lnTo>
                  <a:lnTo>
                    <a:pt x="542" y="98"/>
                  </a:lnTo>
                  <a:lnTo>
                    <a:pt x="542" y="96"/>
                  </a:lnTo>
                  <a:lnTo>
                    <a:pt x="542" y="100"/>
                  </a:lnTo>
                  <a:lnTo>
                    <a:pt x="546" y="102"/>
                  </a:lnTo>
                  <a:lnTo>
                    <a:pt x="546" y="100"/>
                  </a:lnTo>
                  <a:lnTo>
                    <a:pt x="546" y="98"/>
                  </a:lnTo>
                  <a:lnTo>
                    <a:pt x="548" y="94"/>
                  </a:lnTo>
                  <a:lnTo>
                    <a:pt x="524" y="96"/>
                  </a:lnTo>
                  <a:lnTo>
                    <a:pt x="522" y="88"/>
                  </a:lnTo>
                  <a:lnTo>
                    <a:pt x="534" y="88"/>
                  </a:lnTo>
                  <a:lnTo>
                    <a:pt x="536" y="88"/>
                  </a:lnTo>
                  <a:lnTo>
                    <a:pt x="530" y="86"/>
                  </a:lnTo>
                  <a:lnTo>
                    <a:pt x="520" y="84"/>
                  </a:lnTo>
                  <a:lnTo>
                    <a:pt x="508" y="84"/>
                  </a:lnTo>
                  <a:lnTo>
                    <a:pt x="498" y="82"/>
                  </a:lnTo>
                  <a:lnTo>
                    <a:pt x="488" y="80"/>
                  </a:lnTo>
                  <a:lnTo>
                    <a:pt x="486" y="74"/>
                  </a:lnTo>
                  <a:lnTo>
                    <a:pt x="482" y="74"/>
                  </a:lnTo>
                  <a:lnTo>
                    <a:pt x="478" y="74"/>
                  </a:lnTo>
                  <a:lnTo>
                    <a:pt x="478" y="78"/>
                  </a:lnTo>
                  <a:lnTo>
                    <a:pt x="482" y="78"/>
                  </a:lnTo>
                  <a:lnTo>
                    <a:pt x="482" y="80"/>
                  </a:lnTo>
                  <a:lnTo>
                    <a:pt x="482" y="82"/>
                  </a:lnTo>
                  <a:lnTo>
                    <a:pt x="484" y="84"/>
                  </a:lnTo>
                  <a:lnTo>
                    <a:pt x="472" y="84"/>
                  </a:lnTo>
                  <a:lnTo>
                    <a:pt x="470" y="88"/>
                  </a:lnTo>
                  <a:lnTo>
                    <a:pt x="472" y="90"/>
                  </a:lnTo>
                  <a:lnTo>
                    <a:pt x="474" y="90"/>
                  </a:lnTo>
                  <a:lnTo>
                    <a:pt x="474" y="92"/>
                  </a:lnTo>
                  <a:lnTo>
                    <a:pt x="470" y="92"/>
                  </a:lnTo>
                  <a:lnTo>
                    <a:pt x="468" y="96"/>
                  </a:lnTo>
                  <a:lnTo>
                    <a:pt x="468" y="100"/>
                  </a:lnTo>
                  <a:lnTo>
                    <a:pt x="470" y="100"/>
                  </a:lnTo>
                  <a:lnTo>
                    <a:pt x="472" y="104"/>
                  </a:lnTo>
                  <a:lnTo>
                    <a:pt x="474" y="106"/>
                  </a:lnTo>
                  <a:lnTo>
                    <a:pt x="474" y="108"/>
                  </a:lnTo>
                  <a:lnTo>
                    <a:pt x="472" y="110"/>
                  </a:lnTo>
                  <a:lnTo>
                    <a:pt x="466" y="112"/>
                  </a:lnTo>
                  <a:lnTo>
                    <a:pt x="464" y="110"/>
                  </a:lnTo>
                  <a:lnTo>
                    <a:pt x="466" y="112"/>
                  </a:lnTo>
                  <a:lnTo>
                    <a:pt x="464" y="112"/>
                  </a:lnTo>
                  <a:lnTo>
                    <a:pt x="462" y="112"/>
                  </a:lnTo>
                  <a:lnTo>
                    <a:pt x="462" y="104"/>
                  </a:lnTo>
                  <a:lnTo>
                    <a:pt x="456" y="104"/>
                  </a:lnTo>
                  <a:lnTo>
                    <a:pt x="454" y="106"/>
                  </a:lnTo>
                  <a:lnTo>
                    <a:pt x="454" y="110"/>
                  </a:lnTo>
                  <a:lnTo>
                    <a:pt x="452" y="116"/>
                  </a:lnTo>
                  <a:lnTo>
                    <a:pt x="450" y="116"/>
                  </a:lnTo>
                  <a:lnTo>
                    <a:pt x="446" y="116"/>
                  </a:lnTo>
                  <a:lnTo>
                    <a:pt x="442" y="116"/>
                  </a:lnTo>
                  <a:lnTo>
                    <a:pt x="438" y="112"/>
                  </a:lnTo>
                  <a:lnTo>
                    <a:pt x="434" y="108"/>
                  </a:lnTo>
                  <a:lnTo>
                    <a:pt x="428" y="106"/>
                  </a:lnTo>
                  <a:lnTo>
                    <a:pt x="420" y="104"/>
                  </a:lnTo>
                  <a:lnTo>
                    <a:pt x="420" y="102"/>
                  </a:lnTo>
                  <a:lnTo>
                    <a:pt x="414" y="102"/>
                  </a:lnTo>
                  <a:lnTo>
                    <a:pt x="406" y="108"/>
                  </a:lnTo>
                  <a:lnTo>
                    <a:pt x="400" y="110"/>
                  </a:lnTo>
                  <a:lnTo>
                    <a:pt x="394" y="112"/>
                  </a:lnTo>
                  <a:lnTo>
                    <a:pt x="394" y="108"/>
                  </a:lnTo>
                  <a:lnTo>
                    <a:pt x="396" y="108"/>
                  </a:lnTo>
                  <a:lnTo>
                    <a:pt x="396" y="106"/>
                  </a:lnTo>
                  <a:lnTo>
                    <a:pt x="396" y="102"/>
                  </a:lnTo>
                  <a:lnTo>
                    <a:pt x="394" y="102"/>
                  </a:lnTo>
                  <a:lnTo>
                    <a:pt x="390" y="96"/>
                  </a:lnTo>
                  <a:lnTo>
                    <a:pt x="386" y="114"/>
                  </a:lnTo>
                  <a:lnTo>
                    <a:pt x="382" y="124"/>
                  </a:lnTo>
                  <a:lnTo>
                    <a:pt x="380" y="128"/>
                  </a:lnTo>
                  <a:lnTo>
                    <a:pt x="378" y="130"/>
                  </a:lnTo>
                  <a:lnTo>
                    <a:pt x="374" y="130"/>
                  </a:lnTo>
                  <a:lnTo>
                    <a:pt x="372" y="126"/>
                  </a:lnTo>
                  <a:lnTo>
                    <a:pt x="374" y="122"/>
                  </a:lnTo>
                  <a:lnTo>
                    <a:pt x="376" y="122"/>
                  </a:lnTo>
                  <a:lnTo>
                    <a:pt x="376" y="118"/>
                  </a:lnTo>
                  <a:lnTo>
                    <a:pt x="374" y="118"/>
                  </a:lnTo>
                  <a:lnTo>
                    <a:pt x="374" y="120"/>
                  </a:lnTo>
                  <a:lnTo>
                    <a:pt x="372" y="120"/>
                  </a:lnTo>
                  <a:lnTo>
                    <a:pt x="370" y="120"/>
                  </a:lnTo>
                  <a:lnTo>
                    <a:pt x="366" y="116"/>
                  </a:lnTo>
                  <a:lnTo>
                    <a:pt x="358" y="116"/>
                  </a:lnTo>
                  <a:lnTo>
                    <a:pt x="352" y="108"/>
                  </a:lnTo>
                  <a:lnTo>
                    <a:pt x="348" y="110"/>
                  </a:lnTo>
                  <a:lnTo>
                    <a:pt x="346" y="110"/>
                  </a:lnTo>
                  <a:lnTo>
                    <a:pt x="346" y="104"/>
                  </a:lnTo>
                  <a:lnTo>
                    <a:pt x="352" y="104"/>
                  </a:lnTo>
                  <a:lnTo>
                    <a:pt x="352" y="102"/>
                  </a:lnTo>
                  <a:lnTo>
                    <a:pt x="350" y="102"/>
                  </a:lnTo>
                  <a:lnTo>
                    <a:pt x="348" y="102"/>
                  </a:lnTo>
                  <a:lnTo>
                    <a:pt x="342" y="102"/>
                  </a:lnTo>
                  <a:lnTo>
                    <a:pt x="340" y="96"/>
                  </a:lnTo>
                  <a:lnTo>
                    <a:pt x="334" y="92"/>
                  </a:lnTo>
                  <a:lnTo>
                    <a:pt x="326" y="88"/>
                  </a:lnTo>
                  <a:lnTo>
                    <a:pt x="324" y="98"/>
                  </a:lnTo>
                  <a:lnTo>
                    <a:pt x="322" y="96"/>
                  </a:lnTo>
                  <a:lnTo>
                    <a:pt x="322" y="94"/>
                  </a:lnTo>
                  <a:lnTo>
                    <a:pt x="324" y="88"/>
                  </a:lnTo>
                  <a:lnTo>
                    <a:pt x="324" y="86"/>
                  </a:lnTo>
                  <a:lnTo>
                    <a:pt x="322" y="86"/>
                  </a:lnTo>
                  <a:lnTo>
                    <a:pt x="320" y="86"/>
                  </a:lnTo>
                  <a:lnTo>
                    <a:pt x="320" y="90"/>
                  </a:lnTo>
                  <a:lnTo>
                    <a:pt x="312" y="90"/>
                  </a:lnTo>
                  <a:lnTo>
                    <a:pt x="316" y="90"/>
                  </a:lnTo>
                  <a:lnTo>
                    <a:pt x="316" y="86"/>
                  </a:lnTo>
                  <a:lnTo>
                    <a:pt x="316" y="84"/>
                  </a:lnTo>
                  <a:lnTo>
                    <a:pt x="312" y="84"/>
                  </a:lnTo>
                  <a:lnTo>
                    <a:pt x="308" y="84"/>
                  </a:lnTo>
                  <a:lnTo>
                    <a:pt x="304" y="88"/>
                  </a:lnTo>
                  <a:lnTo>
                    <a:pt x="302" y="84"/>
                  </a:lnTo>
                  <a:lnTo>
                    <a:pt x="300" y="82"/>
                  </a:lnTo>
                  <a:lnTo>
                    <a:pt x="302" y="82"/>
                  </a:lnTo>
                  <a:lnTo>
                    <a:pt x="300" y="80"/>
                  </a:lnTo>
                  <a:lnTo>
                    <a:pt x="302" y="80"/>
                  </a:lnTo>
                  <a:lnTo>
                    <a:pt x="304" y="80"/>
                  </a:lnTo>
                  <a:lnTo>
                    <a:pt x="300" y="80"/>
                  </a:lnTo>
                  <a:lnTo>
                    <a:pt x="298" y="78"/>
                  </a:lnTo>
                  <a:lnTo>
                    <a:pt x="300" y="76"/>
                  </a:lnTo>
                  <a:lnTo>
                    <a:pt x="300" y="74"/>
                  </a:lnTo>
                  <a:lnTo>
                    <a:pt x="306" y="72"/>
                  </a:lnTo>
                  <a:lnTo>
                    <a:pt x="312" y="70"/>
                  </a:lnTo>
                  <a:lnTo>
                    <a:pt x="316" y="64"/>
                  </a:lnTo>
                  <a:lnTo>
                    <a:pt x="320" y="60"/>
                  </a:lnTo>
                  <a:lnTo>
                    <a:pt x="312" y="58"/>
                  </a:lnTo>
                  <a:lnTo>
                    <a:pt x="308" y="56"/>
                  </a:lnTo>
                  <a:lnTo>
                    <a:pt x="304" y="52"/>
                  </a:lnTo>
                  <a:lnTo>
                    <a:pt x="298" y="48"/>
                  </a:lnTo>
                  <a:lnTo>
                    <a:pt x="294" y="48"/>
                  </a:lnTo>
                  <a:lnTo>
                    <a:pt x="290" y="50"/>
                  </a:lnTo>
                  <a:lnTo>
                    <a:pt x="284" y="52"/>
                  </a:lnTo>
                  <a:lnTo>
                    <a:pt x="282" y="52"/>
                  </a:lnTo>
                  <a:lnTo>
                    <a:pt x="280" y="52"/>
                  </a:lnTo>
                  <a:lnTo>
                    <a:pt x="278" y="60"/>
                  </a:lnTo>
                  <a:lnTo>
                    <a:pt x="280" y="62"/>
                  </a:lnTo>
                  <a:lnTo>
                    <a:pt x="284" y="64"/>
                  </a:lnTo>
                  <a:lnTo>
                    <a:pt x="284" y="68"/>
                  </a:lnTo>
                  <a:lnTo>
                    <a:pt x="290" y="70"/>
                  </a:lnTo>
                  <a:lnTo>
                    <a:pt x="296" y="70"/>
                  </a:lnTo>
                  <a:lnTo>
                    <a:pt x="294" y="72"/>
                  </a:lnTo>
                  <a:lnTo>
                    <a:pt x="294" y="74"/>
                  </a:lnTo>
                  <a:lnTo>
                    <a:pt x="292" y="74"/>
                  </a:lnTo>
                  <a:lnTo>
                    <a:pt x="294" y="76"/>
                  </a:lnTo>
                  <a:lnTo>
                    <a:pt x="294" y="78"/>
                  </a:lnTo>
                  <a:lnTo>
                    <a:pt x="292" y="78"/>
                  </a:lnTo>
                  <a:lnTo>
                    <a:pt x="286" y="76"/>
                  </a:lnTo>
                  <a:lnTo>
                    <a:pt x="288" y="82"/>
                  </a:lnTo>
                  <a:lnTo>
                    <a:pt x="282" y="82"/>
                  </a:lnTo>
                  <a:lnTo>
                    <a:pt x="276" y="80"/>
                  </a:lnTo>
                  <a:lnTo>
                    <a:pt x="270" y="76"/>
                  </a:lnTo>
                  <a:lnTo>
                    <a:pt x="264" y="74"/>
                  </a:lnTo>
                  <a:lnTo>
                    <a:pt x="258" y="74"/>
                  </a:lnTo>
                  <a:lnTo>
                    <a:pt x="254" y="76"/>
                  </a:lnTo>
                  <a:lnTo>
                    <a:pt x="248" y="76"/>
                  </a:lnTo>
                  <a:lnTo>
                    <a:pt x="244" y="76"/>
                  </a:lnTo>
                  <a:lnTo>
                    <a:pt x="242" y="74"/>
                  </a:lnTo>
                  <a:lnTo>
                    <a:pt x="230" y="72"/>
                  </a:lnTo>
                  <a:lnTo>
                    <a:pt x="228" y="70"/>
                  </a:lnTo>
                  <a:lnTo>
                    <a:pt x="226" y="68"/>
                  </a:lnTo>
                  <a:lnTo>
                    <a:pt x="226" y="66"/>
                  </a:lnTo>
                  <a:lnTo>
                    <a:pt x="228" y="62"/>
                  </a:lnTo>
                  <a:lnTo>
                    <a:pt x="228" y="60"/>
                  </a:lnTo>
                  <a:lnTo>
                    <a:pt x="226" y="56"/>
                  </a:lnTo>
                  <a:lnTo>
                    <a:pt x="218" y="56"/>
                  </a:lnTo>
                  <a:lnTo>
                    <a:pt x="208" y="58"/>
                  </a:lnTo>
                  <a:lnTo>
                    <a:pt x="206" y="54"/>
                  </a:lnTo>
                  <a:lnTo>
                    <a:pt x="204" y="54"/>
                  </a:lnTo>
                  <a:lnTo>
                    <a:pt x="200" y="56"/>
                  </a:lnTo>
                  <a:lnTo>
                    <a:pt x="194" y="52"/>
                  </a:lnTo>
                  <a:lnTo>
                    <a:pt x="188" y="54"/>
                  </a:lnTo>
                  <a:lnTo>
                    <a:pt x="180" y="58"/>
                  </a:lnTo>
                  <a:lnTo>
                    <a:pt x="174" y="62"/>
                  </a:lnTo>
                  <a:lnTo>
                    <a:pt x="170" y="66"/>
                  </a:lnTo>
                  <a:lnTo>
                    <a:pt x="170" y="72"/>
                  </a:lnTo>
                  <a:lnTo>
                    <a:pt x="168" y="72"/>
                  </a:lnTo>
                  <a:lnTo>
                    <a:pt x="168" y="70"/>
                  </a:lnTo>
                  <a:lnTo>
                    <a:pt x="168" y="66"/>
                  </a:lnTo>
                  <a:lnTo>
                    <a:pt x="168" y="58"/>
                  </a:lnTo>
                  <a:lnTo>
                    <a:pt x="166" y="58"/>
                  </a:lnTo>
                  <a:lnTo>
                    <a:pt x="164" y="56"/>
                  </a:lnTo>
                  <a:lnTo>
                    <a:pt x="162" y="56"/>
                  </a:lnTo>
                  <a:lnTo>
                    <a:pt x="162" y="62"/>
                  </a:lnTo>
                  <a:lnTo>
                    <a:pt x="150" y="60"/>
                  </a:lnTo>
                  <a:lnTo>
                    <a:pt x="146" y="58"/>
                  </a:lnTo>
                  <a:lnTo>
                    <a:pt x="144" y="52"/>
                  </a:lnTo>
                  <a:lnTo>
                    <a:pt x="144" y="54"/>
                  </a:lnTo>
                  <a:lnTo>
                    <a:pt x="142" y="58"/>
                  </a:lnTo>
                  <a:lnTo>
                    <a:pt x="134" y="54"/>
                  </a:lnTo>
                  <a:lnTo>
                    <a:pt x="130" y="62"/>
                  </a:lnTo>
                  <a:lnTo>
                    <a:pt x="130" y="66"/>
                  </a:lnTo>
                  <a:lnTo>
                    <a:pt x="134" y="68"/>
                  </a:lnTo>
                  <a:lnTo>
                    <a:pt x="134" y="70"/>
                  </a:lnTo>
                  <a:lnTo>
                    <a:pt x="134" y="72"/>
                  </a:lnTo>
                  <a:lnTo>
                    <a:pt x="124" y="68"/>
                  </a:lnTo>
                  <a:lnTo>
                    <a:pt x="126" y="72"/>
                  </a:lnTo>
                  <a:lnTo>
                    <a:pt x="126" y="74"/>
                  </a:lnTo>
                  <a:lnTo>
                    <a:pt x="124" y="74"/>
                  </a:lnTo>
                  <a:lnTo>
                    <a:pt x="118" y="78"/>
                  </a:lnTo>
                  <a:lnTo>
                    <a:pt x="112" y="78"/>
                  </a:lnTo>
                  <a:lnTo>
                    <a:pt x="106" y="78"/>
                  </a:lnTo>
                  <a:lnTo>
                    <a:pt x="98" y="78"/>
                  </a:lnTo>
                  <a:lnTo>
                    <a:pt x="96" y="84"/>
                  </a:lnTo>
                  <a:lnTo>
                    <a:pt x="0" y="48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27" name="Freeform 489">
              <a:extLst>
                <a:ext uri="{FF2B5EF4-FFF2-40B4-BE49-F238E27FC236}">
                  <a16:creationId xmlns:a16="http://schemas.microsoft.com/office/drawing/2014/main" id="{F2535A38-8EDD-4302-B2D3-BCBFCFF7C1DE}"/>
                </a:ext>
              </a:extLst>
            </p:cNvPr>
            <p:cNvSpPr>
              <a:spLocks/>
            </p:cNvSpPr>
            <p:nvPr/>
          </p:nvSpPr>
          <p:spPr bwMode="gray">
            <a:xfrm>
              <a:off x="2921851" y="5475420"/>
              <a:ext cx="9417" cy="18834"/>
            </a:xfrm>
            <a:custGeom>
              <a:avLst/>
              <a:gdLst>
                <a:gd name="T0" fmla="*/ 0 w 6"/>
                <a:gd name="T1" fmla="*/ 0 h 10"/>
                <a:gd name="T2" fmla="*/ 0 w 6"/>
                <a:gd name="T3" fmla="*/ 2147483647 h 10"/>
                <a:gd name="T4" fmla="*/ 0 w 6"/>
                <a:gd name="T5" fmla="*/ 2147483647 h 10"/>
                <a:gd name="T6" fmla="*/ 2147483647 w 6"/>
                <a:gd name="T7" fmla="*/ 2147483647 h 10"/>
                <a:gd name="T8" fmla="*/ 2147483647 w 6"/>
                <a:gd name="T9" fmla="*/ 2147483647 h 10"/>
                <a:gd name="T10" fmla="*/ 2147483647 w 6"/>
                <a:gd name="T11" fmla="*/ 2147483647 h 10"/>
                <a:gd name="T12" fmla="*/ 2147483647 w 6"/>
                <a:gd name="T13" fmla="*/ 2147483647 h 10"/>
                <a:gd name="T14" fmla="*/ 2147483647 w 6"/>
                <a:gd name="T15" fmla="*/ 2147483647 h 10"/>
                <a:gd name="T16" fmla="*/ 0 w 6"/>
                <a:gd name="T17" fmla="*/ 0 h 10"/>
                <a:gd name="T18" fmla="*/ 0 w 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0"/>
                <a:gd name="T32" fmla="*/ 6 w 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0">
                  <a:moveTo>
                    <a:pt x="0" y="0"/>
                  </a:moveTo>
                  <a:lnTo>
                    <a:pt x="0" y="8"/>
                  </a:lnTo>
                  <a:lnTo>
                    <a:pt x="2" y="8"/>
                  </a:lnTo>
                  <a:lnTo>
                    <a:pt x="6" y="10"/>
                  </a:lnTo>
                  <a:lnTo>
                    <a:pt x="6" y="4"/>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28" name="Freeform 490">
              <a:extLst>
                <a:ext uri="{FF2B5EF4-FFF2-40B4-BE49-F238E27FC236}">
                  <a16:creationId xmlns:a16="http://schemas.microsoft.com/office/drawing/2014/main" id="{9403E430-0092-4D0A-96FC-91FF08542531}"/>
                </a:ext>
              </a:extLst>
            </p:cNvPr>
            <p:cNvSpPr>
              <a:spLocks/>
            </p:cNvSpPr>
            <p:nvPr/>
          </p:nvSpPr>
          <p:spPr bwMode="gray">
            <a:xfrm>
              <a:off x="4913490" y="4693796"/>
              <a:ext cx="162438" cy="190697"/>
            </a:xfrm>
            <a:custGeom>
              <a:avLst/>
              <a:gdLst>
                <a:gd name="T0" fmla="*/ 2147483647 w 88"/>
                <a:gd name="T1" fmla="*/ 2147483647 h 102"/>
                <a:gd name="T2" fmla="*/ 2147483647 w 88"/>
                <a:gd name="T3" fmla="*/ 2147483647 h 102"/>
                <a:gd name="T4" fmla="*/ 2147483647 w 88"/>
                <a:gd name="T5" fmla="*/ 2147483647 h 102"/>
                <a:gd name="T6" fmla="*/ 2147483647 w 88"/>
                <a:gd name="T7" fmla="*/ 2147483647 h 102"/>
                <a:gd name="T8" fmla="*/ 2147483647 w 88"/>
                <a:gd name="T9" fmla="*/ 2147483647 h 102"/>
                <a:gd name="T10" fmla="*/ 2147483647 w 88"/>
                <a:gd name="T11" fmla="*/ 2147483647 h 102"/>
                <a:gd name="T12" fmla="*/ 2147483647 w 88"/>
                <a:gd name="T13" fmla="*/ 2147483647 h 102"/>
                <a:gd name="T14" fmla="*/ 2147483647 w 88"/>
                <a:gd name="T15" fmla="*/ 2147483647 h 102"/>
                <a:gd name="T16" fmla="*/ 2147483647 w 88"/>
                <a:gd name="T17" fmla="*/ 2147483647 h 102"/>
                <a:gd name="T18" fmla="*/ 2147483647 w 88"/>
                <a:gd name="T19" fmla="*/ 2147483647 h 102"/>
                <a:gd name="T20" fmla="*/ 2147483647 w 88"/>
                <a:gd name="T21" fmla="*/ 2147483647 h 102"/>
                <a:gd name="T22" fmla="*/ 2147483647 w 88"/>
                <a:gd name="T23" fmla="*/ 2147483647 h 102"/>
                <a:gd name="T24" fmla="*/ 2147483647 w 88"/>
                <a:gd name="T25" fmla="*/ 2147483647 h 102"/>
                <a:gd name="T26" fmla="*/ 2147483647 w 88"/>
                <a:gd name="T27" fmla="*/ 2147483647 h 102"/>
                <a:gd name="T28" fmla="*/ 2147483647 w 88"/>
                <a:gd name="T29" fmla="*/ 2147483647 h 102"/>
                <a:gd name="T30" fmla="*/ 2147483647 w 88"/>
                <a:gd name="T31" fmla="*/ 2147483647 h 102"/>
                <a:gd name="T32" fmla="*/ 2147483647 w 88"/>
                <a:gd name="T33" fmla="*/ 2147483647 h 102"/>
                <a:gd name="T34" fmla="*/ 2147483647 w 88"/>
                <a:gd name="T35" fmla="*/ 2147483647 h 102"/>
                <a:gd name="T36" fmla="*/ 2147483647 w 88"/>
                <a:gd name="T37" fmla="*/ 2147483647 h 102"/>
                <a:gd name="T38" fmla="*/ 2147483647 w 88"/>
                <a:gd name="T39" fmla="*/ 2147483647 h 102"/>
                <a:gd name="T40" fmla="*/ 2147483647 w 88"/>
                <a:gd name="T41" fmla="*/ 2147483647 h 102"/>
                <a:gd name="T42" fmla="*/ 2147483647 w 88"/>
                <a:gd name="T43" fmla="*/ 2147483647 h 102"/>
                <a:gd name="T44" fmla="*/ 2147483647 w 88"/>
                <a:gd name="T45" fmla="*/ 2147483647 h 102"/>
                <a:gd name="T46" fmla="*/ 2147483647 w 88"/>
                <a:gd name="T47" fmla="*/ 2147483647 h 102"/>
                <a:gd name="T48" fmla="*/ 2147483647 w 88"/>
                <a:gd name="T49" fmla="*/ 2147483647 h 102"/>
                <a:gd name="T50" fmla="*/ 2147483647 w 88"/>
                <a:gd name="T51" fmla="*/ 2147483647 h 102"/>
                <a:gd name="T52" fmla="*/ 2147483647 w 88"/>
                <a:gd name="T53" fmla="*/ 2147483647 h 102"/>
                <a:gd name="T54" fmla="*/ 2147483647 w 88"/>
                <a:gd name="T55" fmla="*/ 2147483647 h 102"/>
                <a:gd name="T56" fmla="*/ 2147483647 w 88"/>
                <a:gd name="T57" fmla="*/ 2147483647 h 102"/>
                <a:gd name="T58" fmla="*/ 2147483647 w 88"/>
                <a:gd name="T59" fmla="*/ 2147483647 h 102"/>
                <a:gd name="T60" fmla="*/ 2147483647 w 88"/>
                <a:gd name="T61" fmla="*/ 2147483647 h 102"/>
                <a:gd name="T62" fmla="*/ 2147483647 w 88"/>
                <a:gd name="T63" fmla="*/ 2147483647 h 102"/>
                <a:gd name="T64" fmla="*/ 2147483647 w 88"/>
                <a:gd name="T65" fmla="*/ 2147483647 h 102"/>
                <a:gd name="T66" fmla="*/ 2147483647 w 88"/>
                <a:gd name="T67" fmla="*/ 2147483647 h 102"/>
                <a:gd name="T68" fmla="*/ 2147483647 w 88"/>
                <a:gd name="T69" fmla="*/ 2147483647 h 102"/>
                <a:gd name="T70" fmla="*/ 0 w 88"/>
                <a:gd name="T71" fmla="*/ 2147483647 h 102"/>
                <a:gd name="T72" fmla="*/ 2147483647 w 88"/>
                <a:gd name="T73" fmla="*/ 2147483647 h 102"/>
                <a:gd name="T74" fmla="*/ 2147483647 w 88"/>
                <a:gd name="T75" fmla="*/ 2147483647 h 102"/>
                <a:gd name="T76" fmla="*/ 2147483647 w 88"/>
                <a:gd name="T77" fmla="*/ 2147483647 h 102"/>
                <a:gd name="T78" fmla="*/ 2147483647 w 88"/>
                <a:gd name="T79" fmla="*/ 2147483647 h 102"/>
                <a:gd name="T80" fmla="*/ 2147483647 w 88"/>
                <a:gd name="T81" fmla="*/ 2147483647 h 102"/>
                <a:gd name="T82" fmla="*/ 2147483647 w 88"/>
                <a:gd name="T83" fmla="*/ 2147483647 h 102"/>
                <a:gd name="T84" fmla="*/ 2147483647 w 88"/>
                <a:gd name="T85" fmla="*/ 2147483647 h 102"/>
                <a:gd name="T86" fmla="*/ 2147483647 w 88"/>
                <a:gd name="T87" fmla="*/ 2147483647 h 102"/>
                <a:gd name="T88" fmla="*/ 2147483647 w 88"/>
                <a:gd name="T89" fmla="*/ 2147483647 h 102"/>
                <a:gd name="T90" fmla="*/ 2147483647 w 88"/>
                <a:gd name="T91" fmla="*/ 2147483647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2"/>
                <a:gd name="T140" fmla="*/ 88 w 88"/>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2">
                  <a:moveTo>
                    <a:pt x="60" y="0"/>
                  </a:moveTo>
                  <a:lnTo>
                    <a:pt x="58" y="8"/>
                  </a:lnTo>
                  <a:lnTo>
                    <a:pt x="64" y="10"/>
                  </a:lnTo>
                  <a:lnTo>
                    <a:pt x="70" y="12"/>
                  </a:lnTo>
                  <a:lnTo>
                    <a:pt x="76" y="16"/>
                  </a:lnTo>
                  <a:lnTo>
                    <a:pt x="84" y="20"/>
                  </a:lnTo>
                  <a:lnTo>
                    <a:pt x="86" y="24"/>
                  </a:lnTo>
                  <a:lnTo>
                    <a:pt x="86" y="26"/>
                  </a:lnTo>
                  <a:lnTo>
                    <a:pt x="84" y="28"/>
                  </a:lnTo>
                  <a:lnTo>
                    <a:pt x="84" y="32"/>
                  </a:lnTo>
                  <a:lnTo>
                    <a:pt x="82" y="36"/>
                  </a:lnTo>
                  <a:lnTo>
                    <a:pt x="84" y="40"/>
                  </a:lnTo>
                  <a:lnTo>
                    <a:pt x="88" y="46"/>
                  </a:lnTo>
                  <a:lnTo>
                    <a:pt x="84" y="50"/>
                  </a:lnTo>
                  <a:lnTo>
                    <a:pt x="82" y="52"/>
                  </a:lnTo>
                  <a:lnTo>
                    <a:pt x="82" y="54"/>
                  </a:lnTo>
                  <a:lnTo>
                    <a:pt x="82" y="56"/>
                  </a:lnTo>
                  <a:lnTo>
                    <a:pt x="84" y="58"/>
                  </a:lnTo>
                  <a:lnTo>
                    <a:pt x="84" y="60"/>
                  </a:lnTo>
                  <a:lnTo>
                    <a:pt x="84" y="64"/>
                  </a:lnTo>
                  <a:lnTo>
                    <a:pt x="84" y="68"/>
                  </a:lnTo>
                  <a:lnTo>
                    <a:pt x="82" y="70"/>
                  </a:lnTo>
                  <a:lnTo>
                    <a:pt x="84" y="72"/>
                  </a:lnTo>
                  <a:lnTo>
                    <a:pt x="84" y="76"/>
                  </a:lnTo>
                  <a:lnTo>
                    <a:pt x="82" y="80"/>
                  </a:lnTo>
                  <a:lnTo>
                    <a:pt x="84" y="82"/>
                  </a:lnTo>
                  <a:lnTo>
                    <a:pt x="86" y="82"/>
                  </a:lnTo>
                  <a:lnTo>
                    <a:pt x="86" y="84"/>
                  </a:lnTo>
                  <a:lnTo>
                    <a:pt x="80" y="92"/>
                  </a:lnTo>
                  <a:lnTo>
                    <a:pt x="72" y="102"/>
                  </a:lnTo>
                  <a:lnTo>
                    <a:pt x="70" y="100"/>
                  </a:lnTo>
                  <a:lnTo>
                    <a:pt x="66" y="100"/>
                  </a:lnTo>
                  <a:lnTo>
                    <a:pt x="62" y="100"/>
                  </a:lnTo>
                  <a:lnTo>
                    <a:pt x="62" y="98"/>
                  </a:lnTo>
                  <a:lnTo>
                    <a:pt x="58" y="98"/>
                  </a:lnTo>
                  <a:lnTo>
                    <a:pt x="54" y="100"/>
                  </a:lnTo>
                  <a:lnTo>
                    <a:pt x="50" y="98"/>
                  </a:lnTo>
                  <a:lnTo>
                    <a:pt x="48" y="98"/>
                  </a:lnTo>
                  <a:lnTo>
                    <a:pt x="46" y="98"/>
                  </a:lnTo>
                  <a:lnTo>
                    <a:pt x="44" y="94"/>
                  </a:lnTo>
                  <a:lnTo>
                    <a:pt x="42" y="94"/>
                  </a:lnTo>
                  <a:lnTo>
                    <a:pt x="40" y="94"/>
                  </a:lnTo>
                  <a:lnTo>
                    <a:pt x="38" y="94"/>
                  </a:lnTo>
                  <a:lnTo>
                    <a:pt x="36" y="92"/>
                  </a:lnTo>
                  <a:lnTo>
                    <a:pt x="34" y="90"/>
                  </a:lnTo>
                  <a:lnTo>
                    <a:pt x="34" y="84"/>
                  </a:lnTo>
                  <a:lnTo>
                    <a:pt x="36" y="82"/>
                  </a:lnTo>
                  <a:lnTo>
                    <a:pt x="36" y="80"/>
                  </a:lnTo>
                  <a:lnTo>
                    <a:pt x="34" y="80"/>
                  </a:lnTo>
                  <a:lnTo>
                    <a:pt x="32" y="78"/>
                  </a:lnTo>
                  <a:lnTo>
                    <a:pt x="30" y="76"/>
                  </a:lnTo>
                  <a:lnTo>
                    <a:pt x="28" y="74"/>
                  </a:lnTo>
                  <a:lnTo>
                    <a:pt x="28" y="68"/>
                  </a:lnTo>
                  <a:lnTo>
                    <a:pt x="24" y="66"/>
                  </a:lnTo>
                  <a:lnTo>
                    <a:pt x="20" y="62"/>
                  </a:lnTo>
                  <a:lnTo>
                    <a:pt x="18" y="64"/>
                  </a:lnTo>
                  <a:lnTo>
                    <a:pt x="16" y="64"/>
                  </a:lnTo>
                  <a:lnTo>
                    <a:pt x="14" y="62"/>
                  </a:lnTo>
                  <a:lnTo>
                    <a:pt x="14" y="60"/>
                  </a:lnTo>
                  <a:lnTo>
                    <a:pt x="12" y="60"/>
                  </a:lnTo>
                  <a:lnTo>
                    <a:pt x="8" y="54"/>
                  </a:lnTo>
                  <a:lnTo>
                    <a:pt x="6" y="50"/>
                  </a:lnTo>
                  <a:lnTo>
                    <a:pt x="6" y="48"/>
                  </a:lnTo>
                  <a:lnTo>
                    <a:pt x="4" y="46"/>
                  </a:lnTo>
                  <a:lnTo>
                    <a:pt x="4" y="44"/>
                  </a:lnTo>
                  <a:lnTo>
                    <a:pt x="2" y="44"/>
                  </a:lnTo>
                  <a:lnTo>
                    <a:pt x="0" y="40"/>
                  </a:lnTo>
                  <a:lnTo>
                    <a:pt x="0" y="36"/>
                  </a:lnTo>
                  <a:lnTo>
                    <a:pt x="2" y="38"/>
                  </a:lnTo>
                  <a:lnTo>
                    <a:pt x="6" y="38"/>
                  </a:lnTo>
                  <a:lnTo>
                    <a:pt x="8" y="38"/>
                  </a:lnTo>
                  <a:lnTo>
                    <a:pt x="12" y="36"/>
                  </a:lnTo>
                  <a:lnTo>
                    <a:pt x="16" y="36"/>
                  </a:lnTo>
                  <a:lnTo>
                    <a:pt x="18" y="36"/>
                  </a:lnTo>
                  <a:lnTo>
                    <a:pt x="26" y="34"/>
                  </a:lnTo>
                  <a:lnTo>
                    <a:pt x="30" y="34"/>
                  </a:lnTo>
                  <a:lnTo>
                    <a:pt x="34" y="32"/>
                  </a:lnTo>
                  <a:lnTo>
                    <a:pt x="34" y="26"/>
                  </a:lnTo>
                  <a:lnTo>
                    <a:pt x="36" y="22"/>
                  </a:lnTo>
                  <a:lnTo>
                    <a:pt x="36" y="20"/>
                  </a:lnTo>
                  <a:lnTo>
                    <a:pt x="38" y="20"/>
                  </a:lnTo>
                  <a:lnTo>
                    <a:pt x="40" y="18"/>
                  </a:lnTo>
                  <a:lnTo>
                    <a:pt x="42" y="16"/>
                  </a:lnTo>
                  <a:lnTo>
                    <a:pt x="42" y="14"/>
                  </a:lnTo>
                  <a:lnTo>
                    <a:pt x="44" y="10"/>
                  </a:lnTo>
                  <a:lnTo>
                    <a:pt x="46" y="8"/>
                  </a:lnTo>
                  <a:lnTo>
                    <a:pt x="50" y="6"/>
                  </a:lnTo>
                  <a:lnTo>
                    <a:pt x="6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29" name="Freeform 491">
              <a:extLst>
                <a:ext uri="{FF2B5EF4-FFF2-40B4-BE49-F238E27FC236}">
                  <a16:creationId xmlns:a16="http://schemas.microsoft.com/office/drawing/2014/main" id="{00B379E7-61E7-4532-A4CC-9A278C6CCD94}"/>
                </a:ext>
              </a:extLst>
            </p:cNvPr>
            <p:cNvSpPr>
              <a:spLocks/>
            </p:cNvSpPr>
            <p:nvPr/>
          </p:nvSpPr>
          <p:spPr bwMode="gray">
            <a:xfrm>
              <a:off x="4845221" y="4512516"/>
              <a:ext cx="240127" cy="251909"/>
            </a:xfrm>
            <a:custGeom>
              <a:avLst/>
              <a:gdLst>
                <a:gd name="T0" fmla="*/ 2147483647 w 130"/>
                <a:gd name="T1" fmla="*/ 2147483647 h 136"/>
                <a:gd name="T2" fmla="*/ 2147483647 w 130"/>
                <a:gd name="T3" fmla="*/ 2147483647 h 136"/>
                <a:gd name="T4" fmla="*/ 2147483647 w 130"/>
                <a:gd name="T5" fmla="*/ 2147483647 h 136"/>
                <a:gd name="T6" fmla="*/ 2147483647 w 130"/>
                <a:gd name="T7" fmla="*/ 2147483647 h 136"/>
                <a:gd name="T8" fmla="*/ 2147483647 w 130"/>
                <a:gd name="T9" fmla="*/ 2147483647 h 136"/>
                <a:gd name="T10" fmla="*/ 2147483647 w 130"/>
                <a:gd name="T11" fmla="*/ 2147483647 h 136"/>
                <a:gd name="T12" fmla="*/ 2147483647 w 130"/>
                <a:gd name="T13" fmla="*/ 2147483647 h 136"/>
                <a:gd name="T14" fmla="*/ 2147483647 w 130"/>
                <a:gd name="T15" fmla="*/ 2147483647 h 136"/>
                <a:gd name="T16" fmla="*/ 2147483647 w 130"/>
                <a:gd name="T17" fmla="*/ 2147483647 h 136"/>
                <a:gd name="T18" fmla="*/ 2147483647 w 130"/>
                <a:gd name="T19" fmla="*/ 2147483647 h 136"/>
                <a:gd name="T20" fmla="*/ 2147483647 w 130"/>
                <a:gd name="T21" fmla="*/ 2147483647 h 136"/>
                <a:gd name="T22" fmla="*/ 2147483647 w 130"/>
                <a:gd name="T23" fmla="*/ 2147483647 h 136"/>
                <a:gd name="T24" fmla="*/ 2147483647 w 130"/>
                <a:gd name="T25" fmla="*/ 2147483647 h 136"/>
                <a:gd name="T26" fmla="*/ 2147483647 w 130"/>
                <a:gd name="T27" fmla="*/ 2147483647 h 136"/>
                <a:gd name="T28" fmla="*/ 2147483647 w 130"/>
                <a:gd name="T29" fmla="*/ 2147483647 h 136"/>
                <a:gd name="T30" fmla="*/ 2147483647 w 130"/>
                <a:gd name="T31" fmla="*/ 2147483647 h 136"/>
                <a:gd name="T32" fmla="*/ 2147483647 w 130"/>
                <a:gd name="T33" fmla="*/ 2147483647 h 136"/>
                <a:gd name="T34" fmla="*/ 2147483647 w 130"/>
                <a:gd name="T35" fmla="*/ 2147483647 h 136"/>
                <a:gd name="T36" fmla="*/ 2147483647 w 130"/>
                <a:gd name="T37" fmla="*/ 2147483647 h 136"/>
                <a:gd name="T38" fmla="*/ 2147483647 w 130"/>
                <a:gd name="T39" fmla="*/ 2147483647 h 136"/>
                <a:gd name="T40" fmla="*/ 2147483647 w 130"/>
                <a:gd name="T41" fmla="*/ 2147483647 h 136"/>
                <a:gd name="T42" fmla="*/ 2147483647 w 130"/>
                <a:gd name="T43" fmla="*/ 2147483647 h 136"/>
                <a:gd name="T44" fmla="*/ 2147483647 w 130"/>
                <a:gd name="T45" fmla="*/ 2147483647 h 136"/>
                <a:gd name="T46" fmla="*/ 2147483647 w 130"/>
                <a:gd name="T47" fmla="*/ 2147483647 h 136"/>
                <a:gd name="T48" fmla="*/ 2147483647 w 130"/>
                <a:gd name="T49" fmla="*/ 2147483647 h 136"/>
                <a:gd name="T50" fmla="*/ 2147483647 w 130"/>
                <a:gd name="T51" fmla="*/ 2147483647 h 136"/>
                <a:gd name="T52" fmla="*/ 2147483647 w 130"/>
                <a:gd name="T53" fmla="*/ 2147483647 h 136"/>
                <a:gd name="T54" fmla="*/ 2147483647 w 130"/>
                <a:gd name="T55" fmla="*/ 2147483647 h 136"/>
                <a:gd name="T56" fmla="*/ 2147483647 w 130"/>
                <a:gd name="T57" fmla="*/ 2147483647 h 136"/>
                <a:gd name="T58" fmla="*/ 2147483647 w 130"/>
                <a:gd name="T59" fmla="*/ 2147483647 h 136"/>
                <a:gd name="T60" fmla="*/ 2147483647 w 130"/>
                <a:gd name="T61" fmla="*/ 2147483647 h 136"/>
                <a:gd name="T62" fmla="*/ 2147483647 w 130"/>
                <a:gd name="T63" fmla="*/ 2147483647 h 136"/>
                <a:gd name="T64" fmla="*/ 2147483647 w 130"/>
                <a:gd name="T65" fmla="*/ 2147483647 h 136"/>
                <a:gd name="T66" fmla="*/ 2147483647 w 130"/>
                <a:gd name="T67" fmla="*/ 2147483647 h 136"/>
                <a:gd name="T68" fmla="*/ 2147483647 w 130"/>
                <a:gd name="T69" fmla="*/ 2147483647 h 136"/>
                <a:gd name="T70" fmla="*/ 2147483647 w 130"/>
                <a:gd name="T71" fmla="*/ 2147483647 h 136"/>
                <a:gd name="T72" fmla="*/ 2147483647 w 130"/>
                <a:gd name="T73" fmla="*/ 2147483647 h 136"/>
                <a:gd name="T74" fmla="*/ 2147483647 w 130"/>
                <a:gd name="T75" fmla="*/ 2147483647 h 136"/>
                <a:gd name="T76" fmla="*/ 2147483647 w 130"/>
                <a:gd name="T77" fmla="*/ 2147483647 h 136"/>
                <a:gd name="T78" fmla="*/ 2147483647 w 130"/>
                <a:gd name="T79" fmla="*/ 2147483647 h 136"/>
                <a:gd name="T80" fmla="*/ 2147483647 w 130"/>
                <a:gd name="T81" fmla="*/ 2147483647 h 136"/>
                <a:gd name="T82" fmla="*/ 2147483647 w 130"/>
                <a:gd name="T83" fmla="*/ 2147483647 h 136"/>
                <a:gd name="T84" fmla="*/ 2147483647 w 130"/>
                <a:gd name="T85" fmla="*/ 2147483647 h 136"/>
                <a:gd name="T86" fmla="*/ 2147483647 w 130"/>
                <a:gd name="T87" fmla="*/ 2147483647 h 136"/>
                <a:gd name="T88" fmla="*/ 0 w 130"/>
                <a:gd name="T89" fmla="*/ 2147483647 h 136"/>
                <a:gd name="T90" fmla="*/ 2147483647 w 130"/>
                <a:gd name="T91" fmla="*/ 2147483647 h 136"/>
                <a:gd name="T92" fmla="*/ 2147483647 w 130"/>
                <a:gd name="T93" fmla="*/ 2147483647 h 136"/>
                <a:gd name="T94" fmla="*/ 2147483647 w 130"/>
                <a:gd name="T95" fmla="*/ 2147483647 h 1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0"/>
                <a:gd name="T145" fmla="*/ 0 h 136"/>
                <a:gd name="T146" fmla="*/ 130 w 130"/>
                <a:gd name="T147" fmla="*/ 136 h 1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0" h="136">
                  <a:moveTo>
                    <a:pt x="16" y="132"/>
                  </a:moveTo>
                  <a:lnTo>
                    <a:pt x="28" y="130"/>
                  </a:lnTo>
                  <a:lnTo>
                    <a:pt x="30" y="130"/>
                  </a:lnTo>
                  <a:lnTo>
                    <a:pt x="32" y="132"/>
                  </a:lnTo>
                  <a:lnTo>
                    <a:pt x="34" y="134"/>
                  </a:lnTo>
                  <a:lnTo>
                    <a:pt x="36" y="134"/>
                  </a:lnTo>
                  <a:lnTo>
                    <a:pt x="38" y="136"/>
                  </a:lnTo>
                  <a:lnTo>
                    <a:pt x="42" y="136"/>
                  </a:lnTo>
                  <a:lnTo>
                    <a:pt x="44" y="136"/>
                  </a:lnTo>
                  <a:lnTo>
                    <a:pt x="48" y="134"/>
                  </a:lnTo>
                  <a:lnTo>
                    <a:pt x="52" y="134"/>
                  </a:lnTo>
                  <a:lnTo>
                    <a:pt x="54" y="134"/>
                  </a:lnTo>
                  <a:lnTo>
                    <a:pt x="62" y="132"/>
                  </a:lnTo>
                  <a:lnTo>
                    <a:pt x="66" y="132"/>
                  </a:lnTo>
                  <a:lnTo>
                    <a:pt x="70" y="130"/>
                  </a:lnTo>
                  <a:lnTo>
                    <a:pt x="70" y="124"/>
                  </a:lnTo>
                  <a:lnTo>
                    <a:pt x="72" y="120"/>
                  </a:lnTo>
                  <a:lnTo>
                    <a:pt x="72" y="118"/>
                  </a:lnTo>
                  <a:lnTo>
                    <a:pt x="74" y="118"/>
                  </a:lnTo>
                  <a:lnTo>
                    <a:pt x="76" y="116"/>
                  </a:lnTo>
                  <a:lnTo>
                    <a:pt x="78" y="114"/>
                  </a:lnTo>
                  <a:lnTo>
                    <a:pt x="78" y="112"/>
                  </a:lnTo>
                  <a:lnTo>
                    <a:pt x="80" y="108"/>
                  </a:lnTo>
                  <a:lnTo>
                    <a:pt x="82" y="106"/>
                  </a:lnTo>
                  <a:lnTo>
                    <a:pt x="86" y="104"/>
                  </a:lnTo>
                  <a:lnTo>
                    <a:pt x="96" y="100"/>
                  </a:lnTo>
                  <a:lnTo>
                    <a:pt x="96" y="98"/>
                  </a:lnTo>
                  <a:lnTo>
                    <a:pt x="96" y="96"/>
                  </a:lnTo>
                  <a:lnTo>
                    <a:pt x="94" y="94"/>
                  </a:lnTo>
                  <a:lnTo>
                    <a:pt x="92" y="92"/>
                  </a:lnTo>
                  <a:lnTo>
                    <a:pt x="118" y="84"/>
                  </a:lnTo>
                  <a:lnTo>
                    <a:pt x="118" y="76"/>
                  </a:lnTo>
                  <a:lnTo>
                    <a:pt x="118" y="72"/>
                  </a:lnTo>
                  <a:lnTo>
                    <a:pt x="118" y="68"/>
                  </a:lnTo>
                  <a:lnTo>
                    <a:pt x="118" y="64"/>
                  </a:lnTo>
                  <a:lnTo>
                    <a:pt x="120" y="60"/>
                  </a:lnTo>
                  <a:lnTo>
                    <a:pt x="124" y="56"/>
                  </a:lnTo>
                  <a:lnTo>
                    <a:pt x="126" y="54"/>
                  </a:lnTo>
                  <a:lnTo>
                    <a:pt x="128" y="52"/>
                  </a:lnTo>
                  <a:lnTo>
                    <a:pt x="126" y="50"/>
                  </a:lnTo>
                  <a:lnTo>
                    <a:pt x="124" y="50"/>
                  </a:lnTo>
                  <a:lnTo>
                    <a:pt x="122" y="40"/>
                  </a:lnTo>
                  <a:lnTo>
                    <a:pt x="124" y="40"/>
                  </a:lnTo>
                  <a:lnTo>
                    <a:pt x="124" y="38"/>
                  </a:lnTo>
                  <a:lnTo>
                    <a:pt x="128" y="36"/>
                  </a:lnTo>
                  <a:lnTo>
                    <a:pt x="130" y="32"/>
                  </a:lnTo>
                  <a:lnTo>
                    <a:pt x="130" y="30"/>
                  </a:lnTo>
                  <a:lnTo>
                    <a:pt x="128" y="28"/>
                  </a:lnTo>
                  <a:lnTo>
                    <a:pt x="128" y="24"/>
                  </a:lnTo>
                  <a:lnTo>
                    <a:pt x="128" y="20"/>
                  </a:lnTo>
                  <a:lnTo>
                    <a:pt x="124" y="16"/>
                  </a:lnTo>
                  <a:lnTo>
                    <a:pt x="122" y="14"/>
                  </a:lnTo>
                  <a:lnTo>
                    <a:pt x="118" y="12"/>
                  </a:lnTo>
                  <a:lnTo>
                    <a:pt x="116" y="10"/>
                  </a:lnTo>
                  <a:lnTo>
                    <a:pt x="114" y="10"/>
                  </a:lnTo>
                  <a:lnTo>
                    <a:pt x="112" y="8"/>
                  </a:lnTo>
                  <a:lnTo>
                    <a:pt x="112" y="6"/>
                  </a:lnTo>
                  <a:lnTo>
                    <a:pt x="112" y="4"/>
                  </a:lnTo>
                  <a:lnTo>
                    <a:pt x="108" y="2"/>
                  </a:lnTo>
                  <a:lnTo>
                    <a:pt x="108" y="4"/>
                  </a:lnTo>
                  <a:lnTo>
                    <a:pt x="104" y="6"/>
                  </a:lnTo>
                  <a:lnTo>
                    <a:pt x="100" y="6"/>
                  </a:lnTo>
                  <a:lnTo>
                    <a:pt x="98" y="4"/>
                  </a:lnTo>
                  <a:lnTo>
                    <a:pt x="96" y="0"/>
                  </a:lnTo>
                  <a:lnTo>
                    <a:pt x="78" y="4"/>
                  </a:lnTo>
                  <a:lnTo>
                    <a:pt x="72" y="10"/>
                  </a:lnTo>
                  <a:lnTo>
                    <a:pt x="70" y="14"/>
                  </a:lnTo>
                  <a:lnTo>
                    <a:pt x="68" y="14"/>
                  </a:lnTo>
                  <a:lnTo>
                    <a:pt x="68" y="20"/>
                  </a:lnTo>
                  <a:lnTo>
                    <a:pt x="70" y="22"/>
                  </a:lnTo>
                  <a:lnTo>
                    <a:pt x="70" y="24"/>
                  </a:lnTo>
                  <a:lnTo>
                    <a:pt x="72" y="28"/>
                  </a:lnTo>
                  <a:lnTo>
                    <a:pt x="72" y="32"/>
                  </a:lnTo>
                  <a:lnTo>
                    <a:pt x="70" y="38"/>
                  </a:lnTo>
                  <a:lnTo>
                    <a:pt x="72" y="40"/>
                  </a:lnTo>
                  <a:lnTo>
                    <a:pt x="76" y="44"/>
                  </a:lnTo>
                  <a:lnTo>
                    <a:pt x="80" y="46"/>
                  </a:lnTo>
                  <a:lnTo>
                    <a:pt x="84" y="48"/>
                  </a:lnTo>
                  <a:lnTo>
                    <a:pt x="86" y="52"/>
                  </a:lnTo>
                  <a:lnTo>
                    <a:pt x="88" y="50"/>
                  </a:lnTo>
                  <a:lnTo>
                    <a:pt x="94" y="50"/>
                  </a:lnTo>
                  <a:lnTo>
                    <a:pt x="94" y="64"/>
                  </a:lnTo>
                  <a:lnTo>
                    <a:pt x="88" y="62"/>
                  </a:lnTo>
                  <a:lnTo>
                    <a:pt x="84" y="64"/>
                  </a:lnTo>
                  <a:lnTo>
                    <a:pt x="80" y="64"/>
                  </a:lnTo>
                  <a:lnTo>
                    <a:pt x="78" y="62"/>
                  </a:lnTo>
                  <a:lnTo>
                    <a:pt x="78" y="58"/>
                  </a:lnTo>
                  <a:lnTo>
                    <a:pt x="78" y="56"/>
                  </a:lnTo>
                  <a:lnTo>
                    <a:pt x="76" y="54"/>
                  </a:lnTo>
                  <a:lnTo>
                    <a:pt x="74" y="54"/>
                  </a:lnTo>
                  <a:lnTo>
                    <a:pt x="72" y="52"/>
                  </a:lnTo>
                  <a:lnTo>
                    <a:pt x="70" y="52"/>
                  </a:lnTo>
                  <a:lnTo>
                    <a:pt x="68" y="48"/>
                  </a:lnTo>
                  <a:lnTo>
                    <a:pt x="66" y="46"/>
                  </a:lnTo>
                  <a:lnTo>
                    <a:pt x="66" y="44"/>
                  </a:lnTo>
                  <a:lnTo>
                    <a:pt x="64" y="42"/>
                  </a:lnTo>
                  <a:lnTo>
                    <a:pt x="60" y="42"/>
                  </a:lnTo>
                  <a:lnTo>
                    <a:pt x="58" y="42"/>
                  </a:lnTo>
                  <a:lnTo>
                    <a:pt x="56" y="46"/>
                  </a:lnTo>
                  <a:lnTo>
                    <a:pt x="54" y="46"/>
                  </a:lnTo>
                  <a:lnTo>
                    <a:pt x="44" y="46"/>
                  </a:lnTo>
                  <a:lnTo>
                    <a:pt x="42" y="44"/>
                  </a:lnTo>
                  <a:lnTo>
                    <a:pt x="42" y="40"/>
                  </a:lnTo>
                  <a:lnTo>
                    <a:pt x="40" y="36"/>
                  </a:lnTo>
                  <a:lnTo>
                    <a:pt x="38" y="38"/>
                  </a:lnTo>
                  <a:lnTo>
                    <a:pt x="34" y="40"/>
                  </a:lnTo>
                  <a:lnTo>
                    <a:pt x="34" y="38"/>
                  </a:lnTo>
                  <a:lnTo>
                    <a:pt x="32" y="32"/>
                  </a:lnTo>
                  <a:lnTo>
                    <a:pt x="26" y="32"/>
                  </a:lnTo>
                  <a:lnTo>
                    <a:pt x="28" y="42"/>
                  </a:lnTo>
                  <a:lnTo>
                    <a:pt x="26" y="44"/>
                  </a:lnTo>
                  <a:lnTo>
                    <a:pt x="26" y="48"/>
                  </a:lnTo>
                  <a:lnTo>
                    <a:pt x="26" y="54"/>
                  </a:lnTo>
                  <a:lnTo>
                    <a:pt x="26" y="58"/>
                  </a:lnTo>
                  <a:lnTo>
                    <a:pt x="0" y="58"/>
                  </a:lnTo>
                  <a:lnTo>
                    <a:pt x="0" y="108"/>
                  </a:lnTo>
                  <a:lnTo>
                    <a:pt x="2" y="110"/>
                  </a:lnTo>
                  <a:lnTo>
                    <a:pt x="4" y="114"/>
                  </a:lnTo>
                  <a:lnTo>
                    <a:pt x="4" y="120"/>
                  </a:lnTo>
                  <a:lnTo>
                    <a:pt x="8" y="124"/>
                  </a:lnTo>
                  <a:lnTo>
                    <a:pt x="12" y="126"/>
                  </a:lnTo>
                  <a:lnTo>
                    <a:pt x="12" y="130"/>
                  </a:lnTo>
                  <a:lnTo>
                    <a:pt x="14" y="132"/>
                  </a:lnTo>
                  <a:lnTo>
                    <a:pt x="16" y="1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0" name="Freeform 492">
              <a:extLst>
                <a:ext uri="{FF2B5EF4-FFF2-40B4-BE49-F238E27FC236}">
                  <a16:creationId xmlns:a16="http://schemas.microsoft.com/office/drawing/2014/main" id="{772EF571-3A4B-4002-9F22-96415ACE5DF8}"/>
                </a:ext>
              </a:extLst>
            </p:cNvPr>
            <p:cNvSpPr>
              <a:spLocks noEditPoints="1"/>
            </p:cNvSpPr>
            <p:nvPr/>
          </p:nvSpPr>
          <p:spPr bwMode="gray">
            <a:xfrm>
              <a:off x="4630990" y="4142894"/>
              <a:ext cx="419045" cy="489690"/>
            </a:xfrm>
            <a:custGeom>
              <a:avLst/>
              <a:gdLst>
                <a:gd name="T0" fmla="*/ 2147483647 w 226"/>
                <a:gd name="T1" fmla="*/ 2147483647 h 264"/>
                <a:gd name="T2" fmla="*/ 2147483647 w 226"/>
                <a:gd name="T3" fmla="*/ 2147483647 h 264"/>
                <a:gd name="T4" fmla="*/ 2147483647 w 226"/>
                <a:gd name="T5" fmla="*/ 2147483647 h 264"/>
                <a:gd name="T6" fmla="*/ 2147483647 w 226"/>
                <a:gd name="T7" fmla="*/ 2147483647 h 264"/>
                <a:gd name="T8" fmla="*/ 2147483647 w 226"/>
                <a:gd name="T9" fmla="*/ 2147483647 h 264"/>
                <a:gd name="T10" fmla="*/ 2147483647 w 226"/>
                <a:gd name="T11" fmla="*/ 2147483647 h 264"/>
                <a:gd name="T12" fmla="*/ 2147483647 w 226"/>
                <a:gd name="T13" fmla="*/ 2147483647 h 264"/>
                <a:gd name="T14" fmla="*/ 2147483647 w 226"/>
                <a:gd name="T15" fmla="*/ 2147483647 h 264"/>
                <a:gd name="T16" fmla="*/ 2147483647 w 226"/>
                <a:gd name="T17" fmla="*/ 2147483647 h 264"/>
                <a:gd name="T18" fmla="*/ 2147483647 w 226"/>
                <a:gd name="T19" fmla="*/ 2147483647 h 264"/>
                <a:gd name="T20" fmla="*/ 2147483647 w 226"/>
                <a:gd name="T21" fmla="*/ 2147483647 h 264"/>
                <a:gd name="T22" fmla="*/ 2147483647 w 226"/>
                <a:gd name="T23" fmla="*/ 2147483647 h 264"/>
                <a:gd name="T24" fmla="*/ 2147483647 w 226"/>
                <a:gd name="T25" fmla="*/ 2147483647 h 264"/>
                <a:gd name="T26" fmla="*/ 2147483647 w 226"/>
                <a:gd name="T27" fmla="*/ 2147483647 h 264"/>
                <a:gd name="T28" fmla="*/ 2147483647 w 226"/>
                <a:gd name="T29" fmla="*/ 2147483647 h 264"/>
                <a:gd name="T30" fmla="*/ 2147483647 w 226"/>
                <a:gd name="T31" fmla="*/ 2147483647 h 264"/>
                <a:gd name="T32" fmla="*/ 2147483647 w 226"/>
                <a:gd name="T33" fmla="*/ 2147483647 h 264"/>
                <a:gd name="T34" fmla="*/ 2147483647 w 226"/>
                <a:gd name="T35" fmla="*/ 2147483647 h 264"/>
                <a:gd name="T36" fmla="*/ 2147483647 w 226"/>
                <a:gd name="T37" fmla="*/ 2147483647 h 264"/>
                <a:gd name="T38" fmla="*/ 2147483647 w 226"/>
                <a:gd name="T39" fmla="*/ 2147483647 h 264"/>
                <a:gd name="T40" fmla="*/ 2147483647 w 226"/>
                <a:gd name="T41" fmla="*/ 2147483647 h 264"/>
                <a:gd name="T42" fmla="*/ 2147483647 w 226"/>
                <a:gd name="T43" fmla="*/ 2147483647 h 264"/>
                <a:gd name="T44" fmla="*/ 2147483647 w 226"/>
                <a:gd name="T45" fmla="*/ 2147483647 h 264"/>
                <a:gd name="T46" fmla="*/ 2147483647 w 226"/>
                <a:gd name="T47" fmla="*/ 2147483647 h 264"/>
                <a:gd name="T48" fmla="*/ 2147483647 w 226"/>
                <a:gd name="T49" fmla="*/ 2147483647 h 264"/>
                <a:gd name="T50" fmla="*/ 2147483647 w 226"/>
                <a:gd name="T51" fmla="*/ 2147483647 h 264"/>
                <a:gd name="T52" fmla="*/ 2147483647 w 226"/>
                <a:gd name="T53" fmla="*/ 2147483647 h 264"/>
                <a:gd name="T54" fmla="*/ 2147483647 w 226"/>
                <a:gd name="T55" fmla="*/ 2147483647 h 264"/>
                <a:gd name="T56" fmla="*/ 2147483647 w 226"/>
                <a:gd name="T57" fmla="*/ 2147483647 h 264"/>
                <a:gd name="T58" fmla="*/ 2147483647 w 226"/>
                <a:gd name="T59" fmla="*/ 2147483647 h 264"/>
                <a:gd name="T60" fmla="*/ 2147483647 w 226"/>
                <a:gd name="T61" fmla="*/ 2147483647 h 264"/>
                <a:gd name="T62" fmla="*/ 2147483647 w 226"/>
                <a:gd name="T63" fmla="*/ 2147483647 h 264"/>
                <a:gd name="T64" fmla="*/ 2147483647 w 226"/>
                <a:gd name="T65" fmla="*/ 2147483647 h 264"/>
                <a:gd name="T66" fmla="*/ 2147483647 w 226"/>
                <a:gd name="T67" fmla="*/ 2147483647 h 264"/>
                <a:gd name="T68" fmla="*/ 2147483647 w 226"/>
                <a:gd name="T69" fmla="*/ 2147483647 h 264"/>
                <a:gd name="T70" fmla="*/ 2147483647 w 226"/>
                <a:gd name="T71" fmla="*/ 2147483647 h 264"/>
                <a:gd name="T72" fmla="*/ 2147483647 w 226"/>
                <a:gd name="T73" fmla="*/ 2147483647 h 264"/>
                <a:gd name="T74" fmla="*/ 2147483647 w 226"/>
                <a:gd name="T75" fmla="*/ 2147483647 h 264"/>
                <a:gd name="T76" fmla="*/ 2147483647 w 226"/>
                <a:gd name="T77" fmla="*/ 2147483647 h 264"/>
                <a:gd name="T78" fmla="*/ 2147483647 w 226"/>
                <a:gd name="T79" fmla="*/ 2147483647 h 264"/>
                <a:gd name="T80" fmla="*/ 2147483647 w 226"/>
                <a:gd name="T81" fmla="*/ 2147483647 h 264"/>
                <a:gd name="T82" fmla="*/ 2147483647 w 226"/>
                <a:gd name="T83" fmla="*/ 2147483647 h 264"/>
                <a:gd name="T84" fmla="*/ 2147483647 w 226"/>
                <a:gd name="T85" fmla="*/ 2147483647 h 264"/>
                <a:gd name="T86" fmla="*/ 2147483647 w 226"/>
                <a:gd name="T87" fmla="*/ 2147483647 h 264"/>
                <a:gd name="T88" fmla="*/ 2147483647 w 226"/>
                <a:gd name="T89" fmla="*/ 2147483647 h 264"/>
                <a:gd name="T90" fmla="*/ 2147483647 w 226"/>
                <a:gd name="T91" fmla="*/ 2147483647 h 264"/>
                <a:gd name="T92" fmla="*/ 2147483647 w 226"/>
                <a:gd name="T93" fmla="*/ 2147483647 h 264"/>
                <a:gd name="T94" fmla="*/ 2147483647 w 226"/>
                <a:gd name="T95" fmla="*/ 2147483647 h 264"/>
                <a:gd name="T96" fmla="*/ 2147483647 w 226"/>
                <a:gd name="T97" fmla="*/ 2147483647 h 264"/>
                <a:gd name="T98" fmla="*/ 2147483647 w 226"/>
                <a:gd name="T99" fmla="*/ 2147483647 h 264"/>
                <a:gd name="T100" fmla="*/ 2147483647 w 226"/>
                <a:gd name="T101" fmla="*/ 2147483647 h 264"/>
                <a:gd name="T102" fmla="*/ 2147483647 w 226"/>
                <a:gd name="T103" fmla="*/ 2147483647 h 264"/>
                <a:gd name="T104" fmla="*/ 2147483647 w 226"/>
                <a:gd name="T105" fmla="*/ 2147483647 h 264"/>
                <a:gd name="T106" fmla="*/ 2147483647 w 226"/>
                <a:gd name="T107" fmla="*/ 2147483647 h 264"/>
                <a:gd name="T108" fmla="*/ 2147483647 w 226"/>
                <a:gd name="T109" fmla="*/ 2147483647 h 264"/>
                <a:gd name="T110" fmla="*/ 2147483647 w 226"/>
                <a:gd name="T111" fmla="*/ 2147483647 h 2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6"/>
                <a:gd name="T169" fmla="*/ 0 h 264"/>
                <a:gd name="T170" fmla="*/ 226 w 226"/>
                <a:gd name="T171" fmla="*/ 264 h 2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6" h="264">
                  <a:moveTo>
                    <a:pt x="78" y="26"/>
                  </a:moveTo>
                  <a:lnTo>
                    <a:pt x="78" y="14"/>
                  </a:lnTo>
                  <a:lnTo>
                    <a:pt x="82" y="14"/>
                  </a:lnTo>
                  <a:lnTo>
                    <a:pt x="84" y="12"/>
                  </a:lnTo>
                  <a:lnTo>
                    <a:pt x="84" y="10"/>
                  </a:lnTo>
                  <a:lnTo>
                    <a:pt x="86" y="4"/>
                  </a:lnTo>
                  <a:lnTo>
                    <a:pt x="88" y="2"/>
                  </a:lnTo>
                  <a:lnTo>
                    <a:pt x="92" y="2"/>
                  </a:lnTo>
                  <a:lnTo>
                    <a:pt x="98" y="4"/>
                  </a:lnTo>
                  <a:lnTo>
                    <a:pt x="102" y="6"/>
                  </a:lnTo>
                  <a:lnTo>
                    <a:pt x="104" y="10"/>
                  </a:lnTo>
                  <a:lnTo>
                    <a:pt x="110" y="10"/>
                  </a:lnTo>
                  <a:lnTo>
                    <a:pt x="114" y="10"/>
                  </a:lnTo>
                  <a:lnTo>
                    <a:pt x="122" y="12"/>
                  </a:lnTo>
                  <a:lnTo>
                    <a:pt x="128" y="14"/>
                  </a:lnTo>
                  <a:lnTo>
                    <a:pt x="128" y="10"/>
                  </a:lnTo>
                  <a:lnTo>
                    <a:pt x="130" y="8"/>
                  </a:lnTo>
                  <a:lnTo>
                    <a:pt x="130" y="6"/>
                  </a:lnTo>
                  <a:lnTo>
                    <a:pt x="134" y="8"/>
                  </a:lnTo>
                  <a:lnTo>
                    <a:pt x="136" y="10"/>
                  </a:lnTo>
                  <a:lnTo>
                    <a:pt x="138" y="10"/>
                  </a:lnTo>
                  <a:lnTo>
                    <a:pt x="144" y="8"/>
                  </a:lnTo>
                  <a:lnTo>
                    <a:pt x="144" y="6"/>
                  </a:lnTo>
                  <a:lnTo>
                    <a:pt x="146" y="4"/>
                  </a:lnTo>
                  <a:lnTo>
                    <a:pt x="148" y="4"/>
                  </a:lnTo>
                  <a:lnTo>
                    <a:pt x="148" y="6"/>
                  </a:lnTo>
                  <a:lnTo>
                    <a:pt x="150" y="6"/>
                  </a:lnTo>
                  <a:lnTo>
                    <a:pt x="152" y="4"/>
                  </a:lnTo>
                  <a:lnTo>
                    <a:pt x="154" y="2"/>
                  </a:lnTo>
                  <a:lnTo>
                    <a:pt x="156" y="0"/>
                  </a:lnTo>
                  <a:lnTo>
                    <a:pt x="166" y="0"/>
                  </a:lnTo>
                  <a:lnTo>
                    <a:pt x="168" y="2"/>
                  </a:lnTo>
                  <a:lnTo>
                    <a:pt x="170" y="2"/>
                  </a:lnTo>
                  <a:lnTo>
                    <a:pt x="176" y="2"/>
                  </a:lnTo>
                  <a:lnTo>
                    <a:pt x="180" y="8"/>
                  </a:lnTo>
                  <a:lnTo>
                    <a:pt x="180" y="10"/>
                  </a:lnTo>
                  <a:lnTo>
                    <a:pt x="182" y="14"/>
                  </a:lnTo>
                  <a:lnTo>
                    <a:pt x="184" y="14"/>
                  </a:lnTo>
                  <a:lnTo>
                    <a:pt x="186" y="10"/>
                  </a:lnTo>
                  <a:lnTo>
                    <a:pt x="188" y="10"/>
                  </a:lnTo>
                  <a:lnTo>
                    <a:pt x="190" y="10"/>
                  </a:lnTo>
                  <a:lnTo>
                    <a:pt x="194" y="14"/>
                  </a:lnTo>
                  <a:lnTo>
                    <a:pt x="196" y="14"/>
                  </a:lnTo>
                  <a:lnTo>
                    <a:pt x="198" y="12"/>
                  </a:lnTo>
                  <a:lnTo>
                    <a:pt x="200" y="10"/>
                  </a:lnTo>
                  <a:lnTo>
                    <a:pt x="202" y="10"/>
                  </a:lnTo>
                  <a:lnTo>
                    <a:pt x="204" y="14"/>
                  </a:lnTo>
                  <a:lnTo>
                    <a:pt x="208" y="20"/>
                  </a:lnTo>
                  <a:lnTo>
                    <a:pt x="216" y="24"/>
                  </a:lnTo>
                  <a:lnTo>
                    <a:pt x="218" y="26"/>
                  </a:lnTo>
                  <a:lnTo>
                    <a:pt x="220" y="24"/>
                  </a:lnTo>
                  <a:lnTo>
                    <a:pt x="226" y="28"/>
                  </a:lnTo>
                  <a:lnTo>
                    <a:pt x="226" y="30"/>
                  </a:lnTo>
                  <a:lnTo>
                    <a:pt x="226" y="34"/>
                  </a:lnTo>
                  <a:lnTo>
                    <a:pt x="224" y="38"/>
                  </a:lnTo>
                  <a:lnTo>
                    <a:pt x="222" y="40"/>
                  </a:lnTo>
                  <a:lnTo>
                    <a:pt x="224" y="42"/>
                  </a:lnTo>
                  <a:lnTo>
                    <a:pt x="220" y="46"/>
                  </a:lnTo>
                  <a:lnTo>
                    <a:pt x="220" y="50"/>
                  </a:lnTo>
                  <a:lnTo>
                    <a:pt x="220" y="52"/>
                  </a:lnTo>
                  <a:lnTo>
                    <a:pt x="220" y="54"/>
                  </a:lnTo>
                  <a:lnTo>
                    <a:pt x="222" y="54"/>
                  </a:lnTo>
                  <a:lnTo>
                    <a:pt x="222" y="58"/>
                  </a:lnTo>
                  <a:lnTo>
                    <a:pt x="218" y="62"/>
                  </a:lnTo>
                  <a:lnTo>
                    <a:pt x="220" y="58"/>
                  </a:lnTo>
                  <a:lnTo>
                    <a:pt x="216" y="62"/>
                  </a:lnTo>
                  <a:lnTo>
                    <a:pt x="212" y="64"/>
                  </a:lnTo>
                  <a:lnTo>
                    <a:pt x="212" y="70"/>
                  </a:lnTo>
                  <a:lnTo>
                    <a:pt x="206" y="72"/>
                  </a:lnTo>
                  <a:lnTo>
                    <a:pt x="206" y="74"/>
                  </a:lnTo>
                  <a:lnTo>
                    <a:pt x="204" y="78"/>
                  </a:lnTo>
                  <a:lnTo>
                    <a:pt x="202" y="84"/>
                  </a:lnTo>
                  <a:lnTo>
                    <a:pt x="200" y="90"/>
                  </a:lnTo>
                  <a:lnTo>
                    <a:pt x="200" y="88"/>
                  </a:lnTo>
                  <a:lnTo>
                    <a:pt x="198" y="90"/>
                  </a:lnTo>
                  <a:lnTo>
                    <a:pt x="194" y="92"/>
                  </a:lnTo>
                  <a:lnTo>
                    <a:pt x="194" y="94"/>
                  </a:lnTo>
                  <a:lnTo>
                    <a:pt x="194" y="98"/>
                  </a:lnTo>
                  <a:lnTo>
                    <a:pt x="198" y="98"/>
                  </a:lnTo>
                  <a:lnTo>
                    <a:pt x="198" y="94"/>
                  </a:lnTo>
                  <a:lnTo>
                    <a:pt x="198" y="98"/>
                  </a:lnTo>
                  <a:lnTo>
                    <a:pt x="196" y="102"/>
                  </a:lnTo>
                  <a:lnTo>
                    <a:pt x="196" y="104"/>
                  </a:lnTo>
                  <a:lnTo>
                    <a:pt x="198" y="106"/>
                  </a:lnTo>
                  <a:lnTo>
                    <a:pt x="198" y="112"/>
                  </a:lnTo>
                  <a:lnTo>
                    <a:pt x="192" y="106"/>
                  </a:lnTo>
                  <a:lnTo>
                    <a:pt x="190" y="114"/>
                  </a:lnTo>
                  <a:lnTo>
                    <a:pt x="188" y="118"/>
                  </a:lnTo>
                  <a:lnTo>
                    <a:pt x="190" y="118"/>
                  </a:lnTo>
                  <a:lnTo>
                    <a:pt x="192" y="118"/>
                  </a:lnTo>
                  <a:lnTo>
                    <a:pt x="192" y="122"/>
                  </a:lnTo>
                  <a:lnTo>
                    <a:pt x="194" y="124"/>
                  </a:lnTo>
                  <a:lnTo>
                    <a:pt x="198" y="124"/>
                  </a:lnTo>
                  <a:lnTo>
                    <a:pt x="198" y="130"/>
                  </a:lnTo>
                  <a:lnTo>
                    <a:pt x="198" y="132"/>
                  </a:lnTo>
                  <a:lnTo>
                    <a:pt x="196" y="132"/>
                  </a:lnTo>
                  <a:lnTo>
                    <a:pt x="192" y="140"/>
                  </a:lnTo>
                  <a:lnTo>
                    <a:pt x="192" y="144"/>
                  </a:lnTo>
                  <a:lnTo>
                    <a:pt x="194" y="144"/>
                  </a:lnTo>
                  <a:lnTo>
                    <a:pt x="196" y="146"/>
                  </a:lnTo>
                  <a:lnTo>
                    <a:pt x="194" y="148"/>
                  </a:lnTo>
                  <a:lnTo>
                    <a:pt x="194" y="152"/>
                  </a:lnTo>
                  <a:lnTo>
                    <a:pt x="198" y="156"/>
                  </a:lnTo>
                  <a:lnTo>
                    <a:pt x="196" y="160"/>
                  </a:lnTo>
                  <a:lnTo>
                    <a:pt x="194" y="164"/>
                  </a:lnTo>
                  <a:lnTo>
                    <a:pt x="200" y="180"/>
                  </a:lnTo>
                  <a:lnTo>
                    <a:pt x="210" y="186"/>
                  </a:lnTo>
                  <a:lnTo>
                    <a:pt x="210" y="190"/>
                  </a:lnTo>
                  <a:lnTo>
                    <a:pt x="210" y="192"/>
                  </a:lnTo>
                  <a:lnTo>
                    <a:pt x="212" y="200"/>
                  </a:lnTo>
                  <a:lnTo>
                    <a:pt x="194" y="204"/>
                  </a:lnTo>
                  <a:lnTo>
                    <a:pt x="188" y="210"/>
                  </a:lnTo>
                  <a:lnTo>
                    <a:pt x="188" y="206"/>
                  </a:lnTo>
                  <a:lnTo>
                    <a:pt x="180" y="212"/>
                  </a:lnTo>
                  <a:lnTo>
                    <a:pt x="182" y="214"/>
                  </a:lnTo>
                  <a:lnTo>
                    <a:pt x="184" y="214"/>
                  </a:lnTo>
                  <a:lnTo>
                    <a:pt x="184" y="220"/>
                  </a:lnTo>
                  <a:lnTo>
                    <a:pt x="186" y="222"/>
                  </a:lnTo>
                  <a:lnTo>
                    <a:pt x="186" y="224"/>
                  </a:lnTo>
                  <a:lnTo>
                    <a:pt x="188" y="228"/>
                  </a:lnTo>
                  <a:lnTo>
                    <a:pt x="188" y="232"/>
                  </a:lnTo>
                  <a:lnTo>
                    <a:pt x="186" y="238"/>
                  </a:lnTo>
                  <a:lnTo>
                    <a:pt x="188" y="240"/>
                  </a:lnTo>
                  <a:lnTo>
                    <a:pt x="192" y="244"/>
                  </a:lnTo>
                  <a:lnTo>
                    <a:pt x="196" y="246"/>
                  </a:lnTo>
                  <a:lnTo>
                    <a:pt x="200" y="248"/>
                  </a:lnTo>
                  <a:lnTo>
                    <a:pt x="202" y="252"/>
                  </a:lnTo>
                  <a:lnTo>
                    <a:pt x="204" y="250"/>
                  </a:lnTo>
                  <a:lnTo>
                    <a:pt x="210" y="250"/>
                  </a:lnTo>
                  <a:lnTo>
                    <a:pt x="210" y="264"/>
                  </a:lnTo>
                  <a:lnTo>
                    <a:pt x="204" y="262"/>
                  </a:lnTo>
                  <a:lnTo>
                    <a:pt x="200" y="264"/>
                  </a:lnTo>
                  <a:lnTo>
                    <a:pt x="196" y="264"/>
                  </a:lnTo>
                  <a:lnTo>
                    <a:pt x="194" y="262"/>
                  </a:lnTo>
                  <a:lnTo>
                    <a:pt x="194" y="258"/>
                  </a:lnTo>
                  <a:lnTo>
                    <a:pt x="194" y="256"/>
                  </a:lnTo>
                  <a:lnTo>
                    <a:pt x="192" y="254"/>
                  </a:lnTo>
                  <a:lnTo>
                    <a:pt x="190" y="254"/>
                  </a:lnTo>
                  <a:lnTo>
                    <a:pt x="188" y="252"/>
                  </a:lnTo>
                  <a:lnTo>
                    <a:pt x="186" y="252"/>
                  </a:lnTo>
                  <a:lnTo>
                    <a:pt x="184" y="248"/>
                  </a:lnTo>
                  <a:lnTo>
                    <a:pt x="182" y="246"/>
                  </a:lnTo>
                  <a:lnTo>
                    <a:pt x="182" y="244"/>
                  </a:lnTo>
                  <a:lnTo>
                    <a:pt x="180" y="242"/>
                  </a:lnTo>
                  <a:lnTo>
                    <a:pt x="176" y="242"/>
                  </a:lnTo>
                  <a:lnTo>
                    <a:pt x="174" y="242"/>
                  </a:lnTo>
                  <a:lnTo>
                    <a:pt x="172" y="246"/>
                  </a:lnTo>
                  <a:lnTo>
                    <a:pt x="170" y="246"/>
                  </a:lnTo>
                  <a:lnTo>
                    <a:pt x="160" y="246"/>
                  </a:lnTo>
                  <a:lnTo>
                    <a:pt x="158" y="244"/>
                  </a:lnTo>
                  <a:lnTo>
                    <a:pt x="158" y="240"/>
                  </a:lnTo>
                  <a:lnTo>
                    <a:pt x="156" y="236"/>
                  </a:lnTo>
                  <a:lnTo>
                    <a:pt x="154" y="238"/>
                  </a:lnTo>
                  <a:lnTo>
                    <a:pt x="150" y="240"/>
                  </a:lnTo>
                  <a:lnTo>
                    <a:pt x="150" y="238"/>
                  </a:lnTo>
                  <a:lnTo>
                    <a:pt x="148" y="232"/>
                  </a:lnTo>
                  <a:lnTo>
                    <a:pt x="142" y="232"/>
                  </a:lnTo>
                  <a:lnTo>
                    <a:pt x="134" y="232"/>
                  </a:lnTo>
                  <a:lnTo>
                    <a:pt x="130" y="232"/>
                  </a:lnTo>
                  <a:lnTo>
                    <a:pt x="128" y="234"/>
                  </a:lnTo>
                  <a:lnTo>
                    <a:pt x="126" y="236"/>
                  </a:lnTo>
                  <a:lnTo>
                    <a:pt x="124" y="234"/>
                  </a:lnTo>
                  <a:lnTo>
                    <a:pt x="122" y="230"/>
                  </a:lnTo>
                  <a:lnTo>
                    <a:pt x="122" y="226"/>
                  </a:lnTo>
                  <a:lnTo>
                    <a:pt x="120" y="222"/>
                  </a:lnTo>
                  <a:lnTo>
                    <a:pt x="122" y="218"/>
                  </a:lnTo>
                  <a:lnTo>
                    <a:pt x="122" y="216"/>
                  </a:lnTo>
                  <a:lnTo>
                    <a:pt x="120" y="212"/>
                  </a:lnTo>
                  <a:lnTo>
                    <a:pt x="120" y="210"/>
                  </a:lnTo>
                  <a:lnTo>
                    <a:pt x="118" y="206"/>
                  </a:lnTo>
                  <a:lnTo>
                    <a:pt x="116" y="198"/>
                  </a:lnTo>
                  <a:lnTo>
                    <a:pt x="116" y="194"/>
                  </a:lnTo>
                  <a:lnTo>
                    <a:pt x="116" y="192"/>
                  </a:lnTo>
                  <a:lnTo>
                    <a:pt x="116" y="190"/>
                  </a:lnTo>
                  <a:lnTo>
                    <a:pt x="114" y="190"/>
                  </a:lnTo>
                  <a:lnTo>
                    <a:pt x="114" y="188"/>
                  </a:lnTo>
                  <a:lnTo>
                    <a:pt x="114" y="184"/>
                  </a:lnTo>
                  <a:lnTo>
                    <a:pt x="112" y="180"/>
                  </a:lnTo>
                  <a:lnTo>
                    <a:pt x="108" y="180"/>
                  </a:lnTo>
                  <a:lnTo>
                    <a:pt x="104" y="180"/>
                  </a:lnTo>
                  <a:lnTo>
                    <a:pt x="104" y="178"/>
                  </a:lnTo>
                  <a:lnTo>
                    <a:pt x="104" y="176"/>
                  </a:lnTo>
                  <a:lnTo>
                    <a:pt x="102" y="176"/>
                  </a:lnTo>
                  <a:lnTo>
                    <a:pt x="98" y="176"/>
                  </a:lnTo>
                  <a:lnTo>
                    <a:pt x="92" y="176"/>
                  </a:lnTo>
                  <a:lnTo>
                    <a:pt x="90" y="176"/>
                  </a:lnTo>
                  <a:lnTo>
                    <a:pt x="90" y="182"/>
                  </a:lnTo>
                  <a:lnTo>
                    <a:pt x="90" y="186"/>
                  </a:lnTo>
                  <a:lnTo>
                    <a:pt x="90" y="188"/>
                  </a:lnTo>
                  <a:lnTo>
                    <a:pt x="86" y="188"/>
                  </a:lnTo>
                  <a:lnTo>
                    <a:pt x="86" y="186"/>
                  </a:lnTo>
                  <a:lnTo>
                    <a:pt x="84" y="188"/>
                  </a:lnTo>
                  <a:lnTo>
                    <a:pt x="80" y="190"/>
                  </a:lnTo>
                  <a:lnTo>
                    <a:pt x="76" y="190"/>
                  </a:lnTo>
                  <a:lnTo>
                    <a:pt x="72" y="188"/>
                  </a:lnTo>
                  <a:lnTo>
                    <a:pt x="70" y="186"/>
                  </a:lnTo>
                  <a:lnTo>
                    <a:pt x="70" y="182"/>
                  </a:lnTo>
                  <a:lnTo>
                    <a:pt x="68" y="178"/>
                  </a:lnTo>
                  <a:lnTo>
                    <a:pt x="68" y="174"/>
                  </a:lnTo>
                  <a:lnTo>
                    <a:pt x="68" y="170"/>
                  </a:lnTo>
                  <a:lnTo>
                    <a:pt x="68" y="166"/>
                  </a:lnTo>
                  <a:lnTo>
                    <a:pt x="64" y="158"/>
                  </a:lnTo>
                  <a:lnTo>
                    <a:pt x="42" y="160"/>
                  </a:lnTo>
                  <a:lnTo>
                    <a:pt x="28" y="158"/>
                  </a:lnTo>
                  <a:lnTo>
                    <a:pt x="20" y="158"/>
                  </a:lnTo>
                  <a:lnTo>
                    <a:pt x="16" y="162"/>
                  </a:lnTo>
                  <a:lnTo>
                    <a:pt x="6" y="166"/>
                  </a:lnTo>
                  <a:lnTo>
                    <a:pt x="6" y="168"/>
                  </a:lnTo>
                  <a:lnTo>
                    <a:pt x="4" y="160"/>
                  </a:lnTo>
                  <a:lnTo>
                    <a:pt x="0" y="156"/>
                  </a:lnTo>
                  <a:lnTo>
                    <a:pt x="0" y="154"/>
                  </a:lnTo>
                  <a:lnTo>
                    <a:pt x="2" y="154"/>
                  </a:lnTo>
                  <a:lnTo>
                    <a:pt x="10" y="148"/>
                  </a:lnTo>
                  <a:lnTo>
                    <a:pt x="12" y="144"/>
                  </a:lnTo>
                  <a:lnTo>
                    <a:pt x="14" y="140"/>
                  </a:lnTo>
                  <a:lnTo>
                    <a:pt x="16" y="140"/>
                  </a:lnTo>
                  <a:lnTo>
                    <a:pt x="18" y="138"/>
                  </a:lnTo>
                  <a:lnTo>
                    <a:pt x="20" y="138"/>
                  </a:lnTo>
                  <a:lnTo>
                    <a:pt x="26" y="138"/>
                  </a:lnTo>
                  <a:lnTo>
                    <a:pt x="26" y="136"/>
                  </a:lnTo>
                  <a:lnTo>
                    <a:pt x="26" y="134"/>
                  </a:lnTo>
                  <a:lnTo>
                    <a:pt x="30" y="134"/>
                  </a:lnTo>
                  <a:lnTo>
                    <a:pt x="34" y="134"/>
                  </a:lnTo>
                  <a:lnTo>
                    <a:pt x="36" y="132"/>
                  </a:lnTo>
                  <a:lnTo>
                    <a:pt x="36" y="140"/>
                  </a:lnTo>
                  <a:lnTo>
                    <a:pt x="42" y="140"/>
                  </a:lnTo>
                  <a:lnTo>
                    <a:pt x="46" y="140"/>
                  </a:lnTo>
                  <a:lnTo>
                    <a:pt x="48" y="138"/>
                  </a:lnTo>
                  <a:lnTo>
                    <a:pt x="52" y="138"/>
                  </a:lnTo>
                  <a:lnTo>
                    <a:pt x="54" y="136"/>
                  </a:lnTo>
                  <a:lnTo>
                    <a:pt x="54" y="132"/>
                  </a:lnTo>
                  <a:lnTo>
                    <a:pt x="54" y="128"/>
                  </a:lnTo>
                  <a:lnTo>
                    <a:pt x="54" y="126"/>
                  </a:lnTo>
                  <a:lnTo>
                    <a:pt x="56" y="126"/>
                  </a:lnTo>
                  <a:lnTo>
                    <a:pt x="56" y="124"/>
                  </a:lnTo>
                  <a:lnTo>
                    <a:pt x="58" y="122"/>
                  </a:lnTo>
                  <a:lnTo>
                    <a:pt x="60" y="116"/>
                  </a:lnTo>
                  <a:lnTo>
                    <a:pt x="58" y="112"/>
                  </a:lnTo>
                  <a:lnTo>
                    <a:pt x="56" y="108"/>
                  </a:lnTo>
                  <a:lnTo>
                    <a:pt x="58" y="102"/>
                  </a:lnTo>
                  <a:lnTo>
                    <a:pt x="60" y="98"/>
                  </a:lnTo>
                  <a:lnTo>
                    <a:pt x="62" y="96"/>
                  </a:lnTo>
                  <a:lnTo>
                    <a:pt x="64" y="94"/>
                  </a:lnTo>
                  <a:lnTo>
                    <a:pt x="64" y="92"/>
                  </a:lnTo>
                  <a:lnTo>
                    <a:pt x="66" y="86"/>
                  </a:lnTo>
                  <a:lnTo>
                    <a:pt x="68" y="80"/>
                  </a:lnTo>
                  <a:lnTo>
                    <a:pt x="70" y="74"/>
                  </a:lnTo>
                  <a:lnTo>
                    <a:pt x="70" y="68"/>
                  </a:lnTo>
                  <a:lnTo>
                    <a:pt x="70" y="58"/>
                  </a:lnTo>
                  <a:lnTo>
                    <a:pt x="72" y="48"/>
                  </a:lnTo>
                  <a:lnTo>
                    <a:pt x="72" y="42"/>
                  </a:lnTo>
                  <a:lnTo>
                    <a:pt x="74" y="40"/>
                  </a:lnTo>
                  <a:lnTo>
                    <a:pt x="76" y="32"/>
                  </a:lnTo>
                  <a:lnTo>
                    <a:pt x="78" y="26"/>
                  </a:lnTo>
                  <a:close/>
                  <a:moveTo>
                    <a:pt x="198" y="112"/>
                  </a:moveTo>
                  <a:lnTo>
                    <a:pt x="198" y="112"/>
                  </a:lnTo>
                  <a:lnTo>
                    <a:pt x="196" y="114"/>
                  </a:lnTo>
                  <a:lnTo>
                    <a:pt x="196" y="116"/>
                  </a:lnTo>
                  <a:lnTo>
                    <a:pt x="196" y="114"/>
                  </a:lnTo>
                  <a:lnTo>
                    <a:pt x="198" y="1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1" name="Freeform 493">
              <a:extLst>
                <a:ext uri="{FF2B5EF4-FFF2-40B4-BE49-F238E27FC236}">
                  <a16:creationId xmlns:a16="http://schemas.microsoft.com/office/drawing/2014/main" id="{D5E263D8-09E5-4BCB-AF56-924FD7C5002C}"/>
                </a:ext>
              </a:extLst>
            </p:cNvPr>
            <p:cNvSpPr>
              <a:spLocks/>
            </p:cNvSpPr>
            <p:nvPr/>
          </p:nvSpPr>
          <p:spPr bwMode="gray">
            <a:xfrm>
              <a:off x="4772240" y="3043442"/>
              <a:ext cx="110646" cy="122422"/>
            </a:xfrm>
            <a:custGeom>
              <a:avLst/>
              <a:gdLst>
                <a:gd name="T0" fmla="*/ 0 w 60"/>
                <a:gd name="T1" fmla="*/ 2147483647 h 66"/>
                <a:gd name="T2" fmla="*/ 2147483647 w 60"/>
                <a:gd name="T3" fmla="*/ 2147483647 h 66"/>
                <a:gd name="T4" fmla="*/ 2147483647 w 60"/>
                <a:gd name="T5" fmla="*/ 2147483647 h 66"/>
                <a:gd name="T6" fmla="*/ 2147483647 w 60"/>
                <a:gd name="T7" fmla="*/ 2147483647 h 66"/>
                <a:gd name="T8" fmla="*/ 2147483647 w 60"/>
                <a:gd name="T9" fmla="*/ 2147483647 h 66"/>
                <a:gd name="T10" fmla="*/ 2147483647 w 60"/>
                <a:gd name="T11" fmla="*/ 2147483647 h 66"/>
                <a:gd name="T12" fmla="*/ 2147483647 w 60"/>
                <a:gd name="T13" fmla="*/ 2147483647 h 66"/>
                <a:gd name="T14" fmla="*/ 2147483647 w 60"/>
                <a:gd name="T15" fmla="*/ 2147483647 h 66"/>
                <a:gd name="T16" fmla="*/ 2147483647 w 60"/>
                <a:gd name="T17" fmla="*/ 2147483647 h 66"/>
                <a:gd name="T18" fmla="*/ 2147483647 w 60"/>
                <a:gd name="T19" fmla="*/ 2147483647 h 66"/>
                <a:gd name="T20" fmla="*/ 2147483647 w 60"/>
                <a:gd name="T21" fmla="*/ 2147483647 h 66"/>
                <a:gd name="T22" fmla="*/ 2147483647 w 60"/>
                <a:gd name="T23" fmla="*/ 2147483647 h 66"/>
                <a:gd name="T24" fmla="*/ 2147483647 w 60"/>
                <a:gd name="T25" fmla="*/ 2147483647 h 66"/>
                <a:gd name="T26" fmla="*/ 2147483647 w 60"/>
                <a:gd name="T27" fmla="*/ 2147483647 h 66"/>
                <a:gd name="T28" fmla="*/ 2147483647 w 60"/>
                <a:gd name="T29" fmla="*/ 2147483647 h 66"/>
                <a:gd name="T30" fmla="*/ 2147483647 w 60"/>
                <a:gd name="T31" fmla="*/ 2147483647 h 66"/>
                <a:gd name="T32" fmla="*/ 2147483647 w 60"/>
                <a:gd name="T33" fmla="*/ 2147483647 h 66"/>
                <a:gd name="T34" fmla="*/ 2147483647 w 60"/>
                <a:gd name="T35" fmla="*/ 2147483647 h 66"/>
                <a:gd name="T36" fmla="*/ 2147483647 w 60"/>
                <a:gd name="T37" fmla="*/ 2147483647 h 66"/>
                <a:gd name="T38" fmla="*/ 2147483647 w 60"/>
                <a:gd name="T39" fmla="*/ 2147483647 h 66"/>
                <a:gd name="T40" fmla="*/ 2147483647 w 60"/>
                <a:gd name="T41" fmla="*/ 2147483647 h 66"/>
                <a:gd name="T42" fmla="*/ 2147483647 w 60"/>
                <a:gd name="T43" fmla="*/ 2147483647 h 66"/>
                <a:gd name="T44" fmla="*/ 2147483647 w 60"/>
                <a:gd name="T45" fmla="*/ 2147483647 h 66"/>
                <a:gd name="T46" fmla="*/ 2147483647 w 60"/>
                <a:gd name="T47" fmla="*/ 2147483647 h 66"/>
                <a:gd name="T48" fmla="*/ 2147483647 w 60"/>
                <a:gd name="T49" fmla="*/ 2147483647 h 66"/>
                <a:gd name="T50" fmla="*/ 2147483647 w 60"/>
                <a:gd name="T51" fmla="*/ 2147483647 h 66"/>
                <a:gd name="T52" fmla="*/ 2147483647 w 60"/>
                <a:gd name="T53" fmla="*/ 2147483647 h 66"/>
                <a:gd name="T54" fmla="*/ 2147483647 w 60"/>
                <a:gd name="T55" fmla="*/ 2147483647 h 66"/>
                <a:gd name="T56" fmla="*/ 2147483647 w 60"/>
                <a:gd name="T57" fmla="*/ 0 h 66"/>
                <a:gd name="T58" fmla="*/ 2147483647 w 60"/>
                <a:gd name="T59" fmla="*/ 0 h 66"/>
                <a:gd name="T60" fmla="*/ 2147483647 w 60"/>
                <a:gd name="T61" fmla="*/ 2147483647 h 66"/>
                <a:gd name="T62" fmla="*/ 2147483647 w 60"/>
                <a:gd name="T63" fmla="*/ 2147483647 h 66"/>
                <a:gd name="T64" fmla="*/ 2147483647 w 60"/>
                <a:gd name="T65" fmla="*/ 2147483647 h 66"/>
                <a:gd name="T66" fmla="*/ 2147483647 w 60"/>
                <a:gd name="T67" fmla="*/ 2147483647 h 66"/>
                <a:gd name="T68" fmla="*/ 2147483647 w 60"/>
                <a:gd name="T69" fmla="*/ 2147483647 h 66"/>
                <a:gd name="T70" fmla="*/ 2147483647 w 60"/>
                <a:gd name="T71" fmla="*/ 2147483647 h 66"/>
                <a:gd name="T72" fmla="*/ 2147483647 w 60"/>
                <a:gd name="T73" fmla="*/ 2147483647 h 66"/>
                <a:gd name="T74" fmla="*/ 2147483647 w 60"/>
                <a:gd name="T75" fmla="*/ 2147483647 h 66"/>
                <a:gd name="T76" fmla="*/ 2147483647 w 60"/>
                <a:gd name="T77" fmla="*/ 2147483647 h 66"/>
                <a:gd name="T78" fmla="*/ 2147483647 w 60"/>
                <a:gd name="T79" fmla="*/ 2147483647 h 66"/>
                <a:gd name="T80" fmla="*/ 2147483647 w 60"/>
                <a:gd name="T81" fmla="*/ 2147483647 h 66"/>
                <a:gd name="T82" fmla="*/ 2147483647 w 60"/>
                <a:gd name="T83" fmla="*/ 2147483647 h 66"/>
                <a:gd name="T84" fmla="*/ 2147483647 w 60"/>
                <a:gd name="T85" fmla="*/ 2147483647 h 66"/>
                <a:gd name="T86" fmla="*/ 2147483647 w 60"/>
                <a:gd name="T87" fmla="*/ 2147483647 h 66"/>
                <a:gd name="T88" fmla="*/ 2147483647 w 60"/>
                <a:gd name="T89" fmla="*/ 2147483647 h 66"/>
                <a:gd name="T90" fmla="*/ 2147483647 w 60"/>
                <a:gd name="T91" fmla="*/ 2147483647 h 66"/>
                <a:gd name="T92" fmla="*/ 2147483647 w 60"/>
                <a:gd name="T93" fmla="*/ 2147483647 h 66"/>
                <a:gd name="T94" fmla="*/ 2147483647 w 60"/>
                <a:gd name="T95" fmla="*/ 2147483647 h 66"/>
                <a:gd name="T96" fmla="*/ 2147483647 w 60"/>
                <a:gd name="T97" fmla="*/ 2147483647 h 66"/>
                <a:gd name="T98" fmla="*/ 2147483647 w 60"/>
                <a:gd name="T99" fmla="*/ 2147483647 h 66"/>
                <a:gd name="T100" fmla="*/ 0 w 60"/>
                <a:gd name="T101" fmla="*/ 2147483647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66"/>
                <a:gd name="T155" fmla="*/ 60 w 60"/>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66">
                  <a:moveTo>
                    <a:pt x="0" y="58"/>
                  </a:moveTo>
                  <a:lnTo>
                    <a:pt x="0" y="58"/>
                  </a:lnTo>
                  <a:lnTo>
                    <a:pt x="10" y="62"/>
                  </a:lnTo>
                  <a:lnTo>
                    <a:pt x="10" y="60"/>
                  </a:lnTo>
                  <a:lnTo>
                    <a:pt x="16" y="56"/>
                  </a:lnTo>
                  <a:lnTo>
                    <a:pt x="18" y="60"/>
                  </a:lnTo>
                  <a:lnTo>
                    <a:pt x="22" y="56"/>
                  </a:lnTo>
                  <a:lnTo>
                    <a:pt x="26" y="62"/>
                  </a:lnTo>
                  <a:lnTo>
                    <a:pt x="28" y="66"/>
                  </a:lnTo>
                  <a:lnTo>
                    <a:pt x="34" y="62"/>
                  </a:lnTo>
                  <a:lnTo>
                    <a:pt x="38" y="62"/>
                  </a:lnTo>
                  <a:lnTo>
                    <a:pt x="42" y="58"/>
                  </a:lnTo>
                  <a:lnTo>
                    <a:pt x="54" y="54"/>
                  </a:lnTo>
                  <a:lnTo>
                    <a:pt x="54" y="50"/>
                  </a:lnTo>
                  <a:lnTo>
                    <a:pt x="56" y="46"/>
                  </a:lnTo>
                  <a:lnTo>
                    <a:pt x="58" y="42"/>
                  </a:lnTo>
                  <a:lnTo>
                    <a:pt x="58" y="40"/>
                  </a:lnTo>
                  <a:lnTo>
                    <a:pt x="52" y="38"/>
                  </a:lnTo>
                  <a:lnTo>
                    <a:pt x="52" y="36"/>
                  </a:lnTo>
                  <a:lnTo>
                    <a:pt x="52" y="34"/>
                  </a:lnTo>
                  <a:lnTo>
                    <a:pt x="52" y="32"/>
                  </a:lnTo>
                  <a:lnTo>
                    <a:pt x="54" y="30"/>
                  </a:lnTo>
                  <a:lnTo>
                    <a:pt x="58" y="26"/>
                  </a:lnTo>
                  <a:lnTo>
                    <a:pt x="60" y="24"/>
                  </a:lnTo>
                  <a:lnTo>
                    <a:pt x="58" y="24"/>
                  </a:lnTo>
                  <a:lnTo>
                    <a:pt x="54" y="20"/>
                  </a:lnTo>
                  <a:lnTo>
                    <a:pt x="52" y="18"/>
                  </a:lnTo>
                  <a:lnTo>
                    <a:pt x="54" y="16"/>
                  </a:lnTo>
                  <a:lnTo>
                    <a:pt x="58" y="16"/>
                  </a:lnTo>
                  <a:lnTo>
                    <a:pt x="56" y="14"/>
                  </a:lnTo>
                  <a:lnTo>
                    <a:pt x="52" y="12"/>
                  </a:lnTo>
                  <a:lnTo>
                    <a:pt x="50" y="12"/>
                  </a:lnTo>
                  <a:lnTo>
                    <a:pt x="48" y="12"/>
                  </a:lnTo>
                  <a:lnTo>
                    <a:pt x="46" y="16"/>
                  </a:lnTo>
                  <a:lnTo>
                    <a:pt x="44" y="14"/>
                  </a:lnTo>
                  <a:lnTo>
                    <a:pt x="42" y="12"/>
                  </a:lnTo>
                  <a:lnTo>
                    <a:pt x="40" y="12"/>
                  </a:lnTo>
                  <a:lnTo>
                    <a:pt x="38" y="10"/>
                  </a:lnTo>
                  <a:lnTo>
                    <a:pt x="38" y="8"/>
                  </a:lnTo>
                  <a:lnTo>
                    <a:pt x="38" y="6"/>
                  </a:lnTo>
                  <a:lnTo>
                    <a:pt x="36" y="2"/>
                  </a:lnTo>
                  <a:lnTo>
                    <a:pt x="32" y="0"/>
                  </a:lnTo>
                  <a:lnTo>
                    <a:pt x="26" y="0"/>
                  </a:lnTo>
                  <a:lnTo>
                    <a:pt x="22" y="0"/>
                  </a:lnTo>
                  <a:lnTo>
                    <a:pt x="18" y="2"/>
                  </a:lnTo>
                  <a:lnTo>
                    <a:pt x="16" y="4"/>
                  </a:lnTo>
                  <a:lnTo>
                    <a:pt x="14" y="6"/>
                  </a:lnTo>
                  <a:lnTo>
                    <a:pt x="12" y="8"/>
                  </a:lnTo>
                  <a:lnTo>
                    <a:pt x="12" y="10"/>
                  </a:lnTo>
                  <a:lnTo>
                    <a:pt x="12" y="12"/>
                  </a:lnTo>
                  <a:lnTo>
                    <a:pt x="14" y="14"/>
                  </a:lnTo>
                  <a:lnTo>
                    <a:pt x="14" y="16"/>
                  </a:lnTo>
                  <a:lnTo>
                    <a:pt x="12" y="18"/>
                  </a:lnTo>
                  <a:lnTo>
                    <a:pt x="12" y="22"/>
                  </a:lnTo>
                  <a:lnTo>
                    <a:pt x="14" y="26"/>
                  </a:lnTo>
                  <a:lnTo>
                    <a:pt x="14" y="28"/>
                  </a:lnTo>
                  <a:lnTo>
                    <a:pt x="12" y="30"/>
                  </a:lnTo>
                  <a:lnTo>
                    <a:pt x="10" y="30"/>
                  </a:lnTo>
                  <a:lnTo>
                    <a:pt x="10" y="32"/>
                  </a:lnTo>
                  <a:lnTo>
                    <a:pt x="12" y="32"/>
                  </a:lnTo>
                  <a:lnTo>
                    <a:pt x="14" y="34"/>
                  </a:lnTo>
                  <a:lnTo>
                    <a:pt x="16" y="36"/>
                  </a:lnTo>
                  <a:lnTo>
                    <a:pt x="14" y="38"/>
                  </a:lnTo>
                  <a:lnTo>
                    <a:pt x="10" y="38"/>
                  </a:lnTo>
                  <a:lnTo>
                    <a:pt x="8" y="42"/>
                  </a:lnTo>
                  <a:lnTo>
                    <a:pt x="2" y="44"/>
                  </a:lnTo>
                  <a:lnTo>
                    <a:pt x="2" y="46"/>
                  </a:lnTo>
                  <a:lnTo>
                    <a:pt x="2" y="50"/>
                  </a:lnTo>
                  <a:lnTo>
                    <a:pt x="2" y="52"/>
                  </a:lnTo>
                  <a:lnTo>
                    <a:pt x="2" y="56"/>
                  </a:lnTo>
                  <a:lnTo>
                    <a:pt x="0" y="5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2" name="Freeform 494">
              <a:extLst>
                <a:ext uri="{FF2B5EF4-FFF2-40B4-BE49-F238E27FC236}">
                  <a16:creationId xmlns:a16="http://schemas.microsoft.com/office/drawing/2014/main" id="{933570BF-7910-4CE5-B971-3483E6F9CEE8}"/>
                </a:ext>
              </a:extLst>
            </p:cNvPr>
            <p:cNvSpPr>
              <a:spLocks noEditPoints="1"/>
            </p:cNvSpPr>
            <p:nvPr/>
          </p:nvSpPr>
          <p:spPr bwMode="gray">
            <a:xfrm>
              <a:off x="5278390" y="3799168"/>
              <a:ext cx="247189" cy="162446"/>
            </a:xfrm>
            <a:custGeom>
              <a:avLst/>
              <a:gdLst>
                <a:gd name="T0" fmla="*/ 2147483647 w 134"/>
                <a:gd name="T1" fmla="*/ 2147483647 h 88"/>
                <a:gd name="T2" fmla="*/ 2147483647 w 134"/>
                <a:gd name="T3" fmla="*/ 2147483647 h 88"/>
                <a:gd name="T4" fmla="*/ 2147483647 w 134"/>
                <a:gd name="T5" fmla="*/ 2147483647 h 88"/>
                <a:gd name="T6" fmla="*/ 2147483647 w 134"/>
                <a:gd name="T7" fmla="*/ 2147483647 h 88"/>
                <a:gd name="T8" fmla="*/ 2147483647 w 134"/>
                <a:gd name="T9" fmla="*/ 2147483647 h 88"/>
                <a:gd name="T10" fmla="*/ 2147483647 w 134"/>
                <a:gd name="T11" fmla="*/ 2147483647 h 88"/>
                <a:gd name="T12" fmla="*/ 2147483647 w 134"/>
                <a:gd name="T13" fmla="*/ 2147483647 h 88"/>
                <a:gd name="T14" fmla="*/ 2147483647 w 134"/>
                <a:gd name="T15" fmla="*/ 2147483647 h 88"/>
                <a:gd name="T16" fmla="*/ 2147483647 w 134"/>
                <a:gd name="T17" fmla="*/ 2147483647 h 88"/>
                <a:gd name="T18" fmla="*/ 2147483647 w 134"/>
                <a:gd name="T19" fmla="*/ 2147483647 h 88"/>
                <a:gd name="T20" fmla="*/ 2147483647 w 134"/>
                <a:gd name="T21" fmla="*/ 2147483647 h 88"/>
                <a:gd name="T22" fmla="*/ 2147483647 w 134"/>
                <a:gd name="T23" fmla="*/ 2147483647 h 88"/>
                <a:gd name="T24" fmla="*/ 2147483647 w 134"/>
                <a:gd name="T25" fmla="*/ 2147483647 h 88"/>
                <a:gd name="T26" fmla="*/ 2147483647 w 134"/>
                <a:gd name="T27" fmla="*/ 2147483647 h 88"/>
                <a:gd name="T28" fmla="*/ 2147483647 w 134"/>
                <a:gd name="T29" fmla="*/ 2147483647 h 88"/>
                <a:gd name="T30" fmla="*/ 2147483647 w 134"/>
                <a:gd name="T31" fmla="*/ 2147483647 h 88"/>
                <a:gd name="T32" fmla="*/ 2147483647 w 134"/>
                <a:gd name="T33" fmla="*/ 2147483647 h 88"/>
                <a:gd name="T34" fmla="*/ 2147483647 w 134"/>
                <a:gd name="T35" fmla="*/ 2147483647 h 88"/>
                <a:gd name="T36" fmla="*/ 2147483647 w 134"/>
                <a:gd name="T37" fmla="*/ 2147483647 h 88"/>
                <a:gd name="T38" fmla="*/ 2147483647 w 134"/>
                <a:gd name="T39" fmla="*/ 2147483647 h 88"/>
                <a:gd name="T40" fmla="*/ 2147483647 w 134"/>
                <a:gd name="T41" fmla="*/ 2147483647 h 88"/>
                <a:gd name="T42" fmla="*/ 2147483647 w 134"/>
                <a:gd name="T43" fmla="*/ 2147483647 h 88"/>
                <a:gd name="T44" fmla="*/ 2147483647 w 134"/>
                <a:gd name="T45" fmla="*/ 2147483647 h 88"/>
                <a:gd name="T46" fmla="*/ 2147483647 w 134"/>
                <a:gd name="T47" fmla="*/ 2147483647 h 88"/>
                <a:gd name="T48" fmla="*/ 2147483647 w 134"/>
                <a:gd name="T49" fmla="*/ 2147483647 h 88"/>
                <a:gd name="T50" fmla="*/ 2147483647 w 134"/>
                <a:gd name="T51" fmla="*/ 2147483647 h 88"/>
                <a:gd name="T52" fmla="*/ 2147483647 w 134"/>
                <a:gd name="T53" fmla="*/ 2147483647 h 88"/>
                <a:gd name="T54" fmla="*/ 2147483647 w 134"/>
                <a:gd name="T55" fmla="*/ 2147483647 h 88"/>
                <a:gd name="T56" fmla="*/ 2147483647 w 134"/>
                <a:gd name="T57" fmla="*/ 2147483647 h 88"/>
                <a:gd name="T58" fmla="*/ 2147483647 w 134"/>
                <a:gd name="T59" fmla="*/ 2147483647 h 88"/>
                <a:gd name="T60" fmla="*/ 2147483647 w 134"/>
                <a:gd name="T61" fmla="*/ 2147483647 h 88"/>
                <a:gd name="T62" fmla="*/ 2147483647 w 134"/>
                <a:gd name="T63" fmla="*/ 2147483647 h 88"/>
                <a:gd name="T64" fmla="*/ 2147483647 w 134"/>
                <a:gd name="T65" fmla="*/ 2147483647 h 88"/>
                <a:gd name="T66" fmla="*/ 2147483647 w 134"/>
                <a:gd name="T67" fmla="*/ 2147483647 h 88"/>
                <a:gd name="T68" fmla="*/ 2147483647 w 134"/>
                <a:gd name="T69" fmla="*/ 2147483647 h 88"/>
                <a:gd name="T70" fmla="*/ 2147483647 w 134"/>
                <a:gd name="T71" fmla="*/ 2147483647 h 88"/>
                <a:gd name="T72" fmla="*/ 2147483647 w 134"/>
                <a:gd name="T73" fmla="*/ 2147483647 h 88"/>
                <a:gd name="T74" fmla="*/ 2147483647 w 134"/>
                <a:gd name="T75" fmla="*/ 2147483647 h 88"/>
                <a:gd name="T76" fmla="*/ 2147483647 w 134"/>
                <a:gd name="T77" fmla="*/ 2147483647 h 88"/>
                <a:gd name="T78" fmla="*/ 0 w 134"/>
                <a:gd name="T79" fmla="*/ 2147483647 h 88"/>
                <a:gd name="T80" fmla="*/ 0 w 134"/>
                <a:gd name="T81" fmla="*/ 2147483647 h 88"/>
                <a:gd name="T82" fmla="*/ 2147483647 w 134"/>
                <a:gd name="T83" fmla="*/ 2147483647 h 88"/>
                <a:gd name="T84" fmla="*/ 2147483647 w 134"/>
                <a:gd name="T85" fmla="*/ 2147483647 h 88"/>
                <a:gd name="T86" fmla="*/ 2147483647 w 134"/>
                <a:gd name="T87" fmla="*/ 2147483647 h 88"/>
                <a:gd name="T88" fmla="*/ 2147483647 w 134"/>
                <a:gd name="T89" fmla="*/ 2147483647 h 88"/>
                <a:gd name="T90" fmla="*/ 2147483647 w 134"/>
                <a:gd name="T91" fmla="*/ 2147483647 h 88"/>
                <a:gd name="T92" fmla="*/ 2147483647 w 134"/>
                <a:gd name="T93" fmla="*/ 2147483647 h 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88"/>
                <a:gd name="T143" fmla="*/ 134 w 134"/>
                <a:gd name="T144" fmla="*/ 88 h 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88">
                  <a:moveTo>
                    <a:pt x="2" y="30"/>
                  </a:moveTo>
                  <a:lnTo>
                    <a:pt x="2" y="30"/>
                  </a:lnTo>
                  <a:lnTo>
                    <a:pt x="4" y="28"/>
                  </a:lnTo>
                  <a:lnTo>
                    <a:pt x="6" y="26"/>
                  </a:lnTo>
                  <a:lnTo>
                    <a:pt x="6" y="24"/>
                  </a:lnTo>
                  <a:lnTo>
                    <a:pt x="8" y="22"/>
                  </a:lnTo>
                  <a:lnTo>
                    <a:pt x="8" y="20"/>
                  </a:lnTo>
                  <a:lnTo>
                    <a:pt x="10" y="18"/>
                  </a:lnTo>
                  <a:lnTo>
                    <a:pt x="12" y="16"/>
                  </a:lnTo>
                  <a:lnTo>
                    <a:pt x="14" y="16"/>
                  </a:lnTo>
                  <a:lnTo>
                    <a:pt x="14" y="18"/>
                  </a:lnTo>
                  <a:lnTo>
                    <a:pt x="16" y="20"/>
                  </a:lnTo>
                  <a:lnTo>
                    <a:pt x="18" y="20"/>
                  </a:lnTo>
                  <a:lnTo>
                    <a:pt x="22" y="20"/>
                  </a:lnTo>
                  <a:lnTo>
                    <a:pt x="34" y="22"/>
                  </a:lnTo>
                  <a:lnTo>
                    <a:pt x="42" y="26"/>
                  </a:lnTo>
                  <a:lnTo>
                    <a:pt x="44" y="40"/>
                  </a:lnTo>
                  <a:lnTo>
                    <a:pt x="50" y="32"/>
                  </a:lnTo>
                  <a:lnTo>
                    <a:pt x="66" y="14"/>
                  </a:lnTo>
                  <a:lnTo>
                    <a:pt x="106" y="0"/>
                  </a:lnTo>
                  <a:lnTo>
                    <a:pt x="106" y="2"/>
                  </a:lnTo>
                  <a:lnTo>
                    <a:pt x="116" y="24"/>
                  </a:lnTo>
                  <a:lnTo>
                    <a:pt x="124" y="30"/>
                  </a:lnTo>
                  <a:lnTo>
                    <a:pt x="122" y="30"/>
                  </a:lnTo>
                  <a:lnTo>
                    <a:pt x="114" y="32"/>
                  </a:lnTo>
                  <a:lnTo>
                    <a:pt x="108" y="34"/>
                  </a:lnTo>
                  <a:lnTo>
                    <a:pt x="108" y="36"/>
                  </a:lnTo>
                  <a:lnTo>
                    <a:pt x="108" y="40"/>
                  </a:lnTo>
                  <a:lnTo>
                    <a:pt x="108" y="44"/>
                  </a:lnTo>
                  <a:lnTo>
                    <a:pt x="106" y="44"/>
                  </a:lnTo>
                  <a:lnTo>
                    <a:pt x="104" y="48"/>
                  </a:lnTo>
                  <a:lnTo>
                    <a:pt x="102" y="48"/>
                  </a:lnTo>
                  <a:lnTo>
                    <a:pt x="102" y="50"/>
                  </a:lnTo>
                  <a:lnTo>
                    <a:pt x="94" y="54"/>
                  </a:lnTo>
                  <a:lnTo>
                    <a:pt x="88" y="56"/>
                  </a:lnTo>
                  <a:lnTo>
                    <a:pt x="80" y="60"/>
                  </a:lnTo>
                  <a:lnTo>
                    <a:pt x="72" y="62"/>
                  </a:lnTo>
                  <a:lnTo>
                    <a:pt x="70" y="66"/>
                  </a:lnTo>
                  <a:lnTo>
                    <a:pt x="68" y="70"/>
                  </a:lnTo>
                  <a:lnTo>
                    <a:pt x="62" y="70"/>
                  </a:lnTo>
                  <a:lnTo>
                    <a:pt x="60" y="70"/>
                  </a:lnTo>
                  <a:lnTo>
                    <a:pt x="54" y="68"/>
                  </a:lnTo>
                  <a:lnTo>
                    <a:pt x="50" y="72"/>
                  </a:lnTo>
                  <a:lnTo>
                    <a:pt x="44" y="72"/>
                  </a:lnTo>
                  <a:lnTo>
                    <a:pt x="40" y="72"/>
                  </a:lnTo>
                  <a:lnTo>
                    <a:pt x="34" y="74"/>
                  </a:lnTo>
                  <a:lnTo>
                    <a:pt x="32" y="76"/>
                  </a:lnTo>
                  <a:lnTo>
                    <a:pt x="26" y="80"/>
                  </a:lnTo>
                  <a:lnTo>
                    <a:pt x="22" y="82"/>
                  </a:lnTo>
                  <a:lnTo>
                    <a:pt x="14" y="82"/>
                  </a:lnTo>
                  <a:lnTo>
                    <a:pt x="10" y="78"/>
                  </a:lnTo>
                  <a:lnTo>
                    <a:pt x="8" y="66"/>
                  </a:lnTo>
                  <a:lnTo>
                    <a:pt x="6" y="64"/>
                  </a:lnTo>
                  <a:lnTo>
                    <a:pt x="2" y="60"/>
                  </a:lnTo>
                  <a:lnTo>
                    <a:pt x="2" y="58"/>
                  </a:lnTo>
                  <a:lnTo>
                    <a:pt x="4" y="58"/>
                  </a:lnTo>
                  <a:lnTo>
                    <a:pt x="2" y="46"/>
                  </a:lnTo>
                  <a:lnTo>
                    <a:pt x="0" y="38"/>
                  </a:lnTo>
                  <a:lnTo>
                    <a:pt x="0" y="34"/>
                  </a:lnTo>
                  <a:lnTo>
                    <a:pt x="2" y="32"/>
                  </a:lnTo>
                  <a:lnTo>
                    <a:pt x="2" y="30"/>
                  </a:lnTo>
                  <a:close/>
                  <a:moveTo>
                    <a:pt x="128" y="86"/>
                  </a:moveTo>
                  <a:lnTo>
                    <a:pt x="128" y="86"/>
                  </a:lnTo>
                  <a:lnTo>
                    <a:pt x="126" y="86"/>
                  </a:lnTo>
                  <a:lnTo>
                    <a:pt x="130" y="88"/>
                  </a:lnTo>
                  <a:lnTo>
                    <a:pt x="134" y="88"/>
                  </a:lnTo>
                  <a:lnTo>
                    <a:pt x="134" y="86"/>
                  </a:lnTo>
                  <a:lnTo>
                    <a:pt x="132" y="86"/>
                  </a:lnTo>
                  <a:lnTo>
                    <a:pt x="128" y="8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3" name="Freeform 495">
              <a:extLst>
                <a:ext uri="{FF2B5EF4-FFF2-40B4-BE49-F238E27FC236}">
                  <a16:creationId xmlns:a16="http://schemas.microsoft.com/office/drawing/2014/main" id="{7E4B792A-4DAC-48EF-AE0A-AC87B1B29126}"/>
                </a:ext>
              </a:extLst>
            </p:cNvPr>
            <p:cNvSpPr>
              <a:spLocks/>
            </p:cNvSpPr>
            <p:nvPr/>
          </p:nvSpPr>
          <p:spPr bwMode="gray">
            <a:xfrm>
              <a:off x="4028320" y="3561385"/>
              <a:ext cx="188335" cy="178926"/>
            </a:xfrm>
            <a:custGeom>
              <a:avLst/>
              <a:gdLst>
                <a:gd name="T0" fmla="*/ 2147483647 w 102"/>
                <a:gd name="T1" fmla="*/ 0 h 96"/>
                <a:gd name="T2" fmla="*/ 2147483647 w 102"/>
                <a:gd name="T3" fmla="*/ 0 h 96"/>
                <a:gd name="T4" fmla="*/ 2147483647 w 102"/>
                <a:gd name="T5" fmla="*/ 2147483647 h 96"/>
                <a:gd name="T6" fmla="*/ 2147483647 w 102"/>
                <a:gd name="T7" fmla="*/ 2147483647 h 96"/>
                <a:gd name="T8" fmla="*/ 2147483647 w 102"/>
                <a:gd name="T9" fmla="*/ 2147483647 h 96"/>
                <a:gd name="T10" fmla="*/ 2147483647 w 102"/>
                <a:gd name="T11" fmla="*/ 2147483647 h 96"/>
                <a:gd name="T12" fmla="*/ 2147483647 w 102"/>
                <a:gd name="T13" fmla="*/ 2147483647 h 96"/>
                <a:gd name="T14" fmla="*/ 2147483647 w 102"/>
                <a:gd name="T15" fmla="*/ 2147483647 h 96"/>
                <a:gd name="T16" fmla="*/ 2147483647 w 102"/>
                <a:gd name="T17" fmla="*/ 2147483647 h 96"/>
                <a:gd name="T18" fmla="*/ 2147483647 w 102"/>
                <a:gd name="T19" fmla="*/ 2147483647 h 96"/>
                <a:gd name="T20" fmla="*/ 2147483647 w 102"/>
                <a:gd name="T21" fmla="*/ 2147483647 h 96"/>
                <a:gd name="T22" fmla="*/ 2147483647 w 102"/>
                <a:gd name="T23" fmla="*/ 2147483647 h 96"/>
                <a:gd name="T24" fmla="*/ 2147483647 w 102"/>
                <a:gd name="T25" fmla="*/ 2147483647 h 96"/>
                <a:gd name="T26" fmla="*/ 2147483647 w 102"/>
                <a:gd name="T27" fmla="*/ 2147483647 h 96"/>
                <a:gd name="T28" fmla="*/ 2147483647 w 102"/>
                <a:gd name="T29" fmla="*/ 2147483647 h 96"/>
                <a:gd name="T30" fmla="*/ 2147483647 w 102"/>
                <a:gd name="T31" fmla="*/ 2147483647 h 96"/>
                <a:gd name="T32" fmla="*/ 2147483647 w 102"/>
                <a:gd name="T33" fmla="*/ 2147483647 h 96"/>
                <a:gd name="T34" fmla="*/ 2147483647 w 102"/>
                <a:gd name="T35" fmla="*/ 2147483647 h 96"/>
                <a:gd name="T36" fmla="*/ 2147483647 w 102"/>
                <a:gd name="T37" fmla="*/ 2147483647 h 96"/>
                <a:gd name="T38" fmla="*/ 2147483647 w 102"/>
                <a:gd name="T39" fmla="*/ 2147483647 h 96"/>
                <a:gd name="T40" fmla="*/ 2147483647 w 102"/>
                <a:gd name="T41" fmla="*/ 2147483647 h 96"/>
                <a:gd name="T42" fmla="*/ 2147483647 w 102"/>
                <a:gd name="T43" fmla="*/ 2147483647 h 96"/>
                <a:gd name="T44" fmla="*/ 2147483647 w 102"/>
                <a:gd name="T45" fmla="*/ 2147483647 h 96"/>
                <a:gd name="T46" fmla="*/ 2147483647 w 102"/>
                <a:gd name="T47" fmla="*/ 2147483647 h 96"/>
                <a:gd name="T48" fmla="*/ 2147483647 w 102"/>
                <a:gd name="T49" fmla="*/ 2147483647 h 96"/>
                <a:gd name="T50" fmla="*/ 2147483647 w 102"/>
                <a:gd name="T51" fmla="*/ 2147483647 h 96"/>
                <a:gd name="T52" fmla="*/ 2147483647 w 102"/>
                <a:gd name="T53" fmla="*/ 2147483647 h 96"/>
                <a:gd name="T54" fmla="*/ 2147483647 w 102"/>
                <a:gd name="T55" fmla="*/ 2147483647 h 96"/>
                <a:gd name="T56" fmla="*/ 0 w 102"/>
                <a:gd name="T57" fmla="*/ 2147483647 h 96"/>
                <a:gd name="T58" fmla="*/ 0 w 102"/>
                <a:gd name="T59" fmla="*/ 2147483647 h 96"/>
                <a:gd name="T60" fmla="*/ 0 w 102"/>
                <a:gd name="T61" fmla="*/ 2147483647 h 96"/>
                <a:gd name="T62" fmla="*/ 2147483647 w 102"/>
                <a:gd name="T63" fmla="*/ 2147483647 h 96"/>
                <a:gd name="T64" fmla="*/ 2147483647 w 102"/>
                <a:gd name="T65" fmla="*/ 2147483647 h 96"/>
                <a:gd name="T66" fmla="*/ 2147483647 w 102"/>
                <a:gd name="T67" fmla="*/ 2147483647 h 96"/>
                <a:gd name="T68" fmla="*/ 2147483647 w 102"/>
                <a:gd name="T69" fmla="*/ 2147483647 h 96"/>
                <a:gd name="T70" fmla="*/ 2147483647 w 102"/>
                <a:gd name="T71" fmla="*/ 2147483647 h 96"/>
                <a:gd name="T72" fmla="*/ 2147483647 w 102"/>
                <a:gd name="T73" fmla="*/ 2147483647 h 96"/>
                <a:gd name="T74" fmla="*/ 2147483647 w 102"/>
                <a:gd name="T75" fmla="*/ 2147483647 h 96"/>
                <a:gd name="T76" fmla="*/ 2147483647 w 102"/>
                <a:gd name="T77" fmla="*/ 2147483647 h 96"/>
                <a:gd name="T78" fmla="*/ 2147483647 w 102"/>
                <a:gd name="T79" fmla="*/ 2147483647 h 96"/>
                <a:gd name="T80" fmla="*/ 2147483647 w 102"/>
                <a:gd name="T81" fmla="*/ 2147483647 h 96"/>
                <a:gd name="T82" fmla="*/ 2147483647 w 102"/>
                <a:gd name="T83" fmla="*/ 2147483647 h 96"/>
                <a:gd name="T84" fmla="*/ 2147483647 w 102"/>
                <a:gd name="T85" fmla="*/ 2147483647 h 96"/>
                <a:gd name="T86" fmla="*/ 2147483647 w 102"/>
                <a:gd name="T87" fmla="*/ 2147483647 h 96"/>
                <a:gd name="T88" fmla="*/ 2147483647 w 102"/>
                <a:gd name="T89" fmla="*/ 0 h 96"/>
                <a:gd name="T90" fmla="*/ 2147483647 w 102"/>
                <a:gd name="T91" fmla="*/ 0 h 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96"/>
                <a:gd name="T140" fmla="*/ 102 w 102"/>
                <a:gd name="T141" fmla="*/ 96 h 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96">
                  <a:moveTo>
                    <a:pt x="54" y="0"/>
                  </a:moveTo>
                  <a:lnTo>
                    <a:pt x="54" y="0"/>
                  </a:lnTo>
                  <a:lnTo>
                    <a:pt x="52" y="6"/>
                  </a:lnTo>
                  <a:lnTo>
                    <a:pt x="48" y="6"/>
                  </a:lnTo>
                  <a:lnTo>
                    <a:pt x="46" y="6"/>
                  </a:lnTo>
                  <a:lnTo>
                    <a:pt x="44" y="8"/>
                  </a:lnTo>
                  <a:lnTo>
                    <a:pt x="42" y="12"/>
                  </a:lnTo>
                  <a:lnTo>
                    <a:pt x="40" y="18"/>
                  </a:lnTo>
                  <a:lnTo>
                    <a:pt x="36" y="22"/>
                  </a:lnTo>
                  <a:lnTo>
                    <a:pt x="32" y="24"/>
                  </a:lnTo>
                  <a:lnTo>
                    <a:pt x="30" y="30"/>
                  </a:lnTo>
                  <a:lnTo>
                    <a:pt x="28" y="38"/>
                  </a:lnTo>
                  <a:lnTo>
                    <a:pt x="26" y="44"/>
                  </a:lnTo>
                  <a:lnTo>
                    <a:pt x="22" y="50"/>
                  </a:lnTo>
                  <a:lnTo>
                    <a:pt x="18" y="56"/>
                  </a:lnTo>
                  <a:lnTo>
                    <a:pt x="14" y="60"/>
                  </a:lnTo>
                  <a:lnTo>
                    <a:pt x="10" y="70"/>
                  </a:lnTo>
                  <a:lnTo>
                    <a:pt x="10" y="76"/>
                  </a:lnTo>
                  <a:lnTo>
                    <a:pt x="8" y="80"/>
                  </a:lnTo>
                  <a:lnTo>
                    <a:pt x="2" y="84"/>
                  </a:lnTo>
                  <a:lnTo>
                    <a:pt x="0" y="90"/>
                  </a:lnTo>
                  <a:lnTo>
                    <a:pt x="0" y="96"/>
                  </a:lnTo>
                  <a:lnTo>
                    <a:pt x="4" y="92"/>
                  </a:lnTo>
                  <a:lnTo>
                    <a:pt x="46" y="92"/>
                  </a:lnTo>
                  <a:lnTo>
                    <a:pt x="46" y="70"/>
                  </a:lnTo>
                  <a:lnTo>
                    <a:pt x="46" y="66"/>
                  </a:lnTo>
                  <a:lnTo>
                    <a:pt x="48" y="64"/>
                  </a:lnTo>
                  <a:lnTo>
                    <a:pt x="52" y="62"/>
                  </a:lnTo>
                  <a:lnTo>
                    <a:pt x="58" y="60"/>
                  </a:lnTo>
                  <a:lnTo>
                    <a:pt x="60" y="30"/>
                  </a:lnTo>
                  <a:lnTo>
                    <a:pt x="102" y="30"/>
                  </a:lnTo>
                  <a:lnTo>
                    <a:pt x="102" y="8"/>
                  </a:lnTo>
                  <a:lnTo>
                    <a:pt x="102" y="0"/>
                  </a:lnTo>
                  <a:lnTo>
                    <a:pt x="5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4" name="Freeform 496">
              <a:extLst>
                <a:ext uri="{FF2B5EF4-FFF2-40B4-BE49-F238E27FC236}">
                  <a16:creationId xmlns:a16="http://schemas.microsoft.com/office/drawing/2014/main" id="{C7D4CF5A-E3FD-4A74-80D7-D5DB76F49053}"/>
                </a:ext>
              </a:extLst>
            </p:cNvPr>
            <p:cNvSpPr>
              <a:spLocks noEditPoints="1"/>
            </p:cNvSpPr>
            <p:nvPr/>
          </p:nvSpPr>
          <p:spPr bwMode="gray">
            <a:xfrm>
              <a:off x="6537877" y="3695580"/>
              <a:ext cx="138897" cy="376687"/>
            </a:xfrm>
            <a:custGeom>
              <a:avLst/>
              <a:gdLst>
                <a:gd name="T0" fmla="*/ 2147483647 w 76"/>
                <a:gd name="T1" fmla="*/ 2147483647 h 204"/>
                <a:gd name="T2" fmla="*/ 2147483647 w 76"/>
                <a:gd name="T3" fmla="*/ 2147483647 h 204"/>
                <a:gd name="T4" fmla="*/ 2147483647 w 76"/>
                <a:gd name="T5" fmla="*/ 2147483647 h 204"/>
                <a:gd name="T6" fmla="*/ 2147483647 w 76"/>
                <a:gd name="T7" fmla="*/ 2147483647 h 204"/>
                <a:gd name="T8" fmla="*/ 2147483647 w 76"/>
                <a:gd name="T9" fmla="*/ 2147483647 h 204"/>
                <a:gd name="T10" fmla="*/ 2147483647 w 76"/>
                <a:gd name="T11" fmla="*/ 2147483647 h 204"/>
                <a:gd name="T12" fmla="*/ 2147483647 w 76"/>
                <a:gd name="T13" fmla="*/ 2147483647 h 204"/>
                <a:gd name="T14" fmla="*/ 2147483647 w 76"/>
                <a:gd name="T15" fmla="*/ 2147483647 h 204"/>
                <a:gd name="T16" fmla="*/ 2147483647 w 76"/>
                <a:gd name="T17" fmla="*/ 2147483647 h 204"/>
                <a:gd name="T18" fmla="*/ 2147483647 w 76"/>
                <a:gd name="T19" fmla="*/ 2147483647 h 204"/>
                <a:gd name="T20" fmla="*/ 2147483647 w 76"/>
                <a:gd name="T21" fmla="*/ 2147483647 h 204"/>
                <a:gd name="T22" fmla="*/ 2147483647 w 76"/>
                <a:gd name="T23" fmla="*/ 2147483647 h 204"/>
                <a:gd name="T24" fmla="*/ 2147483647 w 76"/>
                <a:gd name="T25" fmla="*/ 2147483647 h 204"/>
                <a:gd name="T26" fmla="*/ 2147483647 w 76"/>
                <a:gd name="T27" fmla="*/ 2147483647 h 204"/>
                <a:gd name="T28" fmla="*/ 2147483647 w 76"/>
                <a:gd name="T29" fmla="*/ 2147483647 h 204"/>
                <a:gd name="T30" fmla="*/ 2147483647 w 76"/>
                <a:gd name="T31" fmla="*/ 2147483647 h 204"/>
                <a:gd name="T32" fmla="*/ 2147483647 w 76"/>
                <a:gd name="T33" fmla="*/ 2147483647 h 204"/>
                <a:gd name="T34" fmla="*/ 2147483647 w 76"/>
                <a:gd name="T35" fmla="*/ 2147483647 h 204"/>
                <a:gd name="T36" fmla="*/ 2147483647 w 76"/>
                <a:gd name="T37" fmla="*/ 2147483647 h 204"/>
                <a:gd name="T38" fmla="*/ 2147483647 w 76"/>
                <a:gd name="T39" fmla="*/ 2147483647 h 204"/>
                <a:gd name="T40" fmla="*/ 2147483647 w 76"/>
                <a:gd name="T41" fmla="*/ 2147483647 h 204"/>
                <a:gd name="T42" fmla="*/ 2147483647 w 76"/>
                <a:gd name="T43" fmla="*/ 2147483647 h 204"/>
                <a:gd name="T44" fmla="*/ 2147483647 w 76"/>
                <a:gd name="T45" fmla="*/ 2147483647 h 204"/>
                <a:gd name="T46" fmla="*/ 2147483647 w 76"/>
                <a:gd name="T47" fmla="*/ 2147483647 h 204"/>
                <a:gd name="T48" fmla="*/ 2147483647 w 76"/>
                <a:gd name="T49" fmla="*/ 2147483647 h 204"/>
                <a:gd name="T50" fmla="*/ 2147483647 w 76"/>
                <a:gd name="T51" fmla="*/ 2147483647 h 204"/>
                <a:gd name="T52" fmla="*/ 2147483647 w 76"/>
                <a:gd name="T53" fmla="*/ 2147483647 h 204"/>
                <a:gd name="T54" fmla="*/ 2147483647 w 76"/>
                <a:gd name="T55" fmla="*/ 2147483647 h 204"/>
                <a:gd name="T56" fmla="*/ 2147483647 w 76"/>
                <a:gd name="T57" fmla="*/ 2147483647 h 204"/>
                <a:gd name="T58" fmla="*/ 2147483647 w 76"/>
                <a:gd name="T59" fmla="*/ 2147483647 h 204"/>
                <a:gd name="T60" fmla="*/ 2147483647 w 76"/>
                <a:gd name="T61" fmla="*/ 2147483647 h 204"/>
                <a:gd name="T62" fmla="*/ 2147483647 w 76"/>
                <a:gd name="T63" fmla="*/ 2147483647 h 204"/>
                <a:gd name="T64" fmla="*/ 2147483647 w 76"/>
                <a:gd name="T65" fmla="*/ 2147483647 h 204"/>
                <a:gd name="T66" fmla="*/ 2147483647 w 76"/>
                <a:gd name="T67" fmla="*/ 2147483647 h 204"/>
                <a:gd name="T68" fmla="*/ 2147483647 w 76"/>
                <a:gd name="T69" fmla="*/ 2147483647 h 204"/>
                <a:gd name="T70" fmla="*/ 2147483647 w 76"/>
                <a:gd name="T71" fmla="*/ 2147483647 h 204"/>
                <a:gd name="T72" fmla="*/ 2147483647 w 76"/>
                <a:gd name="T73" fmla="*/ 2147483647 h 204"/>
                <a:gd name="T74" fmla="*/ 2147483647 w 76"/>
                <a:gd name="T75" fmla="*/ 2147483647 h 204"/>
                <a:gd name="T76" fmla="*/ 2147483647 w 76"/>
                <a:gd name="T77" fmla="*/ 2147483647 h 204"/>
                <a:gd name="T78" fmla="*/ 2147483647 w 76"/>
                <a:gd name="T79" fmla="*/ 2147483647 h 204"/>
                <a:gd name="T80" fmla="*/ 2147483647 w 76"/>
                <a:gd name="T81" fmla="*/ 2147483647 h 204"/>
                <a:gd name="T82" fmla="*/ 2147483647 w 76"/>
                <a:gd name="T83" fmla="*/ 2147483647 h 204"/>
                <a:gd name="T84" fmla="*/ 2147483647 w 76"/>
                <a:gd name="T85" fmla="*/ 2147483647 h 204"/>
                <a:gd name="T86" fmla="*/ 2147483647 w 76"/>
                <a:gd name="T87" fmla="*/ 2147483647 h 204"/>
                <a:gd name="T88" fmla="*/ 2147483647 w 76"/>
                <a:gd name="T89" fmla="*/ 2147483647 h 204"/>
                <a:gd name="T90" fmla="*/ 2147483647 w 76"/>
                <a:gd name="T91" fmla="*/ 2147483647 h 204"/>
                <a:gd name="T92" fmla="*/ 2147483647 w 76"/>
                <a:gd name="T93" fmla="*/ 2147483647 h 204"/>
                <a:gd name="T94" fmla="*/ 2147483647 w 76"/>
                <a:gd name="T95" fmla="*/ 2147483647 h 204"/>
                <a:gd name="T96" fmla="*/ 2147483647 w 76"/>
                <a:gd name="T97" fmla="*/ 2147483647 h 204"/>
                <a:gd name="T98" fmla="*/ 2147483647 w 76"/>
                <a:gd name="T99" fmla="*/ 2147483647 h 204"/>
                <a:gd name="T100" fmla="*/ 2147483647 w 76"/>
                <a:gd name="T101" fmla="*/ 2147483647 h 204"/>
                <a:gd name="T102" fmla="*/ 2147483647 w 76"/>
                <a:gd name="T103" fmla="*/ 2147483647 h 204"/>
                <a:gd name="T104" fmla="*/ 2147483647 w 76"/>
                <a:gd name="T105" fmla="*/ 2147483647 h 204"/>
                <a:gd name="T106" fmla="*/ 2147483647 w 76"/>
                <a:gd name="T107" fmla="*/ 2147483647 h 204"/>
                <a:gd name="T108" fmla="*/ 2147483647 w 76"/>
                <a:gd name="T109" fmla="*/ 2147483647 h 204"/>
                <a:gd name="T110" fmla="*/ 2147483647 w 76"/>
                <a:gd name="T111" fmla="*/ 2147483647 h 2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204"/>
                <a:gd name="T170" fmla="*/ 76 w 76"/>
                <a:gd name="T171" fmla="*/ 204 h 2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204">
                  <a:moveTo>
                    <a:pt x="60" y="22"/>
                  </a:moveTo>
                  <a:lnTo>
                    <a:pt x="56" y="20"/>
                  </a:lnTo>
                  <a:lnTo>
                    <a:pt x="50" y="20"/>
                  </a:lnTo>
                  <a:lnTo>
                    <a:pt x="44" y="22"/>
                  </a:lnTo>
                  <a:lnTo>
                    <a:pt x="38" y="16"/>
                  </a:lnTo>
                  <a:lnTo>
                    <a:pt x="42" y="10"/>
                  </a:lnTo>
                  <a:lnTo>
                    <a:pt x="42" y="8"/>
                  </a:lnTo>
                  <a:lnTo>
                    <a:pt x="38" y="6"/>
                  </a:lnTo>
                  <a:lnTo>
                    <a:pt x="32" y="2"/>
                  </a:lnTo>
                  <a:lnTo>
                    <a:pt x="28" y="0"/>
                  </a:lnTo>
                  <a:lnTo>
                    <a:pt x="24" y="2"/>
                  </a:lnTo>
                  <a:lnTo>
                    <a:pt x="16" y="4"/>
                  </a:lnTo>
                  <a:lnTo>
                    <a:pt x="12" y="8"/>
                  </a:lnTo>
                  <a:lnTo>
                    <a:pt x="6" y="2"/>
                  </a:lnTo>
                  <a:lnTo>
                    <a:pt x="2" y="4"/>
                  </a:lnTo>
                  <a:lnTo>
                    <a:pt x="0" y="8"/>
                  </a:lnTo>
                  <a:lnTo>
                    <a:pt x="4" y="12"/>
                  </a:lnTo>
                  <a:lnTo>
                    <a:pt x="8" y="16"/>
                  </a:lnTo>
                  <a:lnTo>
                    <a:pt x="10" y="18"/>
                  </a:lnTo>
                  <a:lnTo>
                    <a:pt x="14" y="20"/>
                  </a:lnTo>
                  <a:lnTo>
                    <a:pt x="18" y="16"/>
                  </a:lnTo>
                  <a:lnTo>
                    <a:pt x="24" y="18"/>
                  </a:lnTo>
                  <a:lnTo>
                    <a:pt x="28" y="22"/>
                  </a:lnTo>
                  <a:lnTo>
                    <a:pt x="28" y="30"/>
                  </a:lnTo>
                  <a:lnTo>
                    <a:pt x="24" y="32"/>
                  </a:lnTo>
                  <a:lnTo>
                    <a:pt x="24" y="42"/>
                  </a:lnTo>
                  <a:lnTo>
                    <a:pt x="22" y="44"/>
                  </a:lnTo>
                  <a:lnTo>
                    <a:pt x="16" y="44"/>
                  </a:lnTo>
                  <a:lnTo>
                    <a:pt x="12" y="46"/>
                  </a:lnTo>
                  <a:lnTo>
                    <a:pt x="14" y="52"/>
                  </a:lnTo>
                  <a:lnTo>
                    <a:pt x="22" y="56"/>
                  </a:lnTo>
                  <a:lnTo>
                    <a:pt x="24" y="64"/>
                  </a:lnTo>
                  <a:lnTo>
                    <a:pt x="30" y="72"/>
                  </a:lnTo>
                  <a:lnTo>
                    <a:pt x="34" y="74"/>
                  </a:lnTo>
                  <a:lnTo>
                    <a:pt x="34" y="78"/>
                  </a:lnTo>
                  <a:lnTo>
                    <a:pt x="38" y="84"/>
                  </a:lnTo>
                  <a:lnTo>
                    <a:pt x="42" y="88"/>
                  </a:lnTo>
                  <a:lnTo>
                    <a:pt x="44" y="92"/>
                  </a:lnTo>
                  <a:lnTo>
                    <a:pt x="48" y="98"/>
                  </a:lnTo>
                  <a:lnTo>
                    <a:pt x="52" y="100"/>
                  </a:lnTo>
                  <a:lnTo>
                    <a:pt x="52" y="106"/>
                  </a:lnTo>
                  <a:lnTo>
                    <a:pt x="52" y="114"/>
                  </a:lnTo>
                  <a:lnTo>
                    <a:pt x="52" y="118"/>
                  </a:lnTo>
                  <a:lnTo>
                    <a:pt x="52" y="124"/>
                  </a:lnTo>
                  <a:lnTo>
                    <a:pt x="54" y="130"/>
                  </a:lnTo>
                  <a:lnTo>
                    <a:pt x="54" y="134"/>
                  </a:lnTo>
                  <a:lnTo>
                    <a:pt x="56" y="138"/>
                  </a:lnTo>
                  <a:lnTo>
                    <a:pt x="58" y="144"/>
                  </a:lnTo>
                  <a:lnTo>
                    <a:pt x="56" y="152"/>
                  </a:lnTo>
                  <a:lnTo>
                    <a:pt x="54" y="160"/>
                  </a:lnTo>
                  <a:lnTo>
                    <a:pt x="46" y="164"/>
                  </a:lnTo>
                  <a:lnTo>
                    <a:pt x="42" y="168"/>
                  </a:lnTo>
                  <a:lnTo>
                    <a:pt x="40" y="172"/>
                  </a:lnTo>
                  <a:lnTo>
                    <a:pt x="32" y="170"/>
                  </a:lnTo>
                  <a:lnTo>
                    <a:pt x="28" y="172"/>
                  </a:lnTo>
                  <a:lnTo>
                    <a:pt x="24" y="174"/>
                  </a:lnTo>
                  <a:lnTo>
                    <a:pt x="20" y="176"/>
                  </a:lnTo>
                  <a:lnTo>
                    <a:pt x="18" y="180"/>
                  </a:lnTo>
                  <a:lnTo>
                    <a:pt x="22" y="182"/>
                  </a:lnTo>
                  <a:lnTo>
                    <a:pt x="20" y="192"/>
                  </a:lnTo>
                  <a:lnTo>
                    <a:pt x="22" y="198"/>
                  </a:lnTo>
                  <a:lnTo>
                    <a:pt x="26" y="200"/>
                  </a:lnTo>
                  <a:lnTo>
                    <a:pt x="26" y="202"/>
                  </a:lnTo>
                  <a:lnTo>
                    <a:pt x="24" y="202"/>
                  </a:lnTo>
                  <a:lnTo>
                    <a:pt x="24" y="204"/>
                  </a:lnTo>
                  <a:lnTo>
                    <a:pt x="30" y="200"/>
                  </a:lnTo>
                  <a:lnTo>
                    <a:pt x="30" y="196"/>
                  </a:lnTo>
                  <a:lnTo>
                    <a:pt x="34" y="198"/>
                  </a:lnTo>
                  <a:lnTo>
                    <a:pt x="36" y="196"/>
                  </a:lnTo>
                  <a:lnTo>
                    <a:pt x="34" y="194"/>
                  </a:lnTo>
                  <a:lnTo>
                    <a:pt x="34" y="190"/>
                  </a:lnTo>
                  <a:lnTo>
                    <a:pt x="34" y="188"/>
                  </a:lnTo>
                  <a:lnTo>
                    <a:pt x="36" y="190"/>
                  </a:lnTo>
                  <a:lnTo>
                    <a:pt x="40" y="192"/>
                  </a:lnTo>
                  <a:lnTo>
                    <a:pt x="42" y="186"/>
                  </a:lnTo>
                  <a:lnTo>
                    <a:pt x="38" y="186"/>
                  </a:lnTo>
                  <a:lnTo>
                    <a:pt x="36" y="184"/>
                  </a:lnTo>
                  <a:lnTo>
                    <a:pt x="34" y="178"/>
                  </a:lnTo>
                  <a:lnTo>
                    <a:pt x="38" y="180"/>
                  </a:lnTo>
                  <a:lnTo>
                    <a:pt x="38" y="182"/>
                  </a:lnTo>
                  <a:lnTo>
                    <a:pt x="50" y="182"/>
                  </a:lnTo>
                  <a:lnTo>
                    <a:pt x="48" y="178"/>
                  </a:lnTo>
                  <a:lnTo>
                    <a:pt x="50" y="178"/>
                  </a:lnTo>
                  <a:lnTo>
                    <a:pt x="52" y="178"/>
                  </a:lnTo>
                  <a:lnTo>
                    <a:pt x="56" y="176"/>
                  </a:lnTo>
                  <a:lnTo>
                    <a:pt x="64" y="172"/>
                  </a:lnTo>
                  <a:lnTo>
                    <a:pt x="70" y="166"/>
                  </a:lnTo>
                  <a:lnTo>
                    <a:pt x="72" y="162"/>
                  </a:lnTo>
                  <a:lnTo>
                    <a:pt x="74" y="156"/>
                  </a:lnTo>
                  <a:lnTo>
                    <a:pt x="76" y="142"/>
                  </a:lnTo>
                  <a:lnTo>
                    <a:pt x="72" y="126"/>
                  </a:lnTo>
                  <a:lnTo>
                    <a:pt x="68" y="112"/>
                  </a:lnTo>
                  <a:lnTo>
                    <a:pt x="66" y="110"/>
                  </a:lnTo>
                  <a:lnTo>
                    <a:pt x="62" y="106"/>
                  </a:lnTo>
                  <a:lnTo>
                    <a:pt x="62" y="102"/>
                  </a:lnTo>
                  <a:lnTo>
                    <a:pt x="62" y="100"/>
                  </a:lnTo>
                  <a:lnTo>
                    <a:pt x="56" y="94"/>
                  </a:lnTo>
                  <a:lnTo>
                    <a:pt x="52" y="88"/>
                  </a:lnTo>
                  <a:lnTo>
                    <a:pt x="52" y="86"/>
                  </a:lnTo>
                  <a:lnTo>
                    <a:pt x="52" y="84"/>
                  </a:lnTo>
                  <a:lnTo>
                    <a:pt x="48" y="82"/>
                  </a:lnTo>
                  <a:lnTo>
                    <a:pt x="42" y="80"/>
                  </a:lnTo>
                  <a:lnTo>
                    <a:pt x="42" y="76"/>
                  </a:lnTo>
                  <a:lnTo>
                    <a:pt x="42" y="74"/>
                  </a:lnTo>
                  <a:lnTo>
                    <a:pt x="36" y="70"/>
                  </a:lnTo>
                  <a:lnTo>
                    <a:pt x="34" y="64"/>
                  </a:lnTo>
                  <a:lnTo>
                    <a:pt x="32" y="58"/>
                  </a:lnTo>
                  <a:lnTo>
                    <a:pt x="34" y="52"/>
                  </a:lnTo>
                  <a:lnTo>
                    <a:pt x="36" y="46"/>
                  </a:lnTo>
                  <a:lnTo>
                    <a:pt x="38" y="44"/>
                  </a:lnTo>
                  <a:lnTo>
                    <a:pt x="42" y="44"/>
                  </a:lnTo>
                  <a:lnTo>
                    <a:pt x="44" y="38"/>
                  </a:lnTo>
                  <a:lnTo>
                    <a:pt x="48" y="32"/>
                  </a:lnTo>
                  <a:lnTo>
                    <a:pt x="54" y="26"/>
                  </a:lnTo>
                  <a:lnTo>
                    <a:pt x="60" y="22"/>
                  </a:lnTo>
                  <a:close/>
                  <a:moveTo>
                    <a:pt x="34" y="184"/>
                  </a:moveTo>
                  <a:lnTo>
                    <a:pt x="34" y="184"/>
                  </a:lnTo>
                  <a:lnTo>
                    <a:pt x="34" y="186"/>
                  </a:lnTo>
                  <a:lnTo>
                    <a:pt x="32" y="188"/>
                  </a:lnTo>
                  <a:lnTo>
                    <a:pt x="32" y="186"/>
                  </a:lnTo>
                  <a:lnTo>
                    <a:pt x="32" y="184"/>
                  </a:lnTo>
                  <a:lnTo>
                    <a:pt x="34" y="184"/>
                  </a:lnTo>
                  <a:close/>
                  <a:moveTo>
                    <a:pt x="32" y="182"/>
                  </a:moveTo>
                  <a:lnTo>
                    <a:pt x="32" y="182"/>
                  </a:lnTo>
                  <a:lnTo>
                    <a:pt x="34" y="182"/>
                  </a:lnTo>
                  <a:lnTo>
                    <a:pt x="32" y="184"/>
                  </a:lnTo>
                  <a:lnTo>
                    <a:pt x="30" y="184"/>
                  </a:lnTo>
                  <a:lnTo>
                    <a:pt x="30" y="182"/>
                  </a:lnTo>
                  <a:lnTo>
                    <a:pt x="32" y="182"/>
                  </a:lnTo>
                  <a:close/>
                  <a:moveTo>
                    <a:pt x="28" y="174"/>
                  </a:moveTo>
                  <a:lnTo>
                    <a:pt x="28" y="174"/>
                  </a:lnTo>
                  <a:lnTo>
                    <a:pt x="30" y="176"/>
                  </a:lnTo>
                  <a:lnTo>
                    <a:pt x="28" y="178"/>
                  </a:lnTo>
                  <a:lnTo>
                    <a:pt x="26" y="176"/>
                  </a:lnTo>
                  <a:lnTo>
                    <a:pt x="28" y="17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5" name="Freeform 497">
              <a:extLst>
                <a:ext uri="{FF2B5EF4-FFF2-40B4-BE49-F238E27FC236}">
                  <a16:creationId xmlns:a16="http://schemas.microsoft.com/office/drawing/2014/main" id="{10810636-59D0-484E-8347-6545D6CAB32E}"/>
                </a:ext>
              </a:extLst>
            </p:cNvPr>
            <p:cNvSpPr>
              <a:spLocks/>
            </p:cNvSpPr>
            <p:nvPr/>
          </p:nvSpPr>
          <p:spPr bwMode="gray">
            <a:xfrm>
              <a:off x="2839456" y="3987511"/>
              <a:ext cx="284856" cy="296641"/>
            </a:xfrm>
            <a:custGeom>
              <a:avLst/>
              <a:gdLst>
                <a:gd name="T0" fmla="*/ 2147483647 w 154"/>
                <a:gd name="T1" fmla="*/ 2147483647 h 160"/>
                <a:gd name="T2" fmla="*/ 2147483647 w 154"/>
                <a:gd name="T3" fmla="*/ 2147483647 h 160"/>
                <a:gd name="T4" fmla="*/ 2147483647 w 154"/>
                <a:gd name="T5" fmla="*/ 2147483647 h 160"/>
                <a:gd name="T6" fmla="*/ 2147483647 w 154"/>
                <a:gd name="T7" fmla="*/ 2147483647 h 160"/>
                <a:gd name="T8" fmla="*/ 2147483647 w 154"/>
                <a:gd name="T9" fmla="*/ 2147483647 h 160"/>
                <a:gd name="T10" fmla="*/ 2147483647 w 154"/>
                <a:gd name="T11" fmla="*/ 2147483647 h 160"/>
                <a:gd name="T12" fmla="*/ 2147483647 w 154"/>
                <a:gd name="T13" fmla="*/ 2147483647 h 160"/>
                <a:gd name="T14" fmla="*/ 2147483647 w 154"/>
                <a:gd name="T15" fmla="*/ 2147483647 h 160"/>
                <a:gd name="T16" fmla="*/ 2147483647 w 154"/>
                <a:gd name="T17" fmla="*/ 2147483647 h 160"/>
                <a:gd name="T18" fmla="*/ 2147483647 w 154"/>
                <a:gd name="T19" fmla="*/ 2147483647 h 160"/>
                <a:gd name="T20" fmla="*/ 2147483647 w 154"/>
                <a:gd name="T21" fmla="*/ 2147483647 h 160"/>
                <a:gd name="T22" fmla="*/ 2147483647 w 154"/>
                <a:gd name="T23" fmla="*/ 2147483647 h 160"/>
                <a:gd name="T24" fmla="*/ 2147483647 w 154"/>
                <a:gd name="T25" fmla="*/ 0 h 160"/>
                <a:gd name="T26" fmla="*/ 2147483647 w 154"/>
                <a:gd name="T27" fmla="*/ 2147483647 h 160"/>
                <a:gd name="T28" fmla="*/ 2147483647 w 154"/>
                <a:gd name="T29" fmla="*/ 2147483647 h 160"/>
                <a:gd name="T30" fmla="*/ 2147483647 w 154"/>
                <a:gd name="T31" fmla="*/ 2147483647 h 160"/>
                <a:gd name="T32" fmla="*/ 2147483647 w 154"/>
                <a:gd name="T33" fmla="*/ 2147483647 h 160"/>
                <a:gd name="T34" fmla="*/ 2147483647 w 154"/>
                <a:gd name="T35" fmla="*/ 2147483647 h 160"/>
                <a:gd name="T36" fmla="*/ 2147483647 w 154"/>
                <a:gd name="T37" fmla="*/ 2147483647 h 160"/>
                <a:gd name="T38" fmla="*/ 2147483647 w 154"/>
                <a:gd name="T39" fmla="*/ 2147483647 h 160"/>
                <a:gd name="T40" fmla="*/ 2147483647 w 154"/>
                <a:gd name="T41" fmla="*/ 2147483647 h 160"/>
                <a:gd name="T42" fmla="*/ 2147483647 w 154"/>
                <a:gd name="T43" fmla="*/ 2147483647 h 160"/>
                <a:gd name="T44" fmla="*/ 0 w 154"/>
                <a:gd name="T45" fmla="*/ 2147483647 h 160"/>
                <a:gd name="T46" fmla="*/ 2147483647 w 154"/>
                <a:gd name="T47" fmla="*/ 2147483647 h 160"/>
                <a:gd name="T48" fmla="*/ 2147483647 w 154"/>
                <a:gd name="T49" fmla="*/ 2147483647 h 160"/>
                <a:gd name="T50" fmla="*/ 2147483647 w 154"/>
                <a:gd name="T51" fmla="*/ 2147483647 h 160"/>
                <a:gd name="T52" fmla="*/ 2147483647 w 154"/>
                <a:gd name="T53" fmla="*/ 2147483647 h 160"/>
                <a:gd name="T54" fmla="*/ 2147483647 w 154"/>
                <a:gd name="T55" fmla="*/ 2147483647 h 160"/>
                <a:gd name="T56" fmla="*/ 2147483647 w 154"/>
                <a:gd name="T57" fmla="*/ 2147483647 h 160"/>
                <a:gd name="T58" fmla="*/ 2147483647 w 154"/>
                <a:gd name="T59" fmla="*/ 2147483647 h 160"/>
                <a:gd name="T60" fmla="*/ 2147483647 w 154"/>
                <a:gd name="T61" fmla="*/ 2147483647 h 160"/>
                <a:gd name="T62" fmla="*/ 2147483647 w 154"/>
                <a:gd name="T63" fmla="*/ 2147483647 h 160"/>
                <a:gd name="T64" fmla="*/ 2147483647 w 154"/>
                <a:gd name="T65" fmla="*/ 2147483647 h 160"/>
                <a:gd name="T66" fmla="*/ 2147483647 w 154"/>
                <a:gd name="T67" fmla="*/ 2147483647 h 160"/>
                <a:gd name="T68" fmla="*/ 2147483647 w 154"/>
                <a:gd name="T69" fmla="*/ 2147483647 h 160"/>
                <a:gd name="T70" fmla="*/ 2147483647 w 154"/>
                <a:gd name="T71" fmla="*/ 2147483647 h 160"/>
                <a:gd name="T72" fmla="*/ 2147483647 w 154"/>
                <a:gd name="T73" fmla="*/ 2147483647 h 160"/>
                <a:gd name="T74" fmla="*/ 2147483647 w 154"/>
                <a:gd name="T75" fmla="*/ 2147483647 h 160"/>
                <a:gd name="T76" fmla="*/ 2147483647 w 154"/>
                <a:gd name="T77" fmla="*/ 2147483647 h 160"/>
                <a:gd name="T78" fmla="*/ 2147483647 w 154"/>
                <a:gd name="T79" fmla="*/ 2147483647 h 160"/>
                <a:gd name="T80" fmla="*/ 2147483647 w 154"/>
                <a:gd name="T81" fmla="*/ 2147483647 h 160"/>
                <a:gd name="T82" fmla="*/ 2147483647 w 154"/>
                <a:gd name="T83" fmla="*/ 2147483647 h 160"/>
                <a:gd name="T84" fmla="*/ 2147483647 w 154"/>
                <a:gd name="T85" fmla="*/ 2147483647 h 160"/>
                <a:gd name="T86" fmla="*/ 2147483647 w 154"/>
                <a:gd name="T87" fmla="*/ 2147483647 h 160"/>
                <a:gd name="T88" fmla="*/ 2147483647 w 154"/>
                <a:gd name="T89" fmla="*/ 2147483647 h 160"/>
                <a:gd name="T90" fmla="*/ 2147483647 w 154"/>
                <a:gd name="T91" fmla="*/ 2147483647 h 160"/>
                <a:gd name="T92" fmla="*/ 2147483647 w 154"/>
                <a:gd name="T93" fmla="*/ 2147483647 h 160"/>
                <a:gd name="T94" fmla="*/ 2147483647 w 154"/>
                <a:gd name="T95" fmla="*/ 2147483647 h 160"/>
                <a:gd name="T96" fmla="*/ 2147483647 w 154"/>
                <a:gd name="T97" fmla="*/ 2147483647 h 160"/>
                <a:gd name="T98" fmla="*/ 2147483647 w 154"/>
                <a:gd name="T99" fmla="*/ 2147483647 h 160"/>
                <a:gd name="T100" fmla="*/ 2147483647 w 154"/>
                <a:gd name="T101" fmla="*/ 2147483647 h 160"/>
                <a:gd name="T102" fmla="*/ 2147483647 w 154"/>
                <a:gd name="T103" fmla="*/ 2147483647 h 160"/>
                <a:gd name="T104" fmla="*/ 2147483647 w 154"/>
                <a:gd name="T105" fmla="*/ 2147483647 h 160"/>
                <a:gd name="T106" fmla="*/ 2147483647 w 154"/>
                <a:gd name="T107" fmla="*/ 2147483647 h 1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4"/>
                <a:gd name="T163" fmla="*/ 0 h 160"/>
                <a:gd name="T164" fmla="*/ 154 w 154"/>
                <a:gd name="T165" fmla="*/ 160 h 16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4" h="160">
                  <a:moveTo>
                    <a:pt x="154" y="46"/>
                  </a:moveTo>
                  <a:lnTo>
                    <a:pt x="154" y="46"/>
                  </a:lnTo>
                  <a:lnTo>
                    <a:pt x="148" y="44"/>
                  </a:lnTo>
                  <a:lnTo>
                    <a:pt x="144" y="44"/>
                  </a:lnTo>
                  <a:lnTo>
                    <a:pt x="134" y="46"/>
                  </a:lnTo>
                  <a:lnTo>
                    <a:pt x="128" y="48"/>
                  </a:lnTo>
                  <a:lnTo>
                    <a:pt x="128" y="46"/>
                  </a:lnTo>
                  <a:lnTo>
                    <a:pt x="130" y="42"/>
                  </a:lnTo>
                  <a:lnTo>
                    <a:pt x="142" y="42"/>
                  </a:lnTo>
                  <a:lnTo>
                    <a:pt x="142" y="38"/>
                  </a:lnTo>
                  <a:lnTo>
                    <a:pt x="144" y="32"/>
                  </a:lnTo>
                  <a:lnTo>
                    <a:pt x="146" y="32"/>
                  </a:lnTo>
                  <a:lnTo>
                    <a:pt x="144" y="30"/>
                  </a:lnTo>
                  <a:lnTo>
                    <a:pt x="142" y="28"/>
                  </a:lnTo>
                  <a:lnTo>
                    <a:pt x="140" y="28"/>
                  </a:lnTo>
                  <a:lnTo>
                    <a:pt x="138" y="30"/>
                  </a:lnTo>
                  <a:lnTo>
                    <a:pt x="134" y="30"/>
                  </a:lnTo>
                  <a:lnTo>
                    <a:pt x="134" y="26"/>
                  </a:lnTo>
                  <a:lnTo>
                    <a:pt x="132" y="26"/>
                  </a:lnTo>
                  <a:lnTo>
                    <a:pt x="132" y="28"/>
                  </a:lnTo>
                  <a:lnTo>
                    <a:pt x="130" y="28"/>
                  </a:lnTo>
                  <a:lnTo>
                    <a:pt x="128" y="28"/>
                  </a:lnTo>
                  <a:lnTo>
                    <a:pt x="128" y="26"/>
                  </a:lnTo>
                  <a:lnTo>
                    <a:pt x="126" y="26"/>
                  </a:lnTo>
                  <a:lnTo>
                    <a:pt x="126" y="24"/>
                  </a:lnTo>
                  <a:lnTo>
                    <a:pt x="124" y="20"/>
                  </a:lnTo>
                  <a:lnTo>
                    <a:pt x="132" y="16"/>
                  </a:lnTo>
                  <a:lnTo>
                    <a:pt x="112" y="16"/>
                  </a:lnTo>
                  <a:lnTo>
                    <a:pt x="116" y="20"/>
                  </a:lnTo>
                  <a:lnTo>
                    <a:pt x="108" y="18"/>
                  </a:lnTo>
                  <a:lnTo>
                    <a:pt x="106" y="24"/>
                  </a:lnTo>
                  <a:lnTo>
                    <a:pt x="94" y="24"/>
                  </a:lnTo>
                  <a:lnTo>
                    <a:pt x="86" y="22"/>
                  </a:lnTo>
                  <a:lnTo>
                    <a:pt x="86" y="18"/>
                  </a:lnTo>
                  <a:lnTo>
                    <a:pt x="80" y="18"/>
                  </a:lnTo>
                  <a:lnTo>
                    <a:pt x="74" y="20"/>
                  </a:lnTo>
                  <a:lnTo>
                    <a:pt x="62" y="24"/>
                  </a:lnTo>
                  <a:lnTo>
                    <a:pt x="58" y="14"/>
                  </a:lnTo>
                  <a:lnTo>
                    <a:pt x="56" y="10"/>
                  </a:lnTo>
                  <a:lnTo>
                    <a:pt x="50" y="8"/>
                  </a:lnTo>
                  <a:lnTo>
                    <a:pt x="46" y="8"/>
                  </a:lnTo>
                  <a:lnTo>
                    <a:pt x="42" y="8"/>
                  </a:lnTo>
                  <a:lnTo>
                    <a:pt x="42" y="2"/>
                  </a:lnTo>
                  <a:lnTo>
                    <a:pt x="38" y="0"/>
                  </a:lnTo>
                  <a:lnTo>
                    <a:pt x="38" y="6"/>
                  </a:lnTo>
                  <a:lnTo>
                    <a:pt x="40" y="6"/>
                  </a:lnTo>
                  <a:lnTo>
                    <a:pt x="40" y="8"/>
                  </a:lnTo>
                  <a:lnTo>
                    <a:pt x="42" y="12"/>
                  </a:lnTo>
                  <a:lnTo>
                    <a:pt x="24" y="14"/>
                  </a:lnTo>
                  <a:lnTo>
                    <a:pt x="24" y="20"/>
                  </a:lnTo>
                  <a:lnTo>
                    <a:pt x="24" y="26"/>
                  </a:lnTo>
                  <a:lnTo>
                    <a:pt x="30" y="32"/>
                  </a:lnTo>
                  <a:lnTo>
                    <a:pt x="32" y="38"/>
                  </a:lnTo>
                  <a:lnTo>
                    <a:pt x="32" y="40"/>
                  </a:lnTo>
                  <a:lnTo>
                    <a:pt x="28" y="40"/>
                  </a:lnTo>
                  <a:lnTo>
                    <a:pt x="22" y="40"/>
                  </a:lnTo>
                  <a:lnTo>
                    <a:pt x="20" y="36"/>
                  </a:lnTo>
                  <a:lnTo>
                    <a:pt x="18" y="26"/>
                  </a:lnTo>
                  <a:lnTo>
                    <a:pt x="22" y="24"/>
                  </a:lnTo>
                  <a:lnTo>
                    <a:pt x="24" y="24"/>
                  </a:lnTo>
                  <a:lnTo>
                    <a:pt x="24" y="20"/>
                  </a:lnTo>
                  <a:lnTo>
                    <a:pt x="24" y="18"/>
                  </a:lnTo>
                  <a:lnTo>
                    <a:pt x="20" y="18"/>
                  </a:lnTo>
                  <a:lnTo>
                    <a:pt x="22" y="14"/>
                  </a:lnTo>
                  <a:lnTo>
                    <a:pt x="16" y="12"/>
                  </a:lnTo>
                  <a:lnTo>
                    <a:pt x="26" y="4"/>
                  </a:lnTo>
                  <a:lnTo>
                    <a:pt x="24" y="0"/>
                  </a:lnTo>
                  <a:lnTo>
                    <a:pt x="18" y="4"/>
                  </a:lnTo>
                  <a:lnTo>
                    <a:pt x="12" y="10"/>
                  </a:lnTo>
                  <a:lnTo>
                    <a:pt x="8" y="20"/>
                  </a:lnTo>
                  <a:lnTo>
                    <a:pt x="2" y="22"/>
                  </a:lnTo>
                  <a:lnTo>
                    <a:pt x="4" y="26"/>
                  </a:lnTo>
                  <a:lnTo>
                    <a:pt x="2" y="30"/>
                  </a:lnTo>
                  <a:lnTo>
                    <a:pt x="2" y="34"/>
                  </a:lnTo>
                  <a:lnTo>
                    <a:pt x="0" y="40"/>
                  </a:lnTo>
                  <a:lnTo>
                    <a:pt x="0" y="44"/>
                  </a:lnTo>
                  <a:lnTo>
                    <a:pt x="2" y="44"/>
                  </a:lnTo>
                  <a:lnTo>
                    <a:pt x="6" y="44"/>
                  </a:lnTo>
                  <a:lnTo>
                    <a:pt x="12" y="54"/>
                  </a:lnTo>
                  <a:lnTo>
                    <a:pt x="10" y="54"/>
                  </a:lnTo>
                  <a:lnTo>
                    <a:pt x="10" y="58"/>
                  </a:lnTo>
                  <a:lnTo>
                    <a:pt x="12" y="62"/>
                  </a:lnTo>
                  <a:lnTo>
                    <a:pt x="14" y="66"/>
                  </a:lnTo>
                  <a:lnTo>
                    <a:pt x="16" y="70"/>
                  </a:lnTo>
                  <a:lnTo>
                    <a:pt x="16" y="72"/>
                  </a:lnTo>
                  <a:lnTo>
                    <a:pt x="24" y="74"/>
                  </a:lnTo>
                  <a:lnTo>
                    <a:pt x="28" y="74"/>
                  </a:lnTo>
                  <a:lnTo>
                    <a:pt x="34" y="74"/>
                  </a:lnTo>
                  <a:lnTo>
                    <a:pt x="38" y="74"/>
                  </a:lnTo>
                  <a:lnTo>
                    <a:pt x="40" y="76"/>
                  </a:lnTo>
                  <a:lnTo>
                    <a:pt x="46" y="86"/>
                  </a:lnTo>
                  <a:lnTo>
                    <a:pt x="54" y="84"/>
                  </a:lnTo>
                  <a:lnTo>
                    <a:pt x="62" y="86"/>
                  </a:lnTo>
                  <a:lnTo>
                    <a:pt x="62" y="94"/>
                  </a:lnTo>
                  <a:lnTo>
                    <a:pt x="60" y="94"/>
                  </a:lnTo>
                  <a:lnTo>
                    <a:pt x="60" y="96"/>
                  </a:lnTo>
                  <a:lnTo>
                    <a:pt x="60" y="100"/>
                  </a:lnTo>
                  <a:lnTo>
                    <a:pt x="60" y="102"/>
                  </a:lnTo>
                  <a:lnTo>
                    <a:pt x="62" y="104"/>
                  </a:lnTo>
                  <a:lnTo>
                    <a:pt x="66" y="108"/>
                  </a:lnTo>
                  <a:lnTo>
                    <a:pt x="68" y="112"/>
                  </a:lnTo>
                  <a:lnTo>
                    <a:pt x="72" y="116"/>
                  </a:lnTo>
                  <a:lnTo>
                    <a:pt x="78" y="120"/>
                  </a:lnTo>
                  <a:lnTo>
                    <a:pt x="82" y="122"/>
                  </a:lnTo>
                  <a:lnTo>
                    <a:pt x="80" y="130"/>
                  </a:lnTo>
                  <a:lnTo>
                    <a:pt x="76" y="134"/>
                  </a:lnTo>
                  <a:lnTo>
                    <a:pt x="74" y="136"/>
                  </a:lnTo>
                  <a:lnTo>
                    <a:pt x="74" y="140"/>
                  </a:lnTo>
                  <a:lnTo>
                    <a:pt x="74" y="142"/>
                  </a:lnTo>
                  <a:lnTo>
                    <a:pt x="76" y="142"/>
                  </a:lnTo>
                  <a:lnTo>
                    <a:pt x="78" y="140"/>
                  </a:lnTo>
                  <a:lnTo>
                    <a:pt x="80" y="144"/>
                  </a:lnTo>
                  <a:lnTo>
                    <a:pt x="82" y="150"/>
                  </a:lnTo>
                  <a:lnTo>
                    <a:pt x="80" y="156"/>
                  </a:lnTo>
                  <a:lnTo>
                    <a:pt x="86" y="160"/>
                  </a:lnTo>
                  <a:lnTo>
                    <a:pt x="90" y="158"/>
                  </a:lnTo>
                  <a:lnTo>
                    <a:pt x="94" y="156"/>
                  </a:lnTo>
                  <a:lnTo>
                    <a:pt x="96" y="156"/>
                  </a:lnTo>
                  <a:lnTo>
                    <a:pt x="98" y="154"/>
                  </a:lnTo>
                  <a:lnTo>
                    <a:pt x="98" y="152"/>
                  </a:lnTo>
                  <a:lnTo>
                    <a:pt x="100" y="152"/>
                  </a:lnTo>
                  <a:lnTo>
                    <a:pt x="104" y="150"/>
                  </a:lnTo>
                  <a:lnTo>
                    <a:pt x="106" y="148"/>
                  </a:lnTo>
                  <a:lnTo>
                    <a:pt x="108" y="148"/>
                  </a:lnTo>
                  <a:lnTo>
                    <a:pt x="110" y="144"/>
                  </a:lnTo>
                  <a:lnTo>
                    <a:pt x="110" y="142"/>
                  </a:lnTo>
                  <a:lnTo>
                    <a:pt x="112" y="142"/>
                  </a:lnTo>
                  <a:lnTo>
                    <a:pt x="116" y="140"/>
                  </a:lnTo>
                  <a:lnTo>
                    <a:pt x="116" y="138"/>
                  </a:lnTo>
                  <a:lnTo>
                    <a:pt x="114" y="136"/>
                  </a:lnTo>
                  <a:lnTo>
                    <a:pt x="112" y="136"/>
                  </a:lnTo>
                  <a:lnTo>
                    <a:pt x="108" y="138"/>
                  </a:lnTo>
                  <a:lnTo>
                    <a:pt x="104" y="138"/>
                  </a:lnTo>
                  <a:lnTo>
                    <a:pt x="102" y="136"/>
                  </a:lnTo>
                  <a:lnTo>
                    <a:pt x="100" y="132"/>
                  </a:lnTo>
                  <a:lnTo>
                    <a:pt x="100" y="128"/>
                  </a:lnTo>
                  <a:lnTo>
                    <a:pt x="102" y="124"/>
                  </a:lnTo>
                  <a:lnTo>
                    <a:pt x="98" y="118"/>
                  </a:lnTo>
                  <a:lnTo>
                    <a:pt x="96" y="114"/>
                  </a:lnTo>
                  <a:lnTo>
                    <a:pt x="96" y="112"/>
                  </a:lnTo>
                  <a:lnTo>
                    <a:pt x="96" y="110"/>
                  </a:lnTo>
                  <a:lnTo>
                    <a:pt x="94" y="110"/>
                  </a:lnTo>
                  <a:lnTo>
                    <a:pt x="98" y="108"/>
                  </a:lnTo>
                  <a:lnTo>
                    <a:pt x="102" y="110"/>
                  </a:lnTo>
                  <a:lnTo>
                    <a:pt x="106" y="112"/>
                  </a:lnTo>
                  <a:lnTo>
                    <a:pt x="108" y="112"/>
                  </a:lnTo>
                  <a:lnTo>
                    <a:pt x="112" y="114"/>
                  </a:lnTo>
                  <a:lnTo>
                    <a:pt x="116" y="116"/>
                  </a:lnTo>
                  <a:lnTo>
                    <a:pt x="120" y="116"/>
                  </a:lnTo>
                  <a:lnTo>
                    <a:pt x="118" y="114"/>
                  </a:lnTo>
                  <a:lnTo>
                    <a:pt x="118" y="112"/>
                  </a:lnTo>
                  <a:lnTo>
                    <a:pt x="120" y="110"/>
                  </a:lnTo>
                  <a:lnTo>
                    <a:pt x="122" y="110"/>
                  </a:lnTo>
                  <a:lnTo>
                    <a:pt x="128" y="112"/>
                  </a:lnTo>
                  <a:lnTo>
                    <a:pt x="132" y="110"/>
                  </a:lnTo>
                  <a:lnTo>
                    <a:pt x="134" y="108"/>
                  </a:lnTo>
                  <a:lnTo>
                    <a:pt x="136" y="108"/>
                  </a:lnTo>
                  <a:lnTo>
                    <a:pt x="136" y="106"/>
                  </a:lnTo>
                  <a:lnTo>
                    <a:pt x="138" y="104"/>
                  </a:lnTo>
                  <a:lnTo>
                    <a:pt x="144" y="102"/>
                  </a:lnTo>
                  <a:lnTo>
                    <a:pt x="146" y="98"/>
                  </a:lnTo>
                  <a:lnTo>
                    <a:pt x="144" y="94"/>
                  </a:lnTo>
                  <a:lnTo>
                    <a:pt x="134" y="80"/>
                  </a:lnTo>
                  <a:lnTo>
                    <a:pt x="140" y="78"/>
                  </a:lnTo>
                  <a:lnTo>
                    <a:pt x="138" y="74"/>
                  </a:lnTo>
                  <a:lnTo>
                    <a:pt x="138" y="72"/>
                  </a:lnTo>
                  <a:lnTo>
                    <a:pt x="140" y="72"/>
                  </a:lnTo>
                  <a:lnTo>
                    <a:pt x="146" y="72"/>
                  </a:lnTo>
                  <a:lnTo>
                    <a:pt x="148" y="70"/>
                  </a:lnTo>
                  <a:lnTo>
                    <a:pt x="150" y="68"/>
                  </a:lnTo>
                  <a:lnTo>
                    <a:pt x="150" y="66"/>
                  </a:lnTo>
                  <a:lnTo>
                    <a:pt x="148" y="66"/>
                  </a:lnTo>
                  <a:lnTo>
                    <a:pt x="146" y="66"/>
                  </a:lnTo>
                  <a:lnTo>
                    <a:pt x="146" y="62"/>
                  </a:lnTo>
                  <a:lnTo>
                    <a:pt x="144" y="60"/>
                  </a:lnTo>
                  <a:lnTo>
                    <a:pt x="142" y="58"/>
                  </a:lnTo>
                  <a:lnTo>
                    <a:pt x="142" y="56"/>
                  </a:lnTo>
                  <a:lnTo>
                    <a:pt x="146" y="54"/>
                  </a:lnTo>
                  <a:lnTo>
                    <a:pt x="152" y="52"/>
                  </a:lnTo>
                  <a:lnTo>
                    <a:pt x="154" y="50"/>
                  </a:lnTo>
                  <a:lnTo>
                    <a:pt x="154" y="4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6" name="Freeform 498">
              <a:extLst>
                <a:ext uri="{FF2B5EF4-FFF2-40B4-BE49-F238E27FC236}">
                  <a16:creationId xmlns:a16="http://schemas.microsoft.com/office/drawing/2014/main" id="{7AD20977-FAA8-44A3-AC0B-988B8B829B23}"/>
                </a:ext>
              </a:extLst>
            </p:cNvPr>
            <p:cNvSpPr>
              <a:spLocks noEditPoints="1"/>
            </p:cNvSpPr>
            <p:nvPr/>
          </p:nvSpPr>
          <p:spPr bwMode="gray">
            <a:xfrm>
              <a:off x="7884471" y="4719695"/>
              <a:ext cx="21188" cy="49440"/>
            </a:xfrm>
            <a:custGeom>
              <a:avLst/>
              <a:gdLst>
                <a:gd name="T0" fmla="*/ 2147483647 w 12"/>
                <a:gd name="T1" fmla="*/ 2147483647 h 26"/>
                <a:gd name="T2" fmla="*/ 2147483647 w 12"/>
                <a:gd name="T3" fmla="*/ 2147483647 h 26"/>
                <a:gd name="T4" fmla="*/ 2147483647 w 12"/>
                <a:gd name="T5" fmla="*/ 2147483647 h 26"/>
                <a:gd name="T6" fmla="*/ 2147483647 w 12"/>
                <a:gd name="T7" fmla="*/ 2147483647 h 26"/>
                <a:gd name="T8" fmla="*/ 2147483647 w 12"/>
                <a:gd name="T9" fmla="*/ 2147483647 h 26"/>
                <a:gd name="T10" fmla="*/ 2147483647 w 12"/>
                <a:gd name="T11" fmla="*/ 2147483647 h 26"/>
                <a:gd name="T12" fmla="*/ 2147483647 w 12"/>
                <a:gd name="T13" fmla="*/ 2147483647 h 26"/>
                <a:gd name="T14" fmla="*/ 2147483647 w 12"/>
                <a:gd name="T15" fmla="*/ 2147483647 h 26"/>
                <a:gd name="T16" fmla="*/ 2147483647 w 12"/>
                <a:gd name="T17" fmla="*/ 2147483647 h 26"/>
                <a:gd name="T18" fmla="*/ 2147483647 w 12"/>
                <a:gd name="T19" fmla="*/ 2147483647 h 26"/>
                <a:gd name="T20" fmla="*/ 2147483647 w 12"/>
                <a:gd name="T21" fmla="*/ 2147483647 h 26"/>
                <a:gd name="T22" fmla="*/ 0 w 12"/>
                <a:gd name="T23" fmla="*/ 0 h 26"/>
                <a:gd name="T24" fmla="*/ 0 w 12"/>
                <a:gd name="T25" fmla="*/ 0 h 26"/>
                <a:gd name="T26" fmla="*/ 0 w 12"/>
                <a:gd name="T27" fmla="*/ 2147483647 h 26"/>
                <a:gd name="T28" fmla="*/ 0 w 12"/>
                <a:gd name="T29" fmla="*/ 2147483647 h 26"/>
                <a:gd name="T30" fmla="*/ 0 w 12"/>
                <a:gd name="T31" fmla="*/ 2147483647 h 26"/>
                <a:gd name="T32" fmla="*/ 2147483647 w 12"/>
                <a:gd name="T33" fmla="*/ 2147483647 h 26"/>
                <a:gd name="T34" fmla="*/ 2147483647 w 12"/>
                <a:gd name="T35" fmla="*/ 2147483647 h 26"/>
                <a:gd name="T36" fmla="*/ 2147483647 w 12"/>
                <a:gd name="T37" fmla="*/ 2147483647 h 26"/>
                <a:gd name="T38" fmla="*/ 2147483647 w 12"/>
                <a:gd name="T39" fmla="*/ 2147483647 h 26"/>
                <a:gd name="T40" fmla="*/ 2147483647 w 12"/>
                <a:gd name="T41" fmla="*/ 2147483647 h 26"/>
                <a:gd name="T42" fmla="*/ 2147483647 w 12"/>
                <a:gd name="T43" fmla="*/ 2147483647 h 26"/>
                <a:gd name="T44" fmla="*/ 0 w 12"/>
                <a:gd name="T45" fmla="*/ 0 h 26"/>
                <a:gd name="T46" fmla="*/ 0 w 12"/>
                <a:gd name="T47" fmla="*/ 0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26"/>
                <a:gd name="T74" fmla="*/ 12 w 12"/>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26">
                  <a:moveTo>
                    <a:pt x="6" y="18"/>
                  </a:moveTo>
                  <a:lnTo>
                    <a:pt x="6" y="18"/>
                  </a:lnTo>
                  <a:lnTo>
                    <a:pt x="6" y="22"/>
                  </a:lnTo>
                  <a:lnTo>
                    <a:pt x="8" y="26"/>
                  </a:lnTo>
                  <a:lnTo>
                    <a:pt x="10" y="26"/>
                  </a:lnTo>
                  <a:lnTo>
                    <a:pt x="12" y="26"/>
                  </a:lnTo>
                  <a:lnTo>
                    <a:pt x="10" y="24"/>
                  </a:lnTo>
                  <a:lnTo>
                    <a:pt x="6" y="18"/>
                  </a:lnTo>
                  <a:close/>
                  <a:moveTo>
                    <a:pt x="0" y="0"/>
                  </a:moveTo>
                  <a:lnTo>
                    <a:pt x="0" y="0"/>
                  </a:lnTo>
                  <a:lnTo>
                    <a:pt x="0" y="6"/>
                  </a:lnTo>
                  <a:lnTo>
                    <a:pt x="0" y="12"/>
                  </a:lnTo>
                  <a:lnTo>
                    <a:pt x="8" y="12"/>
                  </a:lnTo>
                  <a:lnTo>
                    <a:pt x="8" y="6"/>
                  </a:lnTo>
                  <a:lnTo>
                    <a:pt x="6" y="6"/>
                  </a:lnTo>
                  <a:lnTo>
                    <a:pt x="4"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7" name="Freeform 499">
              <a:extLst>
                <a:ext uri="{FF2B5EF4-FFF2-40B4-BE49-F238E27FC236}">
                  <a16:creationId xmlns:a16="http://schemas.microsoft.com/office/drawing/2014/main" id="{D1155ECF-6E16-470B-A415-6DB27AD0A8D2}"/>
                </a:ext>
              </a:extLst>
            </p:cNvPr>
            <p:cNvSpPr>
              <a:spLocks/>
            </p:cNvSpPr>
            <p:nvPr/>
          </p:nvSpPr>
          <p:spPr bwMode="gray">
            <a:xfrm>
              <a:off x="5560891" y="3050505"/>
              <a:ext cx="343710" cy="247201"/>
            </a:xfrm>
            <a:custGeom>
              <a:avLst/>
              <a:gdLst>
                <a:gd name="T0" fmla="*/ 2147483647 w 186"/>
                <a:gd name="T1" fmla="*/ 2147483647 h 134"/>
                <a:gd name="T2" fmla="*/ 2147483647 w 186"/>
                <a:gd name="T3" fmla="*/ 2147483647 h 134"/>
                <a:gd name="T4" fmla="*/ 2147483647 w 186"/>
                <a:gd name="T5" fmla="*/ 2147483647 h 134"/>
                <a:gd name="T6" fmla="*/ 2147483647 w 186"/>
                <a:gd name="T7" fmla="*/ 2147483647 h 134"/>
                <a:gd name="T8" fmla="*/ 2147483647 w 186"/>
                <a:gd name="T9" fmla="*/ 2147483647 h 134"/>
                <a:gd name="T10" fmla="*/ 2147483647 w 186"/>
                <a:gd name="T11" fmla="*/ 2147483647 h 134"/>
                <a:gd name="T12" fmla="*/ 2147483647 w 186"/>
                <a:gd name="T13" fmla="*/ 2147483647 h 134"/>
                <a:gd name="T14" fmla="*/ 2147483647 w 186"/>
                <a:gd name="T15" fmla="*/ 2147483647 h 134"/>
                <a:gd name="T16" fmla="*/ 2147483647 w 186"/>
                <a:gd name="T17" fmla="*/ 2147483647 h 134"/>
                <a:gd name="T18" fmla="*/ 2147483647 w 186"/>
                <a:gd name="T19" fmla="*/ 2147483647 h 134"/>
                <a:gd name="T20" fmla="*/ 2147483647 w 186"/>
                <a:gd name="T21" fmla="*/ 2147483647 h 134"/>
                <a:gd name="T22" fmla="*/ 2147483647 w 186"/>
                <a:gd name="T23" fmla="*/ 2147483647 h 134"/>
                <a:gd name="T24" fmla="*/ 2147483647 w 186"/>
                <a:gd name="T25" fmla="*/ 2147483647 h 134"/>
                <a:gd name="T26" fmla="*/ 2147483647 w 186"/>
                <a:gd name="T27" fmla="*/ 2147483647 h 134"/>
                <a:gd name="T28" fmla="*/ 2147483647 w 186"/>
                <a:gd name="T29" fmla="*/ 2147483647 h 134"/>
                <a:gd name="T30" fmla="*/ 2147483647 w 186"/>
                <a:gd name="T31" fmla="*/ 2147483647 h 134"/>
                <a:gd name="T32" fmla="*/ 2147483647 w 186"/>
                <a:gd name="T33" fmla="*/ 2147483647 h 134"/>
                <a:gd name="T34" fmla="*/ 2147483647 w 186"/>
                <a:gd name="T35" fmla="*/ 2147483647 h 134"/>
                <a:gd name="T36" fmla="*/ 2147483647 w 186"/>
                <a:gd name="T37" fmla="*/ 2147483647 h 134"/>
                <a:gd name="T38" fmla="*/ 2147483647 w 186"/>
                <a:gd name="T39" fmla="*/ 2147483647 h 134"/>
                <a:gd name="T40" fmla="*/ 2147483647 w 186"/>
                <a:gd name="T41" fmla="*/ 2147483647 h 134"/>
                <a:gd name="T42" fmla="*/ 2147483647 w 186"/>
                <a:gd name="T43" fmla="*/ 2147483647 h 134"/>
                <a:gd name="T44" fmla="*/ 2147483647 w 186"/>
                <a:gd name="T45" fmla="*/ 2147483647 h 134"/>
                <a:gd name="T46" fmla="*/ 2147483647 w 186"/>
                <a:gd name="T47" fmla="*/ 2147483647 h 134"/>
                <a:gd name="T48" fmla="*/ 2147483647 w 186"/>
                <a:gd name="T49" fmla="*/ 2147483647 h 134"/>
                <a:gd name="T50" fmla="*/ 2147483647 w 186"/>
                <a:gd name="T51" fmla="*/ 2147483647 h 134"/>
                <a:gd name="T52" fmla="*/ 2147483647 w 186"/>
                <a:gd name="T53" fmla="*/ 2147483647 h 134"/>
                <a:gd name="T54" fmla="*/ 2147483647 w 186"/>
                <a:gd name="T55" fmla="*/ 2147483647 h 134"/>
                <a:gd name="T56" fmla="*/ 2147483647 w 186"/>
                <a:gd name="T57" fmla="*/ 2147483647 h 134"/>
                <a:gd name="T58" fmla="*/ 2147483647 w 186"/>
                <a:gd name="T59" fmla="*/ 2147483647 h 134"/>
                <a:gd name="T60" fmla="*/ 2147483647 w 186"/>
                <a:gd name="T61" fmla="*/ 2147483647 h 134"/>
                <a:gd name="T62" fmla="*/ 2147483647 w 186"/>
                <a:gd name="T63" fmla="*/ 2147483647 h 134"/>
                <a:gd name="T64" fmla="*/ 2147483647 w 186"/>
                <a:gd name="T65" fmla="*/ 2147483647 h 134"/>
                <a:gd name="T66" fmla="*/ 2147483647 w 186"/>
                <a:gd name="T67" fmla="*/ 2147483647 h 134"/>
                <a:gd name="T68" fmla="*/ 2147483647 w 186"/>
                <a:gd name="T69" fmla="*/ 2147483647 h 134"/>
                <a:gd name="T70" fmla="*/ 2147483647 w 186"/>
                <a:gd name="T71" fmla="*/ 2147483647 h 134"/>
                <a:gd name="T72" fmla="*/ 2147483647 w 186"/>
                <a:gd name="T73" fmla="*/ 2147483647 h 134"/>
                <a:gd name="T74" fmla="*/ 2147483647 w 186"/>
                <a:gd name="T75" fmla="*/ 2147483647 h 134"/>
                <a:gd name="T76" fmla="*/ 2147483647 w 186"/>
                <a:gd name="T77" fmla="*/ 2147483647 h 134"/>
                <a:gd name="T78" fmla="*/ 2147483647 w 186"/>
                <a:gd name="T79" fmla="*/ 2147483647 h 134"/>
                <a:gd name="T80" fmla="*/ 2147483647 w 186"/>
                <a:gd name="T81" fmla="*/ 2147483647 h 134"/>
                <a:gd name="T82" fmla="*/ 2147483647 w 186"/>
                <a:gd name="T83" fmla="*/ 2147483647 h 134"/>
                <a:gd name="T84" fmla="*/ 2147483647 w 186"/>
                <a:gd name="T85" fmla="*/ 2147483647 h 134"/>
                <a:gd name="T86" fmla="*/ 2147483647 w 186"/>
                <a:gd name="T87" fmla="*/ 2147483647 h 134"/>
                <a:gd name="T88" fmla="*/ 2147483647 w 186"/>
                <a:gd name="T89" fmla="*/ 2147483647 h 134"/>
                <a:gd name="T90" fmla="*/ 2147483647 w 186"/>
                <a:gd name="T91" fmla="*/ 2147483647 h 134"/>
                <a:gd name="T92" fmla="*/ 2147483647 w 186"/>
                <a:gd name="T93" fmla="*/ 2147483647 h 134"/>
                <a:gd name="T94" fmla="*/ 2147483647 w 186"/>
                <a:gd name="T95" fmla="*/ 0 h 134"/>
                <a:gd name="T96" fmla="*/ 2147483647 w 186"/>
                <a:gd name="T97" fmla="*/ 0 h 134"/>
                <a:gd name="T98" fmla="*/ 2147483647 w 186"/>
                <a:gd name="T99" fmla="*/ 2147483647 h 134"/>
                <a:gd name="T100" fmla="*/ 2147483647 w 186"/>
                <a:gd name="T101" fmla="*/ 2147483647 h 134"/>
                <a:gd name="T102" fmla="*/ 2147483647 w 186"/>
                <a:gd name="T103" fmla="*/ 2147483647 h 134"/>
                <a:gd name="T104" fmla="*/ 2147483647 w 186"/>
                <a:gd name="T105" fmla="*/ 2147483647 h 134"/>
                <a:gd name="T106" fmla="*/ 2147483647 w 186"/>
                <a:gd name="T107" fmla="*/ 2147483647 h 134"/>
                <a:gd name="T108" fmla="*/ 2147483647 w 186"/>
                <a:gd name="T109" fmla="*/ 2147483647 h 134"/>
                <a:gd name="T110" fmla="*/ 2147483647 w 186"/>
                <a:gd name="T111" fmla="*/ 2147483647 h 134"/>
                <a:gd name="T112" fmla="*/ 2147483647 w 186"/>
                <a:gd name="T113" fmla="*/ 2147483647 h 134"/>
                <a:gd name="T114" fmla="*/ 2147483647 w 186"/>
                <a:gd name="T115" fmla="*/ 2147483647 h 134"/>
                <a:gd name="T116" fmla="*/ 2147483647 w 186"/>
                <a:gd name="T117" fmla="*/ 2147483647 h 134"/>
                <a:gd name="T118" fmla="*/ 2147483647 w 186"/>
                <a:gd name="T119" fmla="*/ 2147483647 h 134"/>
                <a:gd name="T120" fmla="*/ 2147483647 w 186"/>
                <a:gd name="T121" fmla="*/ 2147483647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
                <a:gd name="T184" fmla="*/ 0 h 134"/>
                <a:gd name="T185" fmla="*/ 186 w 186"/>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 h="134">
                  <a:moveTo>
                    <a:pt x="132" y="132"/>
                  </a:moveTo>
                  <a:lnTo>
                    <a:pt x="132" y="132"/>
                  </a:lnTo>
                  <a:lnTo>
                    <a:pt x="134" y="126"/>
                  </a:lnTo>
                  <a:lnTo>
                    <a:pt x="136" y="124"/>
                  </a:lnTo>
                  <a:lnTo>
                    <a:pt x="138" y="122"/>
                  </a:lnTo>
                  <a:lnTo>
                    <a:pt x="140" y="120"/>
                  </a:lnTo>
                  <a:lnTo>
                    <a:pt x="138" y="116"/>
                  </a:lnTo>
                  <a:lnTo>
                    <a:pt x="136" y="116"/>
                  </a:lnTo>
                  <a:lnTo>
                    <a:pt x="136" y="114"/>
                  </a:lnTo>
                  <a:lnTo>
                    <a:pt x="138" y="110"/>
                  </a:lnTo>
                  <a:lnTo>
                    <a:pt x="138" y="108"/>
                  </a:lnTo>
                  <a:lnTo>
                    <a:pt x="132" y="108"/>
                  </a:lnTo>
                  <a:lnTo>
                    <a:pt x="130" y="108"/>
                  </a:lnTo>
                  <a:lnTo>
                    <a:pt x="128" y="104"/>
                  </a:lnTo>
                  <a:lnTo>
                    <a:pt x="126" y="102"/>
                  </a:lnTo>
                  <a:lnTo>
                    <a:pt x="126" y="100"/>
                  </a:lnTo>
                  <a:lnTo>
                    <a:pt x="128" y="98"/>
                  </a:lnTo>
                  <a:lnTo>
                    <a:pt x="132" y="98"/>
                  </a:lnTo>
                  <a:lnTo>
                    <a:pt x="134" y="98"/>
                  </a:lnTo>
                  <a:lnTo>
                    <a:pt x="134" y="100"/>
                  </a:lnTo>
                  <a:lnTo>
                    <a:pt x="136" y="98"/>
                  </a:lnTo>
                  <a:lnTo>
                    <a:pt x="142" y="94"/>
                  </a:lnTo>
                  <a:lnTo>
                    <a:pt x="144" y="92"/>
                  </a:lnTo>
                  <a:lnTo>
                    <a:pt x="142" y="92"/>
                  </a:lnTo>
                  <a:lnTo>
                    <a:pt x="142" y="90"/>
                  </a:lnTo>
                  <a:lnTo>
                    <a:pt x="144" y="86"/>
                  </a:lnTo>
                  <a:lnTo>
                    <a:pt x="146" y="86"/>
                  </a:lnTo>
                  <a:lnTo>
                    <a:pt x="146" y="84"/>
                  </a:lnTo>
                  <a:lnTo>
                    <a:pt x="148" y="84"/>
                  </a:lnTo>
                  <a:lnTo>
                    <a:pt x="148" y="82"/>
                  </a:lnTo>
                  <a:lnTo>
                    <a:pt x="146" y="80"/>
                  </a:lnTo>
                  <a:lnTo>
                    <a:pt x="144" y="76"/>
                  </a:lnTo>
                  <a:lnTo>
                    <a:pt x="146" y="74"/>
                  </a:lnTo>
                  <a:lnTo>
                    <a:pt x="150" y="74"/>
                  </a:lnTo>
                  <a:lnTo>
                    <a:pt x="154" y="76"/>
                  </a:lnTo>
                  <a:lnTo>
                    <a:pt x="156" y="76"/>
                  </a:lnTo>
                  <a:lnTo>
                    <a:pt x="158" y="74"/>
                  </a:lnTo>
                  <a:lnTo>
                    <a:pt x="160" y="70"/>
                  </a:lnTo>
                  <a:lnTo>
                    <a:pt x="162" y="68"/>
                  </a:lnTo>
                  <a:lnTo>
                    <a:pt x="164" y="76"/>
                  </a:lnTo>
                  <a:lnTo>
                    <a:pt x="158" y="78"/>
                  </a:lnTo>
                  <a:lnTo>
                    <a:pt x="158" y="82"/>
                  </a:lnTo>
                  <a:lnTo>
                    <a:pt x="162" y="84"/>
                  </a:lnTo>
                  <a:lnTo>
                    <a:pt x="164" y="84"/>
                  </a:lnTo>
                  <a:lnTo>
                    <a:pt x="164" y="86"/>
                  </a:lnTo>
                  <a:lnTo>
                    <a:pt x="166" y="88"/>
                  </a:lnTo>
                  <a:lnTo>
                    <a:pt x="168" y="86"/>
                  </a:lnTo>
                  <a:lnTo>
                    <a:pt x="168" y="84"/>
                  </a:lnTo>
                  <a:lnTo>
                    <a:pt x="170" y="82"/>
                  </a:lnTo>
                  <a:lnTo>
                    <a:pt x="176" y="84"/>
                  </a:lnTo>
                  <a:lnTo>
                    <a:pt x="180" y="82"/>
                  </a:lnTo>
                  <a:lnTo>
                    <a:pt x="182" y="80"/>
                  </a:lnTo>
                  <a:lnTo>
                    <a:pt x="186" y="74"/>
                  </a:lnTo>
                  <a:lnTo>
                    <a:pt x="186" y="72"/>
                  </a:lnTo>
                  <a:lnTo>
                    <a:pt x="182" y="70"/>
                  </a:lnTo>
                  <a:lnTo>
                    <a:pt x="178" y="68"/>
                  </a:lnTo>
                  <a:lnTo>
                    <a:pt x="174" y="68"/>
                  </a:lnTo>
                  <a:lnTo>
                    <a:pt x="172" y="68"/>
                  </a:lnTo>
                  <a:lnTo>
                    <a:pt x="172" y="64"/>
                  </a:lnTo>
                  <a:lnTo>
                    <a:pt x="172" y="62"/>
                  </a:lnTo>
                  <a:lnTo>
                    <a:pt x="168" y="64"/>
                  </a:lnTo>
                  <a:lnTo>
                    <a:pt x="166" y="64"/>
                  </a:lnTo>
                  <a:lnTo>
                    <a:pt x="164" y="64"/>
                  </a:lnTo>
                  <a:lnTo>
                    <a:pt x="164" y="62"/>
                  </a:lnTo>
                  <a:lnTo>
                    <a:pt x="162" y="60"/>
                  </a:lnTo>
                  <a:lnTo>
                    <a:pt x="160" y="60"/>
                  </a:lnTo>
                  <a:lnTo>
                    <a:pt x="164" y="58"/>
                  </a:lnTo>
                  <a:lnTo>
                    <a:pt x="170" y="54"/>
                  </a:lnTo>
                  <a:lnTo>
                    <a:pt x="170" y="52"/>
                  </a:lnTo>
                  <a:lnTo>
                    <a:pt x="170" y="50"/>
                  </a:lnTo>
                  <a:lnTo>
                    <a:pt x="168" y="48"/>
                  </a:lnTo>
                  <a:lnTo>
                    <a:pt x="164" y="50"/>
                  </a:lnTo>
                  <a:lnTo>
                    <a:pt x="160" y="52"/>
                  </a:lnTo>
                  <a:lnTo>
                    <a:pt x="158" y="52"/>
                  </a:lnTo>
                  <a:lnTo>
                    <a:pt x="152" y="54"/>
                  </a:lnTo>
                  <a:lnTo>
                    <a:pt x="150" y="56"/>
                  </a:lnTo>
                  <a:lnTo>
                    <a:pt x="148" y="58"/>
                  </a:lnTo>
                  <a:lnTo>
                    <a:pt x="144" y="58"/>
                  </a:lnTo>
                  <a:lnTo>
                    <a:pt x="142" y="62"/>
                  </a:lnTo>
                  <a:lnTo>
                    <a:pt x="140" y="66"/>
                  </a:lnTo>
                  <a:lnTo>
                    <a:pt x="134" y="66"/>
                  </a:lnTo>
                  <a:lnTo>
                    <a:pt x="134" y="72"/>
                  </a:lnTo>
                  <a:lnTo>
                    <a:pt x="130" y="72"/>
                  </a:lnTo>
                  <a:lnTo>
                    <a:pt x="128" y="72"/>
                  </a:lnTo>
                  <a:lnTo>
                    <a:pt x="128" y="70"/>
                  </a:lnTo>
                  <a:lnTo>
                    <a:pt x="128" y="66"/>
                  </a:lnTo>
                  <a:lnTo>
                    <a:pt x="124" y="64"/>
                  </a:lnTo>
                  <a:lnTo>
                    <a:pt x="120" y="64"/>
                  </a:lnTo>
                  <a:lnTo>
                    <a:pt x="114" y="64"/>
                  </a:lnTo>
                  <a:lnTo>
                    <a:pt x="110" y="62"/>
                  </a:lnTo>
                  <a:lnTo>
                    <a:pt x="108" y="60"/>
                  </a:lnTo>
                  <a:lnTo>
                    <a:pt x="110" y="56"/>
                  </a:lnTo>
                  <a:lnTo>
                    <a:pt x="108" y="56"/>
                  </a:lnTo>
                  <a:lnTo>
                    <a:pt x="108" y="54"/>
                  </a:lnTo>
                  <a:lnTo>
                    <a:pt x="106" y="52"/>
                  </a:lnTo>
                  <a:lnTo>
                    <a:pt x="104" y="52"/>
                  </a:lnTo>
                  <a:lnTo>
                    <a:pt x="100" y="52"/>
                  </a:lnTo>
                  <a:lnTo>
                    <a:pt x="98" y="50"/>
                  </a:lnTo>
                  <a:lnTo>
                    <a:pt x="94" y="44"/>
                  </a:lnTo>
                  <a:lnTo>
                    <a:pt x="92" y="46"/>
                  </a:lnTo>
                  <a:lnTo>
                    <a:pt x="78" y="44"/>
                  </a:lnTo>
                  <a:lnTo>
                    <a:pt x="70" y="42"/>
                  </a:lnTo>
                  <a:lnTo>
                    <a:pt x="66" y="42"/>
                  </a:lnTo>
                  <a:lnTo>
                    <a:pt x="64" y="30"/>
                  </a:lnTo>
                  <a:lnTo>
                    <a:pt x="62" y="24"/>
                  </a:lnTo>
                  <a:lnTo>
                    <a:pt x="62" y="22"/>
                  </a:lnTo>
                  <a:lnTo>
                    <a:pt x="60" y="24"/>
                  </a:lnTo>
                  <a:lnTo>
                    <a:pt x="60" y="26"/>
                  </a:lnTo>
                  <a:lnTo>
                    <a:pt x="56" y="28"/>
                  </a:lnTo>
                  <a:lnTo>
                    <a:pt x="56" y="30"/>
                  </a:lnTo>
                  <a:lnTo>
                    <a:pt x="54" y="34"/>
                  </a:lnTo>
                  <a:lnTo>
                    <a:pt x="44" y="36"/>
                  </a:lnTo>
                  <a:lnTo>
                    <a:pt x="44" y="32"/>
                  </a:lnTo>
                  <a:lnTo>
                    <a:pt x="40" y="30"/>
                  </a:lnTo>
                  <a:lnTo>
                    <a:pt x="40" y="36"/>
                  </a:lnTo>
                  <a:lnTo>
                    <a:pt x="38" y="40"/>
                  </a:lnTo>
                  <a:lnTo>
                    <a:pt x="36" y="40"/>
                  </a:lnTo>
                  <a:lnTo>
                    <a:pt x="36" y="38"/>
                  </a:lnTo>
                  <a:lnTo>
                    <a:pt x="38" y="28"/>
                  </a:lnTo>
                  <a:lnTo>
                    <a:pt x="24" y="32"/>
                  </a:lnTo>
                  <a:lnTo>
                    <a:pt x="24" y="16"/>
                  </a:lnTo>
                  <a:lnTo>
                    <a:pt x="28" y="2"/>
                  </a:lnTo>
                  <a:lnTo>
                    <a:pt x="28" y="0"/>
                  </a:lnTo>
                  <a:lnTo>
                    <a:pt x="24" y="0"/>
                  </a:lnTo>
                  <a:lnTo>
                    <a:pt x="18" y="0"/>
                  </a:lnTo>
                  <a:lnTo>
                    <a:pt x="14" y="2"/>
                  </a:lnTo>
                  <a:lnTo>
                    <a:pt x="8" y="4"/>
                  </a:lnTo>
                  <a:lnTo>
                    <a:pt x="2" y="6"/>
                  </a:lnTo>
                  <a:lnTo>
                    <a:pt x="0" y="60"/>
                  </a:lnTo>
                  <a:lnTo>
                    <a:pt x="12" y="62"/>
                  </a:lnTo>
                  <a:lnTo>
                    <a:pt x="12" y="60"/>
                  </a:lnTo>
                  <a:lnTo>
                    <a:pt x="10" y="56"/>
                  </a:lnTo>
                  <a:lnTo>
                    <a:pt x="10" y="52"/>
                  </a:lnTo>
                  <a:lnTo>
                    <a:pt x="12" y="50"/>
                  </a:lnTo>
                  <a:lnTo>
                    <a:pt x="18" y="50"/>
                  </a:lnTo>
                  <a:lnTo>
                    <a:pt x="20" y="46"/>
                  </a:lnTo>
                  <a:lnTo>
                    <a:pt x="24" y="42"/>
                  </a:lnTo>
                  <a:lnTo>
                    <a:pt x="28" y="44"/>
                  </a:lnTo>
                  <a:lnTo>
                    <a:pt x="30" y="44"/>
                  </a:lnTo>
                  <a:lnTo>
                    <a:pt x="32" y="52"/>
                  </a:lnTo>
                  <a:lnTo>
                    <a:pt x="34" y="60"/>
                  </a:lnTo>
                  <a:lnTo>
                    <a:pt x="40" y="62"/>
                  </a:lnTo>
                  <a:lnTo>
                    <a:pt x="42" y="68"/>
                  </a:lnTo>
                  <a:lnTo>
                    <a:pt x="40" y="70"/>
                  </a:lnTo>
                  <a:lnTo>
                    <a:pt x="42" y="72"/>
                  </a:lnTo>
                  <a:lnTo>
                    <a:pt x="46" y="74"/>
                  </a:lnTo>
                  <a:lnTo>
                    <a:pt x="50" y="72"/>
                  </a:lnTo>
                  <a:lnTo>
                    <a:pt x="54" y="68"/>
                  </a:lnTo>
                  <a:lnTo>
                    <a:pt x="60" y="70"/>
                  </a:lnTo>
                  <a:lnTo>
                    <a:pt x="66" y="68"/>
                  </a:lnTo>
                  <a:lnTo>
                    <a:pt x="70" y="74"/>
                  </a:lnTo>
                  <a:lnTo>
                    <a:pt x="70" y="80"/>
                  </a:lnTo>
                  <a:lnTo>
                    <a:pt x="74" y="84"/>
                  </a:lnTo>
                  <a:lnTo>
                    <a:pt x="76" y="88"/>
                  </a:lnTo>
                  <a:lnTo>
                    <a:pt x="78" y="94"/>
                  </a:lnTo>
                  <a:lnTo>
                    <a:pt x="82" y="96"/>
                  </a:lnTo>
                  <a:lnTo>
                    <a:pt x="86" y="100"/>
                  </a:lnTo>
                  <a:lnTo>
                    <a:pt x="92" y="104"/>
                  </a:lnTo>
                  <a:lnTo>
                    <a:pt x="94" y="108"/>
                  </a:lnTo>
                  <a:lnTo>
                    <a:pt x="102" y="108"/>
                  </a:lnTo>
                  <a:lnTo>
                    <a:pt x="106" y="112"/>
                  </a:lnTo>
                  <a:lnTo>
                    <a:pt x="110" y="112"/>
                  </a:lnTo>
                  <a:lnTo>
                    <a:pt x="114" y="114"/>
                  </a:lnTo>
                  <a:lnTo>
                    <a:pt x="118" y="114"/>
                  </a:lnTo>
                  <a:lnTo>
                    <a:pt x="120" y="116"/>
                  </a:lnTo>
                  <a:lnTo>
                    <a:pt x="114" y="120"/>
                  </a:lnTo>
                  <a:lnTo>
                    <a:pt x="114" y="124"/>
                  </a:lnTo>
                  <a:lnTo>
                    <a:pt x="114" y="128"/>
                  </a:lnTo>
                  <a:lnTo>
                    <a:pt x="118" y="130"/>
                  </a:lnTo>
                  <a:lnTo>
                    <a:pt x="122" y="134"/>
                  </a:lnTo>
                  <a:lnTo>
                    <a:pt x="128" y="134"/>
                  </a:lnTo>
                  <a:lnTo>
                    <a:pt x="132" y="1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8" name="Freeform 500">
              <a:extLst>
                <a:ext uri="{FF2B5EF4-FFF2-40B4-BE49-F238E27FC236}">
                  <a16:creationId xmlns:a16="http://schemas.microsoft.com/office/drawing/2014/main" id="{C1D82F58-97C3-4D33-A2CC-B5FDFD7779AB}"/>
                </a:ext>
              </a:extLst>
            </p:cNvPr>
            <p:cNvSpPr>
              <a:spLocks noEditPoints="1"/>
            </p:cNvSpPr>
            <p:nvPr/>
          </p:nvSpPr>
          <p:spPr bwMode="gray">
            <a:xfrm>
              <a:off x="1780075" y="2925727"/>
              <a:ext cx="1202988" cy="699222"/>
            </a:xfrm>
            <a:custGeom>
              <a:avLst/>
              <a:gdLst>
                <a:gd name="T0" fmla="*/ 2147483647 w 650"/>
                <a:gd name="T1" fmla="*/ 2147483647 h 378"/>
                <a:gd name="T2" fmla="*/ 2147483647 w 650"/>
                <a:gd name="T3" fmla="*/ 2147483647 h 378"/>
                <a:gd name="T4" fmla="*/ 2147483647 w 650"/>
                <a:gd name="T5" fmla="*/ 2147483647 h 378"/>
                <a:gd name="T6" fmla="*/ 2147483647 w 650"/>
                <a:gd name="T7" fmla="*/ 2147483647 h 378"/>
                <a:gd name="T8" fmla="*/ 2147483647 w 650"/>
                <a:gd name="T9" fmla="*/ 2147483647 h 378"/>
                <a:gd name="T10" fmla="*/ 2147483647 w 650"/>
                <a:gd name="T11" fmla="*/ 2147483647 h 378"/>
                <a:gd name="T12" fmla="*/ 2147483647 w 650"/>
                <a:gd name="T13" fmla="*/ 2147483647 h 378"/>
                <a:gd name="T14" fmla="*/ 2147483647 w 650"/>
                <a:gd name="T15" fmla="*/ 2147483647 h 378"/>
                <a:gd name="T16" fmla="*/ 2147483647 w 650"/>
                <a:gd name="T17" fmla="*/ 2147483647 h 378"/>
                <a:gd name="T18" fmla="*/ 2147483647 w 650"/>
                <a:gd name="T19" fmla="*/ 2147483647 h 378"/>
                <a:gd name="T20" fmla="*/ 2147483647 w 650"/>
                <a:gd name="T21" fmla="*/ 2147483647 h 378"/>
                <a:gd name="T22" fmla="*/ 2147483647 w 650"/>
                <a:gd name="T23" fmla="*/ 2147483647 h 378"/>
                <a:gd name="T24" fmla="*/ 2147483647 w 650"/>
                <a:gd name="T25" fmla="*/ 2147483647 h 378"/>
                <a:gd name="T26" fmla="*/ 2147483647 w 650"/>
                <a:gd name="T27" fmla="*/ 2147483647 h 378"/>
                <a:gd name="T28" fmla="*/ 2147483647 w 650"/>
                <a:gd name="T29" fmla="*/ 2147483647 h 378"/>
                <a:gd name="T30" fmla="*/ 2147483647 w 650"/>
                <a:gd name="T31" fmla="*/ 2147483647 h 378"/>
                <a:gd name="T32" fmla="*/ 2147483647 w 650"/>
                <a:gd name="T33" fmla="*/ 2147483647 h 378"/>
                <a:gd name="T34" fmla="*/ 2147483647 w 650"/>
                <a:gd name="T35" fmla="*/ 2147483647 h 378"/>
                <a:gd name="T36" fmla="*/ 2147483647 w 650"/>
                <a:gd name="T37" fmla="*/ 2147483647 h 378"/>
                <a:gd name="T38" fmla="*/ 2147483647 w 650"/>
                <a:gd name="T39" fmla="*/ 2147483647 h 378"/>
                <a:gd name="T40" fmla="*/ 2147483647 w 650"/>
                <a:gd name="T41" fmla="*/ 2147483647 h 378"/>
                <a:gd name="T42" fmla="*/ 2147483647 w 650"/>
                <a:gd name="T43" fmla="*/ 2147483647 h 378"/>
                <a:gd name="T44" fmla="*/ 2147483647 w 650"/>
                <a:gd name="T45" fmla="*/ 2147483647 h 378"/>
                <a:gd name="T46" fmla="*/ 2147483647 w 650"/>
                <a:gd name="T47" fmla="*/ 2147483647 h 378"/>
                <a:gd name="T48" fmla="*/ 2147483647 w 650"/>
                <a:gd name="T49" fmla="*/ 2147483647 h 378"/>
                <a:gd name="T50" fmla="*/ 2147483647 w 650"/>
                <a:gd name="T51" fmla="*/ 2147483647 h 378"/>
                <a:gd name="T52" fmla="*/ 2147483647 w 650"/>
                <a:gd name="T53" fmla="*/ 2147483647 h 378"/>
                <a:gd name="T54" fmla="*/ 2147483647 w 650"/>
                <a:gd name="T55" fmla="*/ 2147483647 h 378"/>
                <a:gd name="T56" fmla="*/ 2147483647 w 650"/>
                <a:gd name="T57" fmla="*/ 2147483647 h 378"/>
                <a:gd name="T58" fmla="*/ 2147483647 w 650"/>
                <a:gd name="T59" fmla="*/ 2147483647 h 378"/>
                <a:gd name="T60" fmla="*/ 2147483647 w 650"/>
                <a:gd name="T61" fmla="*/ 2147483647 h 378"/>
                <a:gd name="T62" fmla="*/ 2147483647 w 650"/>
                <a:gd name="T63" fmla="*/ 2147483647 h 378"/>
                <a:gd name="T64" fmla="*/ 2147483647 w 650"/>
                <a:gd name="T65" fmla="*/ 2147483647 h 378"/>
                <a:gd name="T66" fmla="*/ 2147483647 w 650"/>
                <a:gd name="T67" fmla="*/ 2147483647 h 378"/>
                <a:gd name="T68" fmla="*/ 2147483647 w 650"/>
                <a:gd name="T69" fmla="*/ 2147483647 h 378"/>
                <a:gd name="T70" fmla="*/ 2147483647 w 650"/>
                <a:gd name="T71" fmla="*/ 2147483647 h 378"/>
                <a:gd name="T72" fmla="*/ 2147483647 w 650"/>
                <a:gd name="T73" fmla="*/ 2147483647 h 378"/>
                <a:gd name="T74" fmla="*/ 2147483647 w 650"/>
                <a:gd name="T75" fmla="*/ 2147483647 h 378"/>
                <a:gd name="T76" fmla="*/ 2147483647 w 650"/>
                <a:gd name="T77" fmla="*/ 2147483647 h 378"/>
                <a:gd name="T78" fmla="*/ 2147483647 w 650"/>
                <a:gd name="T79" fmla="*/ 2147483647 h 378"/>
                <a:gd name="T80" fmla="*/ 2147483647 w 650"/>
                <a:gd name="T81" fmla="*/ 2147483647 h 378"/>
                <a:gd name="T82" fmla="*/ 2147483647 w 650"/>
                <a:gd name="T83" fmla="*/ 2147483647 h 378"/>
                <a:gd name="T84" fmla="*/ 2147483647 w 650"/>
                <a:gd name="T85" fmla="*/ 2147483647 h 378"/>
                <a:gd name="T86" fmla="*/ 2147483647 w 650"/>
                <a:gd name="T87" fmla="*/ 2147483647 h 378"/>
                <a:gd name="T88" fmla="*/ 2147483647 w 650"/>
                <a:gd name="T89" fmla="*/ 2147483647 h 378"/>
                <a:gd name="T90" fmla="*/ 2147483647 w 650"/>
                <a:gd name="T91" fmla="*/ 2147483647 h 378"/>
                <a:gd name="T92" fmla="*/ 2147483647 w 650"/>
                <a:gd name="T93" fmla="*/ 2147483647 h 378"/>
                <a:gd name="T94" fmla="*/ 2147483647 w 650"/>
                <a:gd name="T95" fmla="*/ 2147483647 h 378"/>
                <a:gd name="T96" fmla="*/ 2147483647 w 650"/>
                <a:gd name="T97" fmla="*/ 2147483647 h 378"/>
                <a:gd name="T98" fmla="*/ 2147483647 w 650"/>
                <a:gd name="T99" fmla="*/ 2147483647 h 378"/>
                <a:gd name="T100" fmla="*/ 2147483647 w 650"/>
                <a:gd name="T101" fmla="*/ 2147483647 h 378"/>
                <a:gd name="T102" fmla="*/ 2147483647 w 650"/>
                <a:gd name="T103" fmla="*/ 2147483647 h 378"/>
                <a:gd name="T104" fmla="*/ 2147483647 w 650"/>
                <a:gd name="T105" fmla="*/ 2147483647 h 378"/>
                <a:gd name="T106" fmla="*/ 2147483647 w 650"/>
                <a:gd name="T107" fmla="*/ 2147483647 h 378"/>
                <a:gd name="T108" fmla="*/ 2147483647 w 650"/>
                <a:gd name="T109" fmla="*/ 2147483647 h 378"/>
                <a:gd name="T110" fmla="*/ 2147483647 w 650"/>
                <a:gd name="T111" fmla="*/ 2147483647 h 378"/>
                <a:gd name="T112" fmla="*/ 2147483647 w 650"/>
                <a:gd name="T113" fmla="*/ 2147483647 h 378"/>
                <a:gd name="T114" fmla="*/ 2147483647 w 650"/>
                <a:gd name="T115" fmla="*/ 2147483647 h 378"/>
                <a:gd name="T116" fmla="*/ 2147483647 w 650"/>
                <a:gd name="T117" fmla="*/ 2147483647 h 378"/>
                <a:gd name="T118" fmla="*/ 2147483647 w 650"/>
                <a:gd name="T119" fmla="*/ 2147483647 h 3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0"/>
                <a:gd name="T181" fmla="*/ 0 h 378"/>
                <a:gd name="T182" fmla="*/ 650 w 650"/>
                <a:gd name="T183" fmla="*/ 378 h 3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0" h="378">
                  <a:moveTo>
                    <a:pt x="552" y="190"/>
                  </a:moveTo>
                  <a:lnTo>
                    <a:pt x="554" y="192"/>
                  </a:lnTo>
                  <a:lnTo>
                    <a:pt x="554" y="190"/>
                  </a:lnTo>
                  <a:lnTo>
                    <a:pt x="552" y="190"/>
                  </a:lnTo>
                  <a:close/>
                  <a:moveTo>
                    <a:pt x="550" y="158"/>
                  </a:moveTo>
                  <a:lnTo>
                    <a:pt x="550" y="158"/>
                  </a:lnTo>
                  <a:lnTo>
                    <a:pt x="552" y="158"/>
                  </a:lnTo>
                  <a:lnTo>
                    <a:pt x="550" y="162"/>
                  </a:lnTo>
                  <a:lnTo>
                    <a:pt x="548" y="162"/>
                  </a:lnTo>
                  <a:lnTo>
                    <a:pt x="548" y="160"/>
                  </a:lnTo>
                  <a:lnTo>
                    <a:pt x="550" y="158"/>
                  </a:lnTo>
                  <a:close/>
                  <a:moveTo>
                    <a:pt x="386" y="314"/>
                  </a:moveTo>
                  <a:lnTo>
                    <a:pt x="388" y="320"/>
                  </a:lnTo>
                  <a:lnTo>
                    <a:pt x="390" y="320"/>
                  </a:lnTo>
                  <a:lnTo>
                    <a:pt x="392" y="318"/>
                  </a:lnTo>
                  <a:lnTo>
                    <a:pt x="390" y="316"/>
                  </a:lnTo>
                  <a:lnTo>
                    <a:pt x="386" y="314"/>
                  </a:lnTo>
                  <a:close/>
                  <a:moveTo>
                    <a:pt x="374" y="306"/>
                  </a:moveTo>
                  <a:lnTo>
                    <a:pt x="374" y="306"/>
                  </a:lnTo>
                  <a:lnTo>
                    <a:pt x="374" y="308"/>
                  </a:lnTo>
                  <a:lnTo>
                    <a:pt x="372" y="310"/>
                  </a:lnTo>
                  <a:lnTo>
                    <a:pt x="372" y="306"/>
                  </a:lnTo>
                  <a:lnTo>
                    <a:pt x="374" y="306"/>
                  </a:lnTo>
                  <a:close/>
                  <a:moveTo>
                    <a:pt x="582" y="136"/>
                  </a:moveTo>
                  <a:lnTo>
                    <a:pt x="580" y="140"/>
                  </a:lnTo>
                  <a:lnTo>
                    <a:pt x="576" y="140"/>
                  </a:lnTo>
                  <a:lnTo>
                    <a:pt x="574" y="140"/>
                  </a:lnTo>
                  <a:lnTo>
                    <a:pt x="572" y="142"/>
                  </a:lnTo>
                  <a:lnTo>
                    <a:pt x="574" y="142"/>
                  </a:lnTo>
                  <a:lnTo>
                    <a:pt x="580" y="144"/>
                  </a:lnTo>
                  <a:lnTo>
                    <a:pt x="592" y="144"/>
                  </a:lnTo>
                  <a:lnTo>
                    <a:pt x="592" y="142"/>
                  </a:lnTo>
                  <a:lnTo>
                    <a:pt x="594" y="138"/>
                  </a:lnTo>
                  <a:lnTo>
                    <a:pt x="590" y="138"/>
                  </a:lnTo>
                  <a:lnTo>
                    <a:pt x="582" y="136"/>
                  </a:lnTo>
                  <a:close/>
                  <a:moveTo>
                    <a:pt x="138" y="122"/>
                  </a:moveTo>
                  <a:lnTo>
                    <a:pt x="138" y="128"/>
                  </a:lnTo>
                  <a:lnTo>
                    <a:pt x="142" y="128"/>
                  </a:lnTo>
                  <a:lnTo>
                    <a:pt x="144" y="128"/>
                  </a:lnTo>
                  <a:lnTo>
                    <a:pt x="146" y="134"/>
                  </a:lnTo>
                  <a:lnTo>
                    <a:pt x="146" y="136"/>
                  </a:lnTo>
                  <a:lnTo>
                    <a:pt x="144" y="138"/>
                  </a:lnTo>
                  <a:lnTo>
                    <a:pt x="136" y="130"/>
                  </a:lnTo>
                  <a:lnTo>
                    <a:pt x="134" y="126"/>
                  </a:lnTo>
                  <a:lnTo>
                    <a:pt x="136" y="124"/>
                  </a:lnTo>
                  <a:lnTo>
                    <a:pt x="138" y="122"/>
                  </a:lnTo>
                  <a:close/>
                  <a:moveTo>
                    <a:pt x="616" y="122"/>
                  </a:moveTo>
                  <a:lnTo>
                    <a:pt x="616" y="122"/>
                  </a:lnTo>
                  <a:lnTo>
                    <a:pt x="614" y="124"/>
                  </a:lnTo>
                  <a:lnTo>
                    <a:pt x="616" y="124"/>
                  </a:lnTo>
                  <a:lnTo>
                    <a:pt x="618" y="122"/>
                  </a:lnTo>
                  <a:lnTo>
                    <a:pt x="618" y="120"/>
                  </a:lnTo>
                  <a:lnTo>
                    <a:pt x="616" y="122"/>
                  </a:lnTo>
                  <a:close/>
                  <a:moveTo>
                    <a:pt x="580" y="76"/>
                  </a:moveTo>
                  <a:lnTo>
                    <a:pt x="580" y="76"/>
                  </a:lnTo>
                  <a:lnTo>
                    <a:pt x="580" y="78"/>
                  </a:lnTo>
                  <a:lnTo>
                    <a:pt x="578" y="80"/>
                  </a:lnTo>
                  <a:lnTo>
                    <a:pt x="578" y="78"/>
                  </a:lnTo>
                  <a:lnTo>
                    <a:pt x="578" y="76"/>
                  </a:lnTo>
                  <a:lnTo>
                    <a:pt x="580" y="76"/>
                  </a:lnTo>
                  <a:close/>
                  <a:moveTo>
                    <a:pt x="430" y="58"/>
                  </a:moveTo>
                  <a:lnTo>
                    <a:pt x="432" y="62"/>
                  </a:lnTo>
                  <a:lnTo>
                    <a:pt x="432" y="60"/>
                  </a:lnTo>
                  <a:lnTo>
                    <a:pt x="430" y="58"/>
                  </a:lnTo>
                  <a:close/>
                  <a:moveTo>
                    <a:pt x="26" y="34"/>
                  </a:moveTo>
                  <a:lnTo>
                    <a:pt x="26" y="34"/>
                  </a:lnTo>
                  <a:lnTo>
                    <a:pt x="28" y="34"/>
                  </a:lnTo>
                  <a:lnTo>
                    <a:pt x="28" y="36"/>
                  </a:lnTo>
                  <a:lnTo>
                    <a:pt x="22" y="38"/>
                  </a:lnTo>
                  <a:lnTo>
                    <a:pt x="24" y="36"/>
                  </a:lnTo>
                  <a:lnTo>
                    <a:pt x="26" y="34"/>
                  </a:lnTo>
                  <a:close/>
                  <a:moveTo>
                    <a:pt x="30" y="18"/>
                  </a:moveTo>
                  <a:lnTo>
                    <a:pt x="30" y="18"/>
                  </a:lnTo>
                  <a:lnTo>
                    <a:pt x="28" y="28"/>
                  </a:lnTo>
                  <a:lnTo>
                    <a:pt x="28" y="22"/>
                  </a:lnTo>
                  <a:lnTo>
                    <a:pt x="28" y="20"/>
                  </a:lnTo>
                  <a:lnTo>
                    <a:pt x="30" y="18"/>
                  </a:lnTo>
                  <a:close/>
                  <a:moveTo>
                    <a:pt x="648" y="72"/>
                  </a:moveTo>
                  <a:lnTo>
                    <a:pt x="648" y="70"/>
                  </a:lnTo>
                  <a:lnTo>
                    <a:pt x="646" y="68"/>
                  </a:lnTo>
                  <a:lnTo>
                    <a:pt x="644" y="68"/>
                  </a:lnTo>
                  <a:lnTo>
                    <a:pt x="644" y="66"/>
                  </a:lnTo>
                  <a:lnTo>
                    <a:pt x="644" y="62"/>
                  </a:lnTo>
                  <a:lnTo>
                    <a:pt x="644" y="60"/>
                  </a:lnTo>
                  <a:lnTo>
                    <a:pt x="642" y="60"/>
                  </a:lnTo>
                  <a:lnTo>
                    <a:pt x="640" y="60"/>
                  </a:lnTo>
                  <a:lnTo>
                    <a:pt x="640" y="54"/>
                  </a:lnTo>
                  <a:lnTo>
                    <a:pt x="640" y="44"/>
                  </a:lnTo>
                  <a:lnTo>
                    <a:pt x="640" y="40"/>
                  </a:lnTo>
                  <a:lnTo>
                    <a:pt x="638" y="38"/>
                  </a:lnTo>
                  <a:lnTo>
                    <a:pt x="632" y="34"/>
                  </a:lnTo>
                  <a:lnTo>
                    <a:pt x="630" y="36"/>
                  </a:lnTo>
                  <a:lnTo>
                    <a:pt x="628" y="38"/>
                  </a:lnTo>
                  <a:lnTo>
                    <a:pt x="628" y="40"/>
                  </a:lnTo>
                  <a:lnTo>
                    <a:pt x="626" y="38"/>
                  </a:lnTo>
                  <a:lnTo>
                    <a:pt x="626" y="36"/>
                  </a:lnTo>
                  <a:lnTo>
                    <a:pt x="624" y="34"/>
                  </a:lnTo>
                  <a:lnTo>
                    <a:pt x="622" y="36"/>
                  </a:lnTo>
                  <a:lnTo>
                    <a:pt x="620" y="44"/>
                  </a:lnTo>
                  <a:lnTo>
                    <a:pt x="618" y="46"/>
                  </a:lnTo>
                  <a:lnTo>
                    <a:pt x="616" y="52"/>
                  </a:lnTo>
                  <a:lnTo>
                    <a:pt x="614" y="54"/>
                  </a:lnTo>
                  <a:lnTo>
                    <a:pt x="612" y="58"/>
                  </a:lnTo>
                  <a:lnTo>
                    <a:pt x="606" y="62"/>
                  </a:lnTo>
                  <a:lnTo>
                    <a:pt x="604" y="64"/>
                  </a:lnTo>
                  <a:lnTo>
                    <a:pt x="602" y="66"/>
                  </a:lnTo>
                  <a:lnTo>
                    <a:pt x="588" y="68"/>
                  </a:lnTo>
                  <a:lnTo>
                    <a:pt x="570" y="70"/>
                  </a:lnTo>
                  <a:lnTo>
                    <a:pt x="566" y="70"/>
                  </a:lnTo>
                  <a:lnTo>
                    <a:pt x="558" y="74"/>
                  </a:lnTo>
                  <a:lnTo>
                    <a:pt x="548" y="80"/>
                  </a:lnTo>
                  <a:lnTo>
                    <a:pt x="548" y="82"/>
                  </a:lnTo>
                  <a:lnTo>
                    <a:pt x="546" y="84"/>
                  </a:lnTo>
                  <a:lnTo>
                    <a:pt x="550" y="80"/>
                  </a:lnTo>
                  <a:lnTo>
                    <a:pt x="548" y="88"/>
                  </a:lnTo>
                  <a:lnTo>
                    <a:pt x="544" y="94"/>
                  </a:lnTo>
                  <a:lnTo>
                    <a:pt x="540" y="96"/>
                  </a:lnTo>
                  <a:lnTo>
                    <a:pt x="536" y="98"/>
                  </a:lnTo>
                  <a:lnTo>
                    <a:pt x="526" y="100"/>
                  </a:lnTo>
                  <a:lnTo>
                    <a:pt x="512" y="100"/>
                  </a:lnTo>
                  <a:lnTo>
                    <a:pt x="512" y="104"/>
                  </a:lnTo>
                  <a:lnTo>
                    <a:pt x="514" y="108"/>
                  </a:lnTo>
                  <a:lnTo>
                    <a:pt x="504" y="116"/>
                  </a:lnTo>
                  <a:lnTo>
                    <a:pt x="500" y="118"/>
                  </a:lnTo>
                  <a:lnTo>
                    <a:pt x="494" y="122"/>
                  </a:lnTo>
                  <a:lnTo>
                    <a:pt x="490" y="120"/>
                  </a:lnTo>
                  <a:lnTo>
                    <a:pt x="486" y="122"/>
                  </a:lnTo>
                  <a:lnTo>
                    <a:pt x="486" y="124"/>
                  </a:lnTo>
                  <a:lnTo>
                    <a:pt x="478" y="130"/>
                  </a:lnTo>
                  <a:lnTo>
                    <a:pt x="474" y="132"/>
                  </a:lnTo>
                  <a:lnTo>
                    <a:pt x="470" y="132"/>
                  </a:lnTo>
                  <a:lnTo>
                    <a:pt x="468" y="128"/>
                  </a:lnTo>
                  <a:lnTo>
                    <a:pt x="470" y="128"/>
                  </a:lnTo>
                  <a:lnTo>
                    <a:pt x="470" y="126"/>
                  </a:lnTo>
                  <a:lnTo>
                    <a:pt x="468" y="124"/>
                  </a:lnTo>
                  <a:lnTo>
                    <a:pt x="464" y="124"/>
                  </a:lnTo>
                  <a:lnTo>
                    <a:pt x="460" y="124"/>
                  </a:lnTo>
                  <a:lnTo>
                    <a:pt x="466" y="118"/>
                  </a:lnTo>
                  <a:lnTo>
                    <a:pt x="468" y="116"/>
                  </a:lnTo>
                  <a:lnTo>
                    <a:pt x="470" y="114"/>
                  </a:lnTo>
                  <a:lnTo>
                    <a:pt x="470" y="110"/>
                  </a:lnTo>
                  <a:lnTo>
                    <a:pt x="474" y="108"/>
                  </a:lnTo>
                  <a:lnTo>
                    <a:pt x="472" y="112"/>
                  </a:lnTo>
                  <a:lnTo>
                    <a:pt x="474" y="110"/>
                  </a:lnTo>
                  <a:lnTo>
                    <a:pt x="474" y="102"/>
                  </a:lnTo>
                  <a:lnTo>
                    <a:pt x="470" y="88"/>
                  </a:lnTo>
                  <a:lnTo>
                    <a:pt x="464" y="88"/>
                  </a:lnTo>
                  <a:lnTo>
                    <a:pt x="462" y="90"/>
                  </a:lnTo>
                  <a:lnTo>
                    <a:pt x="460" y="94"/>
                  </a:lnTo>
                  <a:lnTo>
                    <a:pt x="462" y="84"/>
                  </a:lnTo>
                  <a:lnTo>
                    <a:pt x="464" y="78"/>
                  </a:lnTo>
                  <a:lnTo>
                    <a:pt x="462" y="72"/>
                  </a:lnTo>
                  <a:lnTo>
                    <a:pt x="460" y="64"/>
                  </a:lnTo>
                  <a:lnTo>
                    <a:pt x="452" y="64"/>
                  </a:lnTo>
                  <a:lnTo>
                    <a:pt x="450" y="62"/>
                  </a:lnTo>
                  <a:lnTo>
                    <a:pt x="448" y="58"/>
                  </a:lnTo>
                  <a:lnTo>
                    <a:pt x="446" y="62"/>
                  </a:lnTo>
                  <a:lnTo>
                    <a:pt x="442" y="68"/>
                  </a:lnTo>
                  <a:lnTo>
                    <a:pt x="440" y="68"/>
                  </a:lnTo>
                  <a:lnTo>
                    <a:pt x="440" y="72"/>
                  </a:lnTo>
                  <a:lnTo>
                    <a:pt x="432" y="72"/>
                  </a:lnTo>
                  <a:lnTo>
                    <a:pt x="432" y="78"/>
                  </a:lnTo>
                  <a:lnTo>
                    <a:pt x="432" y="84"/>
                  </a:lnTo>
                  <a:lnTo>
                    <a:pt x="430" y="84"/>
                  </a:lnTo>
                  <a:lnTo>
                    <a:pt x="432" y="98"/>
                  </a:lnTo>
                  <a:lnTo>
                    <a:pt x="432" y="104"/>
                  </a:lnTo>
                  <a:lnTo>
                    <a:pt x="432" y="110"/>
                  </a:lnTo>
                  <a:lnTo>
                    <a:pt x="422" y="124"/>
                  </a:lnTo>
                  <a:lnTo>
                    <a:pt x="418" y="124"/>
                  </a:lnTo>
                  <a:lnTo>
                    <a:pt x="414" y="114"/>
                  </a:lnTo>
                  <a:lnTo>
                    <a:pt x="412" y="104"/>
                  </a:lnTo>
                  <a:lnTo>
                    <a:pt x="412" y="94"/>
                  </a:lnTo>
                  <a:lnTo>
                    <a:pt x="416" y="82"/>
                  </a:lnTo>
                  <a:lnTo>
                    <a:pt x="420" y="82"/>
                  </a:lnTo>
                  <a:lnTo>
                    <a:pt x="420" y="78"/>
                  </a:lnTo>
                  <a:lnTo>
                    <a:pt x="420" y="70"/>
                  </a:lnTo>
                  <a:lnTo>
                    <a:pt x="418" y="72"/>
                  </a:lnTo>
                  <a:lnTo>
                    <a:pt x="416" y="74"/>
                  </a:lnTo>
                  <a:lnTo>
                    <a:pt x="416" y="80"/>
                  </a:lnTo>
                  <a:lnTo>
                    <a:pt x="412" y="80"/>
                  </a:lnTo>
                  <a:lnTo>
                    <a:pt x="410" y="80"/>
                  </a:lnTo>
                  <a:lnTo>
                    <a:pt x="416" y="68"/>
                  </a:lnTo>
                  <a:lnTo>
                    <a:pt x="422" y="58"/>
                  </a:lnTo>
                  <a:lnTo>
                    <a:pt x="428" y="58"/>
                  </a:lnTo>
                  <a:lnTo>
                    <a:pt x="436" y="56"/>
                  </a:lnTo>
                  <a:lnTo>
                    <a:pt x="438" y="54"/>
                  </a:lnTo>
                  <a:lnTo>
                    <a:pt x="440" y="54"/>
                  </a:lnTo>
                  <a:lnTo>
                    <a:pt x="442" y="54"/>
                  </a:lnTo>
                  <a:lnTo>
                    <a:pt x="446" y="54"/>
                  </a:lnTo>
                  <a:lnTo>
                    <a:pt x="446" y="56"/>
                  </a:lnTo>
                  <a:lnTo>
                    <a:pt x="450" y="56"/>
                  </a:lnTo>
                  <a:lnTo>
                    <a:pt x="450" y="54"/>
                  </a:lnTo>
                  <a:lnTo>
                    <a:pt x="452" y="54"/>
                  </a:lnTo>
                  <a:lnTo>
                    <a:pt x="454" y="56"/>
                  </a:lnTo>
                  <a:lnTo>
                    <a:pt x="456" y="56"/>
                  </a:lnTo>
                  <a:lnTo>
                    <a:pt x="458" y="56"/>
                  </a:lnTo>
                  <a:lnTo>
                    <a:pt x="458" y="54"/>
                  </a:lnTo>
                  <a:lnTo>
                    <a:pt x="456" y="52"/>
                  </a:lnTo>
                  <a:lnTo>
                    <a:pt x="454" y="50"/>
                  </a:lnTo>
                  <a:lnTo>
                    <a:pt x="450" y="50"/>
                  </a:lnTo>
                  <a:lnTo>
                    <a:pt x="446" y="50"/>
                  </a:lnTo>
                  <a:lnTo>
                    <a:pt x="446" y="40"/>
                  </a:lnTo>
                  <a:lnTo>
                    <a:pt x="442" y="42"/>
                  </a:lnTo>
                  <a:lnTo>
                    <a:pt x="436" y="44"/>
                  </a:lnTo>
                  <a:lnTo>
                    <a:pt x="430" y="48"/>
                  </a:lnTo>
                  <a:lnTo>
                    <a:pt x="422" y="48"/>
                  </a:lnTo>
                  <a:lnTo>
                    <a:pt x="420" y="46"/>
                  </a:lnTo>
                  <a:lnTo>
                    <a:pt x="418" y="44"/>
                  </a:lnTo>
                  <a:lnTo>
                    <a:pt x="416" y="40"/>
                  </a:lnTo>
                  <a:lnTo>
                    <a:pt x="412" y="38"/>
                  </a:lnTo>
                  <a:lnTo>
                    <a:pt x="410" y="40"/>
                  </a:lnTo>
                  <a:lnTo>
                    <a:pt x="406" y="40"/>
                  </a:lnTo>
                  <a:lnTo>
                    <a:pt x="404" y="38"/>
                  </a:lnTo>
                  <a:lnTo>
                    <a:pt x="406" y="38"/>
                  </a:lnTo>
                  <a:lnTo>
                    <a:pt x="410" y="36"/>
                  </a:lnTo>
                  <a:lnTo>
                    <a:pt x="412" y="34"/>
                  </a:lnTo>
                  <a:lnTo>
                    <a:pt x="414" y="32"/>
                  </a:lnTo>
                  <a:lnTo>
                    <a:pt x="412" y="30"/>
                  </a:lnTo>
                  <a:lnTo>
                    <a:pt x="412" y="28"/>
                  </a:lnTo>
                  <a:lnTo>
                    <a:pt x="400" y="36"/>
                  </a:lnTo>
                  <a:lnTo>
                    <a:pt x="388" y="42"/>
                  </a:lnTo>
                  <a:lnTo>
                    <a:pt x="388" y="44"/>
                  </a:lnTo>
                  <a:lnTo>
                    <a:pt x="384" y="44"/>
                  </a:lnTo>
                  <a:lnTo>
                    <a:pt x="382" y="42"/>
                  </a:lnTo>
                  <a:lnTo>
                    <a:pt x="380" y="40"/>
                  </a:lnTo>
                  <a:lnTo>
                    <a:pt x="378" y="40"/>
                  </a:lnTo>
                  <a:lnTo>
                    <a:pt x="366" y="40"/>
                  </a:lnTo>
                  <a:lnTo>
                    <a:pt x="374" y="32"/>
                  </a:lnTo>
                  <a:lnTo>
                    <a:pt x="384" y="26"/>
                  </a:lnTo>
                  <a:lnTo>
                    <a:pt x="390" y="24"/>
                  </a:lnTo>
                  <a:lnTo>
                    <a:pt x="394" y="22"/>
                  </a:lnTo>
                  <a:lnTo>
                    <a:pt x="394" y="20"/>
                  </a:lnTo>
                  <a:lnTo>
                    <a:pt x="390" y="20"/>
                  </a:lnTo>
                  <a:lnTo>
                    <a:pt x="388" y="18"/>
                  </a:lnTo>
                  <a:lnTo>
                    <a:pt x="386" y="16"/>
                  </a:lnTo>
                  <a:lnTo>
                    <a:pt x="382" y="16"/>
                  </a:lnTo>
                  <a:lnTo>
                    <a:pt x="376" y="16"/>
                  </a:lnTo>
                  <a:lnTo>
                    <a:pt x="368" y="16"/>
                  </a:lnTo>
                  <a:lnTo>
                    <a:pt x="364" y="14"/>
                  </a:lnTo>
                  <a:lnTo>
                    <a:pt x="360" y="10"/>
                  </a:lnTo>
                  <a:lnTo>
                    <a:pt x="356" y="10"/>
                  </a:lnTo>
                  <a:lnTo>
                    <a:pt x="354" y="14"/>
                  </a:lnTo>
                  <a:lnTo>
                    <a:pt x="352" y="14"/>
                  </a:lnTo>
                  <a:lnTo>
                    <a:pt x="346" y="12"/>
                  </a:lnTo>
                  <a:lnTo>
                    <a:pt x="342" y="12"/>
                  </a:lnTo>
                  <a:lnTo>
                    <a:pt x="340" y="10"/>
                  </a:lnTo>
                  <a:lnTo>
                    <a:pt x="340" y="6"/>
                  </a:lnTo>
                  <a:lnTo>
                    <a:pt x="338" y="2"/>
                  </a:lnTo>
                  <a:lnTo>
                    <a:pt x="336" y="0"/>
                  </a:lnTo>
                  <a:lnTo>
                    <a:pt x="334" y="0"/>
                  </a:lnTo>
                  <a:lnTo>
                    <a:pt x="334" y="2"/>
                  </a:lnTo>
                  <a:lnTo>
                    <a:pt x="334" y="6"/>
                  </a:lnTo>
                  <a:lnTo>
                    <a:pt x="26" y="4"/>
                  </a:lnTo>
                  <a:lnTo>
                    <a:pt x="26" y="6"/>
                  </a:lnTo>
                  <a:lnTo>
                    <a:pt x="26" y="10"/>
                  </a:lnTo>
                  <a:lnTo>
                    <a:pt x="26" y="14"/>
                  </a:lnTo>
                  <a:lnTo>
                    <a:pt x="24" y="16"/>
                  </a:lnTo>
                  <a:lnTo>
                    <a:pt x="24" y="20"/>
                  </a:lnTo>
                  <a:lnTo>
                    <a:pt x="0" y="16"/>
                  </a:lnTo>
                  <a:lnTo>
                    <a:pt x="2" y="26"/>
                  </a:lnTo>
                  <a:lnTo>
                    <a:pt x="8" y="32"/>
                  </a:lnTo>
                  <a:lnTo>
                    <a:pt x="12" y="38"/>
                  </a:lnTo>
                  <a:lnTo>
                    <a:pt x="12" y="42"/>
                  </a:lnTo>
                  <a:lnTo>
                    <a:pt x="12" y="50"/>
                  </a:lnTo>
                  <a:lnTo>
                    <a:pt x="10" y="56"/>
                  </a:lnTo>
                  <a:lnTo>
                    <a:pt x="10" y="66"/>
                  </a:lnTo>
                  <a:lnTo>
                    <a:pt x="10" y="80"/>
                  </a:lnTo>
                  <a:lnTo>
                    <a:pt x="8" y="98"/>
                  </a:lnTo>
                  <a:lnTo>
                    <a:pt x="6" y="110"/>
                  </a:lnTo>
                  <a:lnTo>
                    <a:pt x="8" y="120"/>
                  </a:lnTo>
                  <a:lnTo>
                    <a:pt x="12" y="122"/>
                  </a:lnTo>
                  <a:lnTo>
                    <a:pt x="12" y="128"/>
                  </a:lnTo>
                  <a:lnTo>
                    <a:pt x="12" y="132"/>
                  </a:lnTo>
                  <a:lnTo>
                    <a:pt x="12" y="136"/>
                  </a:lnTo>
                  <a:lnTo>
                    <a:pt x="8" y="150"/>
                  </a:lnTo>
                  <a:lnTo>
                    <a:pt x="12" y="156"/>
                  </a:lnTo>
                  <a:lnTo>
                    <a:pt x="14" y="162"/>
                  </a:lnTo>
                  <a:lnTo>
                    <a:pt x="14" y="164"/>
                  </a:lnTo>
                  <a:lnTo>
                    <a:pt x="14" y="168"/>
                  </a:lnTo>
                  <a:lnTo>
                    <a:pt x="16" y="174"/>
                  </a:lnTo>
                  <a:lnTo>
                    <a:pt x="24" y="188"/>
                  </a:lnTo>
                  <a:lnTo>
                    <a:pt x="28" y="186"/>
                  </a:lnTo>
                  <a:lnTo>
                    <a:pt x="28" y="184"/>
                  </a:lnTo>
                  <a:lnTo>
                    <a:pt x="26" y="182"/>
                  </a:lnTo>
                  <a:lnTo>
                    <a:pt x="30" y="184"/>
                  </a:lnTo>
                  <a:lnTo>
                    <a:pt x="32" y="184"/>
                  </a:lnTo>
                  <a:lnTo>
                    <a:pt x="30" y="186"/>
                  </a:lnTo>
                  <a:lnTo>
                    <a:pt x="30" y="190"/>
                  </a:lnTo>
                  <a:lnTo>
                    <a:pt x="30" y="194"/>
                  </a:lnTo>
                  <a:lnTo>
                    <a:pt x="28" y="196"/>
                  </a:lnTo>
                  <a:lnTo>
                    <a:pt x="38" y="200"/>
                  </a:lnTo>
                  <a:lnTo>
                    <a:pt x="34" y="204"/>
                  </a:lnTo>
                  <a:lnTo>
                    <a:pt x="34" y="206"/>
                  </a:lnTo>
                  <a:lnTo>
                    <a:pt x="34" y="210"/>
                  </a:lnTo>
                  <a:lnTo>
                    <a:pt x="36" y="214"/>
                  </a:lnTo>
                  <a:lnTo>
                    <a:pt x="40" y="218"/>
                  </a:lnTo>
                  <a:lnTo>
                    <a:pt x="48" y="224"/>
                  </a:lnTo>
                  <a:lnTo>
                    <a:pt x="46" y="226"/>
                  </a:lnTo>
                  <a:lnTo>
                    <a:pt x="44" y="228"/>
                  </a:lnTo>
                  <a:lnTo>
                    <a:pt x="48" y="230"/>
                  </a:lnTo>
                  <a:lnTo>
                    <a:pt x="50" y="236"/>
                  </a:lnTo>
                  <a:lnTo>
                    <a:pt x="50" y="244"/>
                  </a:lnTo>
                  <a:lnTo>
                    <a:pt x="52" y="242"/>
                  </a:lnTo>
                  <a:lnTo>
                    <a:pt x="66" y="246"/>
                  </a:lnTo>
                  <a:lnTo>
                    <a:pt x="66" y="252"/>
                  </a:lnTo>
                  <a:lnTo>
                    <a:pt x="68" y="252"/>
                  </a:lnTo>
                  <a:lnTo>
                    <a:pt x="70" y="252"/>
                  </a:lnTo>
                  <a:lnTo>
                    <a:pt x="70" y="250"/>
                  </a:lnTo>
                  <a:lnTo>
                    <a:pt x="72" y="250"/>
                  </a:lnTo>
                  <a:lnTo>
                    <a:pt x="74" y="254"/>
                  </a:lnTo>
                  <a:lnTo>
                    <a:pt x="78" y="258"/>
                  </a:lnTo>
                  <a:lnTo>
                    <a:pt x="82" y="260"/>
                  </a:lnTo>
                  <a:lnTo>
                    <a:pt x="84" y="266"/>
                  </a:lnTo>
                  <a:lnTo>
                    <a:pt x="112" y="264"/>
                  </a:lnTo>
                  <a:lnTo>
                    <a:pt x="112" y="268"/>
                  </a:lnTo>
                  <a:lnTo>
                    <a:pt x="142" y="284"/>
                  </a:lnTo>
                  <a:lnTo>
                    <a:pt x="180" y="286"/>
                  </a:lnTo>
                  <a:lnTo>
                    <a:pt x="180" y="278"/>
                  </a:lnTo>
                  <a:lnTo>
                    <a:pt x="202" y="280"/>
                  </a:lnTo>
                  <a:lnTo>
                    <a:pt x="206" y="282"/>
                  </a:lnTo>
                  <a:lnTo>
                    <a:pt x="208" y="286"/>
                  </a:lnTo>
                  <a:lnTo>
                    <a:pt x="210" y="290"/>
                  </a:lnTo>
                  <a:lnTo>
                    <a:pt x="214" y="292"/>
                  </a:lnTo>
                  <a:lnTo>
                    <a:pt x="218" y="294"/>
                  </a:lnTo>
                  <a:lnTo>
                    <a:pt x="222" y="298"/>
                  </a:lnTo>
                  <a:lnTo>
                    <a:pt x="224" y="302"/>
                  </a:lnTo>
                  <a:lnTo>
                    <a:pt x="224" y="304"/>
                  </a:lnTo>
                  <a:lnTo>
                    <a:pt x="226" y="310"/>
                  </a:lnTo>
                  <a:lnTo>
                    <a:pt x="228" y="314"/>
                  </a:lnTo>
                  <a:lnTo>
                    <a:pt x="234" y="316"/>
                  </a:lnTo>
                  <a:lnTo>
                    <a:pt x="240" y="316"/>
                  </a:lnTo>
                  <a:lnTo>
                    <a:pt x="242" y="312"/>
                  </a:lnTo>
                  <a:lnTo>
                    <a:pt x="244" y="308"/>
                  </a:lnTo>
                  <a:lnTo>
                    <a:pt x="246" y="306"/>
                  </a:lnTo>
                  <a:lnTo>
                    <a:pt x="250" y="308"/>
                  </a:lnTo>
                  <a:lnTo>
                    <a:pt x="254" y="308"/>
                  </a:lnTo>
                  <a:lnTo>
                    <a:pt x="258" y="308"/>
                  </a:lnTo>
                  <a:lnTo>
                    <a:pt x="260" y="310"/>
                  </a:lnTo>
                  <a:lnTo>
                    <a:pt x="262" y="314"/>
                  </a:lnTo>
                  <a:lnTo>
                    <a:pt x="268" y="320"/>
                  </a:lnTo>
                  <a:lnTo>
                    <a:pt x="270" y="324"/>
                  </a:lnTo>
                  <a:lnTo>
                    <a:pt x="270" y="326"/>
                  </a:lnTo>
                  <a:lnTo>
                    <a:pt x="272" y="332"/>
                  </a:lnTo>
                  <a:lnTo>
                    <a:pt x="276" y="336"/>
                  </a:lnTo>
                  <a:lnTo>
                    <a:pt x="278" y="340"/>
                  </a:lnTo>
                  <a:lnTo>
                    <a:pt x="280" y="344"/>
                  </a:lnTo>
                  <a:lnTo>
                    <a:pt x="282" y="350"/>
                  </a:lnTo>
                  <a:lnTo>
                    <a:pt x="284" y="354"/>
                  </a:lnTo>
                  <a:lnTo>
                    <a:pt x="284" y="356"/>
                  </a:lnTo>
                  <a:lnTo>
                    <a:pt x="286" y="360"/>
                  </a:lnTo>
                  <a:lnTo>
                    <a:pt x="292" y="362"/>
                  </a:lnTo>
                  <a:lnTo>
                    <a:pt x="298" y="364"/>
                  </a:lnTo>
                  <a:lnTo>
                    <a:pt x="302" y="366"/>
                  </a:lnTo>
                  <a:lnTo>
                    <a:pt x="302" y="368"/>
                  </a:lnTo>
                  <a:lnTo>
                    <a:pt x="306" y="368"/>
                  </a:lnTo>
                  <a:lnTo>
                    <a:pt x="300" y="358"/>
                  </a:lnTo>
                  <a:lnTo>
                    <a:pt x="302" y="356"/>
                  </a:lnTo>
                  <a:lnTo>
                    <a:pt x="302" y="354"/>
                  </a:lnTo>
                  <a:lnTo>
                    <a:pt x="300" y="348"/>
                  </a:lnTo>
                  <a:lnTo>
                    <a:pt x="304" y="348"/>
                  </a:lnTo>
                  <a:lnTo>
                    <a:pt x="304" y="344"/>
                  </a:lnTo>
                  <a:lnTo>
                    <a:pt x="304" y="340"/>
                  </a:lnTo>
                  <a:lnTo>
                    <a:pt x="306" y="340"/>
                  </a:lnTo>
                  <a:lnTo>
                    <a:pt x="310" y="338"/>
                  </a:lnTo>
                  <a:lnTo>
                    <a:pt x="316" y="336"/>
                  </a:lnTo>
                  <a:lnTo>
                    <a:pt x="316" y="334"/>
                  </a:lnTo>
                  <a:lnTo>
                    <a:pt x="316" y="332"/>
                  </a:lnTo>
                  <a:lnTo>
                    <a:pt x="316" y="330"/>
                  </a:lnTo>
                  <a:lnTo>
                    <a:pt x="318" y="328"/>
                  </a:lnTo>
                  <a:lnTo>
                    <a:pt x="322" y="328"/>
                  </a:lnTo>
                  <a:lnTo>
                    <a:pt x="326" y="326"/>
                  </a:lnTo>
                  <a:lnTo>
                    <a:pt x="332" y="314"/>
                  </a:lnTo>
                  <a:lnTo>
                    <a:pt x="334" y="316"/>
                  </a:lnTo>
                  <a:lnTo>
                    <a:pt x="338" y="316"/>
                  </a:lnTo>
                  <a:lnTo>
                    <a:pt x="346" y="312"/>
                  </a:lnTo>
                  <a:lnTo>
                    <a:pt x="352" y="308"/>
                  </a:lnTo>
                  <a:lnTo>
                    <a:pt x="364" y="310"/>
                  </a:lnTo>
                  <a:lnTo>
                    <a:pt x="374" y="314"/>
                  </a:lnTo>
                  <a:lnTo>
                    <a:pt x="374" y="318"/>
                  </a:lnTo>
                  <a:lnTo>
                    <a:pt x="376" y="320"/>
                  </a:lnTo>
                  <a:lnTo>
                    <a:pt x="378" y="320"/>
                  </a:lnTo>
                  <a:lnTo>
                    <a:pt x="380" y="320"/>
                  </a:lnTo>
                  <a:lnTo>
                    <a:pt x="382" y="318"/>
                  </a:lnTo>
                  <a:lnTo>
                    <a:pt x="384" y="318"/>
                  </a:lnTo>
                  <a:lnTo>
                    <a:pt x="382" y="312"/>
                  </a:lnTo>
                  <a:lnTo>
                    <a:pt x="388" y="310"/>
                  </a:lnTo>
                  <a:lnTo>
                    <a:pt x="392" y="316"/>
                  </a:lnTo>
                  <a:lnTo>
                    <a:pt x="396" y="316"/>
                  </a:lnTo>
                  <a:lnTo>
                    <a:pt x="400" y="316"/>
                  </a:lnTo>
                  <a:lnTo>
                    <a:pt x="400" y="320"/>
                  </a:lnTo>
                  <a:lnTo>
                    <a:pt x="404" y="318"/>
                  </a:lnTo>
                  <a:lnTo>
                    <a:pt x="404" y="316"/>
                  </a:lnTo>
                  <a:lnTo>
                    <a:pt x="398" y="314"/>
                  </a:lnTo>
                  <a:lnTo>
                    <a:pt x="398" y="312"/>
                  </a:lnTo>
                  <a:lnTo>
                    <a:pt x="400" y="312"/>
                  </a:lnTo>
                  <a:lnTo>
                    <a:pt x="400" y="310"/>
                  </a:lnTo>
                  <a:lnTo>
                    <a:pt x="402" y="308"/>
                  </a:lnTo>
                  <a:lnTo>
                    <a:pt x="392" y="304"/>
                  </a:lnTo>
                  <a:lnTo>
                    <a:pt x="390" y="300"/>
                  </a:lnTo>
                  <a:lnTo>
                    <a:pt x="392" y="302"/>
                  </a:lnTo>
                  <a:lnTo>
                    <a:pt x="396" y="302"/>
                  </a:lnTo>
                  <a:lnTo>
                    <a:pt x="398" y="302"/>
                  </a:lnTo>
                  <a:lnTo>
                    <a:pt x="398" y="298"/>
                  </a:lnTo>
                  <a:lnTo>
                    <a:pt x="412" y="300"/>
                  </a:lnTo>
                  <a:lnTo>
                    <a:pt x="412" y="298"/>
                  </a:lnTo>
                  <a:lnTo>
                    <a:pt x="414" y="298"/>
                  </a:lnTo>
                  <a:lnTo>
                    <a:pt x="416" y="300"/>
                  </a:lnTo>
                  <a:lnTo>
                    <a:pt x="416" y="302"/>
                  </a:lnTo>
                  <a:lnTo>
                    <a:pt x="420" y="302"/>
                  </a:lnTo>
                  <a:lnTo>
                    <a:pt x="422" y="298"/>
                  </a:lnTo>
                  <a:lnTo>
                    <a:pt x="428" y="300"/>
                  </a:lnTo>
                  <a:lnTo>
                    <a:pt x="428" y="298"/>
                  </a:lnTo>
                  <a:lnTo>
                    <a:pt x="430" y="298"/>
                  </a:lnTo>
                  <a:lnTo>
                    <a:pt x="432" y="298"/>
                  </a:lnTo>
                  <a:lnTo>
                    <a:pt x="434" y="300"/>
                  </a:lnTo>
                  <a:lnTo>
                    <a:pt x="432" y="302"/>
                  </a:lnTo>
                  <a:lnTo>
                    <a:pt x="438" y="304"/>
                  </a:lnTo>
                  <a:lnTo>
                    <a:pt x="442" y="304"/>
                  </a:lnTo>
                  <a:lnTo>
                    <a:pt x="442" y="306"/>
                  </a:lnTo>
                  <a:lnTo>
                    <a:pt x="444" y="310"/>
                  </a:lnTo>
                  <a:lnTo>
                    <a:pt x="448" y="310"/>
                  </a:lnTo>
                  <a:lnTo>
                    <a:pt x="452" y="312"/>
                  </a:lnTo>
                  <a:lnTo>
                    <a:pt x="456" y="306"/>
                  </a:lnTo>
                  <a:lnTo>
                    <a:pt x="458" y="306"/>
                  </a:lnTo>
                  <a:lnTo>
                    <a:pt x="460" y="306"/>
                  </a:lnTo>
                  <a:lnTo>
                    <a:pt x="462" y="310"/>
                  </a:lnTo>
                  <a:lnTo>
                    <a:pt x="464" y="314"/>
                  </a:lnTo>
                  <a:lnTo>
                    <a:pt x="470" y="316"/>
                  </a:lnTo>
                  <a:lnTo>
                    <a:pt x="470" y="322"/>
                  </a:lnTo>
                  <a:lnTo>
                    <a:pt x="470" y="328"/>
                  </a:lnTo>
                  <a:lnTo>
                    <a:pt x="470" y="340"/>
                  </a:lnTo>
                  <a:lnTo>
                    <a:pt x="474" y="340"/>
                  </a:lnTo>
                  <a:lnTo>
                    <a:pt x="476" y="340"/>
                  </a:lnTo>
                  <a:lnTo>
                    <a:pt x="474" y="344"/>
                  </a:lnTo>
                  <a:lnTo>
                    <a:pt x="472" y="348"/>
                  </a:lnTo>
                  <a:lnTo>
                    <a:pt x="474" y="352"/>
                  </a:lnTo>
                  <a:lnTo>
                    <a:pt x="480" y="354"/>
                  </a:lnTo>
                  <a:lnTo>
                    <a:pt x="482" y="358"/>
                  </a:lnTo>
                  <a:lnTo>
                    <a:pt x="482" y="364"/>
                  </a:lnTo>
                  <a:lnTo>
                    <a:pt x="488" y="368"/>
                  </a:lnTo>
                  <a:lnTo>
                    <a:pt x="486" y="372"/>
                  </a:lnTo>
                  <a:lnTo>
                    <a:pt x="488" y="374"/>
                  </a:lnTo>
                  <a:lnTo>
                    <a:pt x="492" y="376"/>
                  </a:lnTo>
                  <a:lnTo>
                    <a:pt x="496" y="378"/>
                  </a:lnTo>
                  <a:lnTo>
                    <a:pt x="498" y="364"/>
                  </a:lnTo>
                  <a:lnTo>
                    <a:pt x="500" y="356"/>
                  </a:lnTo>
                  <a:lnTo>
                    <a:pt x="500" y="348"/>
                  </a:lnTo>
                  <a:lnTo>
                    <a:pt x="494" y="328"/>
                  </a:lnTo>
                  <a:lnTo>
                    <a:pt x="490" y="326"/>
                  </a:lnTo>
                  <a:lnTo>
                    <a:pt x="492" y="324"/>
                  </a:lnTo>
                  <a:lnTo>
                    <a:pt x="492" y="322"/>
                  </a:lnTo>
                  <a:lnTo>
                    <a:pt x="488" y="314"/>
                  </a:lnTo>
                  <a:lnTo>
                    <a:pt x="488" y="308"/>
                  </a:lnTo>
                  <a:lnTo>
                    <a:pt x="488" y="302"/>
                  </a:lnTo>
                  <a:lnTo>
                    <a:pt x="484" y="300"/>
                  </a:lnTo>
                  <a:lnTo>
                    <a:pt x="482" y="298"/>
                  </a:lnTo>
                  <a:lnTo>
                    <a:pt x="484" y="298"/>
                  </a:lnTo>
                  <a:lnTo>
                    <a:pt x="486" y="298"/>
                  </a:lnTo>
                  <a:lnTo>
                    <a:pt x="484" y="296"/>
                  </a:lnTo>
                  <a:lnTo>
                    <a:pt x="486" y="296"/>
                  </a:lnTo>
                  <a:lnTo>
                    <a:pt x="488" y="294"/>
                  </a:lnTo>
                  <a:lnTo>
                    <a:pt x="490" y="294"/>
                  </a:lnTo>
                  <a:lnTo>
                    <a:pt x="488" y="294"/>
                  </a:lnTo>
                  <a:lnTo>
                    <a:pt x="486" y="294"/>
                  </a:lnTo>
                  <a:lnTo>
                    <a:pt x="486" y="292"/>
                  </a:lnTo>
                  <a:lnTo>
                    <a:pt x="488" y="286"/>
                  </a:lnTo>
                  <a:lnTo>
                    <a:pt x="492" y="278"/>
                  </a:lnTo>
                  <a:lnTo>
                    <a:pt x="492" y="274"/>
                  </a:lnTo>
                  <a:lnTo>
                    <a:pt x="492" y="272"/>
                  </a:lnTo>
                  <a:lnTo>
                    <a:pt x="498" y="272"/>
                  </a:lnTo>
                  <a:lnTo>
                    <a:pt x="498" y="268"/>
                  </a:lnTo>
                  <a:lnTo>
                    <a:pt x="500" y="266"/>
                  </a:lnTo>
                  <a:lnTo>
                    <a:pt x="506" y="264"/>
                  </a:lnTo>
                  <a:lnTo>
                    <a:pt x="512" y="260"/>
                  </a:lnTo>
                  <a:lnTo>
                    <a:pt x="512" y="256"/>
                  </a:lnTo>
                  <a:lnTo>
                    <a:pt x="514" y="254"/>
                  </a:lnTo>
                  <a:lnTo>
                    <a:pt x="516" y="252"/>
                  </a:lnTo>
                  <a:lnTo>
                    <a:pt x="520" y="252"/>
                  </a:lnTo>
                  <a:lnTo>
                    <a:pt x="522" y="252"/>
                  </a:lnTo>
                  <a:lnTo>
                    <a:pt x="526" y="250"/>
                  </a:lnTo>
                  <a:lnTo>
                    <a:pt x="528" y="246"/>
                  </a:lnTo>
                  <a:lnTo>
                    <a:pt x="530" y="240"/>
                  </a:lnTo>
                  <a:lnTo>
                    <a:pt x="536" y="238"/>
                  </a:lnTo>
                  <a:lnTo>
                    <a:pt x="532" y="230"/>
                  </a:lnTo>
                  <a:lnTo>
                    <a:pt x="540" y="230"/>
                  </a:lnTo>
                  <a:lnTo>
                    <a:pt x="538" y="226"/>
                  </a:lnTo>
                  <a:lnTo>
                    <a:pt x="550" y="224"/>
                  </a:lnTo>
                  <a:lnTo>
                    <a:pt x="546" y="218"/>
                  </a:lnTo>
                  <a:lnTo>
                    <a:pt x="540" y="218"/>
                  </a:lnTo>
                  <a:lnTo>
                    <a:pt x="540" y="216"/>
                  </a:lnTo>
                  <a:lnTo>
                    <a:pt x="544" y="214"/>
                  </a:lnTo>
                  <a:lnTo>
                    <a:pt x="546" y="214"/>
                  </a:lnTo>
                  <a:lnTo>
                    <a:pt x="546" y="206"/>
                  </a:lnTo>
                  <a:lnTo>
                    <a:pt x="540" y="204"/>
                  </a:lnTo>
                  <a:lnTo>
                    <a:pt x="538" y="202"/>
                  </a:lnTo>
                  <a:lnTo>
                    <a:pt x="536" y="200"/>
                  </a:lnTo>
                  <a:lnTo>
                    <a:pt x="540" y="196"/>
                  </a:lnTo>
                  <a:lnTo>
                    <a:pt x="542" y="192"/>
                  </a:lnTo>
                  <a:lnTo>
                    <a:pt x="538" y="192"/>
                  </a:lnTo>
                  <a:lnTo>
                    <a:pt x="538" y="190"/>
                  </a:lnTo>
                  <a:lnTo>
                    <a:pt x="540" y="188"/>
                  </a:lnTo>
                  <a:lnTo>
                    <a:pt x="536" y="186"/>
                  </a:lnTo>
                  <a:lnTo>
                    <a:pt x="532" y="184"/>
                  </a:lnTo>
                  <a:lnTo>
                    <a:pt x="534" y="182"/>
                  </a:lnTo>
                  <a:lnTo>
                    <a:pt x="536" y="182"/>
                  </a:lnTo>
                  <a:lnTo>
                    <a:pt x="534" y="178"/>
                  </a:lnTo>
                  <a:lnTo>
                    <a:pt x="534" y="176"/>
                  </a:lnTo>
                  <a:lnTo>
                    <a:pt x="536" y="174"/>
                  </a:lnTo>
                  <a:lnTo>
                    <a:pt x="538" y="170"/>
                  </a:lnTo>
                  <a:lnTo>
                    <a:pt x="540" y="162"/>
                  </a:lnTo>
                  <a:lnTo>
                    <a:pt x="542" y="160"/>
                  </a:lnTo>
                  <a:lnTo>
                    <a:pt x="546" y="160"/>
                  </a:lnTo>
                  <a:lnTo>
                    <a:pt x="548" y="162"/>
                  </a:lnTo>
                  <a:lnTo>
                    <a:pt x="544" y="168"/>
                  </a:lnTo>
                  <a:lnTo>
                    <a:pt x="542" y="174"/>
                  </a:lnTo>
                  <a:lnTo>
                    <a:pt x="542" y="180"/>
                  </a:lnTo>
                  <a:lnTo>
                    <a:pt x="542" y="182"/>
                  </a:lnTo>
                  <a:lnTo>
                    <a:pt x="542" y="186"/>
                  </a:lnTo>
                  <a:lnTo>
                    <a:pt x="546" y="184"/>
                  </a:lnTo>
                  <a:lnTo>
                    <a:pt x="550" y="184"/>
                  </a:lnTo>
                  <a:lnTo>
                    <a:pt x="550" y="188"/>
                  </a:lnTo>
                  <a:lnTo>
                    <a:pt x="556" y="188"/>
                  </a:lnTo>
                  <a:lnTo>
                    <a:pt x="558" y="170"/>
                  </a:lnTo>
                  <a:lnTo>
                    <a:pt x="556" y="170"/>
                  </a:lnTo>
                  <a:lnTo>
                    <a:pt x="554" y="168"/>
                  </a:lnTo>
                  <a:lnTo>
                    <a:pt x="554" y="162"/>
                  </a:lnTo>
                  <a:lnTo>
                    <a:pt x="564" y="162"/>
                  </a:lnTo>
                  <a:lnTo>
                    <a:pt x="568" y="162"/>
                  </a:lnTo>
                  <a:lnTo>
                    <a:pt x="574" y="148"/>
                  </a:lnTo>
                  <a:lnTo>
                    <a:pt x="570" y="146"/>
                  </a:lnTo>
                  <a:lnTo>
                    <a:pt x="568" y="144"/>
                  </a:lnTo>
                  <a:lnTo>
                    <a:pt x="570" y="142"/>
                  </a:lnTo>
                  <a:lnTo>
                    <a:pt x="570" y="140"/>
                  </a:lnTo>
                  <a:lnTo>
                    <a:pt x="576" y="136"/>
                  </a:lnTo>
                  <a:lnTo>
                    <a:pt x="582" y="132"/>
                  </a:lnTo>
                  <a:lnTo>
                    <a:pt x="588" y="132"/>
                  </a:lnTo>
                  <a:lnTo>
                    <a:pt x="590" y="128"/>
                  </a:lnTo>
                  <a:lnTo>
                    <a:pt x="592" y="128"/>
                  </a:lnTo>
                  <a:lnTo>
                    <a:pt x="594" y="128"/>
                  </a:lnTo>
                  <a:lnTo>
                    <a:pt x="596" y="130"/>
                  </a:lnTo>
                  <a:lnTo>
                    <a:pt x="598" y="130"/>
                  </a:lnTo>
                  <a:lnTo>
                    <a:pt x="600" y="122"/>
                  </a:lnTo>
                  <a:lnTo>
                    <a:pt x="602" y="122"/>
                  </a:lnTo>
                  <a:lnTo>
                    <a:pt x="604" y="126"/>
                  </a:lnTo>
                  <a:lnTo>
                    <a:pt x="606" y="126"/>
                  </a:lnTo>
                  <a:lnTo>
                    <a:pt x="608" y="126"/>
                  </a:lnTo>
                  <a:lnTo>
                    <a:pt x="608" y="124"/>
                  </a:lnTo>
                  <a:lnTo>
                    <a:pt x="612" y="122"/>
                  </a:lnTo>
                  <a:lnTo>
                    <a:pt x="604" y="118"/>
                  </a:lnTo>
                  <a:lnTo>
                    <a:pt x="606" y="114"/>
                  </a:lnTo>
                  <a:lnTo>
                    <a:pt x="610" y="112"/>
                  </a:lnTo>
                  <a:lnTo>
                    <a:pt x="610" y="110"/>
                  </a:lnTo>
                  <a:lnTo>
                    <a:pt x="608" y="110"/>
                  </a:lnTo>
                  <a:lnTo>
                    <a:pt x="608" y="108"/>
                  </a:lnTo>
                  <a:lnTo>
                    <a:pt x="610" y="106"/>
                  </a:lnTo>
                  <a:lnTo>
                    <a:pt x="612" y="100"/>
                  </a:lnTo>
                  <a:lnTo>
                    <a:pt x="614" y="94"/>
                  </a:lnTo>
                  <a:lnTo>
                    <a:pt x="620" y="94"/>
                  </a:lnTo>
                  <a:lnTo>
                    <a:pt x="624" y="92"/>
                  </a:lnTo>
                  <a:lnTo>
                    <a:pt x="628" y="90"/>
                  </a:lnTo>
                  <a:lnTo>
                    <a:pt x="632" y="82"/>
                  </a:lnTo>
                  <a:lnTo>
                    <a:pt x="632" y="88"/>
                  </a:lnTo>
                  <a:lnTo>
                    <a:pt x="638" y="84"/>
                  </a:lnTo>
                  <a:lnTo>
                    <a:pt x="636" y="86"/>
                  </a:lnTo>
                  <a:lnTo>
                    <a:pt x="638" y="86"/>
                  </a:lnTo>
                  <a:lnTo>
                    <a:pt x="640" y="88"/>
                  </a:lnTo>
                  <a:lnTo>
                    <a:pt x="650" y="80"/>
                  </a:lnTo>
                  <a:lnTo>
                    <a:pt x="646" y="70"/>
                  </a:lnTo>
                  <a:lnTo>
                    <a:pt x="648" y="7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39" name="Freeform 501">
              <a:extLst>
                <a:ext uri="{FF2B5EF4-FFF2-40B4-BE49-F238E27FC236}">
                  <a16:creationId xmlns:a16="http://schemas.microsoft.com/office/drawing/2014/main" id="{724DC26C-5A1C-4FDA-A890-9A85EFDFE2F9}"/>
                </a:ext>
              </a:extLst>
            </p:cNvPr>
            <p:cNvSpPr>
              <a:spLocks/>
            </p:cNvSpPr>
            <p:nvPr/>
          </p:nvSpPr>
          <p:spPr bwMode="gray">
            <a:xfrm>
              <a:off x="3161980" y="5098733"/>
              <a:ext cx="110646" cy="131840"/>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2147483647 h 72"/>
                <a:gd name="T12" fmla="*/ 2147483647 w 60"/>
                <a:gd name="T13" fmla="*/ 2147483647 h 72"/>
                <a:gd name="T14" fmla="*/ 2147483647 w 60"/>
                <a:gd name="T15" fmla="*/ 2147483647 h 72"/>
                <a:gd name="T16" fmla="*/ 2147483647 w 60"/>
                <a:gd name="T17" fmla="*/ 2147483647 h 72"/>
                <a:gd name="T18" fmla="*/ 2147483647 w 60"/>
                <a:gd name="T19" fmla="*/ 2147483647 h 72"/>
                <a:gd name="T20" fmla="*/ 2147483647 w 60"/>
                <a:gd name="T21" fmla="*/ 2147483647 h 72"/>
                <a:gd name="T22" fmla="*/ 2147483647 w 60"/>
                <a:gd name="T23" fmla="*/ 2147483647 h 72"/>
                <a:gd name="T24" fmla="*/ 2147483647 w 60"/>
                <a:gd name="T25" fmla="*/ 2147483647 h 72"/>
                <a:gd name="T26" fmla="*/ 2147483647 w 60"/>
                <a:gd name="T27" fmla="*/ 2147483647 h 72"/>
                <a:gd name="T28" fmla="*/ 2147483647 w 60"/>
                <a:gd name="T29" fmla="*/ 2147483647 h 72"/>
                <a:gd name="T30" fmla="*/ 2147483647 w 60"/>
                <a:gd name="T31" fmla="*/ 2147483647 h 72"/>
                <a:gd name="T32" fmla="*/ 2147483647 w 60"/>
                <a:gd name="T33" fmla="*/ 2147483647 h 72"/>
                <a:gd name="T34" fmla="*/ 2147483647 w 60"/>
                <a:gd name="T35" fmla="*/ 2147483647 h 72"/>
                <a:gd name="T36" fmla="*/ 2147483647 w 60"/>
                <a:gd name="T37" fmla="*/ 2147483647 h 72"/>
                <a:gd name="T38" fmla="*/ 2147483647 w 60"/>
                <a:gd name="T39" fmla="*/ 2147483647 h 72"/>
                <a:gd name="T40" fmla="*/ 2147483647 w 60"/>
                <a:gd name="T41" fmla="*/ 2147483647 h 72"/>
                <a:gd name="T42" fmla="*/ 2147483647 w 60"/>
                <a:gd name="T43" fmla="*/ 0 h 72"/>
                <a:gd name="T44" fmla="*/ 2147483647 w 60"/>
                <a:gd name="T45" fmla="*/ 2147483647 h 72"/>
                <a:gd name="T46" fmla="*/ 2147483647 w 60"/>
                <a:gd name="T47" fmla="*/ 2147483647 h 72"/>
                <a:gd name="T48" fmla="*/ 2147483647 w 60"/>
                <a:gd name="T49" fmla="*/ 2147483647 h 72"/>
                <a:gd name="T50" fmla="*/ 2147483647 w 60"/>
                <a:gd name="T51" fmla="*/ 2147483647 h 72"/>
                <a:gd name="T52" fmla="*/ 2147483647 w 60"/>
                <a:gd name="T53" fmla="*/ 2147483647 h 72"/>
                <a:gd name="T54" fmla="*/ 2147483647 w 60"/>
                <a:gd name="T55" fmla="*/ 2147483647 h 72"/>
                <a:gd name="T56" fmla="*/ 2147483647 w 60"/>
                <a:gd name="T57" fmla="*/ 2147483647 h 72"/>
                <a:gd name="T58" fmla="*/ 2147483647 w 60"/>
                <a:gd name="T59" fmla="*/ 2147483647 h 72"/>
                <a:gd name="T60" fmla="*/ 2147483647 w 60"/>
                <a:gd name="T61" fmla="*/ 2147483647 h 72"/>
                <a:gd name="T62" fmla="*/ 2147483647 w 60"/>
                <a:gd name="T63" fmla="*/ 2147483647 h 72"/>
                <a:gd name="T64" fmla="*/ 2147483647 w 60"/>
                <a:gd name="T65" fmla="*/ 2147483647 h 72"/>
                <a:gd name="T66" fmla="*/ 2147483647 w 60"/>
                <a:gd name="T67" fmla="*/ 2147483647 h 72"/>
                <a:gd name="T68" fmla="*/ 0 w 60"/>
                <a:gd name="T69" fmla="*/ 2147483647 h 72"/>
                <a:gd name="T70" fmla="*/ 0 w 60"/>
                <a:gd name="T71" fmla="*/ 2147483647 h 72"/>
                <a:gd name="T72" fmla="*/ 0 w 60"/>
                <a:gd name="T73" fmla="*/ 2147483647 h 72"/>
                <a:gd name="T74" fmla="*/ 0 w 60"/>
                <a:gd name="T75" fmla="*/ 2147483647 h 72"/>
                <a:gd name="T76" fmla="*/ 0 w 60"/>
                <a:gd name="T77" fmla="*/ 2147483647 h 72"/>
                <a:gd name="T78" fmla="*/ 0 w 60"/>
                <a:gd name="T79" fmla="*/ 2147483647 h 72"/>
                <a:gd name="T80" fmla="*/ 0 w 60"/>
                <a:gd name="T81" fmla="*/ 2147483647 h 72"/>
                <a:gd name="T82" fmla="*/ 0 w 60"/>
                <a:gd name="T83" fmla="*/ 2147483647 h 72"/>
                <a:gd name="T84" fmla="*/ 0 w 60"/>
                <a:gd name="T85" fmla="*/ 2147483647 h 72"/>
                <a:gd name="T86" fmla="*/ 0 w 60"/>
                <a:gd name="T87" fmla="*/ 2147483647 h 72"/>
                <a:gd name="T88" fmla="*/ 0 w 60"/>
                <a:gd name="T89" fmla="*/ 2147483647 h 72"/>
                <a:gd name="T90" fmla="*/ 0 w 60"/>
                <a:gd name="T91" fmla="*/ 2147483647 h 72"/>
                <a:gd name="T92" fmla="*/ 0 w 60"/>
                <a:gd name="T93" fmla="*/ 2147483647 h 72"/>
                <a:gd name="T94" fmla="*/ 2147483647 w 60"/>
                <a:gd name="T95" fmla="*/ 2147483647 h 72"/>
                <a:gd name="T96" fmla="*/ 2147483647 w 60"/>
                <a:gd name="T97" fmla="*/ 2147483647 h 72"/>
                <a:gd name="T98" fmla="*/ 2147483647 w 60"/>
                <a:gd name="T99" fmla="*/ 2147483647 h 72"/>
                <a:gd name="T100" fmla="*/ 2147483647 w 60"/>
                <a:gd name="T101" fmla="*/ 2147483647 h 72"/>
                <a:gd name="T102" fmla="*/ 2147483647 w 60"/>
                <a:gd name="T103" fmla="*/ 2147483647 h 72"/>
                <a:gd name="T104" fmla="*/ 2147483647 w 60"/>
                <a:gd name="T105" fmla="*/ 2147483647 h 72"/>
                <a:gd name="T106" fmla="*/ 2147483647 w 60"/>
                <a:gd name="T107" fmla="*/ 2147483647 h 72"/>
                <a:gd name="T108" fmla="*/ 2147483647 w 60"/>
                <a:gd name="T109" fmla="*/ 2147483647 h 72"/>
                <a:gd name="T110" fmla="*/ 2147483647 w 60"/>
                <a:gd name="T111" fmla="*/ 2147483647 h 72"/>
                <a:gd name="T112" fmla="*/ 2147483647 w 60"/>
                <a:gd name="T113" fmla="*/ 2147483647 h 72"/>
                <a:gd name="T114" fmla="*/ 2147483647 w 60"/>
                <a:gd name="T115" fmla="*/ 2147483647 h 72"/>
                <a:gd name="T116" fmla="*/ 2147483647 w 60"/>
                <a:gd name="T117" fmla="*/ 2147483647 h 72"/>
                <a:gd name="T118" fmla="*/ 2147483647 w 60"/>
                <a:gd name="T119" fmla="*/ 2147483647 h 72"/>
                <a:gd name="T120" fmla="*/ 2147483647 w 60"/>
                <a:gd name="T121" fmla="*/ 2147483647 h 72"/>
                <a:gd name="T122" fmla="*/ 2147483647 w 60"/>
                <a:gd name="T123" fmla="*/ 2147483647 h 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
                <a:gd name="T187" fmla="*/ 0 h 72"/>
                <a:gd name="T188" fmla="*/ 60 w 60"/>
                <a:gd name="T189" fmla="*/ 72 h 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 h="72">
                  <a:moveTo>
                    <a:pt x="56" y="52"/>
                  </a:moveTo>
                  <a:lnTo>
                    <a:pt x="54" y="46"/>
                  </a:lnTo>
                  <a:lnTo>
                    <a:pt x="60" y="38"/>
                  </a:lnTo>
                  <a:lnTo>
                    <a:pt x="54" y="36"/>
                  </a:lnTo>
                  <a:lnTo>
                    <a:pt x="52" y="32"/>
                  </a:lnTo>
                  <a:lnTo>
                    <a:pt x="50" y="28"/>
                  </a:lnTo>
                  <a:lnTo>
                    <a:pt x="48" y="26"/>
                  </a:lnTo>
                  <a:lnTo>
                    <a:pt x="48" y="24"/>
                  </a:lnTo>
                  <a:lnTo>
                    <a:pt x="42" y="22"/>
                  </a:lnTo>
                  <a:lnTo>
                    <a:pt x="38" y="20"/>
                  </a:lnTo>
                  <a:lnTo>
                    <a:pt x="36" y="16"/>
                  </a:lnTo>
                  <a:lnTo>
                    <a:pt x="32" y="14"/>
                  </a:lnTo>
                  <a:lnTo>
                    <a:pt x="30" y="14"/>
                  </a:lnTo>
                  <a:lnTo>
                    <a:pt x="28" y="12"/>
                  </a:lnTo>
                  <a:lnTo>
                    <a:pt x="26" y="6"/>
                  </a:lnTo>
                  <a:lnTo>
                    <a:pt x="16" y="0"/>
                  </a:lnTo>
                  <a:lnTo>
                    <a:pt x="8" y="2"/>
                  </a:lnTo>
                  <a:lnTo>
                    <a:pt x="6" y="4"/>
                  </a:lnTo>
                  <a:lnTo>
                    <a:pt x="4" y="8"/>
                  </a:lnTo>
                  <a:lnTo>
                    <a:pt x="4" y="12"/>
                  </a:lnTo>
                  <a:lnTo>
                    <a:pt x="4" y="14"/>
                  </a:lnTo>
                  <a:lnTo>
                    <a:pt x="4" y="16"/>
                  </a:lnTo>
                  <a:lnTo>
                    <a:pt x="2" y="18"/>
                  </a:lnTo>
                  <a:lnTo>
                    <a:pt x="2" y="20"/>
                  </a:lnTo>
                  <a:lnTo>
                    <a:pt x="2" y="24"/>
                  </a:lnTo>
                  <a:lnTo>
                    <a:pt x="0" y="26"/>
                  </a:lnTo>
                  <a:lnTo>
                    <a:pt x="0" y="28"/>
                  </a:lnTo>
                  <a:lnTo>
                    <a:pt x="0" y="30"/>
                  </a:lnTo>
                  <a:lnTo>
                    <a:pt x="0" y="34"/>
                  </a:lnTo>
                  <a:lnTo>
                    <a:pt x="0" y="38"/>
                  </a:lnTo>
                  <a:lnTo>
                    <a:pt x="0" y="42"/>
                  </a:lnTo>
                  <a:lnTo>
                    <a:pt x="0" y="44"/>
                  </a:lnTo>
                  <a:lnTo>
                    <a:pt x="0" y="62"/>
                  </a:lnTo>
                  <a:lnTo>
                    <a:pt x="6" y="62"/>
                  </a:lnTo>
                  <a:lnTo>
                    <a:pt x="10" y="64"/>
                  </a:lnTo>
                  <a:lnTo>
                    <a:pt x="14" y="68"/>
                  </a:lnTo>
                  <a:lnTo>
                    <a:pt x="18" y="70"/>
                  </a:lnTo>
                  <a:lnTo>
                    <a:pt x="22" y="72"/>
                  </a:lnTo>
                  <a:lnTo>
                    <a:pt x="30" y="68"/>
                  </a:lnTo>
                  <a:lnTo>
                    <a:pt x="34" y="70"/>
                  </a:lnTo>
                  <a:lnTo>
                    <a:pt x="40" y="70"/>
                  </a:lnTo>
                  <a:lnTo>
                    <a:pt x="48" y="64"/>
                  </a:lnTo>
                  <a:lnTo>
                    <a:pt x="56" y="5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0" name="Freeform 502">
              <a:extLst>
                <a:ext uri="{FF2B5EF4-FFF2-40B4-BE49-F238E27FC236}">
                  <a16:creationId xmlns:a16="http://schemas.microsoft.com/office/drawing/2014/main" id="{6E2ECDFB-7D51-4057-A71A-FD3FD6C9585E}"/>
                </a:ext>
              </a:extLst>
            </p:cNvPr>
            <p:cNvSpPr>
              <a:spLocks noEditPoints="1"/>
            </p:cNvSpPr>
            <p:nvPr/>
          </p:nvSpPr>
          <p:spPr bwMode="gray">
            <a:xfrm>
              <a:off x="4223716" y="2551397"/>
              <a:ext cx="204814" cy="355497"/>
            </a:xfrm>
            <a:custGeom>
              <a:avLst/>
              <a:gdLst>
                <a:gd name="T0" fmla="*/ 2147483647 w 110"/>
                <a:gd name="T1" fmla="*/ 2147483647 h 192"/>
                <a:gd name="T2" fmla="*/ 0 w 110"/>
                <a:gd name="T3" fmla="*/ 2147483647 h 192"/>
                <a:gd name="T4" fmla="*/ 2147483647 w 110"/>
                <a:gd name="T5" fmla="*/ 2147483647 h 192"/>
                <a:gd name="T6" fmla="*/ 2147483647 w 110"/>
                <a:gd name="T7" fmla="*/ 2147483647 h 192"/>
                <a:gd name="T8" fmla="*/ 2147483647 w 110"/>
                <a:gd name="T9" fmla="*/ 2147483647 h 192"/>
                <a:gd name="T10" fmla="*/ 2147483647 w 110"/>
                <a:gd name="T11" fmla="*/ 2147483647 h 192"/>
                <a:gd name="T12" fmla="*/ 2147483647 w 110"/>
                <a:gd name="T13" fmla="*/ 2147483647 h 192"/>
                <a:gd name="T14" fmla="*/ 2147483647 w 110"/>
                <a:gd name="T15" fmla="*/ 2147483647 h 192"/>
                <a:gd name="T16" fmla="*/ 2147483647 w 110"/>
                <a:gd name="T17" fmla="*/ 2147483647 h 192"/>
                <a:gd name="T18" fmla="*/ 2147483647 w 110"/>
                <a:gd name="T19" fmla="*/ 2147483647 h 192"/>
                <a:gd name="T20" fmla="*/ 2147483647 w 110"/>
                <a:gd name="T21" fmla="*/ 2147483647 h 192"/>
                <a:gd name="T22" fmla="*/ 2147483647 w 110"/>
                <a:gd name="T23" fmla="*/ 2147483647 h 192"/>
                <a:gd name="T24" fmla="*/ 2147483647 w 110"/>
                <a:gd name="T25" fmla="*/ 2147483647 h 192"/>
                <a:gd name="T26" fmla="*/ 2147483647 w 110"/>
                <a:gd name="T27" fmla="*/ 2147483647 h 192"/>
                <a:gd name="T28" fmla="*/ 2147483647 w 110"/>
                <a:gd name="T29" fmla="*/ 2147483647 h 192"/>
                <a:gd name="T30" fmla="*/ 2147483647 w 110"/>
                <a:gd name="T31" fmla="*/ 2147483647 h 192"/>
                <a:gd name="T32" fmla="*/ 2147483647 w 110"/>
                <a:gd name="T33" fmla="*/ 2147483647 h 192"/>
                <a:gd name="T34" fmla="*/ 2147483647 w 110"/>
                <a:gd name="T35" fmla="*/ 2147483647 h 192"/>
                <a:gd name="T36" fmla="*/ 2147483647 w 110"/>
                <a:gd name="T37" fmla="*/ 2147483647 h 192"/>
                <a:gd name="T38" fmla="*/ 2147483647 w 110"/>
                <a:gd name="T39" fmla="*/ 2147483647 h 192"/>
                <a:gd name="T40" fmla="*/ 2147483647 w 110"/>
                <a:gd name="T41" fmla="*/ 2147483647 h 192"/>
                <a:gd name="T42" fmla="*/ 2147483647 w 110"/>
                <a:gd name="T43" fmla="*/ 2147483647 h 192"/>
                <a:gd name="T44" fmla="*/ 2147483647 w 110"/>
                <a:gd name="T45" fmla="*/ 2147483647 h 192"/>
                <a:gd name="T46" fmla="*/ 2147483647 w 110"/>
                <a:gd name="T47" fmla="*/ 2147483647 h 192"/>
                <a:gd name="T48" fmla="*/ 2147483647 w 110"/>
                <a:gd name="T49" fmla="*/ 2147483647 h 192"/>
                <a:gd name="T50" fmla="*/ 2147483647 w 110"/>
                <a:gd name="T51" fmla="*/ 2147483647 h 192"/>
                <a:gd name="T52" fmla="*/ 2147483647 w 110"/>
                <a:gd name="T53" fmla="*/ 2147483647 h 192"/>
                <a:gd name="T54" fmla="*/ 2147483647 w 110"/>
                <a:gd name="T55" fmla="*/ 2147483647 h 192"/>
                <a:gd name="T56" fmla="*/ 2147483647 w 110"/>
                <a:gd name="T57" fmla="*/ 2147483647 h 192"/>
                <a:gd name="T58" fmla="*/ 2147483647 w 110"/>
                <a:gd name="T59" fmla="*/ 2147483647 h 192"/>
                <a:gd name="T60" fmla="*/ 2147483647 w 110"/>
                <a:gd name="T61" fmla="*/ 2147483647 h 192"/>
                <a:gd name="T62" fmla="*/ 2147483647 w 110"/>
                <a:gd name="T63" fmla="*/ 2147483647 h 192"/>
                <a:gd name="T64" fmla="*/ 2147483647 w 110"/>
                <a:gd name="T65" fmla="*/ 2147483647 h 192"/>
                <a:gd name="T66" fmla="*/ 2147483647 w 110"/>
                <a:gd name="T67" fmla="*/ 2147483647 h 192"/>
                <a:gd name="T68" fmla="*/ 2147483647 w 110"/>
                <a:gd name="T69" fmla="*/ 2147483647 h 192"/>
                <a:gd name="T70" fmla="*/ 2147483647 w 110"/>
                <a:gd name="T71" fmla="*/ 2147483647 h 192"/>
                <a:gd name="T72" fmla="*/ 2147483647 w 110"/>
                <a:gd name="T73" fmla="*/ 2147483647 h 192"/>
                <a:gd name="T74" fmla="*/ 2147483647 w 110"/>
                <a:gd name="T75" fmla="*/ 2147483647 h 192"/>
                <a:gd name="T76" fmla="*/ 2147483647 w 110"/>
                <a:gd name="T77" fmla="*/ 2147483647 h 192"/>
                <a:gd name="T78" fmla="*/ 2147483647 w 110"/>
                <a:gd name="T79" fmla="*/ 2147483647 h 192"/>
                <a:gd name="T80" fmla="*/ 2147483647 w 110"/>
                <a:gd name="T81" fmla="*/ 2147483647 h 192"/>
                <a:gd name="T82" fmla="*/ 2147483647 w 110"/>
                <a:gd name="T83" fmla="*/ 2147483647 h 192"/>
                <a:gd name="T84" fmla="*/ 2147483647 w 110"/>
                <a:gd name="T85" fmla="*/ 2147483647 h 192"/>
                <a:gd name="T86" fmla="*/ 2147483647 w 110"/>
                <a:gd name="T87" fmla="*/ 2147483647 h 192"/>
                <a:gd name="T88" fmla="*/ 2147483647 w 110"/>
                <a:gd name="T89" fmla="*/ 2147483647 h 192"/>
                <a:gd name="T90" fmla="*/ 2147483647 w 110"/>
                <a:gd name="T91" fmla="*/ 2147483647 h 192"/>
                <a:gd name="T92" fmla="*/ 2147483647 w 110"/>
                <a:gd name="T93" fmla="*/ 2147483647 h 192"/>
                <a:gd name="T94" fmla="*/ 2147483647 w 110"/>
                <a:gd name="T95" fmla="*/ 2147483647 h 192"/>
                <a:gd name="T96" fmla="*/ 2147483647 w 110"/>
                <a:gd name="T97" fmla="*/ 2147483647 h 192"/>
                <a:gd name="T98" fmla="*/ 2147483647 w 110"/>
                <a:gd name="T99" fmla="*/ 2147483647 h 192"/>
                <a:gd name="T100" fmla="*/ 2147483647 w 110"/>
                <a:gd name="T101" fmla="*/ 2147483647 h 192"/>
                <a:gd name="T102" fmla="*/ 2147483647 w 110"/>
                <a:gd name="T103" fmla="*/ 2147483647 h 192"/>
                <a:gd name="T104" fmla="*/ 2147483647 w 110"/>
                <a:gd name="T105" fmla="*/ 2147483647 h 192"/>
                <a:gd name="T106" fmla="*/ 2147483647 w 110"/>
                <a:gd name="T107" fmla="*/ 0 h 19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0"/>
                <a:gd name="T163" fmla="*/ 0 h 192"/>
                <a:gd name="T164" fmla="*/ 110 w 110"/>
                <a:gd name="T165" fmla="*/ 192 h 19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0" h="192">
                  <a:moveTo>
                    <a:pt x="10" y="104"/>
                  </a:moveTo>
                  <a:lnTo>
                    <a:pt x="10" y="104"/>
                  </a:lnTo>
                  <a:lnTo>
                    <a:pt x="8" y="106"/>
                  </a:lnTo>
                  <a:lnTo>
                    <a:pt x="6" y="108"/>
                  </a:lnTo>
                  <a:lnTo>
                    <a:pt x="4" y="110"/>
                  </a:lnTo>
                  <a:lnTo>
                    <a:pt x="4" y="112"/>
                  </a:lnTo>
                  <a:lnTo>
                    <a:pt x="2" y="112"/>
                  </a:lnTo>
                  <a:lnTo>
                    <a:pt x="0" y="114"/>
                  </a:lnTo>
                  <a:lnTo>
                    <a:pt x="0" y="116"/>
                  </a:lnTo>
                  <a:lnTo>
                    <a:pt x="2" y="118"/>
                  </a:lnTo>
                  <a:lnTo>
                    <a:pt x="4" y="118"/>
                  </a:lnTo>
                  <a:lnTo>
                    <a:pt x="4" y="120"/>
                  </a:lnTo>
                  <a:lnTo>
                    <a:pt x="6" y="122"/>
                  </a:lnTo>
                  <a:lnTo>
                    <a:pt x="10" y="120"/>
                  </a:lnTo>
                  <a:lnTo>
                    <a:pt x="12" y="122"/>
                  </a:lnTo>
                  <a:lnTo>
                    <a:pt x="18" y="122"/>
                  </a:lnTo>
                  <a:lnTo>
                    <a:pt x="20" y="118"/>
                  </a:lnTo>
                  <a:lnTo>
                    <a:pt x="26" y="118"/>
                  </a:lnTo>
                  <a:lnTo>
                    <a:pt x="24" y="118"/>
                  </a:lnTo>
                  <a:lnTo>
                    <a:pt x="24" y="110"/>
                  </a:lnTo>
                  <a:lnTo>
                    <a:pt x="20" y="110"/>
                  </a:lnTo>
                  <a:lnTo>
                    <a:pt x="22" y="106"/>
                  </a:lnTo>
                  <a:lnTo>
                    <a:pt x="22" y="104"/>
                  </a:lnTo>
                  <a:lnTo>
                    <a:pt x="16" y="104"/>
                  </a:lnTo>
                  <a:lnTo>
                    <a:pt x="8" y="108"/>
                  </a:lnTo>
                  <a:lnTo>
                    <a:pt x="10" y="106"/>
                  </a:lnTo>
                  <a:lnTo>
                    <a:pt x="10" y="104"/>
                  </a:lnTo>
                  <a:close/>
                  <a:moveTo>
                    <a:pt x="22" y="84"/>
                  </a:moveTo>
                  <a:lnTo>
                    <a:pt x="22" y="84"/>
                  </a:lnTo>
                  <a:lnTo>
                    <a:pt x="20" y="88"/>
                  </a:lnTo>
                  <a:lnTo>
                    <a:pt x="20" y="90"/>
                  </a:lnTo>
                  <a:lnTo>
                    <a:pt x="22" y="90"/>
                  </a:lnTo>
                  <a:lnTo>
                    <a:pt x="22" y="86"/>
                  </a:lnTo>
                  <a:lnTo>
                    <a:pt x="22" y="84"/>
                  </a:lnTo>
                  <a:close/>
                  <a:moveTo>
                    <a:pt x="16" y="78"/>
                  </a:moveTo>
                  <a:lnTo>
                    <a:pt x="16" y="78"/>
                  </a:lnTo>
                  <a:lnTo>
                    <a:pt x="16" y="80"/>
                  </a:lnTo>
                  <a:lnTo>
                    <a:pt x="18" y="84"/>
                  </a:lnTo>
                  <a:lnTo>
                    <a:pt x="20" y="84"/>
                  </a:lnTo>
                  <a:lnTo>
                    <a:pt x="22" y="82"/>
                  </a:lnTo>
                  <a:lnTo>
                    <a:pt x="20" y="80"/>
                  </a:lnTo>
                  <a:lnTo>
                    <a:pt x="16" y="78"/>
                  </a:lnTo>
                  <a:close/>
                  <a:moveTo>
                    <a:pt x="2" y="60"/>
                  </a:moveTo>
                  <a:lnTo>
                    <a:pt x="2" y="60"/>
                  </a:lnTo>
                  <a:lnTo>
                    <a:pt x="2" y="62"/>
                  </a:lnTo>
                  <a:lnTo>
                    <a:pt x="4" y="64"/>
                  </a:lnTo>
                  <a:lnTo>
                    <a:pt x="6" y="60"/>
                  </a:lnTo>
                  <a:lnTo>
                    <a:pt x="2" y="60"/>
                  </a:lnTo>
                  <a:close/>
                  <a:moveTo>
                    <a:pt x="16" y="56"/>
                  </a:moveTo>
                  <a:lnTo>
                    <a:pt x="16" y="56"/>
                  </a:lnTo>
                  <a:lnTo>
                    <a:pt x="14" y="58"/>
                  </a:lnTo>
                  <a:lnTo>
                    <a:pt x="12" y="62"/>
                  </a:lnTo>
                  <a:lnTo>
                    <a:pt x="16" y="64"/>
                  </a:lnTo>
                  <a:lnTo>
                    <a:pt x="16" y="68"/>
                  </a:lnTo>
                  <a:lnTo>
                    <a:pt x="20" y="70"/>
                  </a:lnTo>
                  <a:lnTo>
                    <a:pt x="22" y="68"/>
                  </a:lnTo>
                  <a:lnTo>
                    <a:pt x="22" y="66"/>
                  </a:lnTo>
                  <a:lnTo>
                    <a:pt x="18" y="66"/>
                  </a:lnTo>
                  <a:lnTo>
                    <a:pt x="16" y="56"/>
                  </a:lnTo>
                  <a:close/>
                  <a:moveTo>
                    <a:pt x="16" y="38"/>
                  </a:moveTo>
                  <a:lnTo>
                    <a:pt x="16" y="38"/>
                  </a:lnTo>
                  <a:lnTo>
                    <a:pt x="14" y="40"/>
                  </a:lnTo>
                  <a:lnTo>
                    <a:pt x="10" y="46"/>
                  </a:lnTo>
                  <a:lnTo>
                    <a:pt x="10" y="52"/>
                  </a:lnTo>
                  <a:lnTo>
                    <a:pt x="10" y="54"/>
                  </a:lnTo>
                  <a:lnTo>
                    <a:pt x="12" y="54"/>
                  </a:lnTo>
                  <a:lnTo>
                    <a:pt x="14" y="50"/>
                  </a:lnTo>
                  <a:lnTo>
                    <a:pt x="18" y="44"/>
                  </a:lnTo>
                  <a:lnTo>
                    <a:pt x="20" y="38"/>
                  </a:lnTo>
                  <a:lnTo>
                    <a:pt x="18" y="36"/>
                  </a:lnTo>
                  <a:lnTo>
                    <a:pt x="16" y="38"/>
                  </a:lnTo>
                  <a:close/>
                  <a:moveTo>
                    <a:pt x="44" y="34"/>
                  </a:moveTo>
                  <a:lnTo>
                    <a:pt x="44" y="34"/>
                  </a:lnTo>
                  <a:lnTo>
                    <a:pt x="38" y="38"/>
                  </a:lnTo>
                  <a:lnTo>
                    <a:pt x="34" y="36"/>
                  </a:lnTo>
                  <a:lnTo>
                    <a:pt x="34" y="38"/>
                  </a:lnTo>
                  <a:lnTo>
                    <a:pt x="34" y="42"/>
                  </a:lnTo>
                  <a:lnTo>
                    <a:pt x="30" y="44"/>
                  </a:lnTo>
                  <a:lnTo>
                    <a:pt x="30" y="46"/>
                  </a:lnTo>
                  <a:lnTo>
                    <a:pt x="30" y="48"/>
                  </a:lnTo>
                  <a:lnTo>
                    <a:pt x="30" y="50"/>
                  </a:lnTo>
                  <a:lnTo>
                    <a:pt x="30" y="52"/>
                  </a:lnTo>
                  <a:lnTo>
                    <a:pt x="26" y="52"/>
                  </a:lnTo>
                  <a:lnTo>
                    <a:pt x="26" y="58"/>
                  </a:lnTo>
                  <a:lnTo>
                    <a:pt x="24" y="58"/>
                  </a:lnTo>
                  <a:lnTo>
                    <a:pt x="24" y="60"/>
                  </a:lnTo>
                  <a:lnTo>
                    <a:pt x="26" y="64"/>
                  </a:lnTo>
                  <a:lnTo>
                    <a:pt x="28" y="64"/>
                  </a:lnTo>
                  <a:lnTo>
                    <a:pt x="26" y="64"/>
                  </a:lnTo>
                  <a:lnTo>
                    <a:pt x="24" y="66"/>
                  </a:lnTo>
                  <a:lnTo>
                    <a:pt x="24" y="68"/>
                  </a:lnTo>
                  <a:lnTo>
                    <a:pt x="26" y="70"/>
                  </a:lnTo>
                  <a:lnTo>
                    <a:pt x="24" y="72"/>
                  </a:lnTo>
                  <a:lnTo>
                    <a:pt x="24" y="78"/>
                  </a:lnTo>
                  <a:lnTo>
                    <a:pt x="26" y="78"/>
                  </a:lnTo>
                  <a:lnTo>
                    <a:pt x="30" y="78"/>
                  </a:lnTo>
                  <a:lnTo>
                    <a:pt x="30" y="80"/>
                  </a:lnTo>
                  <a:lnTo>
                    <a:pt x="26" y="82"/>
                  </a:lnTo>
                  <a:lnTo>
                    <a:pt x="26" y="86"/>
                  </a:lnTo>
                  <a:lnTo>
                    <a:pt x="26" y="92"/>
                  </a:lnTo>
                  <a:lnTo>
                    <a:pt x="28" y="88"/>
                  </a:lnTo>
                  <a:lnTo>
                    <a:pt x="28" y="86"/>
                  </a:lnTo>
                  <a:lnTo>
                    <a:pt x="32" y="86"/>
                  </a:lnTo>
                  <a:lnTo>
                    <a:pt x="34" y="86"/>
                  </a:lnTo>
                  <a:lnTo>
                    <a:pt x="34" y="90"/>
                  </a:lnTo>
                  <a:lnTo>
                    <a:pt x="30" y="108"/>
                  </a:lnTo>
                  <a:lnTo>
                    <a:pt x="52" y="106"/>
                  </a:lnTo>
                  <a:lnTo>
                    <a:pt x="48" y="116"/>
                  </a:lnTo>
                  <a:lnTo>
                    <a:pt x="58" y="118"/>
                  </a:lnTo>
                  <a:lnTo>
                    <a:pt x="56" y="126"/>
                  </a:lnTo>
                  <a:lnTo>
                    <a:pt x="54" y="130"/>
                  </a:lnTo>
                  <a:lnTo>
                    <a:pt x="48" y="132"/>
                  </a:lnTo>
                  <a:lnTo>
                    <a:pt x="38" y="130"/>
                  </a:lnTo>
                  <a:lnTo>
                    <a:pt x="38" y="134"/>
                  </a:lnTo>
                  <a:lnTo>
                    <a:pt x="40" y="134"/>
                  </a:lnTo>
                  <a:lnTo>
                    <a:pt x="40" y="136"/>
                  </a:lnTo>
                  <a:lnTo>
                    <a:pt x="34" y="146"/>
                  </a:lnTo>
                  <a:lnTo>
                    <a:pt x="40" y="144"/>
                  </a:lnTo>
                  <a:lnTo>
                    <a:pt x="40" y="150"/>
                  </a:lnTo>
                  <a:lnTo>
                    <a:pt x="28" y="158"/>
                  </a:lnTo>
                  <a:lnTo>
                    <a:pt x="30" y="162"/>
                  </a:lnTo>
                  <a:lnTo>
                    <a:pt x="32" y="164"/>
                  </a:lnTo>
                  <a:lnTo>
                    <a:pt x="34" y="164"/>
                  </a:lnTo>
                  <a:lnTo>
                    <a:pt x="38" y="160"/>
                  </a:lnTo>
                  <a:lnTo>
                    <a:pt x="38" y="166"/>
                  </a:lnTo>
                  <a:lnTo>
                    <a:pt x="46" y="164"/>
                  </a:lnTo>
                  <a:lnTo>
                    <a:pt x="50" y="164"/>
                  </a:lnTo>
                  <a:lnTo>
                    <a:pt x="52" y="164"/>
                  </a:lnTo>
                  <a:lnTo>
                    <a:pt x="60" y="164"/>
                  </a:lnTo>
                  <a:lnTo>
                    <a:pt x="58" y="166"/>
                  </a:lnTo>
                  <a:lnTo>
                    <a:pt x="56" y="170"/>
                  </a:lnTo>
                  <a:lnTo>
                    <a:pt x="38" y="170"/>
                  </a:lnTo>
                  <a:lnTo>
                    <a:pt x="30" y="182"/>
                  </a:lnTo>
                  <a:lnTo>
                    <a:pt x="26" y="186"/>
                  </a:lnTo>
                  <a:lnTo>
                    <a:pt x="20" y="190"/>
                  </a:lnTo>
                  <a:lnTo>
                    <a:pt x="22" y="190"/>
                  </a:lnTo>
                  <a:lnTo>
                    <a:pt x="26" y="192"/>
                  </a:lnTo>
                  <a:lnTo>
                    <a:pt x="28" y="192"/>
                  </a:lnTo>
                  <a:lnTo>
                    <a:pt x="30" y="192"/>
                  </a:lnTo>
                  <a:lnTo>
                    <a:pt x="30" y="188"/>
                  </a:lnTo>
                  <a:lnTo>
                    <a:pt x="38" y="184"/>
                  </a:lnTo>
                  <a:lnTo>
                    <a:pt x="40" y="184"/>
                  </a:lnTo>
                  <a:lnTo>
                    <a:pt x="44" y="184"/>
                  </a:lnTo>
                  <a:lnTo>
                    <a:pt x="46" y="186"/>
                  </a:lnTo>
                  <a:lnTo>
                    <a:pt x="48" y="186"/>
                  </a:lnTo>
                  <a:lnTo>
                    <a:pt x="52" y="180"/>
                  </a:lnTo>
                  <a:lnTo>
                    <a:pt x="58" y="180"/>
                  </a:lnTo>
                  <a:lnTo>
                    <a:pt x="66" y="182"/>
                  </a:lnTo>
                  <a:lnTo>
                    <a:pt x="68" y="176"/>
                  </a:lnTo>
                  <a:lnTo>
                    <a:pt x="74" y="176"/>
                  </a:lnTo>
                  <a:lnTo>
                    <a:pt x="80" y="178"/>
                  </a:lnTo>
                  <a:lnTo>
                    <a:pt x="94" y="178"/>
                  </a:lnTo>
                  <a:lnTo>
                    <a:pt x="104" y="174"/>
                  </a:lnTo>
                  <a:lnTo>
                    <a:pt x="104" y="170"/>
                  </a:lnTo>
                  <a:lnTo>
                    <a:pt x="100" y="170"/>
                  </a:lnTo>
                  <a:lnTo>
                    <a:pt x="94" y="170"/>
                  </a:lnTo>
                  <a:lnTo>
                    <a:pt x="96" y="166"/>
                  </a:lnTo>
                  <a:lnTo>
                    <a:pt x="98" y="160"/>
                  </a:lnTo>
                  <a:lnTo>
                    <a:pt x="104" y="160"/>
                  </a:lnTo>
                  <a:lnTo>
                    <a:pt x="106" y="160"/>
                  </a:lnTo>
                  <a:lnTo>
                    <a:pt x="110" y="154"/>
                  </a:lnTo>
                  <a:lnTo>
                    <a:pt x="110" y="146"/>
                  </a:lnTo>
                  <a:lnTo>
                    <a:pt x="108" y="144"/>
                  </a:lnTo>
                  <a:lnTo>
                    <a:pt x="106" y="142"/>
                  </a:lnTo>
                  <a:lnTo>
                    <a:pt x="102" y="140"/>
                  </a:lnTo>
                  <a:lnTo>
                    <a:pt x="98" y="140"/>
                  </a:lnTo>
                  <a:lnTo>
                    <a:pt x="96" y="146"/>
                  </a:lnTo>
                  <a:lnTo>
                    <a:pt x="94" y="144"/>
                  </a:lnTo>
                  <a:lnTo>
                    <a:pt x="92" y="144"/>
                  </a:lnTo>
                  <a:lnTo>
                    <a:pt x="94" y="132"/>
                  </a:lnTo>
                  <a:lnTo>
                    <a:pt x="90" y="132"/>
                  </a:lnTo>
                  <a:lnTo>
                    <a:pt x="90" y="130"/>
                  </a:lnTo>
                  <a:lnTo>
                    <a:pt x="92" y="128"/>
                  </a:lnTo>
                  <a:lnTo>
                    <a:pt x="94" y="128"/>
                  </a:lnTo>
                  <a:lnTo>
                    <a:pt x="94" y="126"/>
                  </a:lnTo>
                  <a:lnTo>
                    <a:pt x="90" y="126"/>
                  </a:lnTo>
                  <a:lnTo>
                    <a:pt x="80" y="112"/>
                  </a:lnTo>
                  <a:lnTo>
                    <a:pt x="76" y="112"/>
                  </a:lnTo>
                  <a:lnTo>
                    <a:pt x="74" y="110"/>
                  </a:lnTo>
                  <a:lnTo>
                    <a:pt x="72" y="106"/>
                  </a:lnTo>
                  <a:lnTo>
                    <a:pt x="70" y="102"/>
                  </a:lnTo>
                  <a:lnTo>
                    <a:pt x="70" y="96"/>
                  </a:lnTo>
                  <a:lnTo>
                    <a:pt x="66" y="92"/>
                  </a:lnTo>
                  <a:lnTo>
                    <a:pt x="64" y="92"/>
                  </a:lnTo>
                  <a:lnTo>
                    <a:pt x="62" y="92"/>
                  </a:lnTo>
                  <a:lnTo>
                    <a:pt x="62" y="88"/>
                  </a:lnTo>
                  <a:lnTo>
                    <a:pt x="60" y="88"/>
                  </a:lnTo>
                  <a:lnTo>
                    <a:pt x="58" y="88"/>
                  </a:lnTo>
                  <a:lnTo>
                    <a:pt x="54" y="88"/>
                  </a:lnTo>
                  <a:lnTo>
                    <a:pt x="60" y="82"/>
                  </a:lnTo>
                  <a:lnTo>
                    <a:pt x="60" y="78"/>
                  </a:lnTo>
                  <a:lnTo>
                    <a:pt x="58" y="76"/>
                  </a:lnTo>
                  <a:lnTo>
                    <a:pt x="56" y="76"/>
                  </a:lnTo>
                  <a:lnTo>
                    <a:pt x="66" y="68"/>
                  </a:lnTo>
                  <a:lnTo>
                    <a:pt x="68" y="62"/>
                  </a:lnTo>
                  <a:lnTo>
                    <a:pt x="66" y="58"/>
                  </a:lnTo>
                  <a:lnTo>
                    <a:pt x="64" y="54"/>
                  </a:lnTo>
                  <a:lnTo>
                    <a:pt x="60" y="54"/>
                  </a:lnTo>
                  <a:lnTo>
                    <a:pt x="52" y="56"/>
                  </a:lnTo>
                  <a:lnTo>
                    <a:pt x="44" y="58"/>
                  </a:lnTo>
                  <a:lnTo>
                    <a:pt x="42" y="58"/>
                  </a:lnTo>
                  <a:lnTo>
                    <a:pt x="42" y="56"/>
                  </a:lnTo>
                  <a:lnTo>
                    <a:pt x="40" y="56"/>
                  </a:lnTo>
                  <a:lnTo>
                    <a:pt x="42" y="52"/>
                  </a:lnTo>
                  <a:lnTo>
                    <a:pt x="42" y="50"/>
                  </a:lnTo>
                  <a:lnTo>
                    <a:pt x="46" y="48"/>
                  </a:lnTo>
                  <a:lnTo>
                    <a:pt x="50" y="42"/>
                  </a:lnTo>
                  <a:lnTo>
                    <a:pt x="52" y="42"/>
                  </a:lnTo>
                  <a:lnTo>
                    <a:pt x="52" y="38"/>
                  </a:lnTo>
                  <a:lnTo>
                    <a:pt x="52" y="36"/>
                  </a:lnTo>
                  <a:lnTo>
                    <a:pt x="44" y="34"/>
                  </a:lnTo>
                  <a:close/>
                  <a:moveTo>
                    <a:pt x="78" y="0"/>
                  </a:moveTo>
                  <a:lnTo>
                    <a:pt x="78" y="0"/>
                  </a:lnTo>
                  <a:lnTo>
                    <a:pt x="74" y="4"/>
                  </a:lnTo>
                  <a:lnTo>
                    <a:pt x="74" y="6"/>
                  </a:lnTo>
                  <a:lnTo>
                    <a:pt x="74" y="10"/>
                  </a:lnTo>
                  <a:lnTo>
                    <a:pt x="78" y="12"/>
                  </a:lnTo>
                  <a:lnTo>
                    <a:pt x="78" y="4"/>
                  </a:lnTo>
                  <a:lnTo>
                    <a:pt x="78"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1" name="Freeform 503">
              <a:extLst>
                <a:ext uri="{FF2B5EF4-FFF2-40B4-BE49-F238E27FC236}">
                  <a16:creationId xmlns:a16="http://schemas.microsoft.com/office/drawing/2014/main" id="{DA95D786-CA6A-43DA-BD1D-32B26ACAC177}"/>
                </a:ext>
              </a:extLst>
            </p:cNvPr>
            <p:cNvSpPr>
              <a:spLocks/>
            </p:cNvSpPr>
            <p:nvPr/>
          </p:nvSpPr>
          <p:spPr bwMode="gray">
            <a:xfrm>
              <a:off x="5452599" y="3613180"/>
              <a:ext cx="115355" cy="77691"/>
            </a:xfrm>
            <a:custGeom>
              <a:avLst/>
              <a:gdLst>
                <a:gd name="T0" fmla="*/ 2147483647 w 62"/>
                <a:gd name="T1" fmla="*/ 2147483647 h 42"/>
                <a:gd name="T2" fmla="*/ 0 w 62"/>
                <a:gd name="T3" fmla="*/ 2147483647 h 42"/>
                <a:gd name="T4" fmla="*/ 2147483647 w 62"/>
                <a:gd name="T5" fmla="*/ 2147483647 h 42"/>
                <a:gd name="T6" fmla="*/ 2147483647 w 62"/>
                <a:gd name="T7" fmla="*/ 2147483647 h 42"/>
                <a:gd name="T8" fmla="*/ 2147483647 w 62"/>
                <a:gd name="T9" fmla="*/ 2147483647 h 42"/>
                <a:gd name="T10" fmla="*/ 2147483647 w 62"/>
                <a:gd name="T11" fmla="*/ 2147483647 h 42"/>
                <a:gd name="T12" fmla="*/ 2147483647 w 62"/>
                <a:gd name="T13" fmla="*/ 2147483647 h 42"/>
                <a:gd name="T14" fmla="*/ 2147483647 w 62"/>
                <a:gd name="T15" fmla="*/ 2147483647 h 42"/>
                <a:gd name="T16" fmla="*/ 2147483647 w 62"/>
                <a:gd name="T17" fmla="*/ 2147483647 h 42"/>
                <a:gd name="T18" fmla="*/ 2147483647 w 62"/>
                <a:gd name="T19" fmla="*/ 2147483647 h 42"/>
                <a:gd name="T20" fmla="*/ 2147483647 w 62"/>
                <a:gd name="T21" fmla="*/ 2147483647 h 42"/>
                <a:gd name="T22" fmla="*/ 2147483647 w 62"/>
                <a:gd name="T23" fmla="*/ 2147483647 h 42"/>
                <a:gd name="T24" fmla="*/ 2147483647 w 62"/>
                <a:gd name="T25" fmla="*/ 2147483647 h 42"/>
                <a:gd name="T26" fmla="*/ 2147483647 w 62"/>
                <a:gd name="T27" fmla="*/ 2147483647 h 42"/>
                <a:gd name="T28" fmla="*/ 2147483647 w 62"/>
                <a:gd name="T29" fmla="*/ 2147483647 h 42"/>
                <a:gd name="T30" fmla="*/ 2147483647 w 62"/>
                <a:gd name="T31" fmla="*/ 2147483647 h 42"/>
                <a:gd name="T32" fmla="*/ 2147483647 w 62"/>
                <a:gd name="T33" fmla="*/ 2147483647 h 42"/>
                <a:gd name="T34" fmla="*/ 2147483647 w 62"/>
                <a:gd name="T35" fmla="*/ 2147483647 h 42"/>
                <a:gd name="T36" fmla="*/ 2147483647 w 62"/>
                <a:gd name="T37" fmla="*/ 2147483647 h 42"/>
                <a:gd name="T38" fmla="*/ 2147483647 w 62"/>
                <a:gd name="T39" fmla="*/ 2147483647 h 42"/>
                <a:gd name="T40" fmla="*/ 2147483647 w 62"/>
                <a:gd name="T41" fmla="*/ 2147483647 h 42"/>
                <a:gd name="T42" fmla="*/ 2147483647 w 62"/>
                <a:gd name="T43" fmla="*/ 2147483647 h 42"/>
                <a:gd name="T44" fmla="*/ 2147483647 w 62"/>
                <a:gd name="T45" fmla="*/ 2147483647 h 42"/>
                <a:gd name="T46" fmla="*/ 2147483647 w 62"/>
                <a:gd name="T47" fmla="*/ 2147483647 h 42"/>
                <a:gd name="T48" fmla="*/ 2147483647 w 62"/>
                <a:gd name="T49" fmla="*/ 2147483647 h 42"/>
                <a:gd name="T50" fmla="*/ 2147483647 w 62"/>
                <a:gd name="T51" fmla="*/ 2147483647 h 42"/>
                <a:gd name="T52" fmla="*/ 2147483647 w 62"/>
                <a:gd name="T53" fmla="*/ 2147483647 h 42"/>
                <a:gd name="T54" fmla="*/ 2147483647 w 62"/>
                <a:gd name="T55" fmla="*/ 2147483647 h 42"/>
                <a:gd name="T56" fmla="*/ 2147483647 w 62"/>
                <a:gd name="T57" fmla="*/ 2147483647 h 42"/>
                <a:gd name="T58" fmla="*/ 2147483647 w 62"/>
                <a:gd name="T59" fmla="*/ 2147483647 h 42"/>
                <a:gd name="T60" fmla="*/ 2147483647 w 62"/>
                <a:gd name="T61" fmla="*/ 2147483647 h 42"/>
                <a:gd name="T62" fmla="*/ 2147483647 w 62"/>
                <a:gd name="T63" fmla="*/ 2147483647 h 42"/>
                <a:gd name="T64" fmla="*/ 2147483647 w 62"/>
                <a:gd name="T65" fmla="*/ 2147483647 h 42"/>
                <a:gd name="T66" fmla="*/ 2147483647 w 62"/>
                <a:gd name="T67" fmla="*/ 0 h 42"/>
                <a:gd name="T68" fmla="*/ 2147483647 w 62"/>
                <a:gd name="T69" fmla="*/ 0 h 42"/>
                <a:gd name="T70" fmla="*/ 2147483647 w 62"/>
                <a:gd name="T71" fmla="*/ 0 h 42"/>
                <a:gd name="T72" fmla="*/ 2147483647 w 62"/>
                <a:gd name="T73" fmla="*/ 2147483647 h 42"/>
                <a:gd name="T74" fmla="*/ 2147483647 w 62"/>
                <a:gd name="T75" fmla="*/ 2147483647 h 42"/>
                <a:gd name="T76" fmla="*/ 2147483647 w 62"/>
                <a:gd name="T77" fmla="*/ 2147483647 h 42"/>
                <a:gd name="T78" fmla="*/ 2147483647 w 62"/>
                <a:gd name="T79" fmla="*/ 2147483647 h 42"/>
                <a:gd name="T80" fmla="*/ 2147483647 w 62"/>
                <a:gd name="T81" fmla="*/ 2147483647 h 42"/>
                <a:gd name="T82" fmla="*/ 2147483647 w 62"/>
                <a:gd name="T83" fmla="*/ 2147483647 h 42"/>
                <a:gd name="T84" fmla="*/ 2147483647 w 62"/>
                <a:gd name="T85" fmla="*/ 2147483647 h 42"/>
                <a:gd name="T86" fmla="*/ 2147483647 w 62"/>
                <a:gd name="T87" fmla="*/ 2147483647 h 42"/>
                <a:gd name="T88" fmla="*/ 2147483647 w 62"/>
                <a:gd name="T89" fmla="*/ 2147483647 h 42"/>
                <a:gd name="T90" fmla="*/ 2147483647 w 62"/>
                <a:gd name="T91" fmla="*/ 2147483647 h 42"/>
                <a:gd name="T92" fmla="*/ 2147483647 w 62"/>
                <a:gd name="T93" fmla="*/ 2147483647 h 42"/>
                <a:gd name="T94" fmla="*/ 2147483647 w 62"/>
                <a:gd name="T95" fmla="*/ 2147483647 h 42"/>
                <a:gd name="T96" fmla="*/ 2147483647 w 62"/>
                <a:gd name="T97" fmla="*/ 2147483647 h 42"/>
                <a:gd name="T98" fmla="*/ 2147483647 w 62"/>
                <a:gd name="T99" fmla="*/ 2147483647 h 42"/>
                <a:gd name="T100" fmla="*/ 2147483647 w 62"/>
                <a:gd name="T101" fmla="*/ 2147483647 h 42"/>
                <a:gd name="T102" fmla="*/ 2147483647 w 62"/>
                <a:gd name="T103" fmla="*/ 2147483647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2"/>
                <a:gd name="T157" fmla="*/ 0 h 42"/>
                <a:gd name="T158" fmla="*/ 62 w 62"/>
                <a:gd name="T159" fmla="*/ 42 h 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2" h="42">
                  <a:moveTo>
                    <a:pt x="2" y="10"/>
                  </a:moveTo>
                  <a:lnTo>
                    <a:pt x="0" y="16"/>
                  </a:lnTo>
                  <a:lnTo>
                    <a:pt x="6" y="22"/>
                  </a:lnTo>
                  <a:lnTo>
                    <a:pt x="8" y="34"/>
                  </a:lnTo>
                  <a:lnTo>
                    <a:pt x="44" y="42"/>
                  </a:lnTo>
                  <a:lnTo>
                    <a:pt x="48" y="40"/>
                  </a:lnTo>
                  <a:lnTo>
                    <a:pt x="50" y="38"/>
                  </a:lnTo>
                  <a:lnTo>
                    <a:pt x="52" y="32"/>
                  </a:lnTo>
                  <a:lnTo>
                    <a:pt x="54" y="26"/>
                  </a:lnTo>
                  <a:lnTo>
                    <a:pt x="52" y="22"/>
                  </a:lnTo>
                  <a:lnTo>
                    <a:pt x="50" y="22"/>
                  </a:lnTo>
                  <a:lnTo>
                    <a:pt x="52" y="20"/>
                  </a:lnTo>
                  <a:lnTo>
                    <a:pt x="56" y="16"/>
                  </a:lnTo>
                  <a:lnTo>
                    <a:pt x="54" y="16"/>
                  </a:lnTo>
                  <a:lnTo>
                    <a:pt x="54" y="12"/>
                  </a:lnTo>
                  <a:lnTo>
                    <a:pt x="56" y="12"/>
                  </a:lnTo>
                  <a:lnTo>
                    <a:pt x="58" y="14"/>
                  </a:lnTo>
                  <a:lnTo>
                    <a:pt x="58" y="12"/>
                  </a:lnTo>
                  <a:lnTo>
                    <a:pt x="60" y="10"/>
                  </a:lnTo>
                  <a:lnTo>
                    <a:pt x="62" y="10"/>
                  </a:lnTo>
                  <a:lnTo>
                    <a:pt x="62" y="8"/>
                  </a:lnTo>
                  <a:lnTo>
                    <a:pt x="56" y="4"/>
                  </a:lnTo>
                  <a:lnTo>
                    <a:pt x="58" y="0"/>
                  </a:lnTo>
                  <a:lnTo>
                    <a:pt x="54" y="0"/>
                  </a:lnTo>
                  <a:lnTo>
                    <a:pt x="46" y="10"/>
                  </a:lnTo>
                  <a:lnTo>
                    <a:pt x="42" y="14"/>
                  </a:lnTo>
                  <a:lnTo>
                    <a:pt x="34" y="18"/>
                  </a:lnTo>
                  <a:lnTo>
                    <a:pt x="32" y="22"/>
                  </a:lnTo>
                  <a:lnTo>
                    <a:pt x="30" y="20"/>
                  </a:lnTo>
                  <a:lnTo>
                    <a:pt x="26" y="20"/>
                  </a:lnTo>
                  <a:lnTo>
                    <a:pt x="24" y="18"/>
                  </a:lnTo>
                  <a:lnTo>
                    <a:pt x="18" y="18"/>
                  </a:lnTo>
                  <a:lnTo>
                    <a:pt x="14" y="18"/>
                  </a:lnTo>
                  <a:lnTo>
                    <a:pt x="12" y="20"/>
                  </a:lnTo>
                  <a:lnTo>
                    <a:pt x="4" y="18"/>
                  </a:lnTo>
                  <a:lnTo>
                    <a:pt x="6" y="12"/>
                  </a:lnTo>
                  <a:lnTo>
                    <a:pt x="2"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2" name="Freeform 504">
              <a:extLst>
                <a:ext uri="{FF2B5EF4-FFF2-40B4-BE49-F238E27FC236}">
                  <a16:creationId xmlns:a16="http://schemas.microsoft.com/office/drawing/2014/main" id="{ACBC74BA-BB90-4A53-B935-259AE6148021}"/>
                </a:ext>
              </a:extLst>
            </p:cNvPr>
            <p:cNvSpPr>
              <a:spLocks noEditPoints="1"/>
            </p:cNvSpPr>
            <p:nvPr/>
          </p:nvSpPr>
          <p:spPr bwMode="gray">
            <a:xfrm>
              <a:off x="4878179" y="2831555"/>
              <a:ext cx="336648" cy="256617"/>
            </a:xfrm>
            <a:custGeom>
              <a:avLst/>
              <a:gdLst>
                <a:gd name="T0" fmla="*/ 2147483647 w 182"/>
                <a:gd name="T1" fmla="*/ 2147483647 h 138"/>
                <a:gd name="T2" fmla="*/ 2147483647 w 182"/>
                <a:gd name="T3" fmla="*/ 2147483647 h 138"/>
                <a:gd name="T4" fmla="*/ 2147483647 w 182"/>
                <a:gd name="T5" fmla="*/ 2147483647 h 138"/>
                <a:gd name="T6" fmla="*/ 2147483647 w 182"/>
                <a:gd name="T7" fmla="*/ 2147483647 h 138"/>
                <a:gd name="T8" fmla="*/ 2147483647 w 182"/>
                <a:gd name="T9" fmla="*/ 2147483647 h 138"/>
                <a:gd name="T10" fmla="*/ 2147483647 w 182"/>
                <a:gd name="T11" fmla="*/ 2147483647 h 138"/>
                <a:gd name="T12" fmla="*/ 2147483647 w 182"/>
                <a:gd name="T13" fmla="*/ 2147483647 h 138"/>
                <a:gd name="T14" fmla="*/ 2147483647 w 182"/>
                <a:gd name="T15" fmla="*/ 2147483647 h 138"/>
                <a:gd name="T16" fmla="*/ 2147483647 w 182"/>
                <a:gd name="T17" fmla="*/ 2147483647 h 138"/>
                <a:gd name="T18" fmla="*/ 2147483647 w 182"/>
                <a:gd name="T19" fmla="*/ 2147483647 h 138"/>
                <a:gd name="T20" fmla="*/ 2147483647 w 182"/>
                <a:gd name="T21" fmla="*/ 2147483647 h 138"/>
                <a:gd name="T22" fmla="*/ 2147483647 w 182"/>
                <a:gd name="T23" fmla="*/ 2147483647 h 138"/>
                <a:gd name="T24" fmla="*/ 2147483647 w 182"/>
                <a:gd name="T25" fmla="*/ 2147483647 h 138"/>
                <a:gd name="T26" fmla="*/ 2147483647 w 182"/>
                <a:gd name="T27" fmla="*/ 2147483647 h 138"/>
                <a:gd name="T28" fmla="*/ 2147483647 w 182"/>
                <a:gd name="T29" fmla="*/ 2147483647 h 138"/>
                <a:gd name="T30" fmla="*/ 2147483647 w 182"/>
                <a:gd name="T31" fmla="*/ 2147483647 h 138"/>
                <a:gd name="T32" fmla="*/ 2147483647 w 182"/>
                <a:gd name="T33" fmla="*/ 2147483647 h 138"/>
                <a:gd name="T34" fmla="*/ 2147483647 w 182"/>
                <a:gd name="T35" fmla="*/ 2147483647 h 138"/>
                <a:gd name="T36" fmla="*/ 2147483647 w 182"/>
                <a:gd name="T37" fmla="*/ 2147483647 h 138"/>
                <a:gd name="T38" fmla="*/ 2147483647 w 182"/>
                <a:gd name="T39" fmla="*/ 2147483647 h 138"/>
                <a:gd name="T40" fmla="*/ 2147483647 w 182"/>
                <a:gd name="T41" fmla="*/ 2147483647 h 138"/>
                <a:gd name="T42" fmla="*/ 2147483647 w 182"/>
                <a:gd name="T43" fmla="*/ 2147483647 h 138"/>
                <a:gd name="T44" fmla="*/ 2147483647 w 182"/>
                <a:gd name="T45" fmla="*/ 0 h 138"/>
                <a:gd name="T46" fmla="*/ 2147483647 w 182"/>
                <a:gd name="T47" fmla="*/ 2147483647 h 138"/>
                <a:gd name="T48" fmla="*/ 2147483647 w 182"/>
                <a:gd name="T49" fmla="*/ 2147483647 h 138"/>
                <a:gd name="T50" fmla="*/ 2147483647 w 182"/>
                <a:gd name="T51" fmla="*/ 2147483647 h 138"/>
                <a:gd name="T52" fmla="*/ 2147483647 w 182"/>
                <a:gd name="T53" fmla="*/ 2147483647 h 138"/>
                <a:gd name="T54" fmla="*/ 2147483647 w 182"/>
                <a:gd name="T55" fmla="*/ 2147483647 h 138"/>
                <a:gd name="T56" fmla="*/ 2147483647 w 182"/>
                <a:gd name="T57" fmla="*/ 2147483647 h 138"/>
                <a:gd name="T58" fmla="*/ 2147483647 w 182"/>
                <a:gd name="T59" fmla="*/ 2147483647 h 138"/>
                <a:gd name="T60" fmla="*/ 2147483647 w 182"/>
                <a:gd name="T61" fmla="*/ 2147483647 h 138"/>
                <a:gd name="T62" fmla="*/ 2147483647 w 182"/>
                <a:gd name="T63" fmla="*/ 2147483647 h 138"/>
                <a:gd name="T64" fmla="*/ 2147483647 w 182"/>
                <a:gd name="T65" fmla="*/ 2147483647 h 138"/>
                <a:gd name="T66" fmla="*/ 2147483647 w 182"/>
                <a:gd name="T67" fmla="*/ 2147483647 h 138"/>
                <a:gd name="T68" fmla="*/ 2147483647 w 182"/>
                <a:gd name="T69" fmla="*/ 2147483647 h 138"/>
                <a:gd name="T70" fmla="*/ 0 w 182"/>
                <a:gd name="T71" fmla="*/ 2147483647 h 138"/>
                <a:gd name="T72" fmla="*/ 2147483647 w 182"/>
                <a:gd name="T73" fmla="*/ 2147483647 h 138"/>
                <a:gd name="T74" fmla="*/ 2147483647 w 182"/>
                <a:gd name="T75" fmla="*/ 2147483647 h 138"/>
                <a:gd name="T76" fmla="*/ 2147483647 w 182"/>
                <a:gd name="T77" fmla="*/ 2147483647 h 138"/>
                <a:gd name="T78" fmla="*/ 2147483647 w 182"/>
                <a:gd name="T79" fmla="*/ 2147483647 h 138"/>
                <a:gd name="T80" fmla="*/ 2147483647 w 182"/>
                <a:gd name="T81" fmla="*/ 2147483647 h 138"/>
                <a:gd name="T82" fmla="*/ 2147483647 w 182"/>
                <a:gd name="T83" fmla="*/ 2147483647 h 138"/>
                <a:gd name="T84" fmla="*/ 2147483647 w 182"/>
                <a:gd name="T85" fmla="*/ 2147483647 h 138"/>
                <a:gd name="T86" fmla="*/ 2147483647 w 182"/>
                <a:gd name="T87" fmla="*/ 2147483647 h 138"/>
                <a:gd name="T88" fmla="*/ 2147483647 w 182"/>
                <a:gd name="T89" fmla="*/ 2147483647 h 138"/>
                <a:gd name="T90" fmla="*/ 2147483647 w 182"/>
                <a:gd name="T91" fmla="*/ 2147483647 h 138"/>
                <a:gd name="T92" fmla="*/ 2147483647 w 182"/>
                <a:gd name="T93" fmla="*/ 2147483647 h 138"/>
                <a:gd name="T94" fmla="*/ 2147483647 w 182"/>
                <a:gd name="T95" fmla="*/ 2147483647 h 138"/>
                <a:gd name="T96" fmla="*/ 2147483647 w 182"/>
                <a:gd name="T97" fmla="*/ 2147483647 h 138"/>
                <a:gd name="T98" fmla="*/ 2147483647 w 182"/>
                <a:gd name="T99" fmla="*/ 2147483647 h 138"/>
                <a:gd name="T100" fmla="*/ 2147483647 w 182"/>
                <a:gd name="T101" fmla="*/ 2147483647 h 138"/>
                <a:gd name="T102" fmla="*/ 2147483647 w 182"/>
                <a:gd name="T103" fmla="*/ 2147483647 h 138"/>
                <a:gd name="T104" fmla="*/ 2147483647 w 182"/>
                <a:gd name="T105" fmla="*/ 2147483647 h 138"/>
                <a:gd name="T106" fmla="*/ 2147483647 w 182"/>
                <a:gd name="T107" fmla="*/ 2147483647 h 138"/>
                <a:gd name="T108" fmla="*/ 2147483647 w 182"/>
                <a:gd name="T109" fmla="*/ 2147483647 h 138"/>
                <a:gd name="T110" fmla="*/ 2147483647 w 182"/>
                <a:gd name="T111" fmla="*/ 2147483647 h 138"/>
                <a:gd name="T112" fmla="*/ 2147483647 w 182"/>
                <a:gd name="T113" fmla="*/ 2147483647 h 1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2"/>
                <a:gd name="T172" fmla="*/ 0 h 138"/>
                <a:gd name="T173" fmla="*/ 182 w 182"/>
                <a:gd name="T174" fmla="*/ 138 h 1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2" h="138">
                  <a:moveTo>
                    <a:pt x="80" y="108"/>
                  </a:moveTo>
                  <a:lnTo>
                    <a:pt x="80" y="108"/>
                  </a:lnTo>
                  <a:lnTo>
                    <a:pt x="74" y="104"/>
                  </a:lnTo>
                  <a:lnTo>
                    <a:pt x="70" y="104"/>
                  </a:lnTo>
                  <a:lnTo>
                    <a:pt x="68" y="102"/>
                  </a:lnTo>
                  <a:lnTo>
                    <a:pt x="68" y="104"/>
                  </a:lnTo>
                  <a:lnTo>
                    <a:pt x="68" y="106"/>
                  </a:lnTo>
                  <a:lnTo>
                    <a:pt x="66" y="108"/>
                  </a:lnTo>
                  <a:lnTo>
                    <a:pt x="62" y="110"/>
                  </a:lnTo>
                  <a:lnTo>
                    <a:pt x="62" y="114"/>
                  </a:lnTo>
                  <a:lnTo>
                    <a:pt x="60" y="118"/>
                  </a:lnTo>
                  <a:lnTo>
                    <a:pt x="62" y="120"/>
                  </a:lnTo>
                  <a:lnTo>
                    <a:pt x="64" y="120"/>
                  </a:lnTo>
                  <a:lnTo>
                    <a:pt x="66" y="120"/>
                  </a:lnTo>
                  <a:lnTo>
                    <a:pt x="68" y="118"/>
                  </a:lnTo>
                  <a:lnTo>
                    <a:pt x="70" y="120"/>
                  </a:lnTo>
                  <a:lnTo>
                    <a:pt x="70" y="118"/>
                  </a:lnTo>
                  <a:lnTo>
                    <a:pt x="76" y="114"/>
                  </a:lnTo>
                  <a:lnTo>
                    <a:pt x="80" y="108"/>
                  </a:lnTo>
                  <a:close/>
                  <a:moveTo>
                    <a:pt x="166" y="94"/>
                  </a:moveTo>
                  <a:lnTo>
                    <a:pt x="168" y="86"/>
                  </a:lnTo>
                  <a:lnTo>
                    <a:pt x="172" y="82"/>
                  </a:lnTo>
                  <a:lnTo>
                    <a:pt x="178" y="82"/>
                  </a:lnTo>
                  <a:lnTo>
                    <a:pt x="180" y="82"/>
                  </a:lnTo>
                  <a:lnTo>
                    <a:pt x="182" y="80"/>
                  </a:lnTo>
                  <a:lnTo>
                    <a:pt x="182" y="78"/>
                  </a:lnTo>
                  <a:lnTo>
                    <a:pt x="180" y="74"/>
                  </a:lnTo>
                  <a:lnTo>
                    <a:pt x="178" y="70"/>
                  </a:lnTo>
                  <a:lnTo>
                    <a:pt x="180" y="66"/>
                  </a:lnTo>
                  <a:lnTo>
                    <a:pt x="180" y="64"/>
                  </a:lnTo>
                  <a:lnTo>
                    <a:pt x="178" y="62"/>
                  </a:lnTo>
                  <a:lnTo>
                    <a:pt x="178" y="60"/>
                  </a:lnTo>
                  <a:lnTo>
                    <a:pt x="178" y="58"/>
                  </a:lnTo>
                  <a:lnTo>
                    <a:pt x="176" y="56"/>
                  </a:lnTo>
                  <a:lnTo>
                    <a:pt x="176" y="54"/>
                  </a:lnTo>
                  <a:lnTo>
                    <a:pt x="180" y="52"/>
                  </a:lnTo>
                  <a:lnTo>
                    <a:pt x="180" y="50"/>
                  </a:lnTo>
                  <a:lnTo>
                    <a:pt x="176" y="48"/>
                  </a:lnTo>
                  <a:lnTo>
                    <a:pt x="178" y="46"/>
                  </a:lnTo>
                  <a:lnTo>
                    <a:pt x="178" y="44"/>
                  </a:lnTo>
                  <a:lnTo>
                    <a:pt x="176" y="42"/>
                  </a:lnTo>
                  <a:lnTo>
                    <a:pt x="170" y="38"/>
                  </a:lnTo>
                  <a:lnTo>
                    <a:pt x="168" y="36"/>
                  </a:lnTo>
                  <a:lnTo>
                    <a:pt x="164" y="36"/>
                  </a:lnTo>
                  <a:lnTo>
                    <a:pt x="162" y="34"/>
                  </a:lnTo>
                  <a:lnTo>
                    <a:pt x="162" y="32"/>
                  </a:lnTo>
                  <a:lnTo>
                    <a:pt x="158" y="32"/>
                  </a:lnTo>
                  <a:lnTo>
                    <a:pt x="156" y="32"/>
                  </a:lnTo>
                  <a:lnTo>
                    <a:pt x="150" y="34"/>
                  </a:lnTo>
                  <a:lnTo>
                    <a:pt x="144" y="36"/>
                  </a:lnTo>
                  <a:lnTo>
                    <a:pt x="144" y="32"/>
                  </a:lnTo>
                  <a:lnTo>
                    <a:pt x="142" y="30"/>
                  </a:lnTo>
                  <a:lnTo>
                    <a:pt x="142" y="28"/>
                  </a:lnTo>
                  <a:lnTo>
                    <a:pt x="140" y="28"/>
                  </a:lnTo>
                  <a:lnTo>
                    <a:pt x="136" y="26"/>
                  </a:lnTo>
                  <a:lnTo>
                    <a:pt x="134" y="22"/>
                  </a:lnTo>
                  <a:lnTo>
                    <a:pt x="132" y="20"/>
                  </a:lnTo>
                  <a:lnTo>
                    <a:pt x="128" y="22"/>
                  </a:lnTo>
                  <a:lnTo>
                    <a:pt x="124" y="20"/>
                  </a:lnTo>
                  <a:lnTo>
                    <a:pt x="122" y="18"/>
                  </a:lnTo>
                  <a:lnTo>
                    <a:pt x="116" y="20"/>
                  </a:lnTo>
                  <a:lnTo>
                    <a:pt x="116" y="18"/>
                  </a:lnTo>
                  <a:lnTo>
                    <a:pt x="114" y="16"/>
                  </a:lnTo>
                  <a:lnTo>
                    <a:pt x="114" y="14"/>
                  </a:lnTo>
                  <a:lnTo>
                    <a:pt x="112" y="12"/>
                  </a:lnTo>
                  <a:lnTo>
                    <a:pt x="112" y="8"/>
                  </a:lnTo>
                  <a:lnTo>
                    <a:pt x="110" y="6"/>
                  </a:lnTo>
                  <a:lnTo>
                    <a:pt x="110" y="4"/>
                  </a:lnTo>
                  <a:lnTo>
                    <a:pt x="110" y="2"/>
                  </a:lnTo>
                  <a:lnTo>
                    <a:pt x="108" y="2"/>
                  </a:lnTo>
                  <a:lnTo>
                    <a:pt x="104" y="2"/>
                  </a:lnTo>
                  <a:lnTo>
                    <a:pt x="102" y="0"/>
                  </a:lnTo>
                  <a:lnTo>
                    <a:pt x="100" y="0"/>
                  </a:lnTo>
                  <a:lnTo>
                    <a:pt x="100" y="2"/>
                  </a:lnTo>
                  <a:lnTo>
                    <a:pt x="96" y="4"/>
                  </a:lnTo>
                  <a:lnTo>
                    <a:pt x="94" y="4"/>
                  </a:lnTo>
                  <a:lnTo>
                    <a:pt x="92" y="0"/>
                  </a:lnTo>
                  <a:lnTo>
                    <a:pt x="88" y="0"/>
                  </a:lnTo>
                  <a:lnTo>
                    <a:pt x="86" y="2"/>
                  </a:lnTo>
                  <a:lnTo>
                    <a:pt x="84" y="4"/>
                  </a:lnTo>
                  <a:lnTo>
                    <a:pt x="84" y="8"/>
                  </a:lnTo>
                  <a:lnTo>
                    <a:pt x="82" y="10"/>
                  </a:lnTo>
                  <a:lnTo>
                    <a:pt x="72" y="8"/>
                  </a:lnTo>
                  <a:lnTo>
                    <a:pt x="70" y="8"/>
                  </a:lnTo>
                  <a:lnTo>
                    <a:pt x="66" y="8"/>
                  </a:lnTo>
                  <a:lnTo>
                    <a:pt x="64" y="8"/>
                  </a:lnTo>
                  <a:lnTo>
                    <a:pt x="62" y="6"/>
                  </a:lnTo>
                  <a:lnTo>
                    <a:pt x="60" y="10"/>
                  </a:lnTo>
                  <a:lnTo>
                    <a:pt x="58" y="8"/>
                  </a:lnTo>
                  <a:lnTo>
                    <a:pt x="54" y="8"/>
                  </a:lnTo>
                  <a:lnTo>
                    <a:pt x="46" y="8"/>
                  </a:lnTo>
                  <a:lnTo>
                    <a:pt x="32" y="6"/>
                  </a:lnTo>
                  <a:lnTo>
                    <a:pt x="24" y="6"/>
                  </a:lnTo>
                  <a:lnTo>
                    <a:pt x="22" y="8"/>
                  </a:lnTo>
                  <a:lnTo>
                    <a:pt x="22" y="10"/>
                  </a:lnTo>
                  <a:lnTo>
                    <a:pt x="20" y="8"/>
                  </a:lnTo>
                  <a:lnTo>
                    <a:pt x="18" y="6"/>
                  </a:lnTo>
                  <a:lnTo>
                    <a:pt x="16" y="6"/>
                  </a:lnTo>
                  <a:lnTo>
                    <a:pt x="14" y="8"/>
                  </a:lnTo>
                  <a:lnTo>
                    <a:pt x="12" y="8"/>
                  </a:lnTo>
                  <a:lnTo>
                    <a:pt x="12" y="10"/>
                  </a:lnTo>
                  <a:lnTo>
                    <a:pt x="14" y="16"/>
                  </a:lnTo>
                  <a:lnTo>
                    <a:pt x="14" y="18"/>
                  </a:lnTo>
                  <a:lnTo>
                    <a:pt x="14" y="20"/>
                  </a:lnTo>
                  <a:lnTo>
                    <a:pt x="14" y="24"/>
                  </a:lnTo>
                  <a:lnTo>
                    <a:pt x="12" y="28"/>
                  </a:lnTo>
                  <a:lnTo>
                    <a:pt x="12" y="30"/>
                  </a:lnTo>
                  <a:lnTo>
                    <a:pt x="14" y="32"/>
                  </a:lnTo>
                  <a:lnTo>
                    <a:pt x="16" y="36"/>
                  </a:lnTo>
                  <a:lnTo>
                    <a:pt x="12" y="44"/>
                  </a:lnTo>
                  <a:lnTo>
                    <a:pt x="10" y="50"/>
                  </a:lnTo>
                  <a:lnTo>
                    <a:pt x="10" y="54"/>
                  </a:lnTo>
                  <a:lnTo>
                    <a:pt x="12" y="58"/>
                  </a:lnTo>
                  <a:lnTo>
                    <a:pt x="10" y="60"/>
                  </a:lnTo>
                  <a:lnTo>
                    <a:pt x="8" y="62"/>
                  </a:lnTo>
                  <a:lnTo>
                    <a:pt x="4" y="62"/>
                  </a:lnTo>
                  <a:lnTo>
                    <a:pt x="0" y="64"/>
                  </a:lnTo>
                  <a:lnTo>
                    <a:pt x="0" y="70"/>
                  </a:lnTo>
                  <a:lnTo>
                    <a:pt x="4" y="72"/>
                  </a:lnTo>
                  <a:lnTo>
                    <a:pt x="6" y="74"/>
                  </a:lnTo>
                  <a:lnTo>
                    <a:pt x="10" y="74"/>
                  </a:lnTo>
                  <a:lnTo>
                    <a:pt x="14" y="76"/>
                  </a:lnTo>
                  <a:lnTo>
                    <a:pt x="18" y="78"/>
                  </a:lnTo>
                  <a:lnTo>
                    <a:pt x="20" y="80"/>
                  </a:lnTo>
                  <a:lnTo>
                    <a:pt x="22" y="78"/>
                  </a:lnTo>
                  <a:lnTo>
                    <a:pt x="26" y="76"/>
                  </a:lnTo>
                  <a:lnTo>
                    <a:pt x="28" y="74"/>
                  </a:lnTo>
                  <a:lnTo>
                    <a:pt x="32" y="74"/>
                  </a:lnTo>
                  <a:lnTo>
                    <a:pt x="34" y="72"/>
                  </a:lnTo>
                  <a:lnTo>
                    <a:pt x="36" y="68"/>
                  </a:lnTo>
                  <a:lnTo>
                    <a:pt x="38" y="68"/>
                  </a:lnTo>
                  <a:lnTo>
                    <a:pt x="38" y="66"/>
                  </a:lnTo>
                  <a:lnTo>
                    <a:pt x="40" y="64"/>
                  </a:lnTo>
                  <a:lnTo>
                    <a:pt x="44" y="64"/>
                  </a:lnTo>
                  <a:lnTo>
                    <a:pt x="48" y="64"/>
                  </a:lnTo>
                  <a:lnTo>
                    <a:pt x="52" y="64"/>
                  </a:lnTo>
                  <a:lnTo>
                    <a:pt x="56" y="68"/>
                  </a:lnTo>
                  <a:lnTo>
                    <a:pt x="62" y="72"/>
                  </a:lnTo>
                  <a:lnTo>
                    <a:pt x="66" y="74"/>
                  </a:lnTo>
                  <a:lnTo>
                    <a:pt x="66" y="80"/>
                  </a:lnTo>
                  <a:lnTo>
                    <a:pt x="66" y="82"/>
                  </a:lnTo>
                  <a:lnTo>
                    <a:pt x="68" y="86"/>
                  </a:lnTo>
                  <a:lnTo>
                    <a:pt x="70" y="88"/>
                  </a:lnTo>
                  <a:lnTo>
                    <a:pt x="70" y="92"/>
                  </a:lnTo>
                  <a:lnTo>
                    <a:pt x="70" y="94"/>
                  </a:lnTo>
                  <a:lnTo>
                    <a:pt x="72" y="98"/>
                  </a:lnTo>
                  <a:lnTo>
                    <a:pt x="74" y="100"/>
                  </a:lnTo>
                  <a:lnTo>
                    <a:pt x="80" y="106"/>
                  </a:lnTo>
                  <a:lnTo>
                    <a:pt x="82" y="104"/>
                  </a:lnTo>
                  <a:lnTo>
                    <a:pt x="94" y="102"/>
                  </a:lnTo>
                  <a:lnTo>
                    <a:pt x="98" y="102"/>
                  </a:lnTo>
                  <a:lnTo>
                    <a:pt x="100" y="104"/>
                  </a:lnTo>
                  <a:lnTo>
                    <a:pt x="98" y="104"/>
                  </a:lnTo>
                  <a:lnTo>
                    <a:pt x="94" y="104"/>
                  </a:lnTo>
                  <a:lnTo>
                    <a:pt x="98" y="108"/>
                  </a:lnTo>
                  <a:lnTo>
                    <a:pt x="102" y="110"/>
                  </a:lnTo>
                  <a:lnTo>
                    <a:pt x="106" y="112"/>
                  </a:lnTo>
                  <a:lnTo>
                    <a:pt x="112" y="108"/>
                  </a:lnTo>
                  <a:lnTo>
                    <a:pt x="118" y="110"/>
                  </a:lnTo>
                  <a:lnTo>
                    <a:pt x="118" y="118"/>
                  </a:lnTo>
                  <a:lnTo>
                    <a:pt x="116" y="118"/>
                  </a:lnTo>
                  <a:lnTo>
                    <a:pt x="116" y="116"/>
                  </a:lnTo>
                  <a:lnTo>
                    <a:pt x="114" y="116"/>
                  </a:lnTo>
                  <a:lnTo>
                    <a:pt x="104" y="120"/>
                  </a:lnTo>
                  <a:lnTo>
                    <a:pt x="104" y="124"/>
                  </a:lnTo>
                  <a:lnTo>
                    <a:pt x="110" y="124"/>
                  </a:lnTo>
                  <a:lnTo>
                    <a:pt x="112" y="126"/>
                  </a:lnTo>
                  <a:lnTo>
                    <a:pt x="114" y="126"/>
                  </a:lnTo>
                  <a:lnTo>
                    <a:pt x="116" y="128"/>
                  </a:lnTo>
                  <a:lnTo>
                    <a:pt x="116" y="132"/>
                  </a:lnTo>
                  <a:lnTo>
                    <a:pt x="112" y="138"/>
                  </a:lnTo>
                  <a:lnTo>
                    <a:pt x="130" y="132"/>
                  </a:lnTo>
                  <a:lnTo>
                    <a:pt x="148" y="128"/>
                  </a:lnTo>
                  <a:lnTo>
                    <a:pt x="148" y="124"/>
                  </a:lnTo>
                  <a:lnTo>
                    <a:pt x="136" y="122"/>
                  </a:lnTo>
                  <a:lnTo>
                    <a:pt x="128" y="120"/>
                  </a:lnTo>
                  <a:lnTo>
                    <a:pt x="130" y="116"/>
                  </a:lnTo>
                  <a:lnTo>
                    <a:pt x="128" y="116"/>
                  </a:lnTo>
                  <a:lnTo>
                    <a:pt x="124" y="116"/>
                  </a:lnTo>
                  <a:lnTo>
                    <a:pt x="122" y="114"/>
                  </a:lnTo>
                  <a:lnTo>
                    <a:pt x="122" y="112"/>
                  </a:lnTo>
                  <a:lnTo>
                    <a:pt x="120" y="106"/>
                  </a:lnTo>
                  <a:lnTo>
                    <a:pt x="126" y="108"/>
                  </a:lnTo>
                  <a:lnTo>
                    <a:pt x="130" y="108"/>
                  </a:lnTo>
                  <a:lnTo>
                    <a:pt x="134" y="108"/>
                  </a:lnTo>
                  <a:lnTo>
                    <a:pt x="138" y="104"/>
                  </a:lnTo>
                  <a:lnTo>
                    <a:pt x="142" y="102"/>
                  </a:lnTo>
                  <a:lnTo>
                    <a:pt x="154" y="102"/>
                  </a:lnTo>
                  <a:lnTo>
                    <a:pt x="156" y="98"/>
                  </a:lnTo>
                  <a:lnTo>
                    <a:pt x="166" y="9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3" name="Freeform 505">
              <a:extLst>
                <a:ext uri="{FF2B5EF4-FFF2-40B4-BE49-F238E27FC236}">
                  <a16:creationId xmlns:a16="http://schemas.microsoft.com/office/drawing/2014/main" id="{65BA906C-5909-48E8-B232-E06816C2A771}"/>
                </a:ext>
              </a:extLst>
            </p:cNvPr>
            <p:cNvSpPr>
              <a:spLocks noEditPoints="1"/>
            </p:cNvSpPr>
            <p:nvPr/>
          </p:nvSpPr>
          <p:spPr bwMode="gray">
            <a:xfrm>
              <a:off x="4993534" y="4180564"/>
              <a:ext cx="117709" cy="169510"/>
            </a:xfrm>
            <a:custGeom>
              <a:avLst/>
              <a:gdLst>
                <a:gd name="T0" fmla="*/ 2147483647 w 64"/>
                <a:gd name="T1" fmla="*/ 2147483647 h 92"/>
                <a:gd name="T2" fmla="*/ 2147483647 w 64"/>
                <a:gd name="T3" fmla="*/ 2147483647 h 92"/>
                <a:gd name="T4" fmla="*/ 2147483647 w 64"/>
                <a:gd name="T5" fmla="*/ 2147483647 h 92"/>
                <a:gd name="T6" fmla="*/ 2147483647 w 64"/>
                <a:gd name="T7" fmla="*/ 2147483647 h 92"/>
                <a:gd name="T8" fmla="*/ 0 w 64"/>
                <a:gd name="T9" fmla="*/ 2147483647 h 92"/>
                <a:gd name="T10" fmla="*/ 2147483647 w 64"/>
                <a:gd name="T11" fmla="*/ 2147483647 h 92"/>
                <a:gd name="T12" fmla="*/ 2147483647 w 64"/>
                <a:gd name="T13" fmla="*/ 2147483647 h 92"/>
                <a:gd name="T14" fmla="*/ 2147483647 w 64"/>
                <a:gd name="T15" fmla="*/ 2147483647 h 92"/>
                <a:gd name="T16" fmla="*/ 2147483647 w 64"/>
                <a:gd name="T17" fmla="*/ 2147483647 h 92"/>
                <a:gd name="T18" fmla="*/ 2147483647 w 64"/>
                <a:gd name="T19" fmla="*/ 2147483647 h 92"/>
                <a:gd name="T20" fmla="*/ 2147483647 w 64"/>
                <a:gd name="T21" fmla="*/ 2147483647 h 92"/>
                <a:gd name="T22" fmla="*/ 2147483647 w 64"/>
                <a:gd name="T23" fmla="*/ 2147483647 h 92"/>
                <a:gd name="T24" fmla="*/ 2147483647 w 64"/>
                <a:gd name="T25" fmla="*/ 2147483647 h 92"/>
                <a:gd name="T26" fmla="*/ 2147483647 w 64"/>
                <a:gd name="T27" fmla="*/ 2147483647 h 92"/>
                <a:gd name="T28" fmla="*/ 2147483647 w 64"/>
                <a:gd name="T29" fmla="*/ 2147483647 h 92"/>
                <a:gd name="T30" fmla="*/ 2147483647 w 64"/>
                <a:gd name="T31" fmla="*/ 2147483647 h 92"/>
                <a:gd name="T32" fmla="*/ 2147483647 w 64"/>
                <a:gd name="T33" fmla="*/ 2147483647 h 92"/>
                <a:gd name="T34" fmla="*/ 2147483647 w 64"/>
                <a:gd name="T35" fmla="*/ 2147483647 h 92"/>
                <a:gd name="T36" fmla="*/ 2147483647 w 64"/>
                <a:gd name="T37" fmla="*/ 2147483647 h 92"/>
                <a:gd name="T38" fmla="*/ 2147483647 w 64"/>
                <a:gd name="T39" fmla="*/ 2147483647 h 92"/>
                <a:gd name="T40" fmla="*/ 2147483647 w 64"/>
                <a:gd name="T41" fmla="*/ 2147483647 h 92"/>
                <a:gd name="T42" fmla="*/ 2147483647 w 64"/>
                <a:gd name="T43" fmla="*/ 2147483647 h 92"/>
                <a:gd name="T44" fmla="*/ 2147483647 w 64"/>
                <a:gd name="T45" fmla="*/ 2147483647 h 92"/>
                <a:gd name="T46" fmla="*/ 2147483647 w 64"/>
                <a:gd name="T47" fmla="*/ 2147483647 h 92"/>
                <a:gd name="T48" fmla="*/ 2147483647 w 64"/>
                <a:gd name="T49" fmla="*/ 2147483647 h 92"/>
                <a:gd name="T50" fmla="*/ 2147483647 w 64"/>
                <a:gd name="T51" fmla="*/ 2147483647 h 92"/>
                <a:gd name="T52" fmla="*/ 2147483647 w 64"/>
                <a:gd name="T53" fmla="*/ 2147483647 h 92"/>
                <a:gd name="T54" fmla="*/ 2147483647 w 64"/>
                <a:gd name="T55" fmla="*/ 2147483647 h 92"/>
                <a:gd name="T56" fmla="*/ 2147483647 w 64"/>
                <a:gd name="T57" fmla="*/ 2147483647 h 92"/>
                <a:gd name="T58" fmla="*/ 2147483647 w 64"/>
                <a:gd name="T59" fmla="*/ 2147483647 h 92"/>
                <a:gd name="T60" fmla="*/ 2147483647 w 64"/>
                <a:gd name="T61" fmla="*/ 2147483647 h 92"/>
                <a:gd name="T62" fmla="*/ 2147483647 w 64"/>
                <a:gd name="T63" fmla="*/ 2147483647 h 92"/>
                <a:gd name="T64" fmla="*/ 2147483647 w 64"/>
                <a:gd name="T65" fmla="*/ 2147483647 h 92"/>
                <a:gd name="T66" fmla="*/ 2147483647 w 64"/>
                <a:gd name="T67" fmla="*/ 2147483647 h 92"/>
                <a:gd name="T68" fmla="*/ 2147483647 w 64"/>
                <a:gd name="T69" fmla="*/ 2147483647 h 92"/>
                <a:gd name="T70" fmla="*/ 2147483647 w 64"/>
                <a:gd name="T71" fmla="*/ 2147483647 h 92"/>
                <a:gd name="T72" fmla="*/ 2147483647 w 64"/>
                <a:gd name="T73" fmla="*/ 2147483647 h 92"/>
                <a:gd name="T74" fmla="*/ 2147483647 w 64"/>
                <a:gd name="T75" fmla="*/ 2147483647 h 92"/>
                <a:gd name="T76" fmla="*/ 2147483647 w 64"/>
                <a:gd name="T77" fmla="*/ 2147483647 h 92"/>
                <a:gd name="T78" fmla="*/ 2147483647 w 64"/>
                <a:gd name="T79" fmla="*/ 2147483647 h 92"/>
                <a:gd name="T80" fmla="*/ 2147483647 w 64"/>
                <a:gd name="T81" fmla="*/ 2147483647 h 92"/>
                <a:gd name="T82" fmla="*/ 2147483647 w 64"/>
                <a:gd name="T83" fmla="*/ 2147483647 h 92"/>
                <a:gd name="T84" fmla="*/ 2147483647 w 64"/>
                <a:gd name="T85" fmla="*/ 2147483647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4"/>
                <a:gd name="T130" fmla="*/ 0 h 92"/>
                <a:gd name="T131" fmla="*/ 64 w 64"/>
                <a:gd name="T132" fmla="*/ 92 h 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4" h="92">
                  <a:moveTo>
                    <a:pt x="16" y="50"/>
                  </a:moveTo>
                  <a:lnTo>
                    <a:pt x="16" y="50"/>
                  </a:lnTo>
                  <a:lnTo>
                    <a:pt x="10" y="52"/>
                  </a:lnTo>
                  <a:lnTo>
                    <a:pt x="10" y="54"/>
                  </a:lnTo>
                  <a:lnTo>
                    <a:pt x="8" y="58"/>
                  </a:lnTo>
                  <a:lnTo>
                    <a:pt x="6" y="64"/>
                  </a:lnTo>
                  <a:lnTo>
                    <a:pt x="4" y="70"/>
                  </a:lnTo>
                  <a:lnTo>
                    <a:pt x="2" y="74"/>
                  </a:lnTo>
                  <a:lnTo>
                    <a:pt x="2" y="78"/>
                  </a:lnTo>
                  <a:lnTo>
                    <a:pt x="0" y="82"/>
                  </a:lnTo>
                  <a:lnTo>
                    <a:pt x="0" y="84"/>
                  </a:lnTo>
                  <a:lnTo>
                    <a:pt x="2" y="86"/>
                  </a:lnTo>
                  <a:lnTo>
                    <a:pt x="8" y="90"/>
                  </a:lnTo>
                  <a:lnTo>
                    <a:pt x="12" y="92"/>
                  </a:lnTo>
                  <a:lnTo>
                    <a:pt x="14" y="90"/>
                  </a:lnTo>
                  <a:lnTo>
                    <a:pt x="20" y="88"/>
                  </a:lnTo>
                  <a:lnTo>
                    <a:pt x="30" y="86"/>
                  </a:lnTo>
                  <a:lnTo>
                    <a:pt x="32" y="84"/>
                  </a:lnTo>
                  <a:lnTo>
                    <a:pt x="30" y="86"/>
                  </a:lnTo>
                  <a:lnTo>
                    <a:pt x="28" y="86"/>
                  </a:lnTo>
                  <a:lnTo>
                    <a:pt x="28" y="82"/>
                  </a:lnTo>
                  <a:lnTo>
                    <a:pt x="32" y="74"/>
                  </a:lnTo>
                  <a:lnTo>
                    <a:pt x="30" y="72"/>
                  </a:lnTo>
                  <a:lnTo>
                    <a:pt x="30" y="68"/>
                  </a:lnTo>
                  <a:lnTo>
                    <a:pt x="34" y="62"/>
                  </a:lnTo>
                  <a:lnTo>
                    <a:pt x="40" y="62"/>
                  </a:lnTo>
                  <a:lnTo>
                    <a:pt x="46" y="64"/>
                  </a:lnTo>
                  <a:lnTo>
                    <a:pt x="46" y="62"/>
                  </a:lnTo>
                  <a:lnTo>
                    <a:pt x="48" y="60"/>
                  </a:lnTo>
                  <a:lnTo>
                    <a:pt x="54" y="62"/>
                  </a:lnTo>
                  <a:lnTo>
                    <a:pt x="54" y="70"/>
                  </a:lnTo>
                  <a:lnTo>
                    <a:pt x="56" y="72"/>
                  </a:lnTo>
                  <a:lnTo>
                    <a:pt x="58" y="72"/>
                  </a:lnTo>
                  <a:lnTo>
                    <a:pt x="58" y="66"/>
                  </a:lnTo>
                  <a:lnTo>
                    <a:pt x="58" y="62"/>
                  </a:lnTo>
                  <a:lnTo>
                    <a:pt x="58" y="58"/>
                  </a:lnTo>
                  <a:lnTo>
                    <a:pt x="56" y="54"/>
                  </a:lnTo>
                  <a:lnTo>
                    <a:pt x="58" y="52"/>
                  </a:lnTo>
                  <a:lnTo>
                    <a:pt x="58" y="48"/>
                  </a:lnTo>
                  <a:lnTo>
                    <a:pt x="58" y="44"/>
                  </a:lnTo>
                  <a:lnTo>
                    <a:pt x="60" y="40"/>
                  </a:lnTo>
                  <a:lnTo>
                    <a:pt x="62" y="38"/>
                  </a:lnTo>
                  <a:lnTo>
                    <a:pt x="64" y="32"/>
                  </a:lnTo>
                  <a:lnTo>
                    <a:pt x="64" y="28"/>
                  </a:lnTo>
                  <a:lnTo>
                    <a:pt x="62" y="24"/>
                  </a:lnTo>
                  <a:lnTo>
                    <a:pt x="60" y="22"/>
                  </a:lnTo>
                  <a:lnTo>
                    <a:pt x="60" y="16"/>
                  </a:lnTo>
                  <a:lnTo>
                    <a:pt x="62" y="12"/>
                  </a:lnTo>
                  <a:lnTo>
                    <a:pt x="60" y="10"/>
                  </a:lnTo>
                  <a:lnTo>
                    <a:pt x="60" y="8"/>
                  </a:lnTo>
                  <a:lnTo>
                    <a:pt x="58" y="6"/>
                  </a:lnTo>
                  <a:lnTo>
                    <a:pt x="56" y="4"/>
                  </a:lnTo>
                  <a:lnTo>
                    <a:pt x="56" y="0"/>
                  </a:lnTo>
                  <a:lnTo>
                    <a:pt x="50" y="4"/>
                  </a:lnTo>
                  <a:lnTo>
                    <a:pt x="48" y="2"/>
                  </a:lnTo>
                  <a:lnTo>
                    <a:pt x="46" y="2"/>
                  </a:lnTo>
                  <a:lnTo>
                    <a:pt x="42" y="2"/>
                  </a:lnTo>
                  <a:lnTo>
                    <a:pt x="40" y="2"/>
                  </a:lnTo>
                  <a:lnTo>
                    <a:pt x="38" y="2"/>
                  </a:lnTo>
                  <a:lnTo>
                    <a:pt x="36" y="4"/>
                  </a:lnTo>
                  <a:lnTo>
                    <a:pt x="32" y="6"/>
                  </a:lnTo>
                  <a:lnTo>
                    <a:pt x="30" y="8"/>
                  </a:lnTo>
                  <a:lnTo>
                    <a:pt x="30" y="10"/>
                  </a:lnTo>
                  <a:lnTo>
                    <a:pt x="30" y="14"/>
                  </a:lnTo>
                  <a:lnTo>
                    <a:pt x="28" y="18"/>
                  </a:lnTo>
                  <a:lnTo>
                    <a:pt x="26" y="20"/>
                  </a:lnTo>
                  <a:lnTo>
                    <a:pt x="28" y="22"/>
                  </a:lnTo>
                  <a:lnTo>
                    <a:pt x="24" y="26"/>
                  </a:lnTo>
                  <a:lnTo>
                    <a:pt x="24" y="30"/>
                  </a:lnTo>
                  <a:lnTo>
                    <a:pt x="24" y="32"/>
                  </a:lnTo>
                  <a:lnTo>
                    <a:pt x="24" y="34"/>
                  </a:lnTo>
                  <a:lnTo>
                    <a:pt x="26" y="34"/>
                  </a:lnTo>
                  <a:lnTo>
                    <a:pt x="26" y="38"/>
                  </a:lnTo>
                  <a:lnTo>
                    <a:pt x="22" y="42"/>
                  </a:lnTo>
                  <a:lnTo>
                    <a:pt x="18" y="48"/>
                  </a:lnTo>
                  <a:lnTo>
                    <a:pt x="16" y="50"/>
                  </a:lnTo>
                  <a:close/>
                  <a:moveTo>
                    <a:pt x="36" y="42"/>
                  </a:moveTo>
                  <a:lnTo>
                    <a:pt x="36" y="42"/>
                  </a:lnTo>
                  <a:lnTo>
                    <a:pt x="38" y="42"/>
                  </a:lnTo>
                  <a:lnTo>
                    <a:pt x="40" y="44"/>
                  </a:lnTo>
                  <a:lnTo>
                    <a:pt x="40" y="46"/>
                  </a:lnTo>
                  <a:lnTo>
                    <a:pt x="36" y="46"/>
                  </a:lnTo>
                  <a:lnTo>
                    <a:pt x="34" y="46"/>
                  </a:lnTo>
                  <a:lnTo>
                    <a:pt x="34" y="44"/>
                  </a:lnTo>
                  <a:lnTo>
                    <a:pt x="34" y="42"/>
                  </a:lnTo>
                  <a:lnTo>
                    <a:pt x="36" y="4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4" name="Freeform 506">
              <a:extLst>
                <a:ext uri="{FF2B5EF4-FFF2-40B4-BE49-F238E27FC236}">
                  <a16:creationId xmlns:a16="http://schemas.microsoft.com/office/drawing/2014/main" id="{F08FB470-D283-4C96-A4C8-C7A8AE44761B}"/>
                </a:ext>
              </a:extLst>
            </p:cNvPr>
            <p:cNvSpPr>
              <a:spLocks noEditPoints="1"/>
            </p:cNvSpPr>
            <p:nvPr/>
          </p:nvSpPr>
          <p:spPr bwMode="gray">
            <a:xfrm>
              <a:off x="5490265" y="3128196"/>
              <a:ext cx="291918" cy="214239"/>
            </a:xfrm>
            <a:custGeom>
              <a:avLst/>
              <a:gdLst>
                <a:gd name="T0" fmla="*/ 0 w 158"/>
                <a:gd name="T1" fmla="*/ 2147483647 h 116"/>
                <a:gd name="T2" fmla="*/ 2147483647 w 158"/>
                <a:gd name="T3" fmla="*/ 2147483647 h 116"/>
                <a:gd name="T4" fmla="*/ 2147483647 w 158"/>
                <a:gd name="T5" fmla="*/ 2147483647 h 116"/>
                <a:gd name="T6" fmla="*/ 2147483647 w 158"/>
                <a:gd name="T7" fmla="*/ 2147483647 h 116"/>
                <a:gd name="T8" fmla="*/ 2147483647 w 158"/>
                <a:gd name="T9" fmla="*/ 2147483647 h 116"/>
                <a:gd name="T10" fmla="*/ 2147483647 w 158"/>
                <a:gd name="T11" fmla="*/ 2147483647 h 116"/>
                <a:gd name="T12" fmla="*/ 2147483647 w 158"/>
                <a:gd name="T13" fmla="*/ 2147483647 h 116"/>
                <a:gd name="T14" fmla="*/ 2147483647 w 158"/>
                <a:gd name="T15" fmla="*/ 2147483647 h 116"/>
                <a:gd name="T16" fmla="*/ 2147483647 w 158"/>
                <a:gd name="T17" fmla="*/ 2147483647 h 116"/>
                <a:gd name="T18" fmla="*/ 2147483647 w 158"/>
                <a:gd name="T19" fmla="*/ 2147483647 h 116"/>
                <a:gd name="T20" fmla="*/ 2147483647 w 158"/>
                <a:gd name="T21" fmla="*/ 2147483647 h 116"/>
                <a:gd name="T22" fmla="*/ 2147483647 w 158"/>
                <a:gd name="T23" fmla="*/ 2147483647 h 116"/>
                <a:gd name="T24" fmla="*/ 2147483647 w 158"/>
                <a:gd name="T25" fmla="*/ 2147483647 h 116"/>
                <a:gd name="T26" fmla="*/ 2147483647 w 158"/>
                <a:gd name="T27" fmla="*/ 2147483647 h 116"/>
                <a:gd name="T28" fmla="*/ 2147483647 w 158"/>
                <a:gd name="T29" fmla="*/ 2147483647 h 116"/>
                <a:gd name="T30" fmla="*/ 2147483647 w 158"/>
                <a:gd name="T31" fmla="*/ 2147483647 h 116"/>
                <a:gd name="T32" fmla="*/ 2147483647 w 158"/>
                <a:gd name="T33" fmla="*/ 2147483647 h 116"/>
                <a:gd name="T34" fmla="*/ 2147483647 w 158"/>
                <a:gd name="T35" fmla="*/ 2147483647 h 116"/>
                <a:gd name="T36" fmla="*/ 2147483647 w 158"/>
                <a:gd name="T37" fmla="*/ 2147483647 h 116"/>
                <a:gd name="T38" fmla="*/ 2147483647 w 158"/>
                <a:gd name="T39" fmla="*/ 2147483647 h 116"/>
                <a:gd name="T40" fmla="*/ 2147483647 w 158"/>
                <a:gd name="T41" fmla="*/ 2147483647 h 116"/>
                <a:gd name="T42" fmla="*/ 2147483647 w 158"/>
                <a:gd name="T43" fmla="*/ 2147483647 h 116"/>
                <a:gd name="T44" fmla="*/ 2147483647 w 158"/>
                <a:gd name="T45" fmla="*/ 2147483647 h 116"/>
                <a:gd name="T46" fmla="*/ 2147483647 w 158"/>
                <a:gd name="T47" fmla="*/ 2147483647 h 116"/>
                <a:gd name="T48" fmla="*/ 2147483647 w 158"/>
                <a:gd name="T49" fmla="*/ 2147483647 h 116"/>
                <a:gd name="T50" fmla="*/ 2147483647 w 158"/>
                <a:gd name="T51" fmla="*/ 2147483647 h 116"/>
                <a:gd name="T52" fmla="*/ 2147483647 w 158"/>
                <a:gd name="T53" fmla="*/ 2147483647 h 116"/>
                <a:gd name="T54" fmla="*/ 2147483647 w 158"/>
                <a:gd name="T55" fmla="*/ 2147483647 h 116"/>
                <a:gd name="T56" fmla="*/ 2147483647 w 158"/>
                <a:gd name="T57" fmla="*/ 2147483647 h 116"/>
                <a:gd name="T58" fmla="*/ 2147483647 w 158"/>
                <a:gd name="T59" fmla="*/ 2147483647 h 116"/>
                <a:gd name="T60" fmla="*/ 2147483647 w 158"/>
                <a:gd name="T61" fmla="*/ 2147483647 h 116"/>
                <a:gd name="T62" fmla="*/ 2147483647 w 158"/>
                <a:gd name="T63" fmla="*/ 2147483647 h 116"/>
                <a:gd name="T64" fmla="*/ 2147483647 w 158"/>
                <a:gd name="T65" fmla="*/ 2147483647 h 116"/>
                <a:gd name="T66" fmla="*/ 2147483647 w 158"/>
                <a:gd name="T67" fmla="*/ 2147483647 h 116"/>
                <a:gd name="T68" fmla="*/ 2147483647 w 158"/>
                <a:gd name="T69" fmla="*/ 2147483647 h 116"/>
                <a:gd name="T70" fmla="*/ 2147483647 w 158"/>
                <a:gd name="T71" fmla="*/ 2147483647 h 116"/>
                <a:gd name="T72" fmla="*/ 2147483647 w 158"/>
                <a:gd name="T73" fmla="*/ 2147483647 h 116"/>
                <a:gd name="T74" fmla="*/ 2147483647 w 158"/>
                <a:gd name="T75" fmla="*/ 2147483647 h 116"/>
                <a:gd name="T76" fmla="*/ 2147483647 w 158"/>
                <a:gd name="T77" fmla="*/ 2147483647 h 116"/>
                <a:gd name="T78" fmla="*/ 2147483647 w 158"/>
                <a:gd name="T79" fmla="*/ 2147483647 h 116"/>
                <a:gd name="T80" fmla="*/ 2147483647 w 158"/>
                <a:gd name="T81" fmla="*/ 2147483647 h 116"/>
                <a:gd name="T82" fmla="*/ 2147483647 w 158"/>
                <a:gd name="T83" fmla="*/ 2147483647 h 116"/>
                <a:gd name="T84" fmla="*/ 2147483647 w 158"/>
                <a:gd name="T85" fmla="*/ 2147483647 h 116"/>
                <a:gd name="T86" fmla="*/ 2147483647 w 158"/>
                <a:gd name="T87" fmla="*/ 2147483647 h 116"/>
                <a:gd name="T88" fmla="*/ 2147483647 w 158"/>
                <a:gd name="T89" fmla="*/ 2147483647 h 116"/>
                <a:gd name="T90" fmla="*/ 2147483647 w 158"/>
                <a:gd name="T91" fmla="*/ 2147483647 h 116"/>
                <a:gd name="T92" fmla="*/ 2147483647 w 158"/>
                <a:gd name="T93" fmla="*/ 2147483647 h 116"/>
                <a:gd name="T94" fmla="*/ 0 w 158"/>
                <a:gd name="T95" fmla="*/ 2147483647 h 116"/>
                <a:gd name="T96" fmla="*/ 2147483647 w 158"/>
                <a:gd name="T97" fmla="*/ 2147483647 h 116"/>
                <a:gd name="T98" fmla="*/ 2147483647 w 158"/>
                <a:gd name="T99" fmla="*/ 2147483647 h 116"/>
                <a:gd name="T100" fmla="*/ 2147483647 w 158"/>
                <a:gd name="T101" fmla="*/ 2147483647 h 1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8"/>
                <a:gd name="T154" fmla="*/ 0 h 116"/>
                <a:gd name="T155" fmla="*/ 158 w 158"/>
                <a:gd name="T156" fmla="*/ 116 h 11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8" h="116">
                  <a:moveTo>
                    <a:pt x="0" y="14"/>
                  </a:moveTo>
                  <a:lnTo>
                    <a:pt x="0" y="14"/>
                  </a:lnTo>
                  <a:lnTo>
                    <a:pt x="0" y="22"/>
                  </a:lnTo>
                  <a:lnTo>
                    <a:pt x="4" y="22"/>
                  </a:lnTo>
                  <a:lnTo>
                    <a:pt x="4" y="16"/>
                  </a:lnTo>
                  <a:lnTo>
                    <a:pt x="6" y="14"/>
                  </a:lnTo>
                  <a:lnTo>
                    <a:pt x="8" y="12"/>
                  </a:lnTo>
                  <a:lnTo>
                    <a:pt x="10" y="12"/>
                  </a:lnTo>
                  <a:lnTo>
                    <a:pt x="12" y="14"/>
                  </a:lnTo>
                  <a:lnTo>
                    <a:pt x="16" y="14"/>
                  </a:lnTo>
                  <a:lnTo>
                    <a:pt x="16" y="18"/>
                  </a:lnTo>
                  <a:lnTo>
                    <a:pt x="20" y="22"/>
                  </a:lnTo>
                  <a:lnTo>
                    <a:pt x="24" y="28"/>
                  </a:lnTo>
                  <a:lnTo>
                    <a:pt x="26" y="28"/>
                  </a:lnTo>
                  <a:lnTo>
                    <a:pt x="24" y="30"/>
                  </a:lnTo>
                  <a:lnTo>
                    <a:pt x="22" y="34"/>
                  </a:lnTo>
                  <a:lnTo>
                    <a:pt x="20" y="34"/>
                  </a:lnTo>
                  <a:lnTo>
                    <a:pt x="22" y="38"/>
                  </a:lnTo>
                  <a:lnTo>
                    <a:pt x="16" y="38"/>
                  </a:lnTo>
                  <a:lnTo>
                    <a:pt x="12" y="36"/>
                  </a:lnTo>
                  <a:lnTo>
                    <a:pt x="8" y="32"/>
                  </a:lnTo>
                  <a:lnTo>
                    <a:pt x="6" y="32"/>
                  </a:lnTo>
                  <a:lnTo>
                    <a:pt x="4" y="32"/>
                  </a:lnTo>
                  <a:lnTo>
                    <a:pt x="2" y="38"/>
                  </a:lnTo>
                  <a:lnTo>
                    <a:pt x="2" y="44"/>
                  </a:lnTo>
                  <a:lnTo>
                    <a:pt x="2" y="50"/>
                  </a:lnTo>
                  <a:lnTo>
                    <a:pt x="4" y="48"/>
                  </a:lnTo>
                  <a:lnTo>
                    <a:pt x="6" y="48"/>
                  </a:lnTo>
                  <a:lnTo>
                    <a:pt x="8" y="48"/>
                  </a:lnTo>
                  <a:lnTo>
                    <a:pt x="16" y="46"/>
                  </a:lnTo>
                  <a:lnTo>
                    <a:pt x="12" y="48"/>
                  </a:lnTo>
                  <a:lnTo>
                    <a:pt x="10" y="50"/>
                  </a:lnTo>
                  <a:lnTo>
                    <a:pt x="10" y="52"/>
                  </a:lnTo>
                  <a:lnTo>
                    <a:pt x="10" y="54"/>
                  </a:lnTo>
                  <a:lnTo>
                    <a:pt x="12" y="52"/>
                  </a:lnTo>
                  <a:lnTo>
                    <a:pt x="14" y="56"/>
                  </a:lnTo>
                  <a:lnTo>
                    <a:pt x="14" y="58"/>
                  </a:lnTo>
                  <a:lnTo>
                    <a:pt x="12" y="60"/>
                  </a:lnTo>
                  <a:lnTo>
                    <a:pt x="18" y="64"/>
                  </a:lnTo>
                  <a:lnTo>
                    <a:pt x="20" y="68"/>
                  </a:lnTo>
                  <a:lnTo>
                    <a:pt x="18" y="70"/>
                  </a:lnTo>
                  <a:lnTo>
                    <a:pt x="14" y="70"/>
                  </a:lnTo>
                  <a:lnTo>
                    <a:pt x="14" y="86"/>
                  </a:lnTo>
                  <a:lnTo>
                    <a:pt x="22" y="86"/>
                  </a:lnTo>
                  <a:lnTo>
                    <a:pt x="24" y="82"/>
                  </a:lnTo>
                  <a:lnTo>
                    <a:pt x="24" y="80"/>
                  </a:lnTo>
                  <a:lnTo>
                    <a:pt x="28" y="76"/>
                  </a:lnTo>
                  <a:lnTo>
                    <a:pt x="30" y="74"/>
                  </a:lnTo>
                  <a:lnTo>
                    <a:pt x="36" y="74"/>
                  </a:lnTo>
                  <a:lnTo>
                    <a:pt x="40" y="72"/>
                  </a:lnTo>
                  <a:lnTo>
                    <a:pt x="46" y="70"/>
                  </a:lnTo>
                  <a:lnTo>
                    <a:pt x="60" y="74"/>
                  </a:lnTo>
                  <a:lnTo>
                    <a:pt x="68" y="74"/>
                  </a:lnTo>
                  <a:lnTo>
                    <a:pt x="70" y="76"/>
                  </a:lnTo>
                  <a:lnTo>
                    <a:pt x="78" y="80"/>
                  </a:lnTo>
                  <a:lnTo>
                    <a:pt x="86" y="82"/>
                  </a:lnTo>
                  <a:lnTo>
                    <a:pt x="92" y="86"/>
                  </a:lnTo>
                  <a:lnTo>
                    <a:pt x="96" y="90"/>
                  </a:lnTo>
                  <a:lnTo>
                    <a:pt x="98" y="94"/>
                  </a:lnTo>
                  <a:lnTo>
                    <a:pt x="100" y="98"/>
                  </a:lnTo>
                  <a:lnTo>
                    <a:pt x="106" y="100"/>
                  </a:lnTo>
                  <a:lnTo>
                    <a:pt x="106" y="104"/>
                  </a:lnTo>
                  <a:lnTo>
                    <a:pt x="108" y="110"/>
                  </a:lnTo>
                  <a:lnTo>
                    <a:pt x="106" y="116"/>
                  </a:lnTo>
                  <a:lnTo>
                    <a:pt x="112" y="116"/>
                  </a:lnTo>
                  <a:lnTo>
                    <a:pt x="114" y="114"/>
                  </a:lnTo>
                  <a:lnTo>
                    <a:pt x="118" y="116"/>
                  </a:lnTo>
                  <a:lnTo>
                    <a:pt x="128" y="112"/>
                  </a:lnTo>
                  <a:lnTo>
                    <a:pt x="126" y="106"/>
                  </a:lnTo>
                  <a:lnTo>
                    <a:pt x="132" y="100"/>
                  </a:lnTo>
                  <a:lnTo>
                    <a:pt x="134" y="96"/>
                  </a:lnTo>
                  <a:lnTo>
                    <a:pt x="134" y="88"/>
                  </a:lnTo>
                  <a:lnTo>
                    <a:pt x="136" y="86"/>
                  </a:lnTo>
                  <a:lnTo>
                    <a:pt x="138" y="82"/>
                  </a:lnTo>
                  <a:lnTo>
                    <a:pt x="142" y="84"/>
                  </a:lnTo>
                  <a:lnTo>
                    <a:pt x="146" y="86"/>
                  </a:lnTo>
                  <a:lnTo>
                    <a:pt x="152" y="86"/>
                  </a:lnTo>
                  <a:lnTo>
                    <a:pt x="152" y="82"/>
                  </a:lnTo>
                  <a:lnTo>
                    <a:pt x="152" y="78"/>
                  </a:lnTo>
                  <a:lnTo>
                    <a:pt x="158" y="74"/>
                  </a:lnTo>
                  <a:lnTo>
                    <a:pt x="156" y="72"/>
                  </a:lnTo>
                  <a:lnTo>
                    <a:pt x="152" y="72"/>
                  </a:lnTo>
                  <a:lnTo>
                    <a:pt x="148" y="70"/>
                  </a:lnTo>
                  <a:lnTo>
                    <a:pt x="144" y="70"/>
                  </a:lnTo>
                  <a:lnTo>
                    <a:pt x="140" y="66"/>
                  </a:lnTo>
                  <a:lnTo>
                    <a:pt x="132" y="66"/>
                  </a:lnTo>
                  <a:lnTo>
                    <a:pt x="130" y="62"/>
                  </a:lnTo>
                  <a:lnTo>
                    <a:pt x="124" y="58"/>
                  </a:lnTo>
                  <a:lnTo>
                    <a:pt x="120" y="54"/>
                  </a:lnTo>
                  <a:lnTo>
                    <a:pt x="116" y="52"/>
                  </a:lnTo>
                  <a:lnTo>
                    <a:pt x="114" y="46"/>
                  </a:lnTo>
                  <a:lnTo>
                    <a:pt x="112" y="42"/>
                  </a:lnTo>
                  <a:lnTo>
                    <a:pt x="108" y="38"/>
                  </a:lnTo>
                  <a:lnTo>
                    <a:pt x="108" y="32"/>
                  </a:lnTo>
                  <a:lnTo>
                    <a:pt x="104" y="26"/>
                  </a:lnTo>
                  <a:lnTo>
                    <a:pt x="98" y="28"/>
                  </a:lnTo>
                  <a:lnTo>
                    <a:pt x="92" y="26"/>
                  </a:lnTo>
                  <a:lnTo>
                    <a:pt x="88" y="30"/>
                  </a:lnTo>
                  <a:lnTo>
                    <a:pt x="84" y="32"/>
                  </a:lnTo>
                  <a:lnTo>
                    <a:pt x="80" y="30"/>
                  </a:lnTo>
                  <a:lnTo>
                    <a:pt x="78" y="28"/>
                  </a:lnTo>
                  <a:lnTo>
                    <a:pt x="80" y="26"/>
                  </a:lnTo>
                  <a:lnTo>
                    <a:pt x="78" y="20"/>
                  </a:lnTo>
                  <a:lnTo>
                    <a:pt x="72" y="18"/>
                  </a:lnTo>
                  <a:lnTo>
                    <a:pt x="70" y="10"/>
                  </a:lnTo>
                  <a:lnTo>
                    <a:pt x="68" y="2"/>
                  </a:lnTo>
                  <a:lnTo>
                    <a:pt x="66" y="2"/>
                  </a:lnTo>
                  <a:lnTo>
                    <a:pt x="62" y="0"/>
                  </a:lnTo>
                  <a:lnTo>
                    <a:pt x="58" y="4"/>
                  </a:lnTo>
                  <a:lnTo>
                    <a:pt x="56" y="8"/>
                  </a:lnTo>
                  <a:lnTo>
                    <a:pt x="50" y="8"/>
                  </a:lnTo>
                  <a:lnTo>
                    <a:pt x="48" y="10"/>
                  </a:lnTo>
                  <a:lnTo>
                    <a:pt x="48" y="14"/>
                  </a:lnTo>
                  <a:lnTo>
                    <a:pt x="50" y="18"/>
                  </a:lnTo>
                  <a:lnTo>
                    <a:pt x="50" y="20"/>
                  </a:lnTo>
                  <a:lnTo>
                    <a:pt x="38" y="18"/>
                  </a:lnTo>
                  <a:lnTo>
                    <a:pt x="34" y="18"/>
                  </a:lnTo>
                  <a:lnTo>
                    <a:pt x="28" y="18"/>
                  </a:lnTo>
                  <a:lnTo>
                    <a:pt x="24" y="12"/>
                  </a:lnTo>
                  <a:lnTo>
                    <a:pt x="20" y="8"/>
                  </a:lnTo>
                  <a:lnTo>
                    <a:pt x="12" y="6"/>
                  </a:lnTo>
                  <a:lnTo>
                    <a:pt x="6" y="8"/>
                  </a:lnTo>
                  <a:lnTo>
                    <a:pt x="2" y="12"/>
                  </a:lnTo>
                  <a:lnTo>
                    <a:pt x="0" y="14"/>
                  </a:lnTo>
                  <a:close/>
                  <a:moveTo>
                    <a:pt x="6" y="54"/>
                  </a:moveTo>
                  <a:lnTo>
                    <a:pt x="6" y="54"/>
                  </a:lnTo>
                  <a:lnTo>
                    <a:pt x="4" y="56"/>
                  </a:lnTo>
                  <a:lnTo>
                    <a:pt x="8" y="58"/>
                  </a:lnTo>
                  <a:lnTo>
                    <a:pt x="8" y="56"/>
                  </a:lnTo>
                  <a:lnTo>
                    <a:pt x="8" y="54"/>
                  </a:lnTo>
                  <a:lnTo>
                    <a:pt x="6" y="5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5" name="Freeform 507">
              <a:extLst>
                <a:ext uri="{FF2B5EF4-FFF2-40B4-BE49-F238E27FC236}">
                  <a16:creationId xmlns:a16="http://schemas.microsoft.com/office/drawing/2014/main" id="{314E3DC1-20F5-4878-A503-688C27FEAA90}"/>
                </a:ext>
              </a:extLst>
            </p:cNvPr>
            <p:cNvSpPr>
              <a:spLocks noEditPoints="1"/>
            </p:cNvSpPr>
            <p:nvPr/>
          </p:nvSpPr>
          <p:spPr bwMode="gray">
            <a:xfrm>
              <a:off x="4939388" y="3154094"/>
              <a:ext cx="395503" cy="185990"/>
            </a:xfrm>
            <a:custGeom>
              <a:avLst/>
              <a:gdLst>
                <a:gd name="T0" fmla="*/ 2147483647 w 214"/>
                <a:gd name="T1" fmla="*/ 2147483647 h 100"/>
                <a:gd name="T2" fmla="*/ 2147483647 w 214"/>
                <a:gd name="T3" fmla="*/ 2147483647 h 100"/>
                <a:gd name="T4" fmla="*/ 2147483647 w 214"/>
                <a:gd name="T5" fmla="*/ 2147483647 h 100"/>
                <a:gd name="T6" fmla="*/ 2147483647 w 214"/>
                <a:gd name="T7" fmla="*/ 2147483647 h 100"/>
                <a:gd name="T8" fmla="*/ 2147483647 w 214"/>
                <a:gd name="T9" fmla="*/ 2147483647 h 100"/>
                <a:gd name="T10" fmla="*/ 2147483647 w 214"/>
                <a:gd name="T11" fmla="*/ 2147483647 h 100"/>
                <a:gd name="T12" fmla="*/ 2147483647 w 214"/>
                <a:gd name="T13" fmla="*/ 2147483647 h 100"/>
                <a:gd name="T14" fmla="*/ 2147483647 w 214"/>
                <a:gd name="T15" fmla="*/ 2147483647 h 100"/>
                <a:gd name="T16" fmla="*/ 2147483647 w 214"/>
                <a:gd name="T17" fmla="*/ 2147483647 h 100"/>
                <a:gd name="T18" fmla="*/ 2147483647 w 214"/>
                <a:gd name="T19" fmla="*/ 2147483647 h 100"/>
                <a:gd name="T20" fmla="*/ 2147483647 w 214"/>
                <a:gd name="T21" fmla="*/ 2147483647 h 100"/>
                <a:gd name="T22" fmla="*/ 2147483647 w 214"/>
                <a:gd name="T23" fmla="*/ 2147483647 h 100"/>
                <a:gd name="T24" fmla="*/ 2147483647 w 214"/>
                <a:gd name="T25" fmla="*/ 2147483647 h 100"/>
                <a:gd name="T26" fmla="*/ 2147483647 w 214"/>
                <a:gd name="T27" fmla="*/ 2147483647 h 100"/>
                <a:gd name="T28" fmla="*/ 2147483647 w 214"/>
                <a:gd name="T29" fmla="*/ 2147483647 h 100"/>
                <a:gd name="T30" fmla="*/ 2147483647 w 214"/>
                <a:gd name="T31" fmla="*/ 2147483647 h 100"/>
                <a:gd name="T32" fmla="*/ 2147483647 w 214"/>
                <a:gd name="T33" fmla="*/ 2147483647 h 100"/>
                <a:gd name="T34" fmla="*/ 2147483647 w 214"/>
                <a:gd name="T35" fmla="*/ 2147483647 h 100"/>
                <a:gd name="T36" fmla="*/ 2147483647 w 214"/>
                <a:gd name="T37" fmla="*/ 2147483647 h 100"/>
                <a:gd name="T38" fmla="*/ 2147483647 w 214"/>
                <a:gd name="T39" fmla="*/ 2147483647 h 100"/>
                <a:gd name="T40" fmla="*/ 2147483647 w 214"/>
                <a:gd name="T41" fmla="*/ 2147483647 h 100"/>
                <a:gd name="T42" fmla="*/ 2147483647 w 214"/>
                <a:gd name="T43" fmla="*/ 2147483647 h 100"/>
                <a:gd name="T44" fmla="*/ 2147483647 w 214"/>
                <a:gd name="T45" fmla="*/ 2147483647 h 100"/>
                <a:gd name="T46" fmla="*/ 2147483647 w 214"/>
                <a:gd name="T47" fmla="*/ 2147483647 h 100"/>
                <a:gd name="T48" fmla="*/ 2147483647 w 214"/>
                <a:gd name="T49" fmla="*/ 2147483647 h 100"/>
                <a:gd name="T50" fmla="*/ 2147483647 w 214"/>
                <a:gd name="T51" fmla="*/ 2147483647 h 100"/>
                <a:gd name="T52" fmla="*/ 2147483647 w 214"/>
                <a:gd name="T53" fmla="*/ 2147483647 h 100"/>
                <a:gd name="T54" fmla="*/ 2147483647 w 214"/>
                <a:gd name="T55" fmla="*/ 0 h 100"/>
                <a:gd name="T56" fmla="*/ 2147483647 w 214"/>
                <a:gd name="T57" fmla="*/ 2147483647 h 100"/>
                <a:gd name="T58" fmla="*/ 2147483647 w 214"/>
                <a:gd name="T59" fmla="*/ 2147483647 h 100"/>
                <a:gd name="T60" fmla="*/ 2147483647 w 214"/>
                <a:gd name="T61" fmla="*/ 2147483647 h 100"/>
                <a:gd name="T62" fmla="*/ 2147483647 w 214"/>
                <a:gd name="T63" fmla="*/ 2147483647 h 100"/>
                <a:gd name="T64" fmla="*/ 2147483647 w 214"/>
                <a:gd name="T65" fmla="*/ 2147483647 h 100"/>
                <a:gd name="T66" fmla="*/ 2147483647 w 214"/>
                <a:gd name="T67" fmla="*/ 2147483647 h 100"/>
                <a:gd name="T68" fmla="*/ 2147483647 w 214"/>
                <a:gd name="T69" fmla="*/ 2147483647 h 100"/>
                <a:gd name="T70" fmla="*/ 2147483647 w 214"/>
                <a:gd name="T71" fmla="*/ 2147483647 h 100"/>
                <a:gd name="T72" fmla="*/ 2147483647 w 214"/>
                <a:gd name="T73" fmla="*/ 2147483647 h 100"/>
                <a:gd name="T74" fmla="*/ 2147483647 w 214"/>
                <a:gd name="T75" fmla="*/ 2147483647 h 100"/>
                <a:gd name="T76" fmla="*/ 2147483647 w 214"/>
                <a:gd name="T77" fmla="*/ 2147483647 h 100"/>
                <a:gd name="T78" fmla="*/ 0 w 214"/>
                <a:gd name="T79" fmla="*/ 2147483647 h 100"/>
                <a:gd name="T80" fmla="*/ 2147483647 w 214"/>
                <a:gd name="T81" fmla="*/ 2147483647 h 100"/>
                <a:gd name="T82" fmla="*/ 0 w 214"/>
                <a:gd name="T83" fmla="*/ 2147483647 h 100"/>
                <a:gd name="T84" fmla="*/ 2147483647 w 214"/>
                <a:gd name="T85" fmla="*/ 2147483647 h 100"/>
                <a:gd name="T86" fmla="*/ 2147483647 w 214"/>
                <a:gd name="T87" fmla="*/ 2147483647 h 100"/>
                <a:gd name="T88" fmla="*/ 2147483647 w 214"/>
                <a:gd name="T89" fmla="*/ 2147483647 h 100"/>
                <a:gd name="T90" fmla="*/ 2147483647 w 214"/>
                <a:gd name="T91" fmla="*/ 2147483647 h 100"/>
                <a:gd name="T92" fmla="*/ 2147483647 w 214"/>
                <a:gd name="T93" fmla="*/ 2147483647 h 100"/>
                <a:gd name="T94" fmla="*/ 2147483647 w 214"/>
                <a:gd name="T95" fmla="*/ 2147483647 h 100"/>
                <a:gd name="T96" fmla="*/ 2147483647 w 214"/>
                <a:gd name="T97" fmla="*/ 2147483647 h 100"/>
                <a:gd name="T98" fmla="*/ 2147483647 w 214"/>
                <a:gd name="T99" fmla="*/ 2147483647 h 100"/>
                <a:gd name="T100" fmla="*/ 2147483647 w 214"/>
                <a:gd name="T101" fmla="*/ 2147483647 h 100"/>
                <a:gd name="T102" fmla="*/ 2147483647 w 214"/>
                <a:gd name="T103" fmla="*/ 2147483647 h 100"/>
                <a:gd name="T104" fmla="*/ 2147483647 w 214"/>
                <a:gd name="T105" fmla="*/ 2147483647 h 100"/>
                <a:gd name="T106" fmla="*/ 2147483647 w 214"/>
                <a:gd name="T107" fmla="*/ 2147483647 h 100"/>
                <a:gd name="T108" fmla="*/ 2147483647 w 214"/>
                <a:gd name="T109" fmla="*/ 2147483647 h 100"/>
                <a:gd name="T110" fmla="*/ 2147483647 w 214"/>
                <a:gd name="T111" fmla="*/ 2147483647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4"/>
                <a:gd name="T169" fmla="*/ 0 h 100"/>
                <a:gd name="T170" fmla="*/ 214 w 214"/>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4" h="100">
                  <a:moveTo>
                    <a:pt x="108" y="100"/>
                  </a:moveTo>
                  <a:lnTo>
                    <a:pt x="108" y="100"/>
                  </a:lnTo>
                  <a:lnTo>
                    <a:pt x="112" y="100"/>
                  </a:lnTo>
                  <a:lnTo>
                    <a:pt x="114" y="98"/>
                  </a:lnTo>
                  <a:lnTo>
                    <a:pt x="116" y="96"/>
                  </a:lnTo>
                  <a:lnTo>
                    <a:pt x="118" y="94"/>
                  </a:lnTo>
                  <a:lnTo>
                    <a:pt x="120" y="94"/>
                  </a:lnTo>
                  <a:lnTo>
                    <a:pt x="120" y="92"/>
                  </a:lnTo>
                  <a:lnTo>
                    <a:pt x="120" y="88"/>
                  </a:lnTo>
                  <a:lnTo>
                    <a:pt x="120" y="86"/>
                  </a:lnTo>
                  <a:lnTo>
                    <a:pt x="122" y="86"/>
                  </a:lnTo>
                  <a:lnTo>
                    <a:pt x="124" y="86"/>
                  </a:lnTo>
                  <a:lnTo>
                    <a:pt x="126" y="86"/>
                  </a:lnTo>
                  <a:lnTo>
                    <a:pt x="128" y="84"/>
                  </a:lnTo>
                  <a:lnTo>
                    <a:pt x="130" y="84"/>
                  </a:lnTo>
                  <a:lnTo>
                    <a:pt x="134" y="84"/>
                  </a:lnTo>
                  <a:lnTo>
                    <a:pt x="138" y="84"/>
                  </a:lnTo>
                  <a:lnTo>
                    <a:pt x="144" y="82"/>
                  </a:lnTo>
                  <a:lnTo>
                    <a:pt x="148" y="82"/>
                  </a:lnTo>
                  <a:lnTo>
                    <a:pt x="154" y="78"/>
                  </a:lnTo>
                  <a:lnTo>
                    <a:pt x="160" y="78"/>
                  </a:lnTo>
                  <a:lnTo>
                    <a:pt x="164" y="78"/>
                  </a:lnTo>
                  <a:lnTo>
                    <a:pt x="168" y="76"/>
                  </a:lnTo>
                  <a:lnTo>
                    <a:pt x="174" y="74"/>
                  </a:lnTo>
                  <a:lnTo>
                    <a:pt x="178" y="72"/>
                  </a:lnTo>
                  <a:lnTo>
                    <a:pt x="180" y="76"/>
                  </a:lnTo>
                  <a:lnTo>
                    <a:pt x="182" y="76"/>
                  </a:lnTo>
                  <a:lnTo>
                    <a:pt x="184" y="76"/>
                  </a:lnTo>
                  <a:lnTo>
                    <a:pt x="186" y="76"/>
                  </a:lnTo>
                  <a:lnTo>
                    <a:pt x="188" y="76"/>
                  </a:lnTo>
                  <a:lnTo>
                    <a:pt x="190" y="78"/>
                  </a:lnTo>
                  <a:lnTo>
                    <a:pt x="192" y="76"/>
                  </a:lnTo>
                  <a:lnTo>
                    <a:pt x="194" y="74"/>
                  </a:lnTo>
                  <a:lnTo>
                    <a:pt x="198" y="74"/>
                  </a:lnTo>
                  <a:lnTo>
                    <a:pt x="198" y="78"/>
                  </a:lnTo>
                  <a:lnTo>
                    <a:pt x="202" y="76"/>
                  </a:lnTo>
                  <a:lnTo>
                    <a:pt x="206" y="76"/>
                  </a:lnTo>
                  <a:lnTo>
                    <a:pt x="208" y="76"/>
                  </a:lnTo>
                  <a:lnTo>
                    <a:pt x="208" y="72"/>
                  </a:lnTo>
                  <a:lnTo>
                    <a:pt x="206" y="68"/>
                  </a:lnTo>
                  <a:lnTo>
                    <a:pt x="204" y="66"/>
                  </a:lnTo>
                  <a:lnTo>
                    <a:pt x="202" y="62"/>
                  </a:lnTo>
                  <a:lnTo>
                    <a:pt x="202" y="56"/>
                  </a:lnTo>
                  <a:lnTo>
                    <a:pt x="204" y="54"/>
                  </a:lnTo>
                  <a:lnTo>
                    <a:pt x="204" y="52"/>
                  </a:lnTo>
                  <a:lnTo>
                    <a:pt x="204" y="50"/>
                  </a:lnTo>
                  <a:lnTo>
                    <a:pt x="204" y="48"/>
                  </a:lnTo>
                  <a:lnTo>
                    <a:pt x="202" y="46"/>
                  </a:lnTo>
                  <a:lnTo>
                    <a:pt x="204" y="42"/>
                  </a:lnTo>
                  <a:lnTo>
                    <a:pt x="206" y="40"/>
                  </a:lnTo>
                  <a:lnTo>
                    <a:pt x="208" y="40"/>
                  </a:lnTo>
                  <a:lnTo>
                    <a:pt x="210" y="42"/>
                  </a:lnTo>
                  <a:lnTo>
                    <a:pt x="212" y="42"/>
                  </a:lnTo>
                  <a:lnTo>
                    <a:pt x="214" y="38"/>
                  </a:lnTo>
                  <a:lnTo>
                    <a:pt x="214" y="36"/>
                  </a:lnTo>
                  <a:lnTo>
                    <a:pt x="212" y="34"/>
                  </a:lnTo>
                  <a:lnTo>
                    <a:pt x="210" y="32"/>
                  </a:lnTo>
                  <a:lnTo>
                    <a:pt x="202" y="30"/>
                  </a:lnTo>
                  <a:lnTo>
                    <a:pt x="198" y="28"/>
                  </a:lnTo>
                  <a:lnTo>
                    <a:pt x="198" y="26"/>
                  </a:lnTo>
                  <a:lnTo>
                    <a:pt x="198" y="22"/>
                  </a:lnTo>
                  <a:lnTo>
                    <a:pt x="200" y="20"/>
                  </a:lnTo>
                  <a:lnTo>
                    <a:pt x="202" y="16"/>
                  </a:lnTo>
                  <a:lnTo>
                    <a:pt x="202" y="14"/>
                  </a:lnTo>
                  <a:lnTo>
                    <a:pt x="200" y="10"/>
                  </a:lnTo>
                  <a:lnTo>
                    <a:pt x="198" y="10"/>
                  </a:lnTo>
                  <a:lnTo>
                    <a:pt x="198" y="8"/>
                  </a:lnTo>
                  <a:lnTo>
                    <a:pt x="196" y="8"/>
                  </a:lnTo>
                  <a:lnTo>
                    <a:pt x="190" y="8"/>
                  </a:lnTo>
                  <a:lnTo>
                    <a:pt x="188" y="8"/>
                  </a:lnTo>
                  <a:lnTo>
                    <a:pt x="184" y="6"/>
                  </a:lnTo>
                  <a:lnTo>
                    <a:pt x="180" y="6"/>
                  </a:lnTo>
                  <a:lnTo>
                    <a:pt x="178" y="6"/>
                  </a:lnTo>
                  <a:lnTo>
                    <a:pt x="174" y="6"/>
                  </a:lnTo>
                  <a:lnTo>
                    <a:pt x="172" y="6"/>
                  </a:lnTo>
                  <a:lnTo>
                    <a:pt x="168" y="12"/>
                  </a:lnTo>
                  <a:lnTo>
                    <a:pt x="162" y="14"/>
                  </a:lnTo>
                  <a:lnTo>
                    <a:pt x="158" y="16"/>
                  </a:lnTo>
                  <a:lnTo>
                    <a:pt x="152" y="16"/>
                  </a:lnTo>
                  <a:lnTo>
                    <a:pt x="150" y="14"/>
                  </a:lnTo>
                  <a:lnTo>
                    <a:pt x="148" y="14"/>
                  </a:lnTo>
                  <a:lnTo>
                    <a:pt x="146" y="12"/>
                  </a:lnTo>
                  <a:lnTo>
                    <a:pt x="144" y="16"/>
                  </a:lnTo>
                  <a:lnTo>
                    <a:pt x="134" y="18"/>
                  </a:lnTo>
                  <a:lnTo>
                    <a:pt x="124" y="14"/>
                  </a:lnTo>
                  <a:lnTo>
                    <a:pt x="122" y="12"/>
                  </a:lnTo>
                  <a:lnTo>
                    <a:pt x="120" y="10"/>
                  </a:lnTo>
                  <a:lnTo>
                    <a:pt x="118" y="10"/>
                  </a:lnTo>
                  <a:lnTo>
                    <a:pt x="116" y="12"/>
                  </a:lnTo>
                  <a:lnTo>
                    <a:pt x="114" y="12"/>
                  </a:lnTo>
                  <a:lnTo>
                    <a:pt x="112" y="12"/>
                  </a:lnTo>
                  <a:lnTo>
                    <a:pt x="110" y="10"/>
                  </a:lnTo>
                  <a:lnTo>
                    <a:pt x="108" y="6"/>
                  </a:lnTo>
                  <a:lnTo>
                    <a:pt x="104" y="4"/>
                  </a:lnTo>
                  <a:lnTo>
                    <a:pt x="102" y="4"/>
                  </a:lnTo>
                  <a:lnTo>
                    <a:pt x="100" y="0"/>
                  </a:lnTo>
                  <a:lnTo>
                    <a:pt x="76" y="0"/>
                  </a:lnTo>
                  <a:lnTo>
                    <a:pt x="74" y="2"/>
                  </a:lnTo>
                  <a:lnTo>
                    <a:pt x="70" y="4"/>
                  </a:lnTo>
                  <a:lnTo>
                    <a:pt x="64" y="10"/>
                  </a:lnTo>
                  <a:lnTo>
                    <a:pt x="60" y="10"/>
                  </a:lnTo>
                  <a:lnTo>
                    <a:pt x="56" y="14"/>
                  </a:lnTo>
                  <a:lnTo>
                    <a:pt x="50" y="16"/>
                  </a:lnTo>
                  <a:lnTo>
                    <a:pt x="44" y="14"/>
                  </a:lnTo>
                  <a:lnTo>
                    <a:pt x="34" y="12"/>
                  </a:lnTo>
                  <a:lnTo>
                    <a:pt x="32" y="18"/>
                  </a:lnTo>
                  <a:lnTo>
                    <a:pt x="38" y="20"/>
                  </a:lnTo>
                  <a:lnTo>
                    <a:pt x="36" y="20"/>
                  </a:lnTo>
                  <a:lnTo>
                    <a:pt x="32" y="20"/>
                  </a:lnTo>
                  <a:lnTo>
                    <a:pt x="34" y="24"/>
                  </a:lnTo>
                  <a:lnTo>
                    <a:pt x="18" y="24"/>
                  </a:lnTo>
                  <a:lnTo>
                    <a:pt x="18" y="26"/>
                  </a:lnTo>
                  <a:lnTo>
                    <a:pt x="14" y="26"/>
                  </a:lnTo>
                  <a:lnTo>
                    <a:pt x="8" y="24"/>
                  </a:lnTo>
                  <a:lnTo>
                    <a:pt x="18" y="20"/>
                  </a:lnTo>
                  <a:lnTo>
                    <a:pt x="30" y="16"/>
                  </a:lnTo>
                  <a:lnTo>
                    <a:pt x="30" y="12"/>
                  </a:lnTo>
                  <a:lnTo>
                    <a:pt x="24" y="10"/>
                  </a:lnTo>
                  <a:lnTo>
                    <a:pt x="20" y="8"/>
                  </a:lnTo>
                  <a:lnTo>
                    <a:pt x="18" y="6"/>
                  </a:lnTo>
                  <a:lnTo>
                    <a:pt x="18" y="4"/>
                  </a:lnTo>
                  <a:lnTo>
                    <a:pt x="16" y="4"/>
                  </a:lnTo>
                  <a:lnTo>
                    <a:pt x="14" y="4"/>
                  </a:lnTo>
                  <a:lnTo>
                    <a:pt x="12" y="4"/>
                  </a:lnTo>
                  <a:lnTo>
                    <a:pt x="8" y="4"/>
                  </a:lnTo>
                  <a:lnTo>
                    <a:pt x="8" y="6"/>
                  </a:lnTo>
                  <a:lnTo>
                    <a:pt x="12" y="8"/>
                  </a:lnTo>
                  <a:lnTo>
                    <a:pt x="12" y="10"/>
                  </a:lnTo>
                  <a:lnTo>
                    <a:pt x="12" y="12"/>
                  </a:lnTo>
                  <a:lnTo>
                    <a:pt x="10" y="14"/>
                  </a:lnTo>
                  <a:lnTo>
                    <a:pt x="8" y="14"/>
                  </a:lnTo>
                  <a:lnTo>
                    <a:pt x="6" y="14"/>
                  </a:lnTo>
                  <a:lnTo>
                    <a:pt x="4" y="14"/>
                  </a:lnTo>
                  <a:lnTo>
                    <a:pt x="2" y="20"/>
                  </a:lnTo>
                  <a:lnTo>
                    <a:pt x="0" y="22"/>
                  </a:lnTo>
                  <a:lnTo>
                    <a:pt x="0" y="24"/>
                  </a:lnTo>
                  <a:lnTo>
                    <a:pt x="2" y="28"/>
                  </a:lnTo>
                  <a:lnTo>
                    <a:pt x="8" y="24"/>
                  </a:lnTo>
                  <a:lnTo>
                    <a:pt x="2" y="34"/>
                  </a:lnTo>
                  <a:lnTo>
                    <a:pt x="0" y="34"/>
                  </a:lnTo>
                  <a:lnTo>
                    <a:pt x="0" y="36"/>
                  </a:lnTo>
                  <a:lnTo>
                    <a:pt x="0" y="40"/>
                  </a:lnTo>
                  <a:lnTo>
                    <a:pt x="6" y="42"/>
                  </a:lnTo>
                  <a:lnTo>
                    <a:pt x="8" y="46"/>
                  </a:lnTo>
                  <a:lnTo>
                    <a:pt x="8" y="48"/>
                  </a:lnTo>
                  <a:lnTo>
                    <a:pt x="6" y="52"/>
                  </a:lnTo>
                  <a:lnTo>
                    <a:pt x="6" y="54"/>
                  </a:lnTo>
                  <a:lnTo>
                    <a:pt x="8" y="56"/>
                  </a:lnTo>
                  <a:lnTo>
                    <a:pt x="10" y="58"/>
                  </a:lnTo>
                  <a:lnTo>
                    <a:pt x="2" y="60"/>
                  </a:lnTo>
                  <a:lnTo>
                    <a:pt x="4" y="62"/>
                  </a:lnTo>
                  <a:lnTo>
                    <a:pt x="4" y="66"/>
                  </a:lnTo>
                  <a:lnTo>
                    <a:pt x="8" y="64"/>
                  </a:lnTo>
                  <a:lnTo>
                    <a:pt x="10" y="72"/>
                  </a:lnTo>
                  <a:lnTo>
                    <a:pt x="10" y="80"/>
                  </a:lnTo>
                  <a:lnTo>
                    <a:pt x="14" y="80"/>
                  </a:lnTo>
                  <a:lnTo>
                    <a:pt x="20" y="80"/>
                  </a:lnTo>
                  <a:lnTo>
                    <a:pt x="20" y="84"/>
                  </a:lnTo>
                  <a:lnTo>
                    <a:pt x="22" y="84"/>
                  </a:lnTo>
                  <a:lnTo>
                    <a:pt x="26" y="82"/>
                  </a:lnTo>
                  <a:lnTo>
                    <a:pt x="32" y="90"/>
                  </a:lnTo>
                  <a:lnTo>
                    <a:pt x="38" y="96"/>
                  </a:lnTo>
                  <a:lnTo>
                    <a:pt x="42" y="96"/>
                  </a:lnTo>
                  <a:lnTo>
                    <a:pt x="46" y="94"/>
                  </a:lnTo>
                  <a:lnTo>
                    <a:pt x="48" y="90"/>
                  </a:lnTo>
                  <a:lnTo>
                    <a:pt x="50" y="86"/>
                  </a:lnTo>
                  <a:lnTo>
                    <a:pt x="52" y="86"/>
                  </a:lnTo>
                  <a:lnTo>
                    <a:pt x="54" y="86"/>
                  </a:lnTo>
                  <a:lnTo>
                    <a:pt x="64" y="90"/>
                  </a:lnTo>
                  <a:lnTo>
                    <a:pt x="72" y="96"/>
                  </a:lnTo>
                  <a:lnTo>
                    <a:pt x="80" y="96"/>
                  </a:lnTo>
                  <a:lnTo>
                    <a:pt x="86" y="92"/>
                  </a:lnTo>
                  <a:lnTo>
                    <a:pt x="94" y="86"/>
                  </a:lnTo>
                  <a:lnTo>
                    <a:pt x="96" y="88"/>
                  </a:lnTo>
                  <a:lnTo>
                    <a:pt x="98" y="88"/>
                  </a:lnTo>
                  <a:lnTo>
                    <a:pt x="102" y="88"/>
                  </a:lnTo>
                  <a:lnTo>
                    <a:pt x="104" y="84"/>
                  </a:lnTo>
                  <a:lnTo>
                    <a:pt x="106" y="80"/>
                  </a:lnTo>
                  <a:lnTo>
                    <a:pt x="108" y="84"/>
                  </a:lnTo>
                  <a:lnTo>
                    <a:pt x="108" y="90"/>
                  </a:lnTo>
                  <a:lnTo>
                    <a:pt x="104" y="92"/>
                  </a:lnTo>
                  <a:lnTo>
                    <a:pt x="106" y="100"/>
                  </a:lnTo>
                  <a:lnTo>
                    <a:pt x="108" y="100"/>
                  </a:lnTo>
                  <a:close/>
                  <a:moveTo>
                    <a:pt x="196" y="52"/>
                  </a:moveTo>
                  <a:lnTo>
                    <a:pt x="196" y="52"/>
                  </a:lnTo>
                  <a:lnTo>
                    <a:pt x="194" y="62"/>
                  </a:lnTo>
                  <a:lnTo>
                    <a:pt x="182" y="62"/>
                  </a:lnTo>
                  <a:lnTo>
                    <a:pt x="180" y="60"/>
                  </a:lnTo>
                  <a:lnTo>
                    <a:pt x="184" y="56"/>
                  </a:lnTo>
                  <a:lnTo>
                    <a:pt x="196" y="5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6" name="Freeform 508">
              <a:extLst>
                <a:ext uri="{FF2B5EF4-FFF2-40B4-BE49-F238E27FC236}">
                  <a16:creationId xmlns:a16="http://schemas.microsoft.com/office/drawing/2014/main" id="{42201020-9AC8-47D1-934D-F105D0182A84}"/>
                </a:ext>
              </a:extLst>
            </p:cNvPr>
            <p:cNvSpPr>
              <a:spLocks/>
            </p:cNvSpPr>
            <p:nvPr/>
          </p:nvSpPr>
          <p:spPr bwMode="gray">
            <a:xfrm>
              <a:off x="4539177" y="3295351"/>
              <a:ext cx="84751" cy="183633"/>
            </a:xfrm>
            <a:custGeom>
              <a:avLst/>
              <a:gdLst>
                <a:gd name="T0" fmla="*/ 2147483647 w 46"/>
                <a:gd name="T1" fmla="*/ 2147483647 h 100"/>
                <a:gd name="T2" fmla="*/ 2147483647 w 46"/>
                <a:gd name="T3" fmla="*/ 2147483647 h 100"/>
                <a:gd name="T4" fmla="*/ 2147483647 w 46"/>
                <a:gd name="T5" fmla="*/ 2147483647 h 100"/>
                <a:gd name="T6" fmla="*/ 2147483647 w 46"/>
                <a:gd name="T7" fmla="*/ 2147483647 h 100"/>
                <a:gd name="T8" fmla="*/ 2147483647 w 46"/>
                <a:gd name="T9" fmla="*/ 2147483647 h 100"/>
                <a:gd name="T10" fmla="*/ 2147483647 w 46"/>
                <a:gd name="T11" fmla="*/ 2147483647 h 100"/>
                <a:gd name="T12" fmla="*/ 2147483647 w 46"/>
                <a:gd name="T13" fmla="*/ 2147483647 h 100"/>
                <a:gd name="T14" fmla="*/ 2147483647 w 46"/>
                <a:gd name="T15" fmla="*/ 2147483647 h 100"/>
                <a:gd name="T16" fmla="*/ 2147483647 w 46"/>
                <a:gd name="T17" fmla="*/ 2147483647 h 100"/>
                <a:gd name="T18" fmla="*/ 2147483647 w 46"/>
                <a:gd name="T19" fmla="*/ 2147483647 h 100"/>
                <a:gd name="T20" fmla="*/ 2147483647 w 46"/>
                <a:gd name="T21" fmla="*/ 2147483647 h 100"/>
                <a:gd name="T22" fmla="*/ 2147483647 w 46"/>
                <a:gd name="T23" fmla="*/ 2147483647 h 100"/>
                <a:gd name="T24" fmla="*/ 2147483647 w 46"/>
                <a:gd name="T25" fmla="*/ 2147483647 h 100"/>
                <a:gd name="T26" fmla="*/ 2147483647 w 46"/>
                <a:gd name="T27" fmla="*/ 2147483647 h 100"/>
                <a:gd name="T28" fmla="*/ 2147483647 w 46"/>
                <a:gd name="T29" fmla="*/ 2147483647 h 100"/>
                <a:gd name="T30" fmla="*/ 2147483647 w 46"/>
                <a:gd name="T31" fmla="*/ 0 h 100"/>
                <a:gd name="T32" fmla="*/ 2147483647 w 46"/>
                <a:gd name="T33" fmla="*/ 2147483647 h 100"/>
                <a:gd name="T34" fmla="*/ 2147483647 w 46"/>
                <a:gd name="T35" fmla="*/ 2147483647 h 100"/>
                <a:gd name="T36" fmla="*/ 2147483647 w 46"/>
                <a:gd name="T37" fmla="*/ 2147483647 h 100"/>
                <a:gd name="T38" fmla="*/ 2147483647 w 46"/>
                <a:gd name="T39" fmla="*/ 2147483647 h 100"/>
                <a:gd name="T40" fmla="*/ 2147483647 w 46"/>
                <a:gd name="T41" fmla="*/ 2147483647 h 100"/>
                <a:gd name="T42" fmla="*/ 2147483647 w 46"/>
                <a:gd name="T43" fmla="*/ 2147483647 h 100"/>
                <a:gd name="T44" fmla="*/ 2147483647 w 46"/>
                <a:gd name="T45" fmla="*/ 2147483647 h 100"/>
                <a:gd name="T46" fmla="*/ 2147483647 w 46"/>
                <a:gd name="T47" fmla="*/ 2147483647 h 100"/>
                <a:gd name="T48" fmla="*/ 2147483647 w 46"/>
                <a:gd name="T49" fmla="*/ 2147483647 h 100"/>
                <a:gd name="T50" fmla="*/ 2147483647 w 46"/>
                <a:gd name="T51" fmla="*/ 2147483647 h 100"/>
                <a:gd name="T52" fmla="*/ 2147483647 w 46"/>
                <a:gd name="T53" fmla="*/ 2147483647 h 100"/>
                <a:gd name="T54" fmla="*/ 0 w 46"/>
                <a:gd name="T55" fmla="*/ 2147483647 h 100"/>
                <a:gd name="T56" fmla="*/ 2147483647 w 46"/>
                <a:gd name="T57" fmla="*/ 2147483647 h 100"/>
                <a:gd name="T58" fmla="*/ 2147483647 w 46"/>
                <a:gd name="T59" fmla="*/ 2147483647 h 100"/>
                <a:gd name="T60" fmla="*/ 2147483647 w 46"/>
                <a:gd name="T61" fmla="*/ 2147483647 h 100"/>
                <a:gd name="T62" fmla="*/ 2147483647 w 46"/>
                <a:gd name="T63" fmla="*/ 2147483647 h 100"/>
                <a:gd name="T64" fmla="*/ 2147483647 w 46"/>
                <a:gd name="T65" fmla="*/ 2147483647 h 100"/>
                <a:gd name="T66" fmla="*/ 2147483647 w 46"/>
                <a:gd name="T67" fmla="*/ 2147483647 h 100"/>
                <a:gd name="T68" fmla="*/ 2147483647 w 46"/>
                <a:gd name="T69" fmla="*/ 2147483647 h 100"/>
                <a:gd name="T70" fmla="*/ 2147483647 w 46"/>
                <a:gd name="T71" fmla="*/ 2147483647 h 100"/>
                <a:gd name="T72" fmla="*/ 2147483647 w 46"/>
                <a:gd name="T73" fmla="*/ 2147483647 h 100"/>
                <a:gd name="T74" fmla="*/ 2147483647 w 46"/>
                <a:gd name="T75" fmla="*/ 2147483647 h 100"/>
                <a:gd name="T76" fmla="*/ 2147483647 w 46"/>
                <a:gd name="T77" fmla="*/ 2147483647 h 100"/>
                <a:gd name="T78" fmla="*/ 2147483647 w 46"/>
                <a:gd name="T79" fmla="*/ 2147483647 h 100"/>
                <a:gd name="T80" fmla="*/ 2147483647 w 46"/>
                <a:gd name="T81" fmla="*/ 2147483647 h 100"/>
                <a:gd name="T82" fmla="*/ 2147483647 w 46"/>
                <a:gd name="T83" fmla="*/ 2147483647 h 1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
                <a:gd name="T127" fmla="*/ 0 h 100"/>
                <a:gd name="T128" fmla="*/ 46 w 46"/>
                <a:gd name="T129" fmla="*/ 100 h 1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 h="100">
                  <a:moveTo>
                    <a:pt x="46" y="58"/>
                  </a:moveTo>
                  <a:lnTo>
                    <a:pt x="46" y="58"/>
                  </a:lnTo>
                  <a:lnTo>
                    <a:pt x="44" y="58"/>
                  </a:lnTo>
                  <a:lnTo>
                    <a:pt x="42" y="58"/>
                  </a:lnTo>
                  <a:lnTo>
                    <a:pt x="36" y="54"/>
                  </a:lnTo>
                  <a:lnTo>
                    <a:pt x="36" y="50"/>
                  </a:lnTo>
                  <a:lnTo>
                    <a:pt x="34" y="46"/>
                  </a:lnTo>
                  <a:lnTo>
                    <a:pt x="38" y="44"/>
                  </a:lnTo>
                  <a:lnTo>
                    <a:pt x="40" y="44"/>
                  </a:lnTo>
                  <a:lnTo>
                    <a:pt x="44" y="26"/>
                  </a:lnTo>
                  <a:lnTo>
                    <a:pt x="38" y="26"/>
                  </a:lnTo>
                  <a:lnTo>
                    <a:pt x="38" y="22"/>
                  </a:lnTo>
                  <a:lnTo>
                    <a:pt x="38" y="18"/>
                  </a:lnTo>
                  <a:lnTo>
                    <a:pt x="46" y="4"/>
                  </a:lnTo>
                  <a:lnTo>
                    <a:pt x="44" y="4"/>
                  </a:lnTo>
                  <a:lnTo>
                    <a:pt x="40" y="6"/>
                  </a:lnTo>
                  <a:lnTo>
                    <a:pt x="36" y="6"/>
                  </a:lnTo>
                  <a:lnTo>
                    <a:pt x="36" y="2"/>
                  </a:lnTo>
                  <a:lnTo>
                    <a:pt x="32" y="0"/>
                  </a:lnTo>
                  <a:lnTo>
                    <a:pt x="24" y="2"/>
                  </a:lnTo>
                  <a:lnTo>
                    <a:pt x="18" y="4"/>
                  </a:lnTo>
                  <a:lnTo>
                    <a:pt x="12" y="4"/>
                  </a:lnTo>
                  <a:lnTo>
                    <a:pt x="8" y="2"/>
                  </a:lnTo>
                  <a:lnTo>
                    <a:pt x="6" y="8"/>
                  </a:lnTo>
                  <a:lnTo>
                    <a:pt x="8" y="10"/>
                  </a:lnTo>
                  <a:lnTo>
                    <a:pt x="8" y="14"/>
                  </a:lnTo>
                  <a:lnTo>
                    <a:pt x="10" y="16"/>
                  </a:lnTo>
                  <a:lnTo>
                    <a:pt x="10" y="20"/>
                  </a:lnTo>
                  <a:lnTo>
                    <a:pt x="12" y="32"/>
                  </a:lnTo>
                  <a:lnTo>
                    <a:pt x="12" y="34"/>
                  </a:lnTo>
                  <a:lnTo>
                    <a:pt x="10" y="34"/>
                  </a:lnTo>
                  <a:lnTo>
                    <a:pt x="10" y="38"/>
                  </a:lnTo>
                  <a:lnTo>
                    <a:pt x="8" y="42"/>
                  </a:lnTo>
                  <a:lnTo>
                    <a:pt x="4" y="44"/>
                  </a:lnTo>
                  <a:lnTo>
                    <a:pt x="0" y="44"/>
                  </a:lnTo>
                  <a:lnTo>
                    <a:pt x="0" y="48"/>
                  </a:lnTo>
                  <a:lnTo>
                    <a:pt x="2" y="60"/>
                  </a:lnTo>
                  <a:lnTo>
                    <a:pt x="4" y="60"/>
                  </a:lnTo>
                  <a:lnTo>
                    <a:pt x="6" y="62"/>
                  </a:lnTo>
                  <a:lnTo>
                    <a:pt x="10" y="72"/>
                  </a:lnTo>
                  <a:lnTo>
                    <a:pt x="16" y="74"/>
                  </a:lnTo>
                  <a:lnTo>
                    <a:pt x="20" y="100"/>
                  </a:lnTo>
                  <a:lnTo>
                    <a:pt x="24" y="98"/>
                  </a:lnTo>
                  <a:lnTo>
                    <a:pt x="26" y="94"/>
                  </a:lnTo>
                  <a:lnTo>
                    <a:pt x="28" y="92"/>
                  </a:lnTo>
                  <a:lnTo>
                    <a:pt x="28" y="88"/>
                  </a:lnTo>
                  <a:lnTo>
                    <a:pt x="28" y="78"/>
                  </a:lnTo>
                  <a:lnTo>
                    <a:pt x="30" y="78"/>
                  </a:lnTo>
                  <a:lnTo>
                    <a:pt x="34" y="76"/>
                  </a:lnTo>
                  <a:lnTo>
                    <a:pt x="36" y="74"/>
                  </a:lnTo>
                  <a:lnTo>
                    <a:pt x="40" y="72"/>
                  </a:lnTo>
                  <a:lnTo>
                    <a:pt x="42" y="70"/>
                  </a:lnTo>
                  <a:lnTo>
                    <a:pt x="44" y="68"/>
                  </a:lnTo>
                  <a:lnTo>
                    <a:pt x="42" y="64"/>
                  </a:lnTo>
                  <a:lnTo>
                    <a:pt x="46" y="5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7" name="Freeform 509">
              <a:extLst>
                <a:ext uri="{FF2B5EF4-FFF2-40B4-BE49-F238E27FC236}">
                  <a16:creationId xmlns:a16="http://schemas.microsoft.com/office/drawing/2014/main" id="{C0512362-1C27-4895-B3D0-0C8ABFEEAC48}"/>
                </a:ext>
              </a:extLst>
            </p:cNvPr>
            <p:cNvSpPr>
              <a:spLocks/>
            </p:cNvSpPr>
            <p:nvPr/>
          </p:nvSpPr>
          <p:spPr bwMode="gray">
            <a:xfrm>
              <a:off x="3096062" y="4008701"/>
              <a:ext cx="14124" cy="18834"/>
            </a:xfrm>
            <a:custGeom>
              <a:avLst/>
              <a:gdLst>
                <a:gd name="T0" fmla="*/ 2147483647 w 8"/>
                <a:gd name="T1" fmla="*/ 0 h 10"/>
                <a:gd name="T2" fmla="*/ 2147483647 w 8"/>
                <a:gd name="T3" fmla="*/ 0 h 10"/>
                <a:gd name="T4" fmla="*/ 2147483647 w 8"/>
                <a:gd name="T5" fmla="*/ 2147483647 h 10"/>
                <a:gd name="T6" fmla="*/ 2147483647 w 8"/>
                <a:gd name="T7" fmla="*/ 2147483647 h 10"/>
                <a:gd name="T8" fmla="*/ 2147483647 w 8"/>
                <a:gd name="T9" fmla="*/ 2147483647 h 10"/>
                <a:gd name="T10" fmla="*/ 2147483647 w 8"/>
                <a:gd name="T11" fmla="*/ 2147483647 h 10"/>
                <a:gd name="T12" fmla="*/ 0 w 8"/>
                <a:gd name="T13" fmla="*/ 2147483647 h 10"/>
                <a:gd name="T14" fmla="*/ 0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2147483647 w 8"/>
                <a:gd name="T25" fmla="*/ 2147483647 h 10"/>
                <a:gd name="T26" fmla="*/ 2147483647 w 8"/>
                <a:gd name="T27" fmla="*/ 2147483647 h 10"/>
                <a:gd name="T28" fmla="*/ 2147483647 w 8"/>
                <a:gd name="T29" fmla="*/ 2147483647 h 10"/>
                <a:gd name="T30" fmla="*/ 2147483647 w 8"/>
                <a:gd name="T31" fmla="*/ 0 h 10"/>
                <a:gd name="T32" fmla="*/ 2147483647 w 8"/>
                <a:gd name="T33" fmla="*/ 0 h 10"/>
                <a:gd name="T34" fmla="*/ 2147483647 w 8"/>
                <a:gd name="T35" fmla="*/ 0 h 10"/>
                <a:gd name="T36" fmla="*/ 2147483647 w 8"/>
                <a:gd name="T37" fmla="*/ 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10"/>
                <a:gd name="T59" fmla="*/ 8 w 8"/>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10">
                  <a:moveTo>
                    <a:pt x="2" y="0"/>
                  </a:moveTo>
                  <a:lnTo>
                    <a:pt x="2" y="0"/>
                  </a:lnTo>
                  <a:lnTo>
                    <a:pt x="2" y="4"/>
                  </a:lnTo>
                  <a:lnTo>
                    <a:pt x="2" y="6"/>
                  </a:lnTo>
                  <a:lnTo>
                    <a:pt x="0" y="10"/>
                  </a:lnTo>
                  <a:lnTo>
                    <a:pt x="4" y="10"/>
                  </a:lnTo>
                  <a:lnTo>
                    <a:pt x="6" y="8"/>
                  </a:lnTo>
                  <a:lnTo>
                    <a:pt x="8" y="8"/>
                  </a:lnTo>
                  <a:lnTo>
                    <a:pt x="6" y="4"/>
                  </a:lnTo>
                  <a:lnTo>
                    <a:pt x="6"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8" name="Freeform 510">
              <a:extLst>
                <a:ext uri="{FF2B5EF4-FFF2-40B4-BE49-F238E27FC236}">
                  <a16:creationId xmlns:a16="http://schemas.microsoft.com/office/drawing/2014/main" id="{E5D227F2-69A1-4C0E-8494-EF95DB0FAA67}"/>
                </a:ext>
              </a:extLst>
            </p:cNvPr>
            <p:cNvSpPr>
              <a:spLocks/>
            </p:cNvSpPr>
            <p:nvPr/>
          </p:nvSpPr>
          <p:spPr bwMode="gray">
            <a:xfrm>
              <a:off x="4379093" y="3982804"/>
              <a:ext cx="44729" cy="164800"/>
            </a:xfrm>
            <a:custGeom>
              <a:avLst/>
              <a:gdLst>
                <a:gd name="T0" fmla="*/ 2147483647 w 24"/>
                <a:gd name="T1" fmla="*/ 2147483647 h 88"/>
                <a:gd name="T2" fmla="*/ 2147483647 w 24"/>
                <a:gd name="T3" fmla="*/ 2147483647 h 88"/>
                <a:gd name="T4" fmla="*/ 2147483647 w 24"/>
                <a:gd name="T5" fmla="*/ 2147483647 h 88"/>
                <a:gd name="T6" fmla="*/ 2147483647 w 24"/>
                <a:gd name="T7" fmla="*/ 2147483647 h 88"/>
                <a:gd name="T8" fmla="*/ 2147483647 w 24"/>
                <a:gd name="T9" fmla="*/ 2147483647 h 88"/>
                <a:gd name="T10" fmla="*/ 2147483647 w 24"/>
                <a:gd name="T11" fmla="*/ 2147483647 h 88"/>
                <a:gd name="T12" fmla="*/ 2147483647 w 24"/>
                <a:gd name="T13" fmla="*/ 2147483647 h 88"/>
                <a:gd name="T14" fmla="*/ 2147483647 w 24"/>
                <a:gd name="T15" fmla="*/ 2147483647 h 88"/>
                <a:gd name="T16" fmla="*/ 2147483647 w 24"/>
                <a:gd name="T17" fmla="*/ 2147483647 h 88"/>
                <a:gd name="T18" fmla="*/ 2147483647 w 24"/>
                <a:gd name="T19" fmla="*/ 2147483647 h 88"/>
                <a:gd name="T20" fmla="*/ 2147483647 w 24"/>
                <a:gd name="T21" fmla="*/ 2147483647 h 88"/>
                <a:gd name="T22" fmla="*/ 2147483647 w 24"/>
                <a:gd name="T23" fmla="*/ 2147483647 h 88"/>
                <a:gd name="T24" fmla="*/ 2147483647 w 24"/>
                <a:gd name="T25" fmla="*/ 2147483647 h 88"/>
                <a:gd name="T26" fmla="*/ 2147483647 w 24"/>
                <a:gd name="T27" fmla="*/ 2147483647 h 88"/>
                <a:gd name="T28" fmla="*/ 2147483647 w 24"/>
                <a:gd name="T29" fmla="*/ 2147483647 h 88"/>
                <a:gd name="T30" fmla="*/ 2147483647 w 24"/>
                <a:gd name="T31" fmla="*/ 0 h 88"/>
                <a:gd name="T32" fmla="*/ 0 w 24"/>
                <a:gd name="T33" fmla="*/ 2147483647 h 88"/>
                <a:gd name="T34" fmla="*/ 2147483647 w 24"/>
                <a:gd name="T35" fmla="*/ 2147483647 h 88"/>
                <a:gd name="T36" fmla="*/ 2147483647 w 24"/>
                <a:gd name="T37" fmla="*/ 2147483647 h 88"/>
                <a:gd name="T38" fmla="*/ 2147483647 w 24"/>
                <a:gd name="T39" fmla="*/ 2147483647 h 88"/>
                <a:gd name="T40" fmla="*/ 2147483647 w 24"/>
                <a:gd name="T41" fmla="*/ 2147483647 h 88"/>
                <a:gd name="T42" fmla="*/ 2147483647 w 24"/>
                <a:gd name="T43" fmla="*/ 2147483647 h 88"/>
                <a:gd name="T44" fmla="*/ 2147483647 w 24"/>
                <a:gd name="T45" fmla="*/ 2147483647 h 88"/>
                <a:gd name="T46" fmla="*/ 2147483647 w 24"/>
                <a:gd name="T47" fmla="*/ 2147483647 h 88"/>
                <a:gd name="T48" fmla="*/ 2147483647 w 24"/>
                <a:gd name="T49" fmla="*/ 2147483647 h 88"/>
                <a:gd name="T50" fmla="*/ 2147483647 w 24"/>
                <a:gd name="T51" fmla="*/ 2147483647 h 88"/>
                <a:gd name="T52" fmla="*/ 2147483647 w 24"/>
                <a:gd name="T53" fmla="*/ 2147483647 h 88"/>
                <a:gd name="T54" fmla="*/ 2147483647 w 24"/>
                <a:gd name="T55" fmla="*/ 2147483647 h 88"/>
                <a:gd name="T56" fmla="*/ 2147483647 w 24"/>
                <a:gd name="T57" fmla="*/ 2147483647 h 88"/>
                <a:gd name="T58" fmla="*/ 2147483647 w 24"/>
                <a:gd name="T59" fmla="*/ 2147483647 h 88"/>
                <a:gd name="T60" fmla="*/ 2147483647 w 24"/>
                <a:gd name="T61" fmla="*/ 2147483647 h 88"/>
                <a:gd name="T62" fmla="*/ 2147483647 w 24"/>
                <a:gd name="T63" fmla="*/ 2147483647 h 88"/>
                <a:gd name="T64" fmla="*/ 2147483647 w 24"/>
                <a:gd name="T65" fmla="*/ 2147483647 h 88"/>
                <a:gd name="T66" fmla="*/ 2147483647 w 24"/>
                <a:gd name="T67" fmla="*/ 2147483647 h 88"/>
                <a:gd name="T68" fmla="*/ 2147483647 w 24"/>
                <a:gd name="T69" fmla="*/ 2147483647 h 88"/>
                <a:gd name="T70" fmla="*/ 2147483647 w 24"/>
                <a:gd name="T71" fmla="*/ 2147483647 h 88"/>
                <a:gd name="T72" fmla="*/ 2147483647 w 24"/>
                <a:gd name="T73" fmla="*/ 2147483647 h 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
                <a:gd name="T112" fmla="*/ 0 h 88"/>
                <a:gd name="T113" fmla="*/ 24 w 24"/>
                <a:gd name="T114" fmla="*/ 88 h 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 h="88">
                  <a:moveTo>
                    <a:pt x="24" y="80"/>
                  </a:moveTo>
                  <a:lnTo>
                    <a:pt x="24" y="80"/>
                  </a:lnTo>
                  <a:lnTo>
                    <a:pt x="22" y="76"/>
                  </a:lnTo>
                  <a:lnTo>
                    <a:pt x="22" y="74"/>
                  </a:lnTo>
                  <a:lnTo>
                    <a:pt x="20" y="66"/>
                  </a:lnTo>
                  <a:lnTo>
                    <a:pt x="20" y="62"/>
                  </a:lnTo>
                  <a:lnTo>
                    <a:pt x="22" y="58"/>
                  </a:lnTo>
                  <a:lnTo>
                    <a:pt x="22" y="54"/>
                  </a:lnTo>
                  <a:lnTo>
                    <a:pt x="22" y="48"/>
                  </a:lnTo>
                  <a:lnTo>
                    <a:pt x="20" y="44"/>
                  </a:lnTo>
                  <a:lnTo>
                    <a:pt x="22" y="38"/>
                  </a:lnTo>
                  <a:lnTo>
                    <a:pt x="22" y="32"/>
                  </a:lnTo>
                  <a:lnTo>
                    <a:pt x="22" y="30"/>
                  </a:lnTo>
                  <a:lnTo>
                    <a:pt x="20" y="28"/>
                  </a:lnTo>
                  <a:lnTo>
                    <a:pt x="20" y="24"/>
                  </a:lnTo>
                  <a:lnTo>
                    <a:pt x="20" y="18"/>
                  </a:lnTo>
                  <a:lnTo>
                    <a:pt x="20" y="16"/>
                  </a:lnTo>
                  <a:lnTo>
                    <a:pt x="12" y="14"/>
                  </a:lnTo>
                  <a:lnTo>
                    <a:pt x="12" y="2"/>
                  </a:lnTo>
                  <a:lnTo>
                    <a:pt x="8" y="2"/>
                  </a:lnTo>
                  <a:lnTo>
                    <a:pt x="2" y="0"/>
                  </a:lnTo>
                  <a:lnTo>
                    <a:pt x="2" y="6"/>
                  </a:lnTo>
                  <a:lnTo>
                    <a:pt x="0" y="10"/>
                  </a:lnTo>
                  <a:lnTo>
                    <a:pt x="2" y="10"/>
                  </a:lnTo>
                  <a:lnTo>
                    <a:pt x="4" y="14"/>
                  </a:lnTo>
                  <a:lnTo>
                    <a:pt x="6" y="18"/>
                  </a:lnTo>
                  <a:lnTo>
                    <a:pt x="6" y="24"/>
                  </a:lnTo>
                  <a:lnTo>
                    <a:pt x="6" y="28"/>
                  </a:lnTo>
                  <a:lnTo>
                    <a:pt x="4" y="30"/>
                  </a:lnTo>
                  <a:lnTo>
                    <a:pt x="6" y="32"/>
                  </a:lnTo>
                  <a:lnTo>
                    <a:pt x="8" y="34"/>
                  </a:lnTo>
                  <a:lnTo>
                    <a:pt x="4" y="38"/>
                  </a:lnTo>
                  <a:lnTo>
                    <a:pt x="4" y="40"/>
                  </a:lnTo>
                  <a:lnTo>
                    <a:pt x="6" y="44"/>
                  </a:lnTo>
                  <a:lnTo>
                    <a:pt x="8" y="48"/>
                  </a:lnTo>
                  <a:lnTo>
                    <a:pt x="10" y="52"/>
                  </a:lnTo>
                  <a:lnTo>
                    <a:pt x="8" y="62"/>
                  </a:lnTo>
                  <a:lnTo>
                    <a:pt x="8" y="66"/>
                  </a:lnTo>
                  <a:lnTo>
                    <a:pt x="8" y="68"/>
                  </a:lnTo>
                  <a:lnTo>
                    <a:pt x="8" y="70"/>
                  </a:lnTo>
                  <a:lnTo>
                    <a:pt x="8" y="72"/>
                  </a:lnTo>
                  <a:lnTo>
                    <a:pt x="16" y="84"/>
                  </a:lnTo>
                  <a:lnTo>
                    <a:pt x="16" y="88"/>
                  </a:lnTo>
                  <a:lnTo>
                    <a:pt x="18" y="88"/>
                  </a:lnTo>
                  <a:lnTo>
                    <a:pt x="22" y="84"/>
                  </a:lnTo>
                  <a:lnTo>
                    <a:pt x="24" y="8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49" name="Freeform 511">
              <a:extLst>
                <a:ext uri="{FF2B5EF4-FFF2-40B4-BE49-F238E27FC236}">
                  <a16:creationId xmlns:a16="http://schemas.microsoft.com/office/drawing/2014/main" id="{9A6A0ACE-9189-412B-B01B-A5895CE258E8}"/>
                </a:ext>
              </a:extLst>
            </p:cNvPr>
            <p:cNvSpPr>
              <a:spLocks/>
            </p:cNvSpPr>
            <p:nvPr/>
          </p:nvSpPr>
          <p:spPr bwMode="gray">
            <a:xfrm>
              <a:off x="6436648" y="3768563"/>
              <a:ext cx="162438" cy="388457"/>
            </a:xfrm>
            <a:custGeom>
              <a:avLst/>
              <a:gdLst>
                <a:gd name="T0" fmla="*/ 2147483647 w 88"/>
                <a:gd name="T1" fmla="*/ 2147483647 h 210"/>
                <a:gd name="T2" fmla="*/ 2147483647 w 88"/>
                <a:gd name="T3" fmla="*/ 2147483647 h 210"/>
                <a:gd name="T4" fmla="*/ 2147483647 w 88"/>
                <a:gd name="T5" fmla="*/ 2147483647 h 210"/>
                <a:gd name="T6" fmla="*/ 2147483647 w 88"/>
                <a:gd name="T7" fmla="*/ 2147483647 h 210"/>
                <a:gd name="T8" fmla="*/ 2147483647 w 88"/>
                <a:gd name="T9" fmla="*/ 2147483647 h 210"/>
                <a:gd name="T10" fmla="*/ 2147483647 w 88"/>
                <a:gd name="T11" fmla="*/ 2147483647 h 210"/>
                <a:gd name="T12" fmla="*/ 2147483647 w 88"/>
                <a:gd name="T13" fmla="*/ 2147483647 h 210"/>
                <a:gd name="T14" fmla="*/ 2147483647 w 88"/>
                <a:gd name="T15" fmla="*/ 2147483647 h 210"/>
                <a:gd name="T16" fmla="*/ 2147483647 w 88"/>
                <a:gd name="T17" fmla="*/ 2147483647 h 210"/>
                <a:gd name="T18" fmla="*/ 2147483647 w 88"/>
                <a:gd name="T19" fmla="*/ 2147483647 h 210"/>
                <a:gd name="T20" fmla="*/ 2147483647 w 88"/>
                <a:gd name="T21" fmla="*/ 2147483647 h 210"/>
                <a:gd name="T22" fmla="*/ 2147483647 w 88"/>
                <a:gd name="T23" fmla="*/ 2147483647 h 210"/>
                <a:gd name="T24" fmla="*/ 2147483647 w 88"/>
                <a:gd name="T25" fmla="*/ 2147483647 h 210"/>
                <a:gd name="T26" fmla="*/ 2147483647 w 88"/>
                <a:gd name="T27" fmla="*/ 2147483647 h 210"/>
                <a:gd name="T28" fmla="*/ 2147483647 w 88"/>
                <a:gd name="T29" fmla="*/ 2147483647 h 210"/>
                <a:gd name="T30" fmla="*/ 2147483647 w 88"/>
                <a:gd name="T31" fmla="*/ 2147483647 h 210"/>
                <a:gd name="T32" fmla="*/ 2147483647 w 88"/>
                <a:gd name="T33" fmla="*/ 2147483647 h 210"/>
                <a:gd name="T34" fmla="*/ 2147483647 w 88"/>
                <a:gd name="T35" fmla="*/ 2147483647 h 210"/>
                <a:gd name="T36" fmla="*/ 2147483647 w 88"/>
                <a:gd name="T37" fmla="*/ 2147483647 h 210"/>
                <a:gd name="T38" fmla="*/ 2147483647 w 88"/>
                <a:gd name="T39" fmla="*/ 2147483647 h 210"/>
                <a:gd name="T40" fmla="*/ 2147483647 w 88"/>
                <a:gd name="T41" fmla="*/ 2147483647 h 210"/>
                <a:gd name="T42" fmla="*/ 2147483647 w 88"/>
                <a:gd name="T43" fmla="*/ 2147483647 h 210"/>
                <a:gd name="T44" fmla="*/ 2147483647 w 88"/>
                <a:gd name="T45" fmla="*/ 2147483647 h 210"/>
                <a:gd name="T46" fmla="*/ 2147483647 w 88"/>
                <a:gd name="T47" fmla="*/ 2147483647 h 210"/>
                <a:gd name="T48" fmla="*/ 2147483647 w 88"/>
                <a:gd name="T49" fmla="*/ 2147483647 h 210"/>
                <a:gd name="T50" fmla="*/ 2147483647 w 88"/>
                <a:gd name="T51" fmla="*/ 2147483647 h 210"/>
                <a:gd name="T52" fmla="*/ 2147483647 w 88"/>
                <a:gd name="T53" fmla="*/ 2147483647 h 210"/>
                <a:gd name="T54" fmla="*/ 2147483647 w 88"/>
                <a:gd name="T55" fmla="*/ 2147483647 h 210"/>
                <a:gd name="T56" fmla="*/ 2147483647 w 88"/>
                <a:gd name="T57" fmla="*/ 2147483647 h 210"/>
                <a:gd name="T58" fmla="*/ 2147483647 w 88"/>
                <a:gd name="T59" fmla="*/ 2147483647 h 210"/>
                <a:gd name="T60" fmla="*/ 2147483647 w 88"/>
                <a:gd name="T61" fmla="*/ 2147483647 h 210"/>
                <a:gd name="T62" fmla="*/ 2147483647 w 88"/>
                <a:gd name="T63" fmla="*/ 2147483647 h 210"/>
                <a:gd name="T64" fmla="*/ 2147483647 w 88"/>
                <a:gd name="T65" fmla="*/ 2147483647 h 210"/>
                <a:gd name="T66" fmla="*/ 2147483647 w 88"/>
                <a:gd name="T67" fmla="*/ 2147483647 h 210"/>
                <a:gd name="T68" fmla="*/ 2147483647 w 88"/>
                <a:gd name="T69" fmla="*/ 2147483647 h 210"/>
                <a:gd name="T70" fmla="*/ 2147483647 w 88"/>
                <a:gd name="T71" fmla="*/ 2147483647 h 210"/>
                <a:gd name="T72" fmla="*/ 2147483647 w 88"/>
                <a:gd name="T73" fmla="*/ 2147483647 h 210"/>
                <a:gd name="T74" fmla="*/ 2147483647 w 88"/>
                <a:gd name="T75" fmla="*/ 2147483647 h 210"/>
                <a:gd name="T76" fmla="*/ 2147483647 w 88"/>
                <a:gd name="T77" fmla="*/ 2147483647 h 210"/>
                <a:gd name="T78" fmla="*/ 2147483647 w 88"/>
                <a:gd name="T79" fmla="*/ 2147483647 h 210"/>
                <a:gd name="T80" fmla="*/ 2147483647 w 88"/>
                <a:gd name="T81" fmla="*/ 2147483647 h 210"/>
                <a:gd name="T82" fmla="*/ 2147483647 w 88"/>
                <a:gd name="T83" fmla="*/ 2147483647 h 210"/>
                <a:gd name="T84" fmla="*/ 2147483647 w 88"/>
                <a:gd name="T85" fmla="*/ 2147483647 h 210"/>
                <a:gd name="T86" fmla="*/ 2147483647 w 88"/>
                <a:gd name="T87" fmla="*/ 2147483647 h 210"/>
                <a:gd name="T88" fmla="*/ 2147483647 w 88"/>
                <a:gd name="T89" fmla="*/ 2147483647 h 210"/>
                <a:gd name="T90" fmla="*/ 2147483647 w 88"/>
                <a:gd name="T91" fmla="*/ 2147483647 h 2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210"/>
                <a:gd name="T140" fmla="*/ 88 w 88"/>
                <a:gd name="T141" fmla="*/ 210 h 2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210">
                  <a:moveTo>
                    <a:pt x="14" y="130"/>
                  </a:moveTo>
                  <a:lnTo>
                    <a:pt x="14" y="130"/>
                  </a:lnTo>
                  <a:lnTo>
                    <a:pt x="14" y="134"/>
                  </a:lnTo>
                  <a:lnTo>
                    <a:pt x="12" y="134"/>
                  </a:lnTo>
                  <a:lnTo>
                    <a:pt x="12" y="150"/>
                  </a:lnTo>
                  <a:lnTo>
                    <a:pt x="8" y="154"/>
                  </a:lnTo>
                  <a:lnTo>
                    <a:pt x="6" y="158"/>
                  </a:lnTo>
                  <a:lnTo>
                    <a:pt x="6" y="162"/>
                  </a:lnTo>
                  <a:lnTo>
                    <a:pt x="10" y="168"/>
                  </a:lnTo>
                  <a:lnTo>
                    <a:pt x="16" y="176"/>
                  </a:lnTo>
                  <a:lnTo>
                    <a:pt x="22" y="184"/>
                  </a:lnTo>
                  <a:lnTo>
                    <a:pt x="28" y="192"/>
                  </a:lnTo>
                  <a:lnTo>
                    <a:pt x="28" y="202"/>
                  </a:lnTo>
                  <a:lnTo>
                    <a:pt x="32" y="200"/>
                  </a:lnTo>
                  <a:lnTo>
                    <a:pt x="38" y="204"/>
                  </a:lnTo>
                  <a:lnTo>
                    <a:pt x="38" y="210"/>
                  </a:lnTo>
                  <a:lnTo>
                    <a:pt x="40" y="210"/>
                  </a:lnTo>
                  <a:lnTo>
                    <a:pt x="42" y="206"/>
                  </a:lnTo>
                  <a:lnTo>
                    <a:pt x="46" y="206"/>
                  </a:lnTo>
                  <a:lnTo>
                    <a:pt x="46" y="202"/>
                  </a:lnTo>
                  <a:lnTo>
                    <a:pt x="46" y="196"/>
                  </a:lnTo>
                  <a:lnTo>
                    <a:pt x="42" y="190"/>
                  </a:lnTo>
                  <a:lnTo>
                    <a:pt x="42" y="188"/>
                  </a:lnTo>
                  <a:lnTo>
                    <a:pt x="40" y="184"/>
                  </a:lnTo>
                  <a:lnTo>
                    <a:pt x="34" y="184"/>
                  </a:lnTo>
                  <a:lnTo>
                    <a:pt x="30" y="182"/>
                  </a:lnTo>
                  <a:lnTo>
                    <a:pt x="30" y="178"/>
                  </a:lnTo>
                  <a:lnTo>
                    <a:pt x="28" y="174"/>
                  </a:lnTo>
                  <a:lnTo>
                    <a:pt x="28" y="168"/>
                  </a:lnTo>
                  <a:lnTo>
                    <a:pt x="22" y="168"/>
                  </a:lnTo>
                  <a:lnTo>
                    <a:pt x="18" y="156"/>
                  </a:lnTo>
                  <a:lnTo>
                    <a:pt x="16" y="156"/>
                  </a:lnTo>
                  <a:lnTo>
                    <a:pt x="16" y="148"/>
                  </a:lnTo>
                  <a:lnTo>
                    <a:pt x="20" y="136"/>
                  </a:lnTo>
                  <a:lnTo>
                    <a:pt x="26" y="116"/>
                  </a:lnTo>
                  <a:lnTo>
                    <a:pt x="24" y="102"/>
                  </a:lnTo>
                  <a:lnTo>
                    <a:pt x="24" y="100"/>
                  </a:lnTo>
                  <a:lnTo>
                    <a:pt x="32" y="98"/>
                  </a:lnTo>
                  <a:lnTo>
                    <a:pt x="34" y="100"/>
                  </a:lnTo>
                  <a:lnTo>
                    <a:pt x="36" y="100"/>
                  </a:lnTo>
                  <a:lnTo>
                    <a:pt x="36" y="104"/>
                  </a:lnTo>
                  <a:lnTo>
                    <a:pt x="38" y="108"/>
                  </a:lnTo>
                  <a:lnTo>
                    <a:pt x="40" y="108"/>
                  </a:lnTo>
                  <a:lnTo>
                    <a:pt x="42" y="108"/>
                  </a:lnTo>
                  <a:lnTo>
                    <a:pt x="46" y="106"/>
                  </a:lnTo>
                  <a:lnTo>
                    <a:pt x="46" y="108"/>
                  </a:lnTo>
                  <a:lnTo>
                    <a:pt x="46" y="112"/>
                  </a:lnTo>
                  <a:lnTo>
                    <a:pt x="50" y="114"/>
                  </a:lnTo>
                  <a:lnTo>
                    <a:pt x="54" y="116"/>
                  </a:lnTo>
                  <a:lnTo>
                    <a:pt x="54" y="120"/>
                  </a:lnTo>
                  <a:lnTo>
                    <a:pt x="54" y="112"/>
                  </a:lnTo>
                  <a:lnTo>
                    <a:pt x="50" y="106"/>
                  </a:lnTo>
                  <a:lnTo>
                    <a:pt x="50" y="96"/>
                  </a:lnTo>
                  <a:lnTo>
                    <a:pt x="52" y="90"/>
                  </a:lnTo>
                  <a:lnTo>
                    <a:pt x="54" y="88"/>
                  </a:lnTo>
                  <a:lnTo>
                    <a:pt x="60" y="86"/>
                  </a:lnTo>
                  <a:lnTo>
                    <a:pt x="64" y="86"/>
                  </a:lnTo>
                  <a:lnTo>
                    <a:pt x="68" y="86"/>
                  </a:lnTo>
                  <a:lnTo>
                    <a:pt x="74" y="82"/>
                  </a:lnTo>
                  <a:lnTo>
                    <a:pt x="76" y="78"/>
                  </a:lnTo>
                  <a:lnTo>
                    <a:pt x="84" y="78"/>
                  </a:lnTo>
                  <a:lnTo>
                    <a:pt x="86" y="76"/>
                  </a:lnTo>
                  <a:lnTo>
                    <a:pt x="88" y="72"/>
                  </a:lnTo>
                  <a:lnTo>
                    <a:pt x="88" y="70"/>
                  </a:lnTo>
                  <a:lnTo>
                    <a:pt x="86" y="64"/>
                  </a:lnTo>
                  <a:lnTo>
                    <a:pt x="84" y="58"/>
                  </a:lnTo>
                  <a:lnTo>
                    <a:pt x="84" y="56"/>
                  </a:lnTo>
                  <a:lnTo>
                    <a:pt x="80" y="52"/>
                  </a:lnTo>
                  <a:lnTo>
                    <a:pt x="78" y="48"/>
                  </a:lnTo>
                  <a:lnTo>
                    <a:pt x="76" y="42"/>
                  </a:lnTo>
                  <a:lnTo>
                    <a:pt x="76" y="36"/>
                  </a:lnTo>
                  <a:lnTo>
                    <a:pt x="72" y="28"/>
                  </a:lnTo>
                  <a:lnTo>
                    <a:pt x="68" y="28"/>
                  </a:lnTo>
                  <a:lnTo>
                    <a:pt x="64" y="26"/>
                  </a:lnTo>
                  <a:lnTo>
                    <a:pt x="62" y="20"/>
                  </a:lnTo>
                  <a:lnTo>
                    <a:pt x="56" y="20"/>
                  </a:lnTo>
                  <a:lnTo>
                    <a:pt x="54" y="24"/>
                  </a:lnTo>
                  <a:lnTo>
                    <a:pt x="50" y="24"/>
                  </a:lnTo>
                  <a:lnTo>
                    <a:pt x="48" y="30"/>
                  </a:lnTo>
                  <a:lnTo>
                    <a:pt x="44" y="30"/>
                  </a:lnTo>
                  <a:lnTo>
                    <a:pt x="42" y="28"/>
                  </a:lnTo>
                  <a:lnTo>
                    <a:pt x="38" y="26"/>
                  </a:lnTo>
                  <a:lnTo>
                    <a:pt x="34" y="26"/>
                  </a:lnTo>
                  <a:lnTo>
                    <a:pt x="34" y="22"/>
                  </a:lnTo>
                  <a:lnTo>
                    <a:pt x="32" y="18"/>
                  </a:lnTo>
                  <a:lnTo>
                    <a:pt x="32" y="16"/>
                  </a:lnTo>
                  <a:lnTo>
                    <a:pt x="38" y="10"/>
                  </a:lnTo>
                  <a:lnTo>
                    <a:pt x="36" y="6"/>
                  </a:lnTo>
                  <a:lnTo>
                    <a:pt x="32" y="6"/>
                  </a:lnTo>
                  <a:lnTo>
                    <a:pt x="30" y="6"/>
                  </a:lnTo>
                  <a:lnTo>
                    <a:pt x="30" y="2"/>
                  </a:lnTo>
                  <a:lnTo>
                    <a:pt x="20" y="2"/>
                  </a:lnTo>
                  <a:lnTo>
                    <a:pt x="18" y="0"/>
                  </a:lnTo>
                  <a:lnTo>
                    <a:pt x="14" y="0"/>
                  </a:lnTo>
                  <a:lnTo>
                    <a:pt x="12" y="6"/>
                  </a:lnTo>
                  <a:lnTo>
                    <a:pt x="12" y="10"/>
                  </a:lnTo>
                  <a:lnTo>
                    <a:pt x="10" y="10"/>
                  </a:lnTo>
                  <a:lnTo>
                    <a:pt x="6" y="14"/>
                  </a:lnTo>
                  <a:lnTo>
                    <a:pt x="2" y="14"/>
                  </a:lnTo>
                  <a:lnTo>
                    <a:pt x="0" y="18"/>
                  </a:lnTo>
                  <a:lnTo>
                    <a:pt x="2" y="26"/>
                  </a:lnTo>
                  <a:lnTo>
                    <a:pt x="2" y="30"/>
                  </a:lnTo>
                  <a:lnTo>
                    <a:pt x="0" y="38"/>
                  </a:lnTo>
                  <a:lnTo>
                    <a:pt x="2" y="48"/>
                  </a:lnTo>
                  <a:lnTo>
                    <a:pt x="6" y="54"/>
                  </a:lnTo>
                  <a:lnTo>
                    <a:pt x="12" y="60"/>
                  </a:lnTo>
                  <a:lnTo>
                    <a:pt x="12" y="66"/>
                  </a:lnTo>
                  <a:lnTo>
                    <a:pt x="6" y="68"/>
                  </a:lnTo>
                  <a:lnTo>
                    <a:pt x="8" y="80"/>
                  </a:lnTo>
                  <a:lnTo>
                    <a:pt x="12" y="90"/>
                  </a:lnTo>
                  <a:lnTo>
                    <a:pt x="16" y="96"/>
                  </a:lnTo>
                  <a:lnTo>
                    <a:pt x="20" y="104"/>
                  </a:lnTo>
                  <a:lnTo>
                    <a:pt x="20" y="112"/>
                  </a:lnTo>
                  <a:lnTo>
                    <a:pt x="18" y="118"/>
                  </a:lnTo>
                  <a:lnTo>
                    <a:pt x="16" y="124"/>
                  </a:lnTo>
                  <a:lnTo>
                    <a:pt x="14" y="1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0" name="Freeform 512">
              <a:extLst>
                <a:ext uri="{FF2B5EF4-FFF2-40B4-BE49-F238E27FC236}">
                  <a16:creationId xmlns:a16="http://schemas.microsoft.com/office/drawing/2014/main" id="{776C3778-FF08-4AB5-BFC8-C5F69D604039}"/>
                </a:ext>
              </a:extLst>
            </p:cNvPr>
            <p:cNvSpPr>
              <a:spLocks noEditPoints="1"/>
            </p:cNvSpPr>
            <p:nvPr/>
          </p:nvSpPr>
          <p:spPr bwMode="gray">
            <a:xfrm>
              <a:off x="4995888" y="4338298"/>
              <a:ext cx="230710" cy="270744"/>
            </a:xfrm>
            <a:custGeom>
              <a:avLst/>
              <a:gdLst>
                <a:gd name="T0" fmla="*/ 2147483647 w 124"/>
                <a:gd name="T1" fmla="*/ 2147483647 h 146"/>
                <a:gd name="T2" fmla="*/ 2147483647 w 124"/>
                <a:gd name="T3" fmla="*/ 2147483647 h 146"/>
                <a:gd name="T4" fmla="*/ 2147483647 w 124"/>
                <a:gd name="T5" fmla="*/ 0 h 146"/>
                <a:gd name="T6" fmla="*/ 2147483647 w 124"/>
                <a:gd name="T7" fmla="*/ 2147483647 h 146"/>
                <a:gd name="T8" fmla="*/ 2147483647 w 124"/>
                <a:gd name="T9" fmla="*/ 2147483647 h 146"/>
                <a:gd name="T10" fmla="*/ 2147483647 w 124"/>
                <a:gd name="T11" fmla="*/ 2147483647 h 146"/>
                <a:gd name="T12" fmla="*/ 2147483647 w 124"/>
                <a:gd name="T13" fmla="*/ 2147483647 h 146"/>
                <a:gd name="T14" fmla="*/ 2147483647 w 124"/>
                <a:gd name="T15" fmla="*/ 2147483647 h 146"/>
                <a:gd name="T16" fmla="*/ 2147483647 w 124"/>
                <a:gd name="T17" fmla="*/ 2147483647 h 146"/>
                <a:gd name="T18" fmla="*/ 2147483647 w 124"/>
                <a:gd name="T19" fmla="*/ 2147483647 h 146"/>
                <a:gd name="T20" fmla="*/ 2147483647 w 124"/>
                <a:gd name="T21" fmla="*/ 2147483647 h 146"/>
                <a:gd name="T22" fmla="*/ 2147483647 w 124"/>
                <a:gd name="T23" fmla="*/ 2147483647 h 146"/>
                <a:gd name="T24" fmla="*/ 2147483647 w 124"/>
                <a:gd name="T25" fmla="*/ 2147483647 h 146"/>
                <a:gd name="T26" fmla="*/ 2147483647 w 124"/>
                <a:gd name="T27" fmla="*/ 2147483647 h 146"/>
                <a:gd name="T28" fmla="*/ 2147483647 w 124"/>
                <a:gd name="T29" fmla="*/ 2147483647 h 146"/>
                <a:gd name="T30" fmla="*/ 2147483647 w 124"/>
                <a:gd name="T31" fmla="*/ 2147483647 h 146"/>
                <a:gd name="T32" fmla="*/ 0 w 124"/>
                <a:gd name="T33" fmla="*/ 2147483647 h 146"/>
                <a:gd name="T34" fmla="*/ 2147483647 w 124"/>
                <a:gd name="T35" fmla="*/ 2147483647 h 146"/>
                <a:gd name="T36" fmla="*/ 2147483647 w 124"/>
                <a:gd name="T37" fmla="*/ 2147483647 h 146"/>
                <a:gd name="T38" fmla="*/ 2147483647 w 124"/>
                <a:gd name="T39" fmla="*/ 2147483647 h 146"/>
                <a:gd name="T40" fmla="*/ 2147483647 w 124"/>
                <a:gd name="T41" fmla="*/ 2147483647 h 146"/>
                <a:gd name="T42" fmla="*/ 2147483647 w 124"/>
                <a:gd name="T43" fmla="*/ 2147483647 h 146"/>
                <a:gd name="T44" fmla="*/ 2147483647 w 124"/>
                <a:gd name="T45" fmla="*/ 2147483647 h 146"/>
                <a:gd name="T46" fmla="*/ 2147483647 w 124"/>
                <a:gd name="T47" fmla="*/ 2147483647 h 146"/>
                <a:gd name="T48" fmla="*/ 2147483647 w 124"/>
                <a:gd name="T49" fmla="*/ 2147483647 h 146"/>
                <a:gd name="T50" fmla="*/ 2147483647 w 124"/>
                <a:gd name="T51" fmla="*/ 2147483647 h 146"/>
                <a:gd name="T52" fmla="*/ 2147483647 w 124"/>
                <a:gd name="T53" fmla="*/ 2147483647 h 146"/>
                <a:gd name="T54" fmla="*/ 2147483647 w 124"/>
                <a:gd name="T55" fmla="*/ 2147483647 h 146"/>
                <a:gd name="T56" fmla="*/ 2147483647 w 124"/>
                <a:gd name="T57" fmla="*/ 2147483647 h 146"/>
                <a:gd name="T58" fmla="*/ 2147483647 w 124"/>
                <a:gd name="T59" fmla="*/ 2147483647 h 146"/>
                <a:gd name="T60" fmla="*/ 2147483647 w 124"/>
                <a:gd name="T61" fmla="*/ 2147483647 h 146"/>
                <a:gd name="T62" fmla="*/ 2147483647 w 124"/>
                <a:gd name="T63" fmla="*/ 2147483647 h 146"/>
                <a:gd name="T64" fmla="*/ 2147483647 w 124"/>
                <a:gd name="T65" fmla="*/ 2147483647 h 146"/>
                <a:gd name="T66" fmla="*/ 2147483647 w 124"/>
                <a:gd name="T67" fmla="*/ 2147483647 h 146"/>
                <a:gd name="T68" fmla="*/ 2147483647 w 124"/>
                <a:gd name="T69" fmla="*/ 2147483647 h 146"/>
                <a:gd name="T70" fmla="*/ 2147483647 w 124"/>
                <a:gd name="T71" fmla="*/ 2147483647 h 146"/>
                <a:gd name="T72" fmla="*/ 2147483647 w 124"/>
                <a:gd name="T73" fmla="*/ 2147483647 h 146"/>
                <a:gd name="T74" fmla="*/ 2147483647 w 124"/>
                <a:gd name="T75" fmla="*/ 2147483647 h 146"/>
                <a:gd name="T76" fmla="*/ 2147483647 w 124"/>
                <a:gd name="T77" fmla="*/ 2147483647 h 146"/>
                <a:gd name="T78" fmla="*/ 2147483647 w 124"/>
                <a:gd name="T79" fmla="*/ 2147483647 h 146"/>
                <a:gd name="T80" fmla="*/ 2147483647 w 124"/>
                <a:gd name="T81" fmla="*/ 2147483647 h 146"/>
                <a:gd name="T82" fmla="*/ 2147483647 w 124"/>
                <a:gd name="T83" fmla="*/ 2147483647 h 146"/>
                <a:gd name="T84" fmla="*/ 2147483647 w 124"/>
                <a:gd name="T85" fmla="*/ 2147483647 h 146"/>
                <a:gd name="T86" fmla="*/ 2147483647 w 124"/>
                <a:gd name="T87" fmla="*/ 2147483647 h 146"/>
                <a:gd name="T88" fmla="*/ 2147483647 w 124"/>
                <a:gd name="T89" fmla="*/ 2147483647 h 146"/>
                <a:gd name="T90" fmla="*/ 2147483647 w 124"/>
                <a:gd name="T91" fmla="*/ 2147483647 h 146"/>
                <a:gd name="T92" fmla="*/ 2147483647 w 124"/>
                <a:gd name="T93" fmla="*/ 2147483647 h 146"/>
                <a:gd name="T94" fmla="*/ 2147483647 w 124"/>
                <a:gd name="T95" fmla="*/ 2147483647 h 1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4"/>
                <a:gd name="T145" fmla="*/ 0 h 146"/>
                <a:gd name="T146" fmla="*/ 124 w 124"/>
                <a:gd name="T147" fmla="*/ 146 h 1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4" h="146">
                  <a:moveTo>
                    <a:pt x="112" y="40"/>
                  </a:moveTo>
                  <a:lnTo>
                    <a:pt x="100" y="32"/>
                  </a:lnTo>
                  <a:lnTo>
                    <a:pt x="100" y="30"/>
                  </a:lnTo>
                  <a:lnTo>
                    <a:pt x="98" y="30"/>
                  </a:lnTo>
                  <a:lnTo>
                    <a:pt x="94" y="28"/>
                  </a:lnTo>
                  <a:lnTo>
                    <a:pt x="94" y="24"/>
                  </a:lnTo>
                  <a:lnTo>
                    <a:pt x="94" y="20"/>
                  </a:lnTo>
                  <a:lnTo>
                    <a:pt x="94" y="18"/>
                  </a:lnTo>
                  <a:lnTo>
                    <a:pt x="56" y="0"/>
                  </a:lnTo>
                  <a:lnTo>
                    <a:pt x="54" y="6"/>
                  </a:lnTo>
                  <a:lnTo>
                    <a:pt x="52" y="6"/>
                  </a:lnTo>
                  <a:lnTo>
                    <a:pt x="50" y="8"/>
                  </a:lnTo>
                  <a:lnTo>
                    <a:pt x="52" y="10"/>
                  </a:lnTo>
                  <a:lnTo>
                    <a:pt x="56" y="12"/>
                  </a:lnTo>
                  <a:lnTo>
                    <a:pt x="56" y="16"/>
                  </a:lnTo>
                  <a:lnTo>
                    <a:pt x="54" y="14"/>
                  </a:lnTo>
                  <a:lnTo>
                    <a:pt x="50" y="16"/>
                  </a:lnTo>
                  <a:lnTo>
                    <a:pt x="50" y="20"/>
                  </a:lnTo>
                  <a:lnTo>
                    <a:pt x="50" y="26"/>
                  </a:lnTo>
                  <a:lnTo>
                    <a:pt x="48" y="22"/>
                  </a:lnTo>
                  <a:lnTo>
                    <a:pt x="48" y="18"/>
                  </a:lnTo>
                  <a:lnTo>
                    <a:pt x="38" y="14"/>
                  </a:lnTo>
                  <a:lnTo>
                    <a:pt x="38" y="18"/>
                  </a:lnTo>
                  <a:lnTo>
                    <a:pt x="32" y="18"/>
                  </a:lnTo>
                  <a:lnTo>
                    <a:pt x="34" y="24"/>
                  </a:lnTo>
                  <a:lnTo>
                    <a:pt x="28" y="24"/>
                  </a:lnTo>
                  <a:lnTo>
                    <a:pt x="26" y="12"/>
                  </a:lnTo>
                  <a:lnTo>
                    <a:pt x="26" y="0"/>
                  </a:lnTo>
                  <a:lnTo>
                    <a:pt x="16" y="2"/>
                  </a:lnTo>
                  <a:lnTo>
                    <a:pt x="20" y="8"/>
                  </a:lnTo>
                  <a:lnTo>
                    <a:pt x="18" y="14"/>
                  </a:lnTo>
                  <a:lnTo>
                    <a:pt x="18" y="18"/>
                  </a:lnTo>
                  <a:lnTo>
                    <a:pt x="18" y="22"/>
                  </a:lnTo>
                  <a:lnTo>
                    <a:pt x="18" y="24"/>
                  </a:lnTo>
                  <a:lnTo>
                    <a:pt x="20" y="26"/>
                  </a:lnTo>
                  <a:lnTo>
                    <a:pt x="22" y="26"/>
                  </a:lnTo>
                  <a:lnTo>
                    <a:pt x="24" y="26"/>
                  </a:lnTo>
                  <a:lnTo>
                    <a:pt x="20" y="32"/>
                  </a:lnTo>
                  <a:lnTo>
                    <a:pt x="16" y="36"/>
                  </a:lnTo>
                  <a:lnTo>
                    <a:pt x="14" y="42"/>
                  </a:lnTo>
                  <a:lnTo>
                    <a:pt x="10" y="44"/>
                  </a:lnTo>
                  <a:lnTo>
                    <a:pt x="2" y="44"/>
                  </a:lnTo>
                  <a:lnTo>
                    <a:pt x="0" y="66"/>
                  </a:lnTo>
                  <a:lnTo>
                    <a:pt x="8" y="68"/>
                  </a:lnTo>
                  <a:lnTo>
                    <a:pt x="10" y="70"/>
                  </a:lnTo>
                  <a:lnTo>
                    <a:pt x="14" y="72"/>
                  </a:lnTo>
                  <a:lnTo>
                    <a:pt x="14" y="78"/>
                  </a:lnTo>
                  <a:lnTo>
                    <a:pt x="14" y="84"/>
                  </a:lnTo>
                  <a:lnTo>
                    <a:pt x="18" y="90"/>
                  </a:lnTo>
                  <a:lnTo>
                    <a:pt x="24" y="96"/>
                  </a:lnTo>
                  <a:lnTo>
                    <a:pt x="28" y="98"/>
                  </a:lnTo>
                  <a:lnTo>
                    <a:pt x="28" y="100"/>
                  </a:lnTo>
                  <a:lnTo>
                    <a:pt x="28" y="102"/>
                  </a:lnTo>
                  <a:lnTo>
                    <a:pt x="30" y="104"/>
                  </a:lnTo>
                  <a:lnTo>
                    <a:pt x="32" y="104"/>
                  </a:lnTo>
                  <a:lnTo>
                    <a:pt x="34" y="106"/>
                  </a:lnTo>
                  <a:lnTo>
                    <a:pt x="38" y="108"/>
                  </a:lnTo>
                  <a:lnTo>
                    <a:pt x="44" y="110"/>
                  </a:lnTo>
                  <a:lnTo>
                    <a:pt x="50" y="112"/>
                  </a:lnTo>
                  <a:lnTo>
                    <a:pt x="52" y="114"/>
                  </a:lnTo>
                  <a:lnTo>
                    <a:pt x="54" y="114"/>
                  </a:lnTo>
                  <a:lnTo>
                    <a:pt x="56" y="116"/>
                  </a:lnTo>
                  <a:lnTo>
                    <a:pt x="56" y="118"/>
                  </a:lnTo>
                  <a:lnTo>
                    <a:pt x="56" y="120"/>
                  </a:lnTo>
                  <a:lnTo>
                    <a:pt x="56" y="128"/>
                  </a:lnTo>
                  <a:lnTo>
                    <a:pt x="56" y="138"/>
                  </a:lnTo>
                  <a:lnTo>
                    <a:pt x="56" y="144"/>
                  </a:lnTo>
                  <a:lnTo>
                    <a:pt x="56" y="146"/>
                  </a:lnTo>
                  <a:lnTo>
                    <a:pt x="58" y="146"/>
                  </a:lnTo>
                  <a:lnTo>
                    <a:pt x="64" y="144"/>
                  </a:lnTo>
                  <a:lnTo>
                    <a:pt x="68" y="142"/>
                  </a:lnTo>
                  <a:lnTo>
                    <a:pt x="70" y="142"/>
                  </a:lnTo>
                  <a:lnTo>
                    <a:pt x="70" y="144"/>
                  </a:lnTo>
                  <a:lnTo>
                    <a:pt x="72" y="146"/>
                  </a:lnTo>
                  <a:lnTo>
                    <a:pt x="74" y="146"/>
                  </a:lnTo>
                  <a:lnTo>
                    <a:pt x="82" y="146"/>
                  </a:lnTo>
                  <a:lnTo>
                    <a:pt x="90" y="144"/>
                  </a:lnTo>
                  <a:lnTo>
                    <a:pt x="94" y="142"/>
                  </a:lnTo>
                  <a:lnTo>
                    <a:pt x="94" y="140"/>
                  </a:lnTo>
                  <a:lnTo>
                    <a:pt x="96" y="140"/>
                  </a:lnTo>
                  <a:lnTo>
                    <a:pt x="98" y="142"/>
                  </a:lnTo>
                  <a:lnTo>
                    <a:pt x="100" y="140"/>
                  </a:lnTo>
                  <a:lnTo>
                    <a:pt x="102" y="138"/>
                  </a:lnTo>
                  <a:lnTo>
                    <a:pt x="106" y="136"/>
                  </a:lnTo>
                  <a:lnTo>
                    <a:pt x="110" y="136"/>
                  </a:lnTo>
                  <a:lnTo>
                    <a:pt x="114" y="134"/>
                  </a:lnTo>
                  <a:lnTo>
                    <a:pt x="118" y="134"/>
                  </a:lnTo>
                  <a:lnTo>
                    <a:pt x="122" y="132"/>
                  </a:lnTo>
                  <a:lnTo>
                    <a:pt x="124" y="128"/>
                  </a:lnTo>
                  <a:lnTo>
                    <a:pt x="122" y="124"/>
                  </a:lnTo>
                  <a:lnTo>
                    <a:pt x="120" y="122"/>
                  </a:lnTo>
                  <a:lnTo>
                    <a:pt x="118" y="118"/>
                  </a:lnTo>
                  <a:lnTo>
                    <a:pt x="114" y="114"/>
                  </a:lnTo>
                  <a:lnTo>
                    <a:pt x="110" y="110"/>
                  </a:lnTo>
                  <a:lnTo>
                    <a:pt x="110" y="86"/>
                  </a:lnTo>
                  <a:lnTo>
                    <a:pt x="112" y="82"/>
                  </a:lnTo>
                  <a:lnTo>
                    <a:pt x="114" y="80"/>
                  </a:lnTo>
                  <a:lnTo>
                    <a:pt x="110" y="74"/>
                  </a:lnTo>
                  <a:lnTo>
                    <a:pt x="106" y="70"/>
                  </a:lnTo>
                  <a:lnTo>
                    <a:pt x="104" y="68"/>
                  </a:lnTo>
                  <a:lnTo>
                    <a:pt x="104" y="60"/>
                  </a:lnTo>
                  <a:lnTo>
                    <a:pt x="106" y="52"/>
                  </a:lnTo>
                  <a:lnTo>
                    <a:pt x="112" y="40"/>
                  </a:lnTo>
                  <a:close/>
                  <a:moveTo>
                    <a:pt x="40" y="84"/>
                  </a:moveTo>
                  <a:lnTo>
                    <a:pt x="40" y="84"/>
                  </a:lnTo>
                  <a:lnTo>
                    <a:pt x="42" y="88"/>
                  </a:lnTo>
                  <a:lnTo>
                    <a:pt x="42" y="90"/>
                  </a:lnTo>
                  <a:lnTo>
                    <a:pt x="40" y="90"/>
                  </a:lnTo>
                  <a:lnTo>
                    <a:pt x="38" y="86"/>
                  </a:lnTo>
                  <a:lnTo>
                    <a:pt x="38" y="84"/>
                  </a:lnTo>
                  <a:lnTo>
                    <a:pt x="40" y="84"/>
                  </a:lnTo>
                  <a:close/>
                  <a:moveTo>
                    <a:pt x="110" y="64"/>
                  </a:moveTo>
                  <a:lnTo>
                    <a:pt x="110" y="64"/>
                  </a:lnTo>
                  <a:lnTo>
                    <a:pt x="110" y="66"/>
                  </a:lnTo>
                  <a:lnTo>
                    <a:pt x="110" y="70"/>
                  </a:lnTo>
                  <a:lnTo>
                    <a:pt x="112" y="70"/>
                  </a:lnTo>
                  <a:lnTo>
                    <a:pt x="112" y="68"/>
                  </a:lnTo>
                  <a:lnTo>
                    <a:pt x="110" y="64"/>
                  </a:lnTo>
                  <a:close/>
                  <a:moveTo>
                    <a:pt x="62" y="34"/>
                  </a:moveTo>
                  <a:lnTo>
                    <a:pt x="62" y="34"/>
                  </a:lnTo>
                  <a:lnTo>
                    <a:pt x="64" y="34"/>
                  </a:lnTo>
                  <a:lnTo>
                    <a:pt x="64" y="36"/>
                  </a:lnTo>
                  <a:lnTo>
                    <a:pt x="62" y="38"/>
                  </a:lnTo>
                  <a:lnTo>
                    <a:pt x="60" y="38"/>
                  </a:lnTo>
                  <a:lnTo>
                    <a:pt x="58" y="36"/>
                  </a:lnTo>
                  <a:lnTo>
                    <a:pt x="62" y="34"/>
                  </a:lnTo>
                  <a:close/>
                  <a:moveTo>
                    <a:pt x="42" y="8"/>
                  </a:moveTo>
                  <a:lnTo>
                    <a:pt x="42" y="8"/>
                  </a:lnTo>
                  <a:lnTo>
                    <a:pt x="48" y="12"/>
                  </a:lnTo>
                  <a:lnTo>
                    <a:pt x="48" y="8"/>
                  </a:lnTo>
                  <a:lnTo>
                    <a:pt x="42"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1" name="Freeform 513">
              <a:extLst>
                <a:ext uri="{FF2B5EF4-FFF2-40B4-BE49-F238E27FC236}">
                  <a16:creationId xmlns:a16="http://schemas.microsoft.com/office/drawing/2014/main" id="{29B97C41-F2F6-4388-9497-214F84F0412A}"/>
                </a:ext>
              </a:extLst>
            </p:cNvPr>
            <p:cNvSpPr>
              <a:spLocks/>
            </p:cNvSpPr>
            <p:nvPr/>
          </p:nvSpPr>
          <p:spPr bwMode="gray">
            <a:xfrm>
              <a:off x="5793955" y="3175284"/>
              <a:ext cx="155376" cy="157736"/>
            </a:xfrm>
            <a:custGeom>
              <a:avLst/>
              <a:gdLst>
                <a:gd name="T0" fmla="*/ 2147483647 w 84"/>
                <a:gd name="T1" fmla="*/ 2147483647 h 84"/>
                <a:gd name="T2" fmla="*/ 2147483647 w 84"/>
                <a:gd name="T3" fmla="*/ 2147483647 h 84"/>
                <a:gd name="T4" fmla="*/ 2147483647 w 84"/>
                <a:gd name="T5" fmla="*/ 2147483647 h 84"/>
                <a:gd name="T6" fmla="*/ 2147483647 w 84"/>
                <a:gd name="T7" fmla="*/ 2147483647 h 84"/>
                <a:gd name="T8" fmla="*/ 2147483647 w 84"/>
                <a:gd name="T9" fmla="*/ 2147483647 h 84"/>
                <a:gd name="T10" fmla="*/ 2147483647 w 84"/>
                <a:gd name="T11" fmla="*/ 2147483647 h 84"/>
                <a:gd name="T12" fmla="*/ 2147483647 w 84"/>
                <a:gd name="T13" fmla="*/ 2147483647 h 84"/>
                <a:gd name="T14" fmla="*/ 2147483647 w 84"/>
                <a:gd name="T15" fmla="*/ 2147483647 h 84"/>
                <a:gd name="T16" fmla="*/ 2147483647 w 84"/>
                <a:gd name="T17" fmla="*/ 2147483647 h 84"/>
                <a:gd name="T18" fmla="*/ 2147483647 w 84"/>
                <a:gd name="T19" fmla="*/ 2147483647 h 84"/>
                <a:gd name="T20" fmla="*/ 2147483647 w 84"/>
                <a:gd name="T21" fmla="*/ 2147483647 h 84"/>
                <a:gd name="T22" fmla="*/ 2147483647 w 84"/>
                <a:gd name="T23" fmla="*/ 2147483647 h 84"/>
                <a:gd name="T24" fmla="*/ 2147483647 w 84"/>
                <a:gd name="T25" fmla="*/ 2147483647 h 84"/>
                <a:gd name="T26" fmla="*/ 2147483647 w 84"/>
                <a:gd name="T27" fmla="*/ 2147483647 h 84"/>
                <a:gd name="T28" fmla="*/ 2147483647 w 84"/>
                <a:gd name="T29" fmla="*/ 2147483647 h 84"/>
                <a:gd name="T30" fmla="*/ 2147483647 w 84"/>
                <a:gd name="T31" fmla="*/ 2147483647 h 84"/>
                <a:gd name="T32" fmla="*/ 2147483647 w 84"/>
                <a:gd name="T33" fmla="*/ 2147483647 h 84"/>
                <a:gd name="T34" fmla="*/ 2147483647 w 84"/>
                <a:gd name="T35" fmla="*/ 2147483647 h 84"/>
                <a:gd name="T36" fmla="*/ 2147483647 w 84"/>
                <a:gd name="T37" fmla="*/ 2147483647 h 84"/>
                <a:gd name="T38" fmla="*/ 2147483647 w 84"/>
                <a:gd name="T39" fmla="*/ 2147483647 h 84"/>
                <a:gd name="T40" fmla="*/ 2147483647 w 84"/>
                <a:gd name="T41" fmla="*/ 2147483647 h 84"/>
                <a:gd name="T42" fmla="*/ 2147483647 w 84"/>
                <a:gd name="T43" fmla="*/ 2147483647 h 84"/>
                <a:gd name="T44" fmla="*/ 2147483647 w 84"/>
                <a:gd name="T45" fmla="*/ 2147483647 h 84"/>
                <a:gd name="T46" fmla="*/ 2147483647 w 84"/>
                <a:gd name="T47" fmla="*/ 2147483647 h 84"/>
                <a:gd name="T48" fmla="*/ 2147483647 w 84"/>
                <a:gd name="T49" fmla="*/ 2147483647 h 84"/>
                <a:gd name="T50" fmla="*/ 2147483647 w 84"/>
                <a:gd name="T51" fmla="*/ 2147483647 h 84"/>
                <a:gd name="T52" fmla="*/ 0 w 84"/>
                <a:gd name="T53" fmla="*/ 2147483647 h 84"/>
                <a:gd name="T54" fmla="*/ 2147483647 w 84"/>
                <a:gd name="T55" fmla="*/ 2147483647 h 84"/>
                <a:gd name="T56" fmla="*/ 2147483647 w 84"/>
                <a:gd name="T57" fmla="*/ 2147483647 h 84"/>
                <a:gd name="T58" fmla="*/ 2147483647 w 84"/>
                <a:gd name="T59" fmla="*/ 2147483647 h 84"/>
                <a:gd name="T60" fmla="*/ 2147483647 w 84"/>
                <a:gd name="T61" fmla="*/ 2147483647 h 84"/>
                <a:gd name="T62" fmla="*/ 2147483647 w 84"/>
                <a:gd name="T63" fmla="*/ 2147483647 h 84"/>
                <a:gd name="T64" fmla="*/ 2147483647 w 84"/>
                <a:gd name="T65" fmla="*/ 2147483647 h 84"/>
                <a:gd name="T66" fmla="*/ 2147483647 w 84"/>
                <a:gd name="T67" fmla="*/ 2147483647 h 84"/>
                <a:gd name="T68" fmla="*/ 2147483647 w 84"/>
                <a:gd name="T69" fmla="*/ 2147483647 h 84"/>
                <a:gd name="T70" fmla="*/ 2147483647 w 84"/>
                <a:gd name="T71" fmla="*/ 2147483647 h 84"/>
                <a:gd name="T72" fmla="*/ 2147483647 w 84"/>
                <a:gd name="T73" fmla="*/ 2147483647 h 84"/>
                <a:gd name="T74" fmla="*/ 2147483647 w 84"/>
                <a:gd name="T75" fmla="*/ 2147483647 h 84"/>
                <a:gd name="T76" fmla="*/ 2147483647 w 84"/>
                <a:gd name="T77" fmla="*/ 2147483647 h 84"/>
                <a:gd name="T78" fmla="*/ 2147483647 w 84"/>
                <a:gd name="T79" fmla="*/ 2147483647 h 84"/>
                <a:gd name="T80" fmla="*/ 2147483647 w 84"/>
                <a:gd name="T81" fmla="*/ 2147483647 h 84"/>
                <a:gd name="T82" fmla="*/ 2147483647 w 84"/>
                <a:gd name="T83" fmla="*/ 2147483647 h 84"/>
                <a:gd name="T84" fmla="*/ 2147483647 w 84"/>
                <a:gd name="T85" fmla="*/ 2147483647 h 84"/>
                <a:gd name="T86" fmla="*/ 2147483647 w 84"/>
                <a:gd name="T87" fmla="*/ 2147483647 h 84"/>
                <a:gd name="T88" fmla="*/ 2147483647 w 84"/>
                <a:gd name="T89" fmla="*/ 2147483647 h 84"/>
                <a:gd name="T90" fmla="*/ 2147483647 w 84"/>
                <a:gd name="T91" fmla="*/ 2147483647 h 84"/>
                <a:gd name="T92" fmla="*/ 2147483647 w 84"/>
                <a:gd name="T93" fmla="*/ 2147483647 h 84"/>
                <a:gd name="T94" fmla="*/ 2147483647 w 84"/>
                <a:gd name="T95" fmla="*/ 2147483647 h 84"/>
                <a:gd name="T96" fmla="*/ 2147483647 w 84"/>
                <a:gd name="T97" fmla="*/ 2147483647 h 84"/>
                <a:gd name="T98" fmla="*/ 2147483647 w 84"/>
                <a:gd name="T99" fmla="*/ 2147483647 h 84"/>
                <a:gd name="T100" fmla="*/ 2147483647 w 84"/>
                <a:gd name="T101" fmla="*/ 2147483647 h 84"/>
                <a:gd name="T102" fmla="*/ 2147483647 w 84"/>
                <a:gd name="T103" fmla="*/ 2147483647 h 84"/>
                <a:gd name="T104" fmla="*/ 2147483647 w 84"/>
                <a:gd name="T105" fmla="*/ 2147483647 h 84"/>
                <a:gd name="T106" fmla="*/ 2147483647 w 84"/>
                <a:gd name="T107" fmla="*/ 2147483647 h 84"/>
                <a:gd name="T108" fmla="*/ 2147483647 w 84"/>
                <a:gd name="T109" fmla="*/ 2147483647 h 84"/>
                <a:gd name="T110" fmla="*/ 2147483647 w 84"/>
                <a:gd name="T111" fmla="*/ 2147483647 h 84"/>
                <a:gd name="T112" fmla="*/ 2147483647 w 84"/>
                <a:gd name="T113" fmla="*/ 2147483647 h 84"/>
                <a:gd name="T114" fmla="*/ 2147483647 w 84"/>
                <a:gd name="T115" fmla="*/ 2147483647 h 84"/>
                <a:gd name="T116" fmla="*/ 2147483647 w 84"/>
                <a:gd name="T117" fmla="*/ 2147483647 h 84"/>
                <a:gd name="T118" fmla="*/ 2147483647 w 84"/>
                <a:gd name="T119" fmla="*/ 2147483647 h 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
                <a:gd name="T181" fmla="*/ 0 h 84"/>
                <a:gd name="T182" fmla="*/ 84 w 84"/>
                <a:gd name="T183" fmla="*/ 84 h 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 h="84">
                  <a:moveTo>
                    <a:pt x="66" y="28"/>
                  </a:moveTo>
                  <a:lnTo>
                    <a:pt x="66" y="28"/>
                  </a:lnTo>
                  <a:lnTo>
                    <a:pt x="68" y="34"/>
                  </a:lnTo>
                  <a:lnTo>
                    <a:pt x="66" y="38"/>
                  </a:lnTo>
                  <a:lnTo>
                    <a:pt x="70" y="42"/>
                  </a:lnTo>
                  <a:lnTo>
                    <a:pt x="78" y="38"/>
                  </a:lnTo>
                  <a:lnTo>
                    <a:pt x="80" y="40"/>
                  </a:lnTo>
                  <a:lnTo>
                    <a:pt x="78" y="44"/>
                  </a:lnTo>
                  <a:lnTo>
                    <a:pt x="78" y="48"/>
                  </a:lnTo>
                  <a:lnTo>
                    <a:pt x="80" y="54"/>
                  </a:lnTo>
                  <a:lnTo>
                    <a:pt x="80" y="60"/>
                  </a:lnTo>
                  <a:lnTo>
                    <a:pt x="82" y="62"/>
                  </a:lnTo>
                  <a:lnTo>
                    <a:pt x="84" y="66"/>
                  </a:lnTo>
                  <a:lnTo>
                    <a:pt x="80" y="68"/>
                  </a:lnTo>
                  <a:lnTo>
                    <a:pt x="72" y="68"/>
                  </a:lnTo>
                  <a:lnTo>
                    <a:pt x="62" y="66"/>
                  </a:lnTo>
                  <a:lnTo>
                    <a:pt x="58" y="68"/>
                  </a:lnTo>
                  <a:lnTo>
                    <a:pt x="50" y="72"/>
                  </a:lnTo>
                  <a:lnTo>
                    <a:pt x="46" y="72"/>
                  </a:lnTo>
                  <a:lnTo>
                    <a:pt x="44" y="78"/>
                  </a:lnTo>
                  <a:lnTo>
                    <a:pt x="38" y="82"/>
                  </a:lnTo>
                  <a:lnTo>
                    <a:pt x="32" y="84"/>
                  </a:lnTo>
                  <a:lnTo>
                    <a:pt x="28" y="78"/>
                  </a:lnTo>
                  <a:lnTo>
                    <a:pt x="30" y="70"/>
                  </a:lnTo>
                  <a:lnTo>
                    <a:pt x="32" y="66"/>
                  </a:lnTo>
                  <a:lnTo>
                    <a:pt x="28" y="62"/>
                  </a:lnTo>
                  <a:lnTo>
                    <a:pt x="26" y="58"/>
                  </a:lnTo>
                  <a:lnTo>
                    <a:pt x="22" y="56"/>
                  </a:lnTo>
                  <a:lnTo>
                    <a:pt x="20" y="60"/>
                  </a:lnTo>
                  <a:lnTo>
                    <a:pt x="18" y="62"/>
                  </a:lnTo>
                  <a:lnTo>
                    <a:pt x="12" y="64"/>
                  </a:lnTo>
                  <a:lnTo>
                    <a:pt x="8" y="64"/>
                  </a:lnTo>
                  <a:lnTo>
                    <a:pt x="6" y="64"/>
                  </a:lnTo>
                  <a:lnTo>
                    <a:pt x="8" y="58"/>
                  </a:lnTo>
                  <a:lnTo>
                    <a:pt x="10" y="56"/>
                  </a:lnTo>
                  <a:lnTo>
                    <a:pt x="12" y="54"/>
                  </a:lnTo>
                  <a:lnTo>
                    <a:pt x="14" y="52"/>
                  </a:lnTo>
                  <a:lnTo>
                    <a:pt x="12" y="48"/>
                  </a:lnTo>
                  <a:lnTo>
                    <a:pt x="10" y="48"/>
                  </a:lnTo>
                  <a:lnTo>
                    <a:pt x="10" y="46"/>
                  </a:lnTo>
                  <a:lnTo>
                    <a:pt x="12" y="42"/>
                  </a:lnTo>
                  <a:lnTo>
                    <a:pt x="12" y="40"/>
                  </a:lnTo>
                  <a:lnTo>
                    <a:pt x="6" y="40"/>
                  </a:lnTo>
                  <a:lnTo>
                    <a:pt x="4" y="40"/>
                  </a:lnTo>
                  <a:lnTo>
                    <a:pt x="2" y="36"/>
                  </a:lnTo>
                  <a:lnTo>
                    <a:pt x="0" y="34"/>
                  </a:lnTo>
                  <a:lnTo>
                    <a:pt x="0" y="32"/>
                  </a:lnTo>
                  <a:lnTo>
                    <a:pt x="2" y="30"/>
                  </a:lnTo>
                  <a:lnTo>
                    <a:pt x="6" y="30"/>
                  </a:lnTo>
                  <a:lnTo>
                    <a:pt x="8" y="30"/>
                  </a:lnTo>
                  <a:lnTo>
                    <a:pt x="8" y="32"/>
                  </a:lnTo>
                  <a:lnTo>
                    <a:pt x="10" y="30"/>
                  </a:lnTo>
                  <a:lnTo>
                    <a:pt x="16" y="26"/>
                  </a:lnTo>
                  <a:lnTo>
                    <a:pt x="18" y="24"/>
                  </a:lnTo>
                  <a:lnTo>
                    <a:pt x="16" y="24"/>
                  </a:lnTo>
                  <a:lnTo>
                    <a:pt x="16" y="22"/>
                  </a:lnTo>
                  <a:lnTo>
                    <a:pt x="18" y="18"/>
                  </a:lnTo>
                  <a:lnTo>
                    <a:pt x="20" y="18"/>
                  </a:lnTo>
                  <a:lnTo>
                    <a:pt x="20" y="16"/>
                  </a:lnTo>
                  <a:lnTo>
                    <a:pt x="22" y="16"/>
                  </a:lnTo>
                  <a:lnTo>
                    <a:pt x="22" y="14"/>
                  </a:lnTo>
                  <a:lnTo>
                    <a:pt x="20" y="12"/>
                  </a:lnTo>
                  <a:lnTo>
                    <a:pt x="18" y="8"/>
                  </a:lnTo>
                  <a:lnTo>
                    <a:pt x="20" y="6"/>
                  </a:lnTo>
                  <a:lnTo>
                    <a:pt x="24" y="6"/>
                  </a:lnTo>
                  <a:lnTo>
                    <a:pt x="28" y="8"/>
                  </a:lnTo>
                  <a:lnTo>
                    <a:pt x="30" y="8"/>
                  </a:lnTo>
                  <a:lnTo>
                    <a:pt x="32" y="6"/>
                  </a:lnTo>
                  <a:lnTo>
                    <a:pt x="34" y="2"/>
                  </a:lnTo>
                  <a:lnTo>
                    <a:pt x="36" y="0"/>
                  </a:lnTo>
                  <a:lnTo>
                    <a:pt x="38" y="8"/>
                  </a:lnTo>
                  <a:lnTo>
                    <a:pt x="32" y="10"/>
                  </a:lnTo>
                  <a:lnTo>
                    <a:pt x="32" y="14"/>
                  </a:lnTo>
                  <a:lnTo>
                    <a:pt x="36" y="16"/>
                  </a:lnTo>
                  <a:lnTo>
                    <a:pt x="34" y="20"/>
                  </a:lnTo>
                  <a:lnTo>
                    <a:pt x="30" y="18"/>
                  </a:lnTo>
                  <a:lnTo>
                    <a:pt x="24" y="20"/>
                  </a:lnTo>
                  <a:lnTo>
                    <a:pt x="28" y="26"/>
                  </a:lnTo>
                  <a:lnTo>
                    <a:pt x="34" y="24"/>
                  </a:lnTo>
                  <a:lnTo>
                    <a:pt x="36" y="26"/>
                  </a:lnTo>
                  <a:lnTo>
                    <a:pt x="36" y="28"/>
                  </a:lnTo>
                  <a:lnTo>
                    <a:pt x="38" y="28"/>
                  </a:lnTo>
                  <a:lnTo>
                    <a:pt x="42" y="26"/>
                  </a:lnTo>
                  <a:lnTo>
                    <a:pt x="44" y="26"/>
                  </a:lnTo>
                  <a:lnTo>
                    <a:pt x="46" y="28"/>
                  </a:lnTo>
                  <a:lnTo>
                    <a:pt x="48" y="30"/>
                  </a:lnTo>
                  <a:lnTo>
                    <a:pt x="50" y="30"/>
                  </a:lnTo>
                  <a:lnTo>
                    <a:pt x="54" y="30"/>
                  </a:lnTo>
                  <a:lnTo>
                    <a:pt x="58" y="28"/>
                  </a:lnTo>
                  <a:lnTo>
                    <a:pt x="62" y="28"/>
                  </a:lnTo>
                  <a:lnTo>
                    <a:pt x="66" y="2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2" name="Freeform 514">
              <a:extLst>
                <a:ext uri="{FF2B5EF4-FFF2-40B4-BE49-F238E27FC236}">
                  <a16:creationId xmlns:a16="http://schemas.microsoft.com/office/drawing/2014/main" id="{71827C95-1064-4F4D-8D4F-6B376B939FF9}"/>
                </a:ext>
              </a:extLst>
            </p:cNvPr>
            <p:cNvSpPr>
              <a:spLocks/>
            </p:cNvSpPr>
            <p:nvPr/>
          </p:nvSpPr>
          <p:spPr bwMode="gray">
            <a:xfrm>
              <a:off x="6895714" y="3632014"/>
              <a:ext cx="37668" cy="84754"/>
            </a:xfrm>
            <a:custGeom>
              <a:avLst/>
              <a:gdLst>
                <a:gd name="T0" fmla="*/ 2147483647 w 20"/>
                <a:gd name="T1" fmla="*/ 0 h 46"/>
                <a:gd name="T2" fmla="*/ 2147483647 w 20"/>
                <a:gd name="T3" fmla="*/ 0 h 46"/>
                <a:gd name="T4" fmla="*/ 2147483647 w 20"/>
                <a:gd name="T5" fmla="*/ 2147483647 h 46"/>
                <a:gd name="T6" fmla="*/ 2147483647 w 20"/>
                <a:gd name="T7" fmla="*/ 2147483647 h 46"/>
                <a:gd name="T8" fmla="*/ 2147483647 w 20"/>
                <a:gd name="T9" fmla="*/ 2147483647 h 46"/>
                <a:gd name="T10" fmla="*/ 2147483647 w 20"/>
                <a:gd name="T11" fmla="*/ 2147483647 h 46"/>
                <a:gd name="T12" fmla="*/ 0 w 20"/>
                <a:gd name="T13" fmla="*/ 2147483647 h 46"/>
                <a:gd name="T14" fmla="*/ 2147483647 w 20"/>
                <a:gd name="T15" fmla="*/ 2147483647 h 46"/>
                <a:gd name="T16" fmla="*/ 2147483647 w 20"/>
                <a:gd name="T17" fmla="*/ 2147483647 h 46"/>
                <a:gd name="T18" fmla="*/ 2147483647 w 20"/>
                <a:gd name="T19" fmla="*/ 2147483647 h 46"/>
                <a:gd name="T20" fmla="*/ 2147483647 w 20"/>
                <a:gd name="T21" fmla="*/ 2147483647 h 46"/>
                <a:gd name="T22" fmla="*/ 2147483647 w 20"/>
                <a:gd name="T23" fmla="*/ 2147483647 h 46"/>
                <a:gd name="T24" fmla="*/ 2147483647 w 20"/>
                <a:gd name="T25" fmla="*/ 2147483647 h 46"/>
                <a:gd name="T26" fmla="*/ 2147483647 w 20"/>
                <a:gd name="T27" fmla="*/ 0 h 46"/>
                <a:gd name="T28" fmla="*/ 2147483647 w 20"/>
                <a:gd name="T29" fmla="*/ 0 h 46"/>
                <a:gd name="T30" fmla="*/ 2147483647 w 20"/>
                <a:gd name="T31" fmla="*/ 0 h 46"/>
                <a:gd name="T32" fmla="*/ 2147483647 w 20"/>
                <a:gd name="T33" fmla="*/ 0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46"/>
                <a:gd name="T53" fmla="*/ 20 w 20"/>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46">
                  <a:moveTo>
                    <a:pt x="14" y="0"/>
                  </a:moveTo>
                  <a:lnTo>
                    <a:pt x="14" y="0"/>
                  </a:lnTo>
                  <a:lnTo>
                    <a:pt x="8" y="12"/>
                  </a:lnTo>
                  <a:lnTo>
                    <a:pt x="4" y="18"/>
                  </a:lnTo>
                  <a:lnTo>
                    <a:pt x="2" y="26"/>
                  </a:lnTo>
                  <a:lnTo>
                    <a:pt x="0" y="32"/>
                  </a:lnTo>
                  <a:lnTo>
                    <a:pt x="2" y="38"/>
                  </a:lnTo>
                  <a:lnTo>
                    <a:pt x="6" y="46"/>
                  </a:lnTo>
                  <a:lnTo>
                    <a:pt x="10" y="46"/>
                  </a:lnTo>
                  <a:lnTo>
                    <a:pt x="14" y="36"/>
                  </a:lnTo>
                  <a:lnTo>
                    <a:pt x="16" y="24"/>
                  </a:lnTo>
                  <a:lnTo>
                    <a:pt x="20" y="0"/>
                  </a:lnTo>
                  <a:lnTo>
                    <a:pt x="1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3" name="Freeform 515">
              <a:extLst>
                <a:ext uri="{FF2B5EF4-FFF2-40B4-BE49-F238E27FC236}">
                  <a16:creationId xmlns:a16="http://schemas.microsoft.com/office/drawing/2014/main" id="{D09B6942-4A9C-4E21-9B11-477A7628D3CC}"/>
                </a:ext>
              </a:extLst>
            </p:cNvPr>
            <p:cNvSpPr>
              <a:spLocks/>
            </p:cNvSpPr>
            <p:nvPr/>
          </p:nvSpPr>
          <p:spPr bwMode="gray">
            <a:xfrm>
              <a:off x="5134785" y="3288288"/>
              <a:ext cx="141250" cy="143611"/>
            </a:xfrm>
            <a:custGeom>
              <a:avLst/>
              <a:gdLst>
                <a:gd name="T0" fmla="*/ 2147483647 w 76"/>
                <a:gd name="T1" fmla="*/ 2147483647 h 78"/>
                <a:gd name="T2" fmla="*/ 2147483647 w 76"/>
                <a:gd name="T3" fmla="*/ 2147483647 h 78"/>
                <a:gd name="T4" fmla="*/ 2147483647 w 76"/>
                <a:gd name="T5" fmla="*/ 2147483647 h 78"/>
                <a:gd name="T6" fmla="*/ 2147483647 w 76"/>
                <a:gd name="T7" fmla="*/ 2147483647 h 78"/>
                <a:gd name="T8" fmla="*/ 2147483647 w 76"/>
                <a:gd name="T9" fmla="*/ 2147483647 h 78"/>
                <a:gd name="T10" fmla="*/ 2147483647 w 76"/>
                <a:gd name="T11" fmla="*/ 2147483647 h 78"/>
                <a:gd name="T12" fmla="*/ 2147483647 w 76"/>
                <a:gd name="T13" fmla="*/ 2147483647 h 78"/>
                <a:gd name="T14" fmla="*/ 2147483647 w 76"/>
                <a:gd name="T15" fmla="*/ 2147483647 h 78"/>
                <a:gd name="T16" fmla="*/ 2147483647 w 76"/>
                <a:gd name="T17" fmla="*/ 2147483647 h 78"/>
                <a:gd name="T18" fmla="*/ 2147483647 w 76"/>
                <a:gd name="T19" fmla="*/ 2147483647 h 78"/>
                <a:gd name="T20" fmla="*/ 2147483647 w 76"/>
                <a:gd name="T21" fmla="*/ 2147483647 h 78"/>
                <a:gd name="T22" fmla="*/ 2147483647 w 76"/>
                <a:gd name="T23" fmla="*/ 2147483647 h 78"/>
                <a:gd name="T24" fmla="*/ 2147483647 w 76"/>
                <a:gd name="T25" fmla="*/ 2147483647 h 78"/>
                <a:gd name="T26" fmla="*/ 2147483647 w 76"/>
                <a:gd name="T27" fmla="*/ 2147483647 h 78"/>
                <a:gd name="T28" fmla="*/ 2147483647 w 76"/>
                <a:gd name="T29" fmla="*/ 2147483647 h 78"/>
                <a:gd name="T30" fmla="*/ 2147483647 w 76"/>
                <a:gd name="T31" fmla="*/ 2147483647 h 78"/>
                <a:gd name="T32" fmla="*/ 2147483647 w 76"/>
                <a:gd name="T33" fmla="*/ 2147483647 h 78"/>
                <a:gd name="T34" fmla="*/ 2147483647 w 76"/>
                <a:gd name="T35" fmla="*/ 2147483647 h 78"/>
                <a:gd name="T36" fmla="*/ 2147483647 w 76"/>
                <a:gd name="T37" fmla="*/ 2147483647 h 78"/>
                <a:gd name="T38" fmla="*/ 2147483647 w 76"/>
                <a:gd name="T39" fmla="*/ 2147483647 h 78"/>
                <a:gd name="T40" fmla="*/ 2147483647 w 76"/>
                <a:gd name="T41" fmla="*/ 2147483647 h 78"/>
                <a:gd name="T42" fmla="*/ 2147483647 w 76"/>
                <a:gd name="T43" fmla="*/ 2147483647 h 78"/>
                <a:gd name="T44" fmla="*/ 2147483647 w 76"/>
                <a:gd name="T45" fmla="*/ 2147483647 h 78"/>
                <a:gd name="T46" fmla="*/ 2147483647 w 76"/>
                <a:gd name="T47" fmla="*/ 2147483647 h 78"/>
                <a:gd name="T48" fmla="*/ 2147483647 w 76"/>
                <a:gd name="T49" fmla="*/ 2147483647 h 78"/>
                <a:gd name="T50" fmla="*/ 2147483647 w 76"/>
                <a:gd name="T51" fmla="*/ 2147483647 h 78"/>
                <a:gd name="T52" fmla="*/ 2147483647 w 76"/>
                <a:gd name="T53" fmla="*/ 2147483647 h 78"/>
                <a:gd name="T54" fmla="*/ 2147483647 w 76"/>
                <a:gd name="T55" fmla="*/ 2147483647 h 78"/>
                <a:gd name="T56" fmla="*/ 2147483647 w 76"/>
                <a:gd name="T57" fmla="*/ 2147483647 h 78"/>
                <a:gd name="T58" fmla="*/ 2147483647 w 76"/>
                <a:gd name="T59" fmla="*/ 0 h 78"/>
                <a:gd name="T60" fmla="*/ 2147483647 w 76"/>
                <a:gd name="T61" fmla="*/ 2147483647 h 78"/>
                <a:gd name="T62" fmla="*/ 2147483647 w 76"/>
                <a:gd name="T63" fmla="*/ 2147483647 h 78"/>
                <a:gd name="T64" fmla="*/ 2147483647 w 76"/>
                <a:gd name="T65" fmla="*/ 2147483647 h 78"/>
                <a:gd name="T66" fmla="*/ 2147483647 w 76"/>
                <a:gd name="T67" fmla="*/ 2147483647 h 78"/>
                <a:gd name="T68" fmla="*/ 2147483647 w 76"/>
                <a:gd name="T69" fmla="*/ 2147483647 h 78"/>
                <a:gd name="T70" fmla="*/ 2147483647 w 76"/>
                <a:gd name="T71" fmla="*/ 2147483647 h 78"/>
                <a:gd name="T72" fmla="*/ 2147483647 w 76"/>
                <a:gd name="T73" fmla="*/ 2147483647 h 78"/>
                <a:gd name="T74" fmla="*/ 2147483647 w 76"/>
                <a:gd name="T75" fmla="*/ 2147483647 h 78"/>
                <a:gd name="T76" fmla="*/ 2147483647 w 76"/>
                <a:gd name="T77" fmla="*/ 2147483647 h 78"/>
                <a:gd name="T78" fmla="*/ 2147483647 w 76"/>
                <a:gd name="T79" fmla="*/ 2147483647 h 78"/>
                <a:gd name="T80" fmla="*/ 2147483647 w 76"/>
                <a:gd name="T81" fmla="*/ 2147483647 h 78"/>
                <a:gd name="T82" fmla="*/ 2147483647 w 76"/>
                <a:gd name="T83" fmla="*/ 2147483647 h 78"/>
                <a:gd name="T84" fmla="*/ 2147483647 w 76"/>
                <a:gd name="T85" fmla="*/ 2147483647 h 78"/>
                <a:gd name="T86" fmla="*/ 2147483647 w 76"/>
                <a:gd name="T87" fmla="*/ 2147483647 h 78"/>
                <a:gd name="T88" fmla="*/ 2147483647 w 76"/>
                <a:gd name="T89" fmla="*/ 2147483647 h 78"/>
                <a:gd name="T90" fmla="*/ 2147483647 w 76"/>
                <a:gd name="T91" fmla="*/ 2147483647 h 78"/>
                <a:gd name="T92" fmla="*/ 2147483647 w 76"/>
                <a:gd name="T93" fmla="*/ 2147483647 h 78"/>
                <a:gd name="T94" fmla="*/ 0 w 76"/>
                <a:gd name="T95" fmla="*/ 2147483647 h 78"/>
                <a:gd name="T96" fmla="*/ 2147483647 w 76"/>
                <a:gd name="T97" fmla="*/ 2147483647 h 78"/>
                <a:gd name="T98" fmla="*/ 2147483647 w 76"/>
                <a:gd name="T99" fmla="*/ 2147483647 h 78"/>
                <a:gd name="T100" fmla="*/ 0 w 76"/>
                <a:gd name="T101" fmla="*/ 2147483647 h 78"/>
                <a:gd name="T102" fmla="*/ 2147483647 w 76"/>
                <a:gd name="T103" fmla="*/ 2147483647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
                <a:gd name="T157" fmla="*/ 0 h 78"/>
                <a:gd name="T158" fmla="*/ 76 w 76"/>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 h="78">
                  <a:moveTo>
                    <a:pt x="4" y="48"/>
                  </a:moveTo>
                  <a:lnTo>
                    <a:pt x="4" y="48"/>
                  </a:lnTo>
                  <a:lnTo>
                    <a:pt x="6" y="44"/>
                  </a:lnTo>
                  <a:lnTo>
                    <a:pt x="8" y="42"/>
                  </a:lnTo>
                  <a:lnTo>
                    <a:pt x="10" y="42"/>
                  </a:lnTo>
                  <a:lnTo>
                    <a:pt x="14" y="42"/>
                  </a:lnTo>
                  <a:lnTo>
                    <a:pt x="16" y="42"/>
                  </a:lnTo>
                  <a:lnTo>
                    <a:pt x="16" y="44"/>
                  </a:lnTo>
                  <a:lnTo>
                    <a:pt x="14" y="48"/>
                  </a:lnTo>
                  <a:lnTo>
                    <a:pt x="12" y="54"/>
                  </a:lnTo>
                  <a:lnTo>
                    <a:pt x="10" y="58"/>
                  </a:lnTo>
                  <a:lnTo>
                    <a:pt x="10" y="62"/>
                  </a:lnTo>
                  <a:lnTo>
                    <a:pt x="6" y="64"/>
                  </a:lnTo>
                  <a:lnTo>
                    <a:pt x="4" y="68"/>
                  </a:lnTo>
                  <a:lnTo>
                    <a:pt x="2" y="70"/>
                  </a:lnTo>
                  <a:lnTo>
                    <a:pt x="2" y="78"/>
                  </a:lnTo>
                  <a:lnTo>
                    <a:pt x="4" y="78"/>
                  </a:lnTo>
                  <a:lnTo>
                    <a:pt x="8" y="78"/>
                  </a:lnTo>
                  <a:lnTo>
                    <a:pt x="10" y="76"/>
                  </a:lnTo>
                  <a:lnTo>
                    <a:pt x="12" y="76"/>
                  </a:lnTo>
                  <a:lnTo>
                    <a:pt x="16" y="78"/>
                  </a:lnTo>
                  <a:lnTo>
                    <a:pt x="20" y="78"/>
                  </a:lnTo>
                  <a:lnTo>
                    <a:pt x="38" y="66"/>
                  </a:lnTo>
                  <a:lnTo>
                    <a:pt x="62" y="48"/>
                  </a:lnTo>
                  <a:lnTo>
                    <a:pt x="64" y="44"/>
                  </a:lnTo>
                  <a:lnTo>
                    <a:pt x="66" y="38"/>
                  </a:lnTo>
                  <a:lnTo>
                    <a:pt x="68" y="34"/>
                  </a:lnTo>
                  <a:lnTo>
                    <a:pt x="66" y="32"/>
                  </a:lnTo>
                  <a:lnTo>
                    <a:pt x="66" y="30"/>
                  </a:lnTo>
                  <a:lnTo>
                    <a:pt x="66" y="28"/>
                  </a:lnTo>
                  <a:lnTo>
                    <a:pt x="68" y="24"/>
                  </a:lnTo>
                  <a:lnTo>
                    <a:pt x="68" y="22"/>
                  </a:lnTo>
                  <a:lnTo>
                    <a:pt x="68" y="18"/>
                  </a:lnTo>
                  <a:lnTo>
                    <a:pt x="70" y="14"/>
                  </a:lnTo>
                  <a:lnTo>
                    <a:pt x="74" y="12"/>
                  </a:lnTo>
                  <a:lnTo>
                    <a:pt x="76" y="8"/>
                  </a:lnTo>
                  <a:lnTo>
                    <a:pt x="76" y="4"/>
                  </a:lnTo>
                  <a:lnTo>
                    <a:pt x="74" y="4"/>
                  </a:lnTo>
                  <a:lnTo>
                    <a:pt x="72" y="0"/>
                  </a:lnTo>
                  <a:lnTo>
                    <a:pt x="68" y="2"/>
                  </a:lnTo>
                  <a:lnTo>
                    <a:pt x="62" y="4"/>
                  </a:lnTo>
                  <a:lnTo>
                    <a:pt x="58" y="6"/>
                  </a:lnTo>
                  <a:lnTo>
                    <a:pt x="54" y="6"/>
                  </a:lnTo>
                  <a:lnTo>
                    <a:pt x="48" y="6"/>
                  </a:lnTo>
                  <a:lnTo>
                    <a:pt x="42" y="10"/>
                  </a:lnTo>
                  <a:lnTo>
                    <a:pt x="38" y="10"/>
                  </a:lnTo>
                  <a:lnTo>
                    <a:pt x="32" y="12"/>
                  </a:lnTo>
                  <a:lnTo>
                    <a:pt x="28" y="12"/>
                  </a:lnTo>
                  <a:lnTo>
                    <a:pt x="24" y="12"/>
                  </a:lnTo>
                  <a:lnTo>
                    <a:pt x="22" y="12"/>
                  </a:lnTo>
                  <a:lnTo>
                    <a:pt x="20" y="14"/>
                  </a:lnTo>
                  <a:lnTo>
                    <a:pt x="18" y="14"/>
                  </a:lnTo>
                  <a:lnTo>
                    <a:pt x="16" y="14"/>
                  </a:lnTo>
                  <a:lnTo>
                    <a:pt x="14" y="14"/>
                  </a:lnTo>
                  <a:lnTo>
                    <a:pt x="14" y="16"/>
                  </a:lnTo>
                  <a:lnTo>
                    <a:pt x="14" y="20"/>
                  </a:lnTo>
                  <a:lnTo>
                    <a:pt x="14" y="22"/>
                  </a:lnTo>
                  <a:lnTo>
                    <a:pt x="12" y="22"/>
                  </a:lnTo>
                  <a:lnTo>
                    <a:pt x="10" y="24"/>
                  </a:lnTo>
                  <a:lnTo>
                    <a:pt x="8" y="26"/>
                  </a:lnTo>
                  <a:lnTo>
                    <a:pt x="6" y="28"/>
                  </a:lnTo>
                  <a:lnTo>
                    <a:pt x="2" y="28"/>
                  </a:lnTo>
                  <a:lnTo>
                    <a:pt x="0" y="28"/>
                  </a:lnTo>
                  <a:lnTo>
                    <a:pt x="2" y="34"/>
                  </a:lnTo>
                  <a:lnTo>
                    <a:pt x="2" y="40"/>
                  </a:lnTo>
                  <a:lnTo>
                    <a:pt x="0" y="44"/>
                  </a:lnTo>
                  <a:lnTo>
                    <a:pt x="2" y="44"/>
                  </a:lnTo>
                  <a:lnTo>
                    <a:pt x="4" y="46"/>
                  </a:lnTo>
                  <a:lnTo>
                    <a:pt x="4" y="4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4" name="Freeform 516">
              <a:extLst>
                <a:ext uri="{FF2B5EF4-FFF2-40B4-BE49-F238E27FC236}">
                  <a16:creationId xmlns:a16="http://schemas.microsoft.com/office/drawing/2014/main" id="{55A00838-3810-42F6-BC94-FBA58AC8D106}"/>
                </a:ext>
              </a:extLst>
            </p:cNvPr>
            <p:cNvSpPr>
              <a:spLocks/>
            </p:cNvSpPr>
            <p:nvPr/>
          </p:nvSpPr>
          <p:spPr bwMode="gray">
            <a:xfrm>
              <a:off x="4508572" y="2977521"/>
              <a:ext cx="96521" cy="68274"/>
            </a:xfrm>
            <a:custGeom>
              <a:avLst/>
              <a:gdLst>
                <a:gd name="T0" fmla="*/ 2147483647 w 52"/>
                <a:gd name="T1" fmla="*/ 2147483647 h 38"/>
                <a:gd name="T2" fmla="*/ 2147483647 w 52"/>
                <a:gd name="T3" fmla="*/ 2147483647 h 38"/>
                <a:gd name="T4" fmla="*/ 2147483647 w 52"/>
                <a:gd name="T5" fmla="*/ 2147483647 h 38"/>
                <a:gd name="T6" fmla="*/ 2147483647 w 52"/>
                <a:gd name="T7" fmla="*/ 2147483647 h 38"/>
                <a:gd name="T8" fmla="*/ 2147483647 w 52"/>
                <a:gd name="T9" fmla="*/ 2147483647 h 38"/>
                <a:gd name="T10" fmla="*/ 2147483647 w 52"/>
                <a:gd name="T11" fmla="*/ 0 h 38"/>
                <a:gd name="T12" fmla="*/ 2147483647 w 52"/>
                <a:gd name="T13" fmla="*/ 0 h 38"/>
                <a:gd name="T14" fmla="*/ 2147483647 w 52"/>
                <a:gd name="T15" fmla="*/ 2147483647 h 38"/>
                <a:gd name="T16" fmla="*/ 2147483647 w 52"/>
                <a:gd name="T17" fmla="*/ 2147483647 h 38"/>
                <a:gd name="T18" fmla="*/ 2147483647 w 52"/>
                <a:gd name="T19" fmla="*/ 2147483647 h 38"/>
                <a:gd name="T20" fmla="*/ 2147483647 w 52"/>
                <a:gd name="T21" fmla="*/ 2147483647 h 38"/>
                <a:gd name="T22" fmla="*/ 2147483647 w 52"/>
                <a:gd name="T23" fmla="*/ 2147483647 h 38"/>
                <a:gd name="T24" fmla="*/ 2147483647 w 52"/>
                <a:gd name="T25" fmla="*/ 2147483647 h 38"/>
                <a:gd name="T26" fmla="*/ 2147483647 w 52"/>
                <a:gd name="T27" fmla="*/ 2147483647 h 38"/>
                <a:gd name="T28" fmla="*/ 2147483647 w 52"/>
                <a:gd name="T29" fmla="*/ 2147483647 h 38"/>
                <a:gd name="T30" fmla="*/ 2147483647 w 52"/>
                <a:gd name="T31" fmla="*/ 2147483647 h 38"/>
                <a:gd name="T32" fmla="*/ 2147483647 w 52"/>
                <a:gd name="T33" fmla="*/ 2147483647 h 38"/>
                <a:gd name="T34" fmla="*/ 0 w 52"/>
                <a:gd name="T35" fmla="*/ 2147483647 h 38"/>
                <a:gd name="T36" fmla="*/ 2147483647 w 52"/>
                <a:gd name="T37" fmla="*/ 2147483647 h 38"/>
                <a:gd name="T38" fmla="*/ 2147483647 w 52"/>
                <a:gd name="T39" fmla="*/ 2147483647 h 38"/>
                <a:gd name="T40" fmla="*/ 2147483647 w 52"/>
                <a:gd name="T41" fmla="*/ 2147483647 h 38"/>
                <a:gd name="T42" fmla="*/ 2147483647 w 52"/>
                <a:gd name="T43" fmla="*/ 2147483647 h 38"/>
                <a:gd name="T44" fmla="*/ 2147483647 w 52"/>
                <a:gd name="T45" fmla="*/ 2147483647 h 38"/>
                <a:gd name="T46" fmla="*/ 2147483647 w 52"/>
                <a:gd name="T47" fmla="*/ 2147483647 h 38"/>
                <a:gd name="T48" fmla="*/ 2147483647 w 52"/>
                <a:gd name="T49" fmla="*/ 2147483647 h 38"/>
                <a:gd name="T50" fmla="*/ 2147483647 w 52"/>
                <a:gd name="T51" fmla="*/ 2147483647 h 38"/>
                <a:gd name="T52" fmla="*/ 2147483647 w 52"/>
                <a:gd name="T53" fmla="*/ 2147483647 h 38"/>
                <a:gd name="T54" fmla="*/ 2147483647 w 52"/>
                <a:gd name="T55" fmla="*/ 2147483647 h 38"/>
                <a:gd name="T56" fmla="*/ 2147483647 w 52"/>
                <a:gd name="T57" fmla="*/ 2147483647 h 38"/>
                <a:gd name="T58" fmla="*/ 2147483647 w 52"/>
                <a:gd name="T59" fmla="*/ 2147483647 h 38"/>
                <a:gd name="T60" fmla="*/ 2147483647 w 52"/>
                <a:gd name="T61" fmla="*/ 2147483647 h 38"/>
                <a:gd name="T62" fmla="*/ 2147483647 w 52"/>
                <a:gd name="T63" fmla="*/ 2147483647 h 38"/>
                <a:gd name="T64" fmla="*/ 2147483647 w 52"/>
                <a:gd name="T65" fmla="*/ 2147483647 h 38"/>
                <a:gd name="T66" fmla="*/ 2147483647 w 52"/>
                <a:gd name="T67" fmla="*/ 2147483647 h 38"/>
                <a:gd name="T68" fmla="*/ 2147483647 w 52"/>
                <a:gd name="T69" fmla="*/ 2147483647 h 38"/>
                <a:gd name="T70" fmla="*/ 2147483647 w 52"/>
                <a:gd name="T71" fmla="*/ 2147483647 h 38"/>
                <a:gd name="T72" fmla="*/ 2147483647 w 52"/>
                <a:gd name="T73" fmla="*/ 2147483647 h 38"/>
                <a:gd name="T74" fmla="*/ 2147483647 w 52"/>
                <a:gd name="T75" fmla="*/ 2147483647 h 38"/>
                <a:gd name="T76" fmla="*/ 2147483647 w 52"/>
                <a:gd name="T77" fmla="*/ 2147483647 h 38"/>
                <a:gd name="T78" fmla="*/ 2147483647 w 52"/>
                <a:gd name="T79" fmla="*/ 2147483647 h 38"/>
                <a:gd name="T80" fmla="*/ 2147483647 w 52"/>
                <a:gd name="T81" fmla="*/ 2147483647 h 38"/>
                <a:gd name="T82" fmla="*/ 2147483647 w 52"/>
                <a:gd name="T83" fmla="*/ 2147483647 h 38"/>
                <a:gd name="T84" fmla="*/ 2147483647 w 52"/>
                <a:gd name="T85" fmla="*/ 2147483647 h 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
                <a:gd name="T130" fmla="*/ 0 h 38"/>
                <a:gd name="T131" fmla="*/ 52 w 52"/>
                <a:gd name="T132" fmla="*/ 38 h 3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 h="38">
                  <a:moveTo>
                    <a:pt x="52" y="18"/>
                  </a:moveTo>
                  <a:lnTo>
                    <a:pt x="52" y="18"/>
                  </a:lnTo>
                  <a:lnTo>
                    <a:pt x="52" y="16"/>
                  </a:lnTo>
                  <a:lnTo>
                    <a:pt x="50" y="14"/>
                  </a:lnTo>
                  <a:lnTo>
                    <a:pt x="48" y="12"/>
                  </a:lnTo>
                  <a:lnTo>
                    <a:pt x="50" y="8"/>
                  </a:lnTo>
                  <a:lnTo>
                    <a:pt x="40" y="2"/>
                  </a:lnTo>
                  <a:lnTo>
                    <a:pt x="36" y="0"/>
                  </a:lnTo>
                  <a:lnTo>
                    <a:pt x="34" y="0"/>
                  </a:lnTo>
                  <a:lnTo>
                    <a:pt x="32" y="0"/>
                  </a:lnTo>
                  <a:lnTo>
                    <a:pt x="32" y="2"/>
                  </a:lnTo>
                  <a:lnTo>
                    <a:pt x="26" y="4"/>
                  </a:lnTo>
                  <a:lnTo>
                    <a:pt x="24" y="6"/>
                  </a:lnTo>
                  <a:lnTo>
                    <a:pt x="22" y="6"/>
                  </a:lnTo>
                  <a:lnTo>
                    <a:pt x="20" y="4"/>
                  </a:lnTo>
                  <a:lnTo>
                    <a:pt x="20" y="6"/>
                  </a:lnTo>
                  <a:lnTo>
                    <a:pt x="20" y="8"/>
                  </a:lnTo>
                  <a:lnTo>
                    <a:pt x="18" y="10"/>
                  </a:lnTo>
                  <a:lnTo>
                    <a:pt x="14" y="12"/>
                  </a:lnTo>
                  <a:lnTo>
                    <a:pt x="12" y="14"/>
                  </a:lnTo>
                  <a:lnTo>
                    <a:pt x="8" y="18"/>
                  </a:lnTo>
                  <a:lnTo>
                    <a:pt x="2" y="26"/>
                  </a:lnTo>
                  <a:lnTo>
                    <a:pt x="0" y="32"/>
                  </a:lnTo>
                  <a:lnTo>
                    <a:pt x="2" y="32"/>
                  </a:lnTo>
                  <a:lnTo>
                    <a:pt x="4" y="32"/>
                  </a:lnTo>
                  <a:lnTo>
                    <a:pt x="6" y="30"/>
                  </a:lnTo>
                  <a:lnTo>
                    <a:pt x="8" y="30"/>
                  </a:lnTo>
                  <a:lnTo>
                    <a:pt x="8" y="32"/>
                  </a:lnTo>
                  <a:lnTo>
                    <a:pt x="10" y="34"/>
                  </a:lnTo>
                  <a:lnTo>
                    <a:pt x="12" y="34"/>
                  </a:lnTo>
                  <a:lnTo>
                    <a:pt x="14" y="34"/>
                  </a:lnTo>
                  <a:lnTo>
                    <a:pt x="16" y="36"/>
                  </a:lnTo>
                  <a:lnTo>
                    <a:pt x="18" y="38"/>
                  </a:lnTo>
                  <a:lnTo>
                    <a:pt x="18" y="36"/>
                  </a:lnTo>
                  <a:lnTo>
                    <a:pt x="24" y="34"/>
                  </a:lnTo>
                  <a:lnTo>
                    <a:pt x="26" y="34"/>
                  </a:lnTo>
                  <a:lnTo>
                    <a:pt x="26" y="32"/>
                  </a:lnTo>
                  <a:lnTo>
                    <a:pt x="26" y="28"/>
                  </a:lnTo>
                  <a:lnTo>
                    <a:pt x="28" y="28"/>
                  </a:lnTo>
                  <a:lnTo>
                    <a:pt x="28" y="30"/>
                  </a:lnTo>
                  <a:lnTo>
                    <a:pt x="30" y="32"/>
                  </a:lnTo>
                  <a:lnTo>
                    <a:pt x="32" y="32"/>
                  </a:lnTo>
                  <a:lnTo>
                    <a:pt x="36" y="34"/>
                  </a:lnTo>
                  <a:lnTo>
                    <a:pt x="38" y="34"/>
                  </a:lnTo>
                  <a:lnTo>
                    <a:pt x="40" y="34"/>
                  </a:lnTo>
                  <a:lnTo>
                    <a:pt x="38" y="30"/>
                  </a:lnTo>
                  <a:lnTo>
                    <a:pt x="40" y="28"/>
                  </a:lnTo>
                  <a:lnTo>
                    <a:pt x="42" y="28"/>
                  </a:lnTo>
                  <a:lnTo>
                    <a:pt x="44" y="26"/>
                  </a:lnTo>
                  <a:lnTo>
                    <a:pt x="46" y="24"/>
                  </a:lnTo>
                  <a:lnTo>
                    <a:pt x="48" y="24"/>
                  </a:lnTo>
                  <a:lnTo>
                    <a:pt x="50" y="24"/>
                  </a:lnTo>
                  <a:lnTo>
                    <a:pt x="52" y="22"/>
                  </a:lnTo>
                  <a:lnTo>
                    <a:pt x="52" y="20"/>
                  </a:lnTo>
                  <a:lnTo>
                    <a:pt x="50" y="20"/>
                  </a:lnTo>
                  <a:lnTo>
                    <a:pt x="52" y="20"/>
                  </a:lnTo>
                  <a:lnTo>
                    <a:pt x="52" y="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5" name="Freeform 517">
              <a:extLst>
                <a:ext uri="{FF2B5EF4-FFF2-40B4-BE49-F238E27FC236}">
                  <a16:creationId xmlns:a16="http://schemas.microsoft.com/office/drawing/2014/main" id="{E79D3B02-34D7-46CD-89D8-C9E998E50489}"/>
                </a:ext>
              </a:extLst>
            </p:cNvPr>
            <p:cNvSpPr>
              <a:spLocks noEditPoints="1"/>
            </p:cNvSpPr>
            <p:nvPr/>
          </p:nvSpPr>
          <p:spPr bwMode="gray">
            <a:xfrm>
              <a:off x="4626282" y="2242984"/>
              <a:ext cx="258959" cy="508526"/>
            </a:xfrm>
            <a:custGeom>
              <a:avLst/>
              <a:gdLst>
                <a:gd name="T0" fmla="*/ 2147483647 w 140"/>
                <a:gd name="T1" fmla="*/ 2147483647 h 274"/>
                <a:gd name="T2" fmla="*/ 2147483647 w 140"/>
                <a:gd name="T3" fmla="*/ 2147483647 h 274"/>
                <a:gd name="T4" fmla="*/ 2147483647 w 140"/>
                <a:gd name="T5" fmla="*/ 2147483647 h 274"/>
                <a:gd name="T6" fmla="*/ 2147483647 w 140"/>
                <a:gd name="T7" fmla="*/ 2147483647 h 274"/>
                <a:gd name="T8" fmla="*/ 2147483647 w 140"/>
                <a:gd name="T9" fmla="*/ 2147483647 h 274"/>
                <a:gd name="T10" fmla="*/ 2147483647 w 140"/>
                <a:gd name="T11" fmla="*/ 2147483647 h 274"/>
                <a:gd name="T12" fmla="*/ 2147483647 w 140"/>
                <a:gd name="T13" fmla="*/ 2147483647 h 274"/>
                <a:gd name="T14" fmla="*/ 2147483647 w 140"/>
                <a:gd name="T15" fmla="*/ 2147483647 h 274"/>
                <a:gd name="T16" fmla="*/ 2147483647 w 140"/>
                <a:gd name="T17" fmla="*/ 2147483647 h 274"/>
                <a:gd name="T18" fmla="*/ 2147483647 w 140"/>
                <a:gd name="T19" fmla="*/ 2147483647 h 274"/>
                <a:gd name="T20" fmla="*/ 2147483647 w 140"/>
                <a:gd name="T21" fmla="*/ 2147483647 h 274"/>
                <a:gd name="T22" fmla="*/ 2147483647 w 140"/>
                <a:gd name="T23" fmla="*/ 2147483647 h 274"/>
                <a:gd name="T24" fmla="*/ 2147483647 w 140"/>
                <a:gd name="T25" fmla="*/ 2147483647 h 274"/>
                <a:gd name="T26" fmla="*/ 2147483647 w 140"/>
                <a:gd name="T27" fmla="*/ 2147483647 h 274"/>
                <a:gd name="T28" fmla="*/ 2147483647 w 140"/>
                <a:gd name="T29" fmla="*/ 2147483647 h 274"/>
                <a:gd name="T30" fmla="*/ 2147483647 w 140"/>
                <a:gd name="T31" fmla="*/ 2147483647 h 274"/>
                <a:gd name="T32" fmla="*/ 2147483647 w 140"/>
                <a:gd name="T33" fmla="*/ 2147483647 h 274"/>
                <a:gd name="T34" fmla="*/ 2147483647 w 140"/>
                <a:gd name="T35" fmla="*/ 2147483647 h 274"/>
                <a:gd name="T36" fmla="*/ 2147483647 w 140"/>
                <a:gd name="T37" fmla="*/ 2147483647 h 274"/>
                <a:gd name="T38" fmla="*/ 2147483647 w 140"/>
                <a:gd name="T39" fmla="*/ 2147483647 h 274"/>
                <a:gd name="T40" fmla="*/ 2147483647 w 140"/>
                <a:gd name="T41" fmla="*/ 2147483647 h 274"/>
                <a:gd name="T42" fmla="*/ 2147483647 w 140"/>
                <a:gd name="T43" fmla="*/ 2147483647 h 274"/>
                <a:gd name="T44" fmla="*/ 2147483647 w 140"/>
                <a:gd name="T45" fmla="*/ 2147483647 h 274"/>
                <a:gd name="T46" fmla="*/ 2147483647 w 140"/>
                <a:gd name="T47" fmla="*/ 2147483647 h 274"/>
                <a:gd name="T48" fmla="*/ 2147483647 w 140"/>
                <a:gd name="T49" fmla="*/ 2147483647 h 274"/>
                <a:gd name="T50" fmla="*/ 2147483647 w 140"/>
                <a:gd name="T51" fmla="*/ 2147483647 h 274"/>
                <a:gd name="T52" fmla="*/ 2147483647 w 140"/>
                <a:gd name="T53" fmla="*/ 2147483647 h 274"/>
                <a:gd name="T54" fmla="*/ 2147483647 w 140"/>
                <a:gd name="T55" fmla="*/ 2147483647 h 274"/>
                <a:gd name="T56" fmla="*/ 2147483647 w 140"/>
                <a:gd name="T57" fmla="*/ 2147483647 h 274"/>
                <a:gd name="T58" fmla="*/ 2147483647 w 140"/>
                <a:gd name="T59" fmla="*/ 2147483647 h 274"/>
                <a:gd name="T60" fmla="*/ 2147483647 w 140"/>
                <a:gd name="T61" fmla="*/ 2147483647 h 274"/>
                <a:gd name="T62" fmla="*/ 2147483647 w 140"/>
                <a:gd name="T63" fmla="*/ 2147483647 h 274"/>
                <a:gd name="T64" fmla="*/ 2147483647 w 140"/>
                <a:gd name="T65" fmla="*/ 2147483647 h 274"/>
                <a:gd name="T66" fmla="*/ 2147483647 w 140"/>
                <a:gd name="T67" fmla="*/ 2147483647 h 274"/>
                <a:gd name="T68" fmla="*/ 2147483647 w 140"/>
                <a:gd name="T69" fmla="*/ 2147483647 h 274"/>
                <a:gd name="T70" fmla="*/ 2147483647 w 140"/>
                <a:gd name="T71" fmla="*/ 2147483647 h 274"/>
                <a:gd name="T72" fmla="*/ 2147483647 w 140"/>
                <a:gd name="T73" fmla="*/ 2147483647 h 274"/>
                <a:gd name="T74" fmla="*/ 2147483647 w 140"/>
                <a:gd name="T75" fmla="*/ 2147483647 h 274"/>
                <a:gd name="T76" fmla="*/ 2147483647 w 140"/>
                <a:gd name="T77" fmla="*/ 2147483647 h 274"/>
                <a:gd name="T78" fmla="*/ 2147483647 w 140"/>
                <a:gd name="T79" fmla="*/ 2147483647 h 274"/>
                <a:gd name="T80" fmla="*/ 2147483647 w 140"/>
                <a:gd name="T81" fmla="*/ 2147483647 h 274"/>
                <a:gd name="T82" fmla="*/ 2147483647 w 140"/>
                <a:gd name="T83" fmla="*/ 2147483647 h 274"/>
                <a:gd name="T84" fmla="*/ 2147483647 w 140"/>
                <a:gd name="T85" fmla="*/ 2147483647 h 274"/>
                <a:gd name="T86" fmla="*/ 0 w 140"/>
                <a:gd name="T87" fmla="*/ 2147483647 h 274"/>
                <a:gd name="T88" fmla="*/ 2147483647 w 140"/>
                <a:gd name="T89" fmla="*/ 2147483647 h 274"/>
                <a:gd name="T90" fmla="*/ 2147483647 w 140"/>
                <a:gd name="T91" fmla="*/ 2147483647 h 274"/>
                <a:gd name="T92" fmla="*/ 2147483647 w 140"/>
                <a:gd name="T93" fmla="*/ 2147483647 h 274"/>
                <a:gd name="T94" fmla="*/ 2147483647 w 140"/>
                <a:gd name="T95" fmla="*/ 2147483647 h 274"/>
                <a:gd name="T96" fmla="*/ 2147483647 w 140"/>
                <a:gd name="T97" fmla="*/ 2147483647 h 274"/>
                <a:gd name="T98" fmla="*/ 2147483647 w 140"/>
                <a:gd name="T99" fmla="*/ 2147483647 h 274"/>
                <a:gd name="T100" fmla="*/ 2147483647 w 140"/>
                <a:gd name="T101" fmla="*/ 2147483647 h 274"/>
                <a:gd name="T102" fmla="*/ 2147483647 w 140"/>
                <a:gd name="T103" fmla="*/ 2147483647 h 274"/>
                <a:gd name="T104" fmla="*/ 2147483647 w 140"/>
                <a:gd name="T105" fmla="*/ 2147483647 h 274"/>
                <a:gd name="T106" fmla="*/ 2147483647 w 140"/>
                <a:gd name="T107" fmla="*/ 2147483647 h 274"/>
                <a:gd name="T108" fmla="*/ 2147483647 w 140"/>
                <a:gd name="T109" fmla="*/ 2147483647 h 2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0"/>
                <a:gd name="T166" fmla="*/ 0 h 274"/>
                <a:gd name="T167" fmla="*/ 140 w 140"/>
                <a:gd name="T168" fmla="*/ 274 h 2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0" h="274">
                  <a:moveTo>
                    <a:pt x="0" y="202"/>
                  </a:moveTo>
                  <a:lnTo>
                    <a:pt x="0" y="202"/>
                  </a:lnTo>
                  <a:lnTo>
                    <a:pt x="0" y="214"/>
                  </a:lnTo>
                  <a:lnTo>
                    <a:pt x="4" y="214"/>
                  </a:lnTo>
                  <a:lnTo>
                    <a:pt x="4" y="216"/>
                  </a:lnTo>
                  <a:lnTo>
                    <a:pt x="4" y="220"/>
                  </a:lnTo>
                  <a:lnTo>
                    <a:pt x="2" y="222"/>
                  </a:lnTo>
                  <a:lnTo>
                    <a:pt x="2" y="224"/>
                  </a:lnTo>
                  <a:lnTo>
                    <a:pt x="10" y="234"/>
                  </a:lnTo>
                  <a:lnTo>
                    <a:pt x="20" y="244"/>
                  </a:lnTo>
                  <a:lnTo>
                    <a:pt x="16" y="250"/>
                  </a:lnTo>
                  <a:lnTo>
                    <a:pt x="12" y="250"/>
                  </a:lnTo>
                  <a:lnTo>
                    <a:pt x="12" y="258"/>
                  </a:lnTo>
                  <a:lnTo>
                    <a:pt x="16" y="258"/>
                  </a:lnTo>
                  <a:lnTo>
                    <a:pt x="16" y="262"/>
                  </a:lnTo>
                  <a:lnTo>
                    <a:pt x="14" y="264"/>
                  </a:lnTo>
                  <a:lnTo>
                    <a:pt x="32" y="264"/>
                  </a:lnTo>
                  <a:lnTo>
                    <a:pt x="32" y="260"/>
                  </a:lnTo>
                  <a:lnTo>
                    <a:pt x="32" y="256"/>
                  </a:lnTo>
                  <a:lnTo>
                    <a:pt x="38" y="248"/>
                  </a:lnTo>
                  <a:lnTo>
                    <a:pt x="48" y="250"/>
                  </a:lnTo>
                  <a:lnTo>
                    <a:pt x="54" y="250"/>
                  </a:lnTo>
                  <a:lnTo>
                    <a:pt x="58" y="248"/>
                  </a:lnTo>
                  <a:lnTo>
                    <a:pt x="62" y="240"/>
                  </a:lnTo>
                  <a:lnTo>
                    <a:pt x="60" y="242"/>
                  </a:lnTo>
                  <a:lnTo>
                    <a:pt x="58" y="244"/>
                  </a:lnTo>
                  <a:lnTo>
                    <a:pt x="56" y="242"/>
                  </a:lnTo>
                  <a:lnTo>
                    <a:pt x="56" y="238"/>
                  </a:lnTo>
                  <a:lnTo>
                    <a:pt x="58" y="230"/>
                  </a:lnTo>
                  <a:lnTo>
                    <a:pt x="62" y="218"/>
                  </a:lnTo>
                  <a:lnTo>
                    <a:pt x="62" y="212"/>
                  </a:lnTo>
                  <a:lnTo>
                    <a:pt x="62" y="210"/>
                  </a:lnTo>
                  <a:lnTo>
                    <a:pt x="60" y="208"/>
                  </a:lnTo>
                  <a:lnTo>
                    <a:pt x="62" y="206"/>
                  </a:lnTo>
                  <a:lnTo>
                    <a:pt x="62" y="204"/>
                  </a:lnTo>
                  <a:lnTo>
                    <a:pt x="64" y="204"/>
                  </a:lnTo>
                  <a:lnTo>
                    <a:pt x="68" y="202"/>
                  </a:lnTo>
                  <a:lnTo>
                    <a:pt x="70" y="202"/>
                  </a:lnTo>
                  <a:lnTo>
                    <a:pt x="72" y="204"/>
                  </a:lnTo>
                  <a:lnTo>
                    <a:pt x="76" y="204"/>
                  </a:lnTo>
                  <a:lnTo>
                    <a:pt x="80" y="196"/>
                  </a:lnTo>
                  <a:lnTo>
                    <a:pt x="84" y="196"/>
                  </a:lnTo>
                  <a:lnTo>
                    <a:pt x="84" y="194"/>
                  </a:lnTo>
                  <a:lnTo>
                    <a:pt x="84" y="192"/>
                  </a:lnTo>
                  <a:lnTo>
                    <a:pt x="80" y="190"/>
                  </a:lnTo>
                  <a:lnTo>
                    <a:pt x="88" y="188"/>
                  </a:lnTo>
                  <a:lnTo>
                    <a:pt x="88" y="184"/>
                  </a:lnTo>
                  <a:lnTo>
                    <a:pt x="84" y="178"/>
                  </a:lnTo>
                  <a:lnTo>
                    <a:pt x="80" y="172"/>
                  </a:lnTo>
                  <a:lnTo>
                    <a:pt x="74" y="170"/>
                  </a:lnTo>
                  <a:lnTo>
                    <a:pt x="66" y="168"/>
                  </a:lnTo>
                  <a:lnTo>
                    <a:pt x="68" y="154"/>
                  </a:lnTo>
                  <a:lnTo>
                    <a:pt x="68" y="144"/>
                  </a:lnTo>
                  <a:lnTo>
                    <a:pt x="66" y="142"/>
                  </a:lnTo>
                  <a:lnTo>
                    <a:pt x="66" y="140"/>
                  </a:lnTo>
                  <a:lnTo>
                    <a:pt x="68" y="140"/>
                  </a:lnTo>
                  <a:lnTo>
                    <a:pt x="68" y="136"/>
                  </a:lnTo>
                  <a:lnTo>
                    <a:pt x="70" y="134"/>
                  </a:lnTo>
                  <a:lnTo>
                    <a:pt x="68" y="132"/>
                  </a:lnTo>
                  <a:lnTo>
                    <a:pt x="68" y="130"/>
                  </a:lnTo>
                  <a:lnTo>
                    <a:pt x="76" y="128"/>
                  </a:lnTo>
                  <a:lnTo>
                    <a:pt x="76" y="126"/>
                  </a:lnTo>
                  <a:lnTo>
                    <a:pt x="76" y="124"/>
                  </a:lnTo>
                  <a:lnTo>
                    <a:pt x="76" y="122"/>
                  </a:lnTo>
                  <a:lnTo>
                    <a:pt x="80" y="120"/>
                  </a:lnTo>
                  <a:lnTo>
                    <a:pt x="82" y="120"/>
                  </a:lnTo>
                  <a:lnTo>
                    <a:pt x="84" y="112"/>
                  </a:lnTo>
                  <a:lnTo>
                    <a:pt x="84" y="110"/>
                  </a:lnTo>
                  <a:lnTo>
                    <a:pt x="86" y="108"/>
                  </a:lnTo>
                  <a:lnTo>
                    <a:pt x="96" y="104"/>
                  </a:lnTo>
                  <a:lnTo>
                    <a:pt x="106" y="102"/>
                  </a:lnTo>
                  <a:lnTo>
                    <a:pt x="108" y="98"/>
                  </a:lnTo>
                  <a:lnTo>
                    <a:pt x="110" y="94"/>
                  </a:lnTo>
                  <a:lnTo>
                    <a:pt x="114" y="94"/>
                  </a:lnTo>
                  <a:lnTo>
                    <a:pt x="114" y="88"/>
                  </a:lnTo>
                  <a:lnTo>
                    <a:pt x="114" y="86"/>
                  </a:lnTo>
                  <a:lnTo>
                    <a:pt x="112" y="82"/>
                  </a:lnTo>
                  <a:lnTo>
                    <a:pt x="112" y="78"/>
                  </a:lnTo>
                  <a:lnTo>
                    <a:pt x="118" y="70"/>
                  </a:lnTo>
                  <a:lnTo>
                    <a:pt x="118" y="66"/>
                  </a:lnTo>
                  <a:lnTo>
                    <a:pt x="120" y="66"/>
                  </a:lnTo>
                  <a:lnTo>
                    <a:pt x="124" y="66"/>
                  </a:lnTo>
                  <a:lnTo>
                    <a:pt x="126" y="62"/>
                  </a:lnTo>
                  <a:lnTo>
                    <a:pt x="126" y="58"/>
                  </a:lnTo>
                  <a:lnTo>
                    <a:pt x="132" y="56"/>
                  </a:lnTo>
                  <a:lnTo>
                    <a:pt x="134" y="60"/>
                  </a:lnTo>
                  <a:lnTo>
                    <a:pt x="140" y="60"/>
                  </a:lnTo>
                  <a:lnTo>
                    <a:pt x="138" y="52"/>
                  </a:lnTo>
                  <a:lnTo>
                    <a:pt x="138" y="48"/>
                  </a:lnTo>
                  <a:lnTo>
                    <a:pt x="138" y="40"/>
                  </a:lnTo>
                  <a:lnTo>
                    <a:pt x="140" y="36"/>
                  </a:lnTo>
                  <a:lnTo>
                    <a:pt x="138" y="34"/>
                  </a:lnTo>
                  <a:lnTo>
                    <a:pt x="136" y="30"/>
                  </a:lnTo>
                  <a:lnTo>
                    <a:pt x="136" y="26"/>
                  </a:lnTo>
                  <a:lnTo>
                    <a:pt x="136" y="24"/>
                  </a:lnTo>
                  <a:lnTo>
                    <a:pt x="136" y="22"/>
                  </a:lnTo>
                  <a:lnTo>
                    <a:pt x="130" y="16"/>
                  </a:lnTo>
                  <a:lnTo>
                    <a:pt x="126" y="12"/>
                  </a:lnTo>
                  <a:lnTo>
                    <a:pt x="120" y="12"/>
                  </a:lnTo>
                  <a:lnTo>
                    <a:pt x="116" y="10"/>
                  </a:lnTo>
                  <a:lnTo>
                    <a:pt x="114" y="4"/>
                  </a:lnTo>
                  <a:lnTo>
                    <a:pt x="112" y="4"/>
                  </a:lnTo>
                  <a:lnTo>
                    <a:pt x="110" y="2"/>
                  </a:lnTo>
                  <a:lnTo>
                    <a:pt x="106" y="2"/>
                  </a:lnTo>
                  <a:lnTo>
                    <a:pt x="100" y="0"/>
                  </a:lnTo>
                  <a:lnTo>
                    <a:pt x="104" y="6"/>
                  </a:lnTo>
                  <a:lnTo>
                    <a:pt x="102" y="12"/>
                  </a:lnTo>
                  <a:lnTo>
                    <a:pt x="100" y="16"/>
                  </a:lnTo>
                  <a:lnTo>
                    <a:pt x="98" y="18"/>
                  </a:lnTo>
                  <a:lnTo>
                    <a:pt x="92" y="16"/>
                  </a:lnTo>
                  <a:lnTo>
                    <a:pt x="90" y="16"/>
                  </a:lnTo>
                  <a:lnTo>
                    <a:pt x="86" y="16"/>
                  </a:lnTo>
                  <a:lnTo>
                    <a:pt x="86" y="18"/>
                  </a:lnTo>
                  <a:lnTo>
                    <a:pt x="86" y="22"/>
                  </a:lnTo>
                  <a:lnTo>
                    <a:pt x="86" y="26"/>
                  </a:lnTo>
                  <a:lnTo>
                    <a:pt x="82" y="24"/>
                  </a:lnTo>
                  <a:lnTo>
                    <a:pt x="76" y="18"/>
                  </a:lnTo>
                  <a:lnTo>
                    <a:pt x="76" y="20"/>
                  </a:lnTo>
                  <a:lnTo>
                    <a:pt x="72" y="24"/>
                  </a:lnTo>
                  <a:lnTo>
                    <a:pt x="70" y="32"/>
                  </a:lnTo>
                  <a:lnTo>
                    <a:pt x="70" y="36"/>
                  </a:lnTo>
                  <a:lnTo>
                    <a:pt x="66" y="38"/>
                  </a:lnTo>
                  <a:lnTo>
                    <a:pt x="64" y="40"/>
                  </a:lnTo>
                  <a:lnTo>
                    <a:pt x="62" y="44"/>
                  </a:lnTo>
                  <a:lnTo>
                    <a:pt x="60" y="46"/>
                  </a:lnTo>
                  <a:lnTo>
                    <a:pt x="56" y="46"/>
                  </a:lnTo>
                  <a:lnTo>
                    <a:pt x="54" y="46"/>
                  </a:lnTo>
                  <a:lnTo>
                    <a:pt x="54" y="48"/>
                  </a:lnTo>
                  <a:lnTo>
                    <a:pt x="54" y="54"/>
                  </a:lnTo>
                  <a:lnTo>
                    <a:pt x="52" y="62"/>
                  </a:lnTo>
                  <a:lnTo>
                    <a:pt x="48" y="68"/>
                  </a:lnTo>
                  <a:lnTo>
                    <a:pt x="44" y="72"/>
                  </a:lnTo>
                  <a:lnTo>
                    <a:pt x="40" y="74"/>
                  </a:lnTo>
                  <a:lnTo>
                    <a:pt x="42" y="80"/>
                  </a:lnTo>
                  <a:lnTo>
                    <a:pt x="42" y="86"/>
                  </a:lnTo>
                  <a:lnTo>
                    <a:pt x="40" y="92"/>
                  </a:lnTo>
                  <a:lnTo>
                    <a:pt x="38" y="92"/>
                  </a:lnTo>
                  <a:lnTo>
                    <a:pt x="34" y="88"/>
                  </a:lnTo>
                  <a:lnTo>
                    <a:pt x="32" y="88"/>
                  </a:lnTo>
                  <a:lnTo>
                    <a:pt x="30" y="88"/>
                  </a:lnTo>
                  <a:lnTo>
                    <a:pt x="24" y="90"/>
                  </a:lnTo>
                  <a:lnTo>
                    <a:pt x="22" y="92"/>
                  </a:lnTo>
                  <a:lnTo>
                    <a:pt x="20" y="94"/>
                  </a:lnTo>
                  <a:lnTo>
                    <a:pt x="18" y="100"/>
                  </a:lnTo>
                  <a:lnTo>
                    <a:pt x="14" y="104"/>
                  </a:lnTo>
                  <a:lnTo>
                    <a:pt x="14" y="106"/>
                  </a:lnTo>
                  <a:lnTo>
                    <a:pt x="12" y="108"/>
                  </a:lnTo>
                  <a:lnTo>
                    <a:pt x="10" y="110"/>
                  </a:lnTo>
                  <a:lnTo>
                    <a:pt x="8" y="112"/>
                  </a:lnTo>
                  <a:lnTo>
                    <a:pt x="10" y="116"/>
                  </a:lnTo>
                  <a:lnTo>
                    <a:pt x="10" y="120"/>
                  </a:lnTo>
                  <a:lnTo>
                    <a:pt x="10" y="124"/>
                  </a:lnTo>
                  <a:lnTo>
                    <a:pt x="10" y="130"/>
                  </a:lnTo>
                  <a:lnTo>
                    <a:pt x="10" y="134"/>
                  </a:lnTo>
                  <a:lnTo>
                    <a:pt x="10" y="140"/>
                  </a:lnTo>
                  <a:lnTo>
                    <a:pt x="8" y="144"/>
                  </a:lnTo>
                  <a:lnTo>
                    <a:pt x="10" y="146"/>
                  </a:lnTo>
                  <a:lnTo>
                    <a:pt x="12" y="148"/>
                  </a:lnTo>
                  <a:lnTo>
                    <a:pt x="12" y="152"/>
                  </a:lnTo>
                  <a:lnTo>
                    <a:pt x="14" y="156"/>
                  </a:lnTo>
                  <a:lnTo>
                    <a:pt x="12" y="160"/>
                  </a:lnTo>
                  <a:lnTo>
                    <a:pt x="8" y="160"/>
                  </a:lnTo>
                  <a:lnTo>
                    <a:pt x="8" y="168"/>
                  </a:lnTo>
                  <a:lnTo>
                    <a:pt x="6" y="172"/>
                  </a:lnTo>
                  <a:lnTo>
                    <a:pt x="8" y="174"/>
                  </a:lnTo>
                  <a:lnTo>
                    <a:pt x="10" y="178"/>
                  </a:lnTo>
                  <a:lnTo>
                    <a:pt x="8" y="180"/>
                  </a:lnTo>
                  <a:lnTo>
                    <a:pt x="6" y="182"/>
                  </a:lnTo>
                  <a:lnTo>
                    <a:pt x="6" y="184"/>
                  </a:lnTo>
                  <a:lnTo>
                    <a:pt x="4" y="184"/>
                  </a:lnTo>
                  <a:lnTo>
                    <a:pt x="2" y="186"/>
                  </a:lnTo>
                  <a:lnTo>
                    <a:pt x="4" y="188"/>
                  </a:lnTo>
                  <a:lnTo>
                    <a:pt x="4" y="192"/>
                  </a:lnTo>
                  <a:lnTo>
                    <a:pt x="6" y="196"/>
                  </a:lnTo>
                  <a:lnTo>
                    <a:pt x="6" y="200"/>
                  </a:lnTo>
                  <a:lnTo>
                    <a:pt x="4" y="202"/>
                  </a:lnTo>
                  <a:lnTo>
                    <a:pt x="0" y="202"/>
                  </a:lnTo>
                  <a:close/>
                  <a:moveTo>
                    <a:pt x="38" y="202"/>
                  </a:moveTo>
                  <a:lnTo>
                    <a:pt x="38" y="202"/>
                  </a:lnTo>
                  <a:lnTo>
                    <a:pt x="38" y="206"/>
                  </a:lnTo>
                  <a:lnTo>
                    <a:pt x="38" y="210"/>
                  </a:lnTo>
                  <a:lnTo>
                    <a:pt x="34" y="210"/>
                  </a:lnTo>
                  <a:lnTo>
                    <a:pt x="36" y="208"/>
                  </a:lnTo>
                  <a:lnTo>
                    <a:pt x="38" y="202"/>
                  </a:lnTo>
                  <a:close/>
                  <a:moveTo>
                    <a:pt x="38" y="268"/>
                  </a:moveTo>
                  <a:lnTo>
                    <a:pt x="38" y="268"/>
                  </a:lnTo>
                  <a:lnTo>
                    <a:pt x="38" y="274"/>
                  </a:lnTo>
                  <a:lnTo>
                    <a:pt x="44" y="274"/>
                  </a:lnTo>
                  <a:lnTo>
                    <a:pt x="42" y="272"/>
                  </a:lnTo>
                  <a:lnTo>
                    <a:pt x="38" y="268"/>
                  </a:lnTo>
                  <a:close/>
                  <a:moveTo>
                    <a:pt x="86" y="220"/>
                  </a:moveTo>
                  <a:lnTo>
                    <a:pt x="86" y="224"/>
                  </a:lnTo>
                  <a:lnTo>
                    <a:pt x="80" y="224"/>
                  </a:lnTo>
                  <a:lnTo>
                    <a:pt x="78" y="230"/>
                  </a:lnTo>
                  <a:lnTo>
                    <a:pt x="76" y="240"/>
                  </a:lnTo>
                  <a:lnTo>
                    <a:pt x="80" y="242"/>
                  </a:lnTo>
                  <a:lnTo>
                    <a:pt x="86" y="228"/>
                  </a:lnTo>
                  <a:lnTo>
                    <a:pt x="88" y="222"/>
                  </a:lnTo>
                  <a:lnTo>
                    <a:pt x="88" y="220"/>
                  </a:lnTo>
                  <a:lnTo>
                    <a:pt x="86" y="220"/>
                  </a:lnTo>
                  <a:close/>
                  <a:moveTo>
                    <a:pt x="36" y="212"/>
                  </a:moveTo>
                  <a:lnTo>
                    <a:pt x="36" y="212"/>
                  </a:lnTo>
                  <a:lnTo>
                    <a:pt x="36" y="214"/>
                  </a:lnTo>
                  <a:lnTo>
                    <a:pt x="34" y="216"/>
                  </a:lnTo>
                  <a:lnTo>
                    <a:pt x="34" y="212"/>
                  </a:lnTo>
                  <a:lnTo>
                    <a:pt x="36" y="212"/>
                  </a:lnTo>
                  <a:close/>
                  <a:moveTo>
                    <a:pt x="66" y="188"/>
                  </a:moveTo>
                  <a:lnTo>
                    <a:pt x="66" y="188"/>
                  </a:lnTo>
                  <a:lnTo>
                    <a:pt x="70" y="188"/>
                  </a:lnTo>
                  <a:lnTo>
                    <a:pt x="72" y="190"/>
                  </a:lnTo>
                  <a:lnTo>
                    <a:pt x="72" y="192"/>
                  </a:lnTo>
                  <a:lnTo>
                    <a:pt x="66" y="190"/>
                  </a:lnTo>
                  <a:lnTo>
                    <a:pt x="64" y="188"/>
                  </a:lnTo>
                  <a:lnTo>
                    <a:pt x="66" y="188"/>
                  </a:lnTo>
                  <a:close/>
                  <a:moveTo>
                    <a:pt x="24" y="188"/>
                  </a:moveTo>
                  <a:lnTo>
                    <a:pt x="24" y="188"/>
                  </a:lnTo>
                  <a:lnTo>
                    <a:pt x="28" y="190"/>
                  </a:lnTo>
                  <a:lnTo>
                    <a:pt x="30" y="194"/>
                  </a:lnTo>
                  <a:lnTo>
                    <a:pt x="32" y="198"/>
                  </a:lnTo>
                  <a:lnTo>
                    <a:pt x="30" y="200"/>
                  </a:lnTo>
                  <a:lnTo>
                    <a:pt x="24" y="204"/>
                  </a:lnTo>
                  <a:lnTo>
                    <a:pt x="12" y="208"/>
                  </a:lnTo>
                  <a:lnTo>
                    <a:pt x="12" y="200"/>
                  </a:lnTo>
                  <a:lnTo>
                    <a:pt x="20" y="196"/>
                  </a:lnTo>
                  <a:lnTo>
                    <a:pt x="24" y="18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6" name="Freeform 518">
              <a:extLst>
                <a:ext uri="{FF2B5EF4-FFF2-40B4-BE49-F238E27FC236}">
                  <a16:creationId xmlns:a16="http://schemas.microsoft.com/office/drawing/2014/main" id="{2D0369F4-A4ED-4345-8865-12A1A3523218}"/>
                </a:ext>
              </a:extLst>
            </p:cNvPr>
            <p:cNvSpPr>
              <a:spLocks/>
            </p:cNvSpPr>
            <p:nvPr/>
          </p:nvSpPr>
          <p:spPr bwMode="gray">
            <a:xfrm>
              <a:off x="5031200" y="4969248"/>
              <a:ext cx="25896" cy="40023"/>
            </a:xfrm>
            <a:custGeom>
              <a:avLst/>
              <a:gdLst>
                <a:gd name="T0" fmla="*/ 2147483647 w 14"/>
                <a:gd name="T1" fmla="*/ 2147483647 h 22"/>
                <a:gd name="T2" fmla="*/ 2147483647 w 14"/>
                <a:gd name="T3" fmla="*/ 2147483647 h 22"/>
                <a:gd name="T4" fmla="*/ 2147483647 w 14"/>
                <a:gd name="T5" fmla="*/ 2147483647 h 22"/>
                <a:gd name="T6" fmla="*/ 2147483647 w 14"/>
                <a:gd name="T7" fmla="*/ 2147483647 h 22"/>
                <a:gd name="T8" fmla="*/ 2147483647 w 14"/>
                <a:gd name="T9" fmla="*/ 2147483647 h 22"/>
                <a:gd name="T10" fmla="*/ 2147483647 w 14"/>
                <a:gd name="T11" fmla="*/ 0 h 22"/>
                <a:gd name="T12" fmla="*/ 2147483647 w 14"/>
                <a:gd name="T13" fmla="*/ 0 h 22"/>
                <a:gd name="T14" fmla="*/ 2147483647 w 14"/>
                <a:gd name="T15" fmla="*/ 2147483647 h 22"/>
                <a:gd name="T16" fmla="*/ 2147483647 w 14"/>
                <a:gd name="T17" fmla="*/ 2147483647 h 22"/>
                <a:gd name="T18" fmla="*/ 2147483647 w 14"/>
                <a:gd name="T19" fmla="*/ 2147483647 h 22"/>
                <a:gd name="T20" fmla="*/ 2147483647 w 14"/>
                <a:gd name="T21" fmla="*/ 2147483647 h 22"/>
                <a:gd name="T22" fmla="*/ 0 w 14"/>
                <a:gd name="T23" fmla="*/ 2147483647 h 22"/>
                <a:gd name="T24" fmla="*/ 0 w 14"/>
                <a:gd name="T25" fmla="*/ 2147483647 h 22"/>
                <a:gd name="T26" fmla="*/ 0 w 14"/>
                <a:gd name="T27" fmla="*/ 2147483647 h 22"/>
                <a:gd name="T28" fmla="*/ 0 w 14"/>
                <a:gd name="T29" fmla="*/ 2147483647 h 22"/>
                <a:gd name="T30" fmla="*/ 0 w 14"/>
                <a:gd name="T31" fmla="*/ 2147483647 h 22"/>
                <a:gd name="T32" fmla="*/ 0 w 14"/>
                <a:gd name="T33" fmla="*/ 2147483647 h 22"/>
                <a:gd name="T34" fmla="*/ 2147483647 w 14"/>
                <a:gd name="T35" fmla="*/ 2147483647 h 22"/>
                <a:gd name="T36" fmla="*/ 2147483647 w 14"/>
                <a:gd name="T37" fmla="*/ 2147483647 h 22"/>
                <a:gd name="T38" fmla="*/ 2147483647 w 14"/>
                <a:gd name="T39" fmla="*/ 2147483647 h 22"/>
                <a:gd name="T40" fmla="*/ 2147483647 w 14"/>
                <a:gd name="T41" fmla="*/ 2147483647 h 22"/>
                <a:gd name="T42" fmla="*/ 2147483647 w 14"/>
                <a:gd name="T43" fmla="*/ 2147483647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22"/>
                <a:gd name="T68" fmla="*/ 14 w 14"/>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22">
                  <a:moveTo>
                    <a:pt x="12" y="14"/>
                  </a:moveTo>
                  <a:lnTo>
                    <a:pt x="12" y="14"/>
                  </a:lnTo>
                  <a:lnTo>
                    <a:pt x="14" y="6"/>
                  </a:lnTo>
                  <a:lnTo>
                    <a:pt x="12" y="2"/>
                  </a:lnTo>
                  <a:lnTo>
                    <a:pt x="8" y="0"/>
                  </a:lnTo>
                  <a:lnTo>
                    <a:pt x="6" y="2"/>
                  </a:lnTo>
                  <a:lnTo>
                    <a:pt x="4" y="2"/>
                  </a:lnTo>
                  <a:lnTo>
                    <a:pt x="2" y="2"/>
                  </a:lnTo>
                  <a:lnTo>
                    <a:pt x="0" y="2"/>
                  </a:lnTo>
                  <a:lnTo>
                    <a:pt x="0" y="8"/>
                  </a:lnTo>
                  <a:lnTo>
                    <a:pt x="0" y="12"/>
                  </a:lnTo>
                  <a:lnTo>
                    <a:pt x="0" y="14"/>
                  </a:lnTo>
                  <a:lnTo>
                    <a:pt x="2" y="18"/>
                  </a:lnTo>
                  <a:lnTo>
                    <a:pt x="4" y="18"/>
                  </a:lnTo>
                  <a:lnTo>
                    <a:pt x="12" y="22"/>
                  </a:lnTo>
                  <a:lnTo>
                    <a:pt x="12" y="1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7" name="Freeform 519">
              <a:extLst>
                <a:ext uri="{FF2B5EF4-FFF2-40B4-BE49-F238E27FC236}">
                  <a16:creationId xmlns:a16="http://schemas.microsoft.com/office/drawing/2014/main" id="{18C82573-7406-43A7-B8DC-1536AF689CC2}"/>
                </a:ext>
              </a:extLst>
            </p:cNvPr>
            <p:cNvSpPr>
              <a:spLocks/>
            </p:cNvSpPr>
            <p:nvPr/>
          </p:nvSpPr>
          <p:spPr bwMode="gray">
            <a:xfrm>
              <a:off x="3164335" y="4131122"/>
              <a:ext cx="87106" cy="127132"/>
            </a:xfrm>
            <a:custGeom>
              <a:avLst/>
              <a:gdLst>
                <a:gd name="T0" fmla="*/ 2147483647 w 46"/>
                <a:gd name="T1" fmla="*/ 2147483647 h 68"/>
                <a:gd name="T2" fmla="*/ 2147483647 w 46"/>
                <a:gd name="T3" fmla="*/ 2147483647 h 68"/>
                <a:gd name="T4" fmla="*/ 2147483647 w 46"/>
                <a:gd name="T5" fmla="*/ 2147483647 h 68"/>
                <a:gd name="T6" fmla="*/ 2147483647 w 46"/>
                <a:gd name="T7" fmla="*/ 2147483647 h 68"/>
                <a:gd name="T8" fmla="*/ 2147483647 w 46"/>
                <a:gd name="T9" fmla="*/ 2147483647 h 68"/>
                <a:gd name="T10" fmla="*/ 2147483647 w 46"/>
                <a:gd name="T11" fmla="*/ 2147483647 h 68"/>
                <a:gd name="T12" fmla="*/ 2147483647 w 46"/>
                <a:gd name="T13" fmla="*/ 2147483647 h 68"/>
                <a:gd name="T14" fmla="*/ 2147483647 w 46"/>
                <a:gd name="T15" fmla="*/ 2147483647 h 68"/>
                <a:gd name="T16" fmla="*/ 2147483647 w 46"/>
                <a:gd name="T17" fmla="*/ 2147483647 h 68"/>
                <a:gd name="T18" fmla="*/ 0 w 46"/>
                <a:gd name="T19" fmla="*/ 2147483647 h 68"/>
                <a:gd name="T20" fmla="*/ 2147483647 w 46"/>
                <a:gd name="T21" fmla="*/ 2147483647 h 68"/>
                <a:gd name="T22" fmla="*/ 2147483647 w 46"/>
                <a:gd name="T23" fmla="*/ 2147483647 h 68"/>
                <a:gd name="T24" fmla="*/ 2147483647 w 46"/>
                <a:gd name="T25" fmla="*/ 2147483647 h 68"/>
                <a:gd name="T26" fmla="*/ 2147483647 w 46"/>
                <a:gd name="T27" fmla="*/ 2147483647 h 68"/>
                <a:gd name="T28" fmla="*/ 2147483647 w 46"/>
                <a:gd name="T29" fmla="*/ 2147483647 h 68"/>
                <a:gd name="T30" fmla="*/ 2147483647 w 46"/>
                <a:gd name="T31" fmla="*/ 2147483647 h 68"/>
                <a:gd name="T32" fmla="*/ 2147483647 w 46"/>
                <a:gd name="T33" fmla="*/ 2147483647 h 68"/>
                <a:gd name="T34" fmla="*/ 2147483647 w 46"/>
                <a:gd name="T35" fmla="*/ 2147483647 h 68"/>
                <a:gd name="T36" fmla="*/ 2147483647 w 46"/>
                <a:gd name="T37" fmla="*/ 2147483647 h 68"/>
                <a:gd name="T38" fmla="*/ 2147483647 w 46"/>
                <a:gd name="T39" fmla="*/ 2147483647 h 68"/>
                <a:gd name="T40" fmla="*/ 2147483647 w 46"/>
                <a:gd name="T41" fmla="*/ 2147483647 h 68"/>
                <a:gd name="T42" fmla="*/ 2147483647 w 46"/>
                <a:gd name="T43" fmla="*/ 2147483647 h 68"/>
                <a:gd name="T44" fmla="*/ 2147483647 w 46"/>
                <a:gd name="T45" fmla="*/ 2147483647 h 68"/>
                <a:gd name="T46" fmla="*/ 2147483647 w 46"/>
                <a:gd name="T47" fmla="*/ 2147483647 h 68"/>
                <a:gd name="T48" fmla="*/ 2147483647 w 46"/>
                <a:gd name="T49" fmla="*/ 2147483647 h 68"/>
                <a:gd name="T50" fmla="*/ 2147483647 w 46"/>
                <a:gd name="T51" fmla="*/ 2147483647 h 68"/>
                <a:gd name="T52" fmla="*/ 2147483647 w 46"/>
                <a:gd name="T53" fmla="*/ 2147483647 h 68"/>
                <a:gd name="T54" fmla="*/ 2147483647 w 46"/>
                <a:gd name="T55" fmla="*/ 2147483647 h 68"/>
                <a:gd name="T56" fmla="*/ 2147483647 w 46"/>
                <a:gd name="T57" fmla="*/ 2147483647 h 68"/>
                <a:gd name="T58" fmla="*/ 2147483647 w 46"/>
                <a:gd name="T59" fmla="*/ 2147483647 h 68"/>
                <a:gd name="T60" fmla="*/ 2147483647 w 46"/>
                <a:gd name="T61" fmla="*/ 2147483647 h 68"/>
                <a:gd name="T62" fmla="*/ 2147483647 w 46"/>
                <a:gd name="T63" fmla="*/ 2147483647 h 68"/>
                <a:gd name="T64" fmla="*/ 2147483647 w 46"/>
                <a:gd name="T65" fmla="*/ 2147483647 h 68"/>
                <a:gd name="T66" fmla="*/ 2147483647 w 46"/>
                <a:gd name="T67" fmla="*/ 2147483647 h 68"/>
                <a:gd name="T68" fmla="*/ 2147483647 w 46"/>
                <a:gd name="T69" fmla="*/ 2147483647 h 68"/>
                <a:gd name="T70" fmla="*/ 2147483647 w 46"/>
                <a:gd name="T71" fmla="*/ 2147483647 h 68"/>
                <a:gd name="T72" fmla="*/ 2147483647 w 46"/>
                <a:gd name="T73" fmla="*/ 2147483647 h 68"/>
                <a:gd name="T74" fmla="*/ 2147483647 w 46"/>
                <a:gd name="T75" fmla="*/ 2147483647 h 68"/>
                <a:gd name="T76" fmla="*/ 2147483647 w 46"/>
                <a:gd name="T77" fmla="*/ 2147483647 h 68"/>
                <a:gd name="T78" fmla="*/ 2147483647 w 46"/>
                <a:gd name="T79" fmla="*/ 2147483647 h 68"/>
                <a:gd name="T80" fmla="*/ 2147483647 w 46"/>
                <a:gd name="T81" fmla="*/ 2147483647 h 68"/>
                <a:gd name="T82" fmla="*/ 2147483647 w 46"/>
                <a:gd name="T83" fmla="*/ 2147483647 h 68"/>
                <a:gd name="T84" fmla="*/ 2147483647 w 46"/>
                <a:gd name="T85" fmla="*/ 2147483647 h 68"/>
                <a:gd name="T86" fmla="*/ 2147483647 w 46"/>
                <a:gd name="T87" fmla="*/ 2147483647 h 68"/>
                <a:gd name="T88" fmla="*/ 2147483647 w 46"/>
                <a:gd name="T89" fmla="*/ 2147483647 h 68"/>
                <a:gd name="T90" fmla="*/ 2147483647 w 46"/>
                <a:gd name="T91" fmla="*/ 0 h 68"/>
                <a:gd name="T92" fmla="*/ 2147483647 w 46"/>
                <a:gd name="T93" fmla="*/ 0 h 68"/>
                <a:gd name="T94" fmla="*/ 2147483647 w 46"/>
                <a:gd name="T95" fmla="*/ 0 h 68"/>
                <a:gd name="T96" fmla="*/ 2147483647 w 46"/>
                <a:gd name="T97" fmla="*/ 2147483647 h 68"/>
                <a:gd name="T98" fmla="*/ 2147483647 w 46"/>
                <a:gd name="T99" fmla="*/ 2147483647 h 68"/>
                <a:gd name="T100" fmla="*/ 2147483647 w 46"/>
                <a:gd name="T101" fmla="*/ 2147483647 h 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
                <a:gd name="T154" fmla="*/ 0 h 68"/>
                <a:gd name="T155" fmla="*/ 46 w 46"/>
                <a:gd name="T156" fmla="*/ 68 h 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 h="68">
                  <a:moveTo>
                    <a:pt x="12" y="4"/>
                  </a:moveTo>
                  <a:lnTo>
                    <a:pt x="12" y="4"/>
                  </a:lnTo>
                  <a:lnTo>
                    <a:pt x="8" y="10"/>
                  </a:lnTo>
                  <a:lnTo>
                    <a:pt x="8" y="18"/>
                  </a:lnTo>
                  <a:lnTo>
                    <a:pt x="4" y="20"/>
                  </a:lnTo>
                  <a:lnTo>
                    <a:pt x="2" y="24"/>
                  </a:lnTo>
                  <a:lnTo>
                    <a:pt x="0" y="24"/>
                  </a:lnTo>
                  <a:lnTo>
                    <a:pt x="2" y="26"/>
                  </a:lnTo>
                  <a:lnTo>
                    <a:pt x="2" y="32"/>
                  </a:lnTo>
                  <a:lnTo>
                    <a:pt x="2" y="40"/>
                  </a:lnTo>
                  <a:lnTo>
                    <a:pt x="4" y="42"/>
                  </a:lnTo>
                  <a:lnTo>
                    <a:pt x="6" y="46"/>
                  </a:lnTo>
                  <a:lnTo>
                    <a:pt x="4" y="50"/>
                  </a:lnTo>
                  <a:lnTo>
                    <a:pt x="6" y="60"/>
                  </a:lnTo>
                  <a:lnTo>
                    <a:pt x="8" y="66"/>
                  </a:lnTo>
                  <a:lnTo>
                    <a:pt x="12" y="66"/>
                  </a:lnTo>
                  <a:lnTo>
                    <a:pt x="20" y="68"/>
                  </a:lnTo>
                  <a:lnTo>
                    <a:pt x="24" y="64"/>
                  </a:lnTo>
                  <a:lnTo>
                    <a:pt x="20" y="60"/>
                  </a:lnTo>
                  <a:lnTo>
                    <a:pt x="22" y="54"/>
                  </a:lnTo>
                  <a:lnTo>
                    <a:pt x="28" y="56"/>
                  </a:lnTo>
                  <a:lnTo>
                    <a:pt x="32" y="54"/>
                  </a:lnTo>
                  <a:lnTo>
                    <a:pt x="34" y="58"/>
                  </a:lnTo>
                  <a:lnTo>
                    <a:pt x="40" y="58"/>
                  </a:lnTo>
                  <a:lnTo>
                    <a:pt x="44" y="50"/>
                  </a:lnTo>
                  <a:lnTo>
                    <a:pt x="46" y="42"/>
                  </a:lnTo>
                  <a:lnTo>
                    <a:pt x="46" y="40"/>
                  </a:lnTo>
                  <a:lnTo>
                    <a:pt x="42" y="36"/>
                  </a:lnTo>
                  <a:lnTo>
                    <a:pt x="40" y="34"/>
                  </a:lnTo>
                  <a:lnTo>
                    <a:pt x="40" y="30"/>
                  </a:lnTo>
                  <a:lnTo>
                    <a:pt x="40" y="16"/>
                  </a:lnTo>
                  <a:lnTo>
                    <a:pt x="44" y="6"/>
                  </a:lnTo>
                  <a:lnTo>
                    <a:pt x="44" y="2"/>
                  </a:lnTo>
                  <a:lnTo>
                    <a:pt x="30" y="0"/>
                  </a:lnTo>
                  <a:lnTo>
                    <a:pt x="14" y="0"/>
                  </a:lnTo>
                  <a:lnTo>
                    <a:pt x="14" y="2"/>
                  </a:lnTo>
                  <a:lnTo>
                    <a:pt x="12"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8" name="Freeform 520">
              <a:extLst>
                <a:ext uri="{FF2B5EF4-FFF2-40B4-BE49-F238E27FC236}">
                  <a16:creationId xmlns:a16="http://schemas.microsoft.com/office/drawing/2014/main" id="{8ECC2C79-831D-4940-B663-7B70487A42EC}"/>
                </a:ext>
              </a:extLst>
            </p:cNvPr>
            <p:cNvSpPr>
              <a:spLocks/>
            </p:cNvSpPr>
            <p:nvPr/>
          </p:nvSpPr>
          <p:spPr bwMode="gray">
            <a:xfrm>
              <a:off x="4838158" y="3676746"/>
              <a:ext cx="367253" cy="517943"/>
            </a:xfrm>
            <a:custGeom>
              <a:avLst/>
              <a:gdLst>
                <a:gd name="T0" fmla="*/ 2147483647 w 198"/>
                <a:gd name="T1" fmla="*/ 2147483647 h 280"/>
                <a:gd name="T2" fmla="*/ 2147483647 w 198"/>
                <a:gd name="T3" fmla="*/ 2147483647 h 280"/>
                <a:gd name="T4" fmla="*/ 2147483647 w 198"/>
                <a:gd name="T5" fmla="*/ 2147483647 h 280"/>
                <a:gd name="T6" fmla="*/ 2147483647 w 198"/>
                <a:gd name="T7" fmla="*/ 2147483647 h 280"/>
                <a:gd name="T8" fmla="*/ 2147483647 w 198"/>
                <a:gd name="T9" fmla="*/ 2147483647 h 280"/>
                <a:gd name="T10" fmla="*/ 2147483647 w 198"/>
                <a:gd name="T11" fmla="*/ 2147483647 h 280"/>
                <a:gd name="T12" fmla="*/ 2147483647 w 198"/>
                <a:gd name="T13" fmla="*/ 2147483647 h 280"/>
                <a:gd name="T14" fmla="*/ 2147483647 w 198"/>
                <a:gd name="T15" fmla="*/ 2147483647 h 280"/>
                <a:gd name="T16" fmla="*/ 2147483647 w 198"/>
                <a:gd name="T17" fmla="*/ 2147483647 h 280"/>
                <a:gd name="T18" fmla="*/ 2147483647 w 198"/>
                <a:gd name="T19" fmla="*/ 2147483647 h 280"/>
                <a:gd name="T20" fmla="*/ 2147483647 w 198"/>
                <a:gd name="T21" fmla="*/ 2147483647 h 280"/>
                <a:gd name="T22" fmla="*/ 2147483647 w 198"/>
                <a:gd name="T23" fmla="*/ 2147483647 h 280"/>
                <a:gd name="T24" fmla="*/ 2147483647 w 198"/>
                <a:gd name="T25" fmla="*/ 2147483647 h 280"/>
                <a:gd name="T26" fmla="*/ 2147483647 w 198"/>
                <a:gd name="T27" fmla="*/ 2147483647 h 280"/>
                <a:gd name="T28" fmla="*/ 0 w 198"/>
                <a:gd name="T29" fmla="*/ 2147483647 h 280"/>
                <a:gd name="T30" fmla="*/ 2147483647 w 198"/>
                <a:gd name="T31" fmla="*/ 2147483647 h 280"/>
                <a:gd name="T32" fmla="*/ 2147483647 w 198"/>
                <a:gd name="T33" fmla="*/ 2147483647 h 280"/>
                <a:gd name="T34" fmla="*/ 2147483647 w 198"/>
                <a:gd name="T35" fmla="*/ 2147483647 h 280"/>
                <a:gd name="T36" fmla="*/ 2147483647 w 198"/>
                <a:gd name="T37" fmla="*/ 2147483647 h 280"/>
                <a:gd name="T38" fmla="*/ 2147483647 w 198"/>
                <a:gd name="T39" fmla="*/ 2147483647 h 280"/>
                <a:gd name="T40" fmla="*/ 2147483647 w 198"/>
                <a:gd name="T41" fmla="*/ 2147483647 h 280"/>
                <a:gd name="T42" fmla="*/ 2147483647 w 198"/>
                <a:gd name="T43" fmla="*/ 2147483647 h 280"/>
                <a:gd name="T44" fmla="*/ 2147483647 w 198"/>
                <a:gd name="T45" fmla="*/ 2147483647 h 280"/>
                <a:gd name="T46" fmla="*/ 2147483647 w 198"/>
                <a:gd name="T47" fmla="*/ 2147483647 h 280"/>
                <a:gd name="T48" fmla="*/ 2147483647 w 198"/>
                <a:gd name="T49" fmla="*/ 2147483647 h 280"/>
                <a:gd name="T50" fmla="*/ 2147483647 w 198"/>
                <a:gd name="T51" fmla="*/ 2147483647 h 280"/>
                <a:gd name="T52" fmla="*/ 2147483647 w 198"/>
                <a:gd name="T53" fmla="*/ 2147483647 h 280"/>
                <a:gd name="T54" fmla="*/ 2147483647 w 198"/>
                <a:gd name="T55" fmla="*/ 2147483647 h 280"/>
                <a:gd name="T56" fmla="*/ 2147483647 w 198"/>
                <a:gd name="T57" fmla="*/ 2147483647 h 280"/>
                <a:gd name="T58" fmla="*/ 2147483647 w 198"/>
                <a:gd name="T59" fmla="*/ 2147483647 h 280"/>
                <a:gd name="T60" fmla="*/ 2147483647 w 198"/>
                <a:gd name="T61" fmla="*/ 2147483647 h 280"/>
                <a:gd name="T62" fmla="*/ 2147483647 w 198"/>
                <a:gd name="T63" fmla="*/ 2147483647 h 280"/>
                <a:gd name="T64" fmla="*/ 2147483647 w 198"/>
                <a:gd name="T65" fmla="*/ 2147483647 h 280"/>
                <a:gd name="T66" fmla="*/ 2147483647 w 198"/>
                <a:gd name="T67" fmla="*/ 2147483647 h 280"/>
                <a:gd name="T68" fmla="*/ 2147483647 w 198"/>
                <a:gd name="T69" fmla="*/ 2147483647 h 280"/>
                <a:gd name="T70" fmla="*/ 2147483647 w 198"/>
                <a:gd name="T71" fmla="*/ 2147483647 h 280"/>
                <a:gd name="T72" fmla="*/ 2147483647 w 198"/>
                <a:gd name="T73" fmla="*/ 2147483647 h 280"/>
                <a:gd name="T74" fmla="*/ 2147483647 w 198"/>
                <a:gd name="T75" fmla="*/ 2147483647 h 280"/>
                <a:gd name="T76" fmla="*/ 2147483647 w 198"/>
                <a:gd name="T77" fmla="*/ 2147483647 h 280"/>
                <a:gd name="T78" fmla="*/ 2147483647 w 198"/>
                <a:gd name="T79" fmla="*/ 2147483647 h 280"/>
                <a:gd name="T80" fmla="*/ 2147483647 w 198"/>
                <a:gd name="T81" fmla="*/ 2147483647 h 280"/>
                <a:gd name="T82" fmla="*/ 2147483647 w 198"/>
                <a:gd name="T83" fmla="*/ 2147483647 h 280"/>
                <a:gd name="T84" fmla="*/ 2147483647 w 198"/>
                <a:gd name="T85" fmla="*/ 2147483647 h 280"/>
                <a:gd name="T86" fmla="*/ 2147483647 w 198"/>
                <a:gd name="T87" fmla="*/ 2147483647 h 280"/>
                <a:gd name="T88" fmla="*/ 2147483647 w 198"/>
                <a:gd name="T89" fmla="*/ 2147483647 h 280"/>
                <a:gd name="T90" fmla="*/ 2147483647 w 198"/>
                <a:gd name="T91" fmla="*/ 2147483647 h 280"/>
                <a:gd name="T92" fmla="*/ 2147483647 w 198"/>
                <a:gd name="T93" fmla="*/ 2147483647 h 280"/>
                <a:gd name="T94" fmla="*/ 2147483647 w 198"/>
                <a:gd name="T95" fmla="*/ 2147483647 h 280"/>
                <a:gd name="T96" fmla="*/ 2147483647 w 198"/>
                <a:gd name="T97" fmla="*/ 2147483647 h 280"/>
                <a:gd name="T98" fmla="*/ 2147483647 w 198"/>
                <a:gd name="T99" fmla="*/ 2147483647 h 280"/>
                <a:gd name="T100" fmla="*/ 2147483647 w 198"/>
                <a:gd name="T101" fmla="*/ 2147483647 h 280"/>
                <a:gd name="T102" fmla="*/ 2147483647 w 198"/>
                <a:gd name="T103" fmla="*/ 2147483647 h 280"/>
                <a:gd name="T104" fmla="*/ 2147483647 w 198"/>
                <a:gd name="T105" fmla="*/ 2147483647 h 280"/>
                <a:gd name="T106" fmla="*/ 2147483647 w 198"/>
                <a:gd name="T107" fmla="*/ 2147483647 h 280"/>
                <a:gd name="T108" fmla="*/ 2147483647 w 198"/>
                <a:gd name="T109" fmla="*/ 2147483647 h 280"/>
                <a:gd name="T110" fmla="*/ 2147483647 w 198"/>
                <a:gd name="T111" fmla="*/ 2147483647 h 280"/>
                <a:gd name="T112" fmla="*/ 2147483647 w 198"/>
                <a:gd name="T113" fmla="*/ 2147483647 h 280"/>
                <a:gd name="T114" fmla="*/ 2147483647 w 198"/>
                <a:gd name="T115" fmla="*/ 2147483647 h 280"/>
                <a:gd name="T116" fmla="*/ 2147483647 w 198"/>
                <a:gd name="T117" fmla="*/ 2147483647 h 280"/>
                <a:gd name="T118" fmla="*/ 2147483647 w 198"/>
                <a:gd name="T119" fmla="*/ 2147483647 h 280"/>
                <a:gd name="T120" fmla="*/ 2147483647 w 198"/>
                <a:gd name="T121" fmla="*/ 2147483647 h 2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8"/>
                <a:gd name="T184" fmla="*/ 0 h 280"/>
                <a:gd name="T185" fmla="*/ 198 w 198"/>
                <a:gd name="T186" fmla="*/ 280 h 2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8" h="280">
                  <a:moveTo>
                    <a:pt x="198" y="70"/>
                  </a:moveTo>
                  <a:lnTo>
                    <a:pt x="194" y="70"/>
                  </a:lnTo>
                  <a:lnTo>
                    <a:pt x="178" y="52"/>
                  </a:lnTo>
                  <a:lnTo>
                    <a:pt x="176" y="44"/>
                  </a:lnTo>
                  <a:lnTo>
                    <a:pt x="178" y="36"/>
                  </a:lnTo>
                  <a:lnTo>
                    <a:pt x="178" y="28"/>
                  </a:lnTo>
                  <a:lnTo>
                    <a:pt x="178" y="20"/>
                  </a:lnTo>
                  <a:lnTo>
                    <a:pt x="174" y="18"/>
                  </a:lnTo>
                  <a:lnTo>
                    <a:pt x="174" y="14"/>
                  </a:lnTo>
                  <a:lnTo>
                    <a:pt x="174" y="10"/>
                  </a:lnTo>
                  <a:lnTo>
                    <a:pt x="168" y="6"/>
                  </a:lnTo>
                  <a:lnTo>
                    <a:pt x="162" y="2"/>
                  </a:lnTo>
                  <a:lnTo>
                    <a:pt x="162" y="0"/>
                  </a:lnTo>
                  <a:lnTo>
                    <a:pt x="154" y="2"/>
                  </a:lnTo>
                  <a:lnTo>
                    <a:pt x="150" y="2"/>
                  </a:lnTo>
                  <a:lnTo>
                    <a:pt x="148" y="10"/>
                  </a:lnTo>
                  <a:lnTo>
                    <a:pt x="144" y="12"/>
                  </a:lnTo>
                  <a:lnTo>
                    <a:pt x="142" y="18"/>
                  </a:lnTo>
                  <a:lnTo>
                    <a:pt x="138" y="20"/>
                  </a:lnTo>
                  <a:lnTo>
                    <a:pt x="136" y="18"/>
                  </a:lnTo>
                  <a:lnTo>
                    <a:pt x="126" y="18"/>
                  </a:lnTo>
                  <a:lnTo>
                    <a:pt x="126" y="14"/>
                  </a:lnTo>
                  <a:lnTo>
                    <a:pt x="122" y="18"/>
                  </a:lnTo>
                  <a:lnTo>
                    <a:pt x="42" y="16"/>
                  </a:lnTo>
                  <a:lnTo>
                    <a:pt x="42" y="44"/>
                  </a:lnTo>
                  <a:lnTo>
                    <a:pt x="30" y="44"/>
                  </a:lnTo>
                  <a:lnTo>
                    <a:pt x="30" y="54"/>
                  </a:lnTo>
                  <a:lnTo>
                    <a:pt x="30" y="108"/>
                  </a:lnTo>
                  <a:lnTo>
                    <a:pt x="28" y="108"/>
                  </a:lnTo>
                  <a:lnTo>
                    <a:pt x="22" y="108"/>
                  </a:lnTo>
                  <a:lnTo>
                    <a:pt x="20" y="106"/>
                  </a:lnTo>
                  <a:lnTo>
                    <a:pt x="18" y="108"/>
                  </a:lnTo>
                  <a:lnTo>
                    <a:pt x="14" y="112"/>
                  </a:lnTo>
                  <a:lnTo>
                    <a:pt x="14" y="116"/>
                  </a:lnTo>
                  <a:lnTo>
                    <a:pt x="14" y="118"/>
                  </a:lnTo>
                  <a:lnTo>
                    <a:pt x="12" y="122"/>
                  </a:lnTo>
                  <a:lnTo>
                    <a:pt x="10" y="124"/>
                  </a:lnTo>
                  <a:lnTo>
                    <a:pt x="10" y="126"/>
                  </a:lnTo>
                  <a:lnTo>
                    <a:pt x="10" y="130"/>
                  </a:lnTo>
                  <a:lnTo>
                    <a:pt x="8" y="134"/>
                  </a:lnTo>
                  <a:lnTo>
                    <a:pt x="6" y="136"/>
                  </a:lnTo>
                  <a:lnTo>
                    <a:pt x="4" y="138"/>
                  </a:lnTo>
                  <a:lnTo>
                    <a:pt x="4" y="142"/>
                  </a:lnTo>
                  <a:lnTo>
                    <a:pt x="2" y="144"/>
                  </a:lnTo>
                  <a:lnTo>
                    <a:pt x="0" y="146"/>
                  </a:lnTo>
                  <a:lnTo>
                    <a:pt x="0" y="148"/>
                  </a:lnTo>
                  <a:lnTo>
                    <a:pt x="0" y="150"/>
                  </a:lnTo>
                  <a:lnTo>
                    <a:pt x="2" y="150"/>
                  </a:lnTo>
                  <a:lnTo>
                    <a:pt x="6" y="150"/>
                  </a:lnTo>
                  <a:lnTo>
                    <a:pt x="8" y="150"/>
                  </a:lnTo>
                  <a:lnTo>
                    <a:pt x="10" y="152"/>
                  </a:lnTo>
                  <a:lnTo>
                    <a:pt x="10" y="154"/>
                  </a:lnTo>
                  <a:lnTo>
                    <a:pt x="10" y="156"/>
                  </a:lnTo>
                  <a:lnTo>
                    <a:pt x="8" y="160"/>
                  </a:lnTo>
                  <a:lnTo>
                    <a:pt x="8" y="162"/>
                  </a:lnTo>
                  <a:lnTo>
                    <a:pt x="8" y="164"/>
                  </a:lnTo>
                  <a:lnTo>
                    <a:pt x="8" y="166"/>
                  </a:lnTo>
                  <a:lnTo>
                    <a:pt x="8" y="170"/>
                  </a:lnTo>
                  <a:lnTo>
                    <a:pt x="10" y="172"/>
                  </a:lnTo>
                  <a:lnTo>
                    <a:pt x="12" y="176"/>
                  </a:lnTo>
                  <a:lnTo>
                    <a:pt x="18" y="184"/>
                  </a:lnTo>
                  <a:lnTo>
                    <a:pt x="18" y="192"/>
                  </a:lnTo>
                  <a:lnTo>
                    <a:pt x="16" y="194"/>
                  </a:lnTo>
                  <a:lnTo>
                    <a:pt x="20" y="196"/>
                  </a:lnTo>
                  <a:lnTo>
                    <a:pt x="22" y="200"/>
                  </a:lnTo>
                  <a:lnTo>
                    <a:pt x="22" y="204"/>
                  </a:lnTo>
                  <a:lnTo>
                    <a:pt x="22" y="208"/>
                  </a:lnTo>
                  <a:lnTo>
                    <a:pt x="24" y="210"/>
                  </a:lnTo>
                  <a:lnTo>
                    <a:pt x="28" y="214"/>
                  </a:lnTo>
                  <a:lnTo>
                    <a:pt x="30" y="218"/>
                  </a:lnTo>
                  <a:lnTo>
                    <a:pt x="30" y="220"/>
                  </a:lnTo>
                  <a:lnTo>
                    <a:pt x="32" y="220"/>
                  </a:lnTo>
                  <a:lnTo>
                    <a:pt x="36" y="220"/>
                  </a:lnTo>
                  <a:lnTo>
                    <a:pt x="38" y="222"/>
                  </a:lnTo>
                  <a:lnTo>
                    <a:pt x="40" y="224"/>
                  </a:lnTo>
                  <a:lnTo>
                    <a:pt x="42" y="226"/>
                  </a:lnTo>
                  <a:lnTo>
                    <a:pt x="46" y="226"/>
                  </a:lnTo>
                  <a:lnTo>
                    <a:pt x="48" y="228"/>
                  </a:lnTo>
                  <a:lnTo>
                    <a:pt x="48" y="232"/>
                  </a:lnTo>
                  <a:lnTo>
                    <a:pt x="50" y="234"/>
                  </a:lnTo>
                  <a:lnTo>
                    <a:pt x="52" y="236"/>
                  </a:lnTo>
                  <a:lnTo>
                    <a:pt x="58" y="238"/>
                  </a:lnTo>
                  <a:lnTo>
                    <a:pt x="60" y="242"/>
                  </a:lnTo>
                  <a:lnTo>
                    <a:pt x="60" y="246"/>
                  </a:lnTo>
                  <a:lnTo>
                    <a:pt x="62" y="250"/>
                  </a:lnTo>
                  <a:lnTo>
                    <a:pt x="64" y="252"/>
                  </a:lnTo>
                  <a:lnTo>
                    <a:pt x="64" y="254"/>
                  </a:lnTo>
                  <a:lnTo>
                    <a:pt x="68" y="260"/>
                  </a:lnTo>
                  <a:lnTo>
                    <a:pt x="68" y="262"/>
                  </a:lnTo>
                  <a:lnTo>
                    <a:pt x="70" y="266"/>
                  </a:lnTo>
                  <a:lnTo>
                    <a:pt x="72" y="266"/>
                  </a:lnTo>
                  <a:lnTo>
                    <a:pt x="74" y="262"/>
                  </a:lnTo>
                  <a:lnTo>
                    <a:pt x="76" y="262"/>
                  </a:lnTo>
                  <a:lnTo>
                    <a:pt x="78" y="262"/>
                  </a:lnTo>
                  <a:lnTo>
                    <a:pt x="82" y="266"/>
                  </a:lnTo>
                  <a:lnTo>
                    <a:pt x="84" y="266"/>
                  </a:lnTo>
                  <a:lnTo>
                    <a:pt x="86" y="264"/>
                  </a:lnTo>
                  <a:lnTo>
                    <a:pt x="88" y="262"/>
                  </a:lnTo>
                  <a:lnTo>
                    <a:pt x="90" y="262"/>
                  </a:lnTo>
                  <a:lnTo>
                    <a:pt x="92" y="266"/>
                  </a:lnTo>
                  <a:lnTo>
                    <a:pt x="96" y="272"/>
                  </a:lnTo>
                  <a:lnTo>
                    <a:pt x="104" y="276"/>
                  </a:lnTo>
                  <a:lnTo>
                    <a:pt x="106" y="278"/>
                  </a:lnTo>
                  <a:lnTo>
                    <a:pt x="108" y="276"/>
                  </a:lnTo>
                  <a:lnTo>
                    <a:pt x="114" y="280"/>
                  </a:lnTo>
                  <a:lnTo>
                    <a:pt x="116" y="276"/>
                  </a:lnTo>
                  <a:lnTo>
                    <a:pt x="120" y="276"/>
                  </a:lnTo>
                  <a:lnTo>
                    <a:pt x="122" y="274"/>
                  </a:lnTo>
                  <a:lnTo>
                    <a:pt x="124" y="274"/>
                  </a:lnTo>
                  <a:lnTo>
                    <a:pt x="126" y="274"/>
                  </a:lnTo>
                  <a:lnTo>
                    <a:pt x="130" y="274"/>
                  </a:lnTo>
                  <a:lnTo>
                    <a:pt x="132" y="274"/>
                  </a:lnTo>
                  <a:lnTo>
                    <a:pt x="134" y="276"/>
                  </a:lnTo>
                  <a:lnTo>
                    <a:pt x="138" y="272"/>
                  </a:lnTo>
                  <a:lnTo>
                    <a:pt x="144" y="272"/>
                  </a:lnTo>
                  <a:lnTo>
                    <a:pt x="148" y="268"/>
                  </a:lnTo>
                  <a:lnTo>
                    <a:pt x="152" y="268"/>
                  </a:lnTo>
                  <a:lnTo>
                    <a:pt x="158" y="268"/>
                  </a:lnTo>
                  <a:lnTo>
                    <a:pt x="164" y="272"/>
                  </a:lnTo>
                  <a:lnTo>
                    <a:pt x="164" y="268"/>
                  </a:lnTo>
                  <a:lnTo>
                    <a:pt x="164" y="266"/>
                  </a:lnTo>
                  <a:lnTo>
                    <a:pt x="162" y="264"/>
                  </a:lnTo>
                  <a:lnTo>
                    <a:pt x="160" y="262"/>
                  </a:lnTo>
                  <a:lnTo>
                    <a:pt x="158" y="262"/>
                  </a:lnTo>
                  <a:lnTo>
                    <a:pt x="154" y="262"/>
                  </a:lnTo>
                  <a:lnTo>
                    <a:pt x="152" y="258"/>
                  </a:lnTo>
                  <a:lnTo>
                    <a:pt x="148" y="252"/>
                  </a:lnTo>
                  <a:lnTo>
                    <a:pt x="146" y="246"/>
                  </a:lnTo>
                  <a:lnTo>
                    <a:pt x="146" y="242"/>
                  </a:lnTo>
                  <a:lnTo>
                    <a:pt x="144" y="240"/>
                  </a:lnTo>
                  <a:lnTo>
                    <a:pt x="138" y="234"/>
                  </a:lnTo>
                  <a:lnTo>
                    <a:pt x="136" y="230"/>
                  </a:lnTo>
                  <a:lnTo>
                    <a:pt x="132" y="230"/>
                  </a:lnTo>
                  <a:lnTo>
                    <a:pt x="128" y="228"/>
                  </a:lnTo>
                  <a:lnTo>
                    <a:pt x="126" y="228"/>
                  </a:lnTo>
                  <a:lnTo>
                    <a:pt x="124" y="228"/>
                  </a:lnTo>
                  <a:lnTo>
                    <a:pt x="126" y="220"/>
                  </a:lnTo>
                  <a:lnTo>
                    <a:pt x="130" y="220"/>
                  </a:lnTo>
                  <a:lnTo>
                    <a:pt x="134" y="218"/>
                  </a:lnTo>
                  <a:lnTo>
                    <a:pt x="136" y="218"/>
                  </a:lnTo>
                  <a:lnTo>
                    <a:pt x="138" y="210"/>
                  </a:lnTo>
                  <a:lnTo>
                    <a:pt x="138" y="198"/>
                  </a:lnTo>
                  <a:lnTo>
                    <a:pt x="140" y="192"/>
                  </a:lnTo>
                  <a:lnTo>
                    <a:pt x="144" y="184"/>
                  </a:lnTo>
                  <a:lnTo>
                    <a:pt x="144" y="176"/>
                  </a:lnTo>
                  <a:lnTo>
                    <a:pt x="148" y="174"/>
                  </a:lnTo>
                  <a:lnTo>
                    <a:pt x="152" y="172"/>
                  </a:lnTo>
                  <a:lnTo>
                    <a:pt x="154" y="170"/>
                  </a:lnTo>
                  <a:lnTo>
                    <a:pt x="156" y="162"/>
                  </a:lnTo>
                  <a:lnTo>
                    <a:pt x="158" y="158"/>
                  </a:lnTo>
                  <a:lnTo>
                    <a:pt x="160" y="152"/>
                  </a:lnTo>
                  <a:lnTo>
                    <a:pt x="160" y="148"/>
                  </a:lnTo>
                  <a:lnTo>
                    <a:pt x="162" y="146"/>
                  </a:lnTo>
                  <a:lnTo>
                    <a:pt x="166" y="142"/>
                  </a:lnTo>
                  <a:lnTo>
                    <a:pt x="172" y="132"/>
                  </a:lnTo>
                  <a:lnTo>
                    <a:pt x="172" y="126"/>
                  </a:lnTo>
                  <a:lnTo>
                    <a:pt x="172" y="120"/>
                  </a:lnTo>
                  <a:lnTo>
                    <a:pt x="172" y="116"/>
                  </a:lnTo>
                  <a:lnTo>
                    <a:pt x="172" y="110"/>
                  </a:lnTo>
                  <a:lnTo>
                    <a:pt x="174" y="104"/>
                  </a:lnTo>
                  <a:lnTo>
                    <a:pt x="176" y="100"/>
                  </a:lnTo>
                  <a:lnTo>
                    <a:pt x="176" y="90"/>
                  </a:lnTo>
                  <a:lnTo>
                    <a:pt x="176" y="86"/>
                  </a:lnTo>
                  <a:lnTo>
                    <a:pt x="178" y="86"/>
                  </a:lnTo>
                  <a:lnTo>
                    <a:pt x="180" y="84"/>
                  </a:lnTo>
                  <a:lnTo>
                    <a:pt x="180" y="80"/>
                  </a:lnTo>
                  <a:lnTo>
                    <a:pt x="184" y="76"/>
                  </a:lnTo>
                  <a:lnTo>
                    <a:pt x="186" y="76"/>
                  </a:lnTo>
                  <a:lnTo>
                    <a:pt x="192" y="76"/>
                  </a:lnTo>
                  <a:lnTo>
                    <a:pt x="198" y="7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59" name="Freeform 521">
              <a:extLst>
                <a:ext uri="{FF2B5EF4-FFF2-40B4-BE49-F238E27FC236}">
                  <a16:creationId xmlns:a16="http://schemas.microsoft.com/office/drawing/2014/main" id="{573558CA-5F88-404C-9D93-D357BA8D0092}"/>
                </a:ext>
              </a:extLst>
            </p:cNvPr>
            <p:cNvSpPr>
              <a:spLocks/>
            </p:cNvSpPr>
            <p:nvPr/>
          </p:nvSpPr>
          <p:spPr bwMode="gray">
            <a:xfrm>
              <a:off x="6045854" y="4046367"/>
              <a:ext cx="47084" cy="101235"/>
            </a:xfrm>
            <a:custGeom>
              <a:avLst/>
              <a:gdLst>
                <a:gd name="T0" fmla="*/ 2147483647 w 26"/>
                <a:gd name="T1" fmla="*/ 0 h 54"/>
                <a:gd name="T2" fmla="*/ 2147483647 w 26"/>
                <a:gd name="T3" fmla="*/ 0 h 54"/>
                <a:gd name="T4" fmla="*/ 2147483647 w 26"/>
                <a:gd name="T5" fmla="*/ 2147483647 h 54"/>
                <a:gd name="T6" fmla="*/ 2147483647 w 26"/>
                <a:gd name="T7" fmla="*/ 2147483647 h 54"/>
                <a:gd name="T8" fmla="*/ 2147483647 w 26"/>
                <a:gd name="T9" fmla="*/ 2147483647 h 54"/>
                <a:gd name="T10" fmla="*/ 2147483647 w 26"/>
                <a:gd name="T11" fmla="*/ 2147483647 h 54"/>
                <a:gd name="T12" fmla="*/ 2147483647 w 26"/>
                <a:gd name="T13" fmla="*/ 2147483647 h 54"/>
                <a:gd name="T14" fmla="*/ 2147483647 w 26"/>
                <a:gd name="T15" fmla="*/ 2147483647 h 54"/>
                <a:gd name="T16" fmla="*/ 2147483647 w 26"/>
                <a:gd name="T17" fmla="*/ 2147483647 h 54"/>
                <a:gd name="T18" fmla="*/ 2147483647 w 26"/>
                <a:gd name="T19" fmla="*/ 2147483647 h 54"/>
                <a:gd name="T20" fmla="*/ 0 w 26"/>
                <a:gd name="T21" fmla="*/ 2147483647 h 54"/>
                <a:gd name="T22" fmla="*/ 0 w 26"/>
                <a:gd name="T23" fmla="*/ 2147483647 h 54"/>
                <a:gd name="T24" fmla="*/ 2147483647 w 26"/>
                <a:gd name="T25" fmla="*/ 2147483647 h 54"/>
                <a:gd name="T26" fmla="*/ 2147483647 w 26"/>
                <a:gd name="T27" fmla="*/ 2147483647 h 54"/>
                <a:gd name="T28" fmla="*/ 2147483647 w 26"/>
                <a:gd name="T29" fmla="*/ 2147483647 h 54"/>
                <a:gd name="T30" fmla="*/ 2147483647 w 26"/>
                <a:gd name="T31" fmla="*/ 2147483647 h 54"/>
                <a:gd name="T32" fmla="*/ 2147483647 w 26"/>
                <a:gd name="T33" fmla="*/ 2147483647 h 54"/>
                <a:gd name="T34" fmla="*/ 2147483647 w 26"/>
                <a:gd name="T35" fmla="*/ 2147483647 h 54"/>
                <a:gd name="T36" fmla="*/ 2147483647 w 26"/>
                <a:gd name="T37" fmla="*/ 2147483647 h 54"/>
                <a:gd name="T38" fmla="*/ 2147483647 w 26"/>
                <a:gd name="T39" fmla="*/ 2147483647 h 54"/>
                <a:gd name="T40" fmla="*/ 2147483647 w 26"/>
                <a:gd name="T41" fmla="*/ 2147483647 h 54"/>
                <a:gd name="T42" fmla="*/ 2147483647 w 26"/>
                <a:gd name="T43" fmla="*/ 2147483647 h 54"/>
                <a:gd name="T44" fmla="*/ 2147483647 w 26"/>
                <a:gd name="T45" fmla="*/ 2147483647 h 54"/>
                <a:gd name="T46" fmla="*/ 2147483647 w 26"/>
                <a:gd name="T47" fmla="*/ 2147483647 h 54"/>
                <a:gd name="T48" fmla="*/ 2147483647 w 26"/>
                <a:gd name="T49" fmla="*/ 2147483647 h 54"/>
                <a:gd name="T50" fmla="*/ 2147483647 w 26"/>
                <a:gd name="T51" fmla="*/ 2147483647 h 54"/>
                <a:gd name="T52" fmla="*/ 2147483647 w 26"/>
                <a:gd name="T53" fmla="*/ 2147483647 h 54"/>
                <a:gd name="T54" fmla="*/ 2147483647 w 26"/>
                <a:gd name="T55" fmla="*/ 2147483647 h 54"/>
                <a:gd name="T56" fmla="*/ 2147483647 w 26"/>
                <a:gd name="T57" fmla="*/ 2147483647 h 54"/>
                <a:gd name="T58" fmla="*/ 2147483647 w 26"/>
                <a:gd name="T59" fmla="*/ 0 h 54"/>
                <a:gd name="T60" fmla="*/ 2147483647 w 26"/>
                <a:gd name="T61" fmla="*/ 0 h 5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
                <a:gd name="T94" fmla="*/ 0 h 54"/>
                <a:gd name="T95" fmla="*/ 26 w 26"/>
                <a:gd name="T96" fmla="*/ 54 h 5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 h="54">
                  <a:moveTo>
                    <a:pt x="6" y="0"/>
                  </a:moveTo>
                  <a:lnTo>
                    <a:pt x="6" y="0"/>
                  </a:lnTo>
                  <a:lnTo>
                    <a:pt x="4" y="2"/>
                  </a:lnTo>
                  <a:lnTo>
                    <a:pt x="2" y="4"/>
                  </a:lnTo>
                  <a:lnTo>
                    <a:pt x="4" y="6"/>
                  </a:lnTo>
                  <a:lnTo>
                    <a:pt x="4" y="8"/>
                  </a:lnTo>
                  <a:lnTo>
                    <a:pt x="6" y="10"/>
                  </a:lnTo>
                  <a:lnTo>
                    <a:pt x="0" y="24"/>
                  </a:lnTo>
                  <a:lnTo>
                    <a:pt x="2" y="30"/>
                  </a:lnTo>
                  <a:lnTo>
                    <a:pt x="4" y="38"/>
                  </a:lnTo>
                  <a:lnTo>
                    <a:pt x="6" y="46"/>
                  </a:lnTo>
                  <a:lnTo>
                    <a:pt x="6" y="52"/>
                  </a:lnTo>
                  <a:lnTo>
                    <a:pt x="8" y="54"/>
                  </a:lnTo>
                  <a:lnTo>
                    <a:pt x="10" y="54"/>
                  </a:lnTo>
                  <a:lnTo>
                    <a:pt x="18" y="50"/>
                  </a:lnTo>
                  <a:lnTo>
                    <a:pt x="22" y="50"/>
                  </a:lnTo>
                  <a:lnTo>
                    <a:pt x="24" y="48"/>
                  </a:lnTo>
                  <a:lnTo>
                    <a:pt x="26" y="42"/>
                  </a:lnTo>
                  <a:lnTo>
                    <a:pt x="26" y="38"/>
                  </a:lnTo>
                  <a:lnTo>
                    <a:pt x="24" y="28"/>
                  </a:lnTo>
                  <a:lnTo>
                    <a:pt x="14" y="10"/>
                  </a:lnTo>
                  <a:lnTo>
                    <a:pt x="6"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0" name="Freeform 522">
              <a:extLst>
                <a:ext uri="{FF2B5EF4-FFF2-40B4-BE49-F238E27FC236}">
                  <a16:creationId xmlns:a16="http://schemas.microsoft.com/office/drawing/2014/main" id="{0B196D0B-3C61-4642-99A0-A9E706903907}"/>
                </a:ext>
              </a:extLst>
            </p:cNvPr>
            <p:cNvSpPr>
              <a:spLocks noEditPoints="1"/>
            </p:cNvSpPr>
            <p:nvPr/>
          </p:nvSpPr>
          <p:spPr bwMode="gray">
            <a:xfrm>
              <a:off x="4035382" y="3097591"/>
              <a:ext cx="461418" cy="468503"/>
            </a:xfrm>
            <a:custGeom>
              <a:avLst/>
              <a:gdLst>
                <a:gd name="T0" fmla="*/ 2147483647 w 250"/>
                <a:gd name="T1" fmla="*/ 2147483647 h 252"/>
                <a:gd name="T2" fmla="*/ 2147483647 w 250"/>
                <a:gd name="T3" fmla="*/ 2147483647 h 252"/>
                <a:gd name="T4" fmla="*/ 2147483647 w 250"/>
                <a:gd name="T5" fmla="*/ 2147483647 h 252"/>
                <a:gd name="T6" fmla="*/ 2147483647 w 250"/>
                <a:gd name="T7" fmla="*/ 2147483647 h 252"/>
                <a:gd name="T8" fmla="*/ 2147483647 w 250"/>
                <a:gd name="T9" fmla="*/ 2147483647 h 252"/>
                <a:gd name="T10" fmla="*/ 2147483647 w 250"/>
                <a:gd name="T11" fmla="*/ 2147483647 h 252"/>
                <a:gd name="T12" fmla="*/ 2147483647 w 250"/>
                <a:gd name="T13" fmla="*/ 2147483647 h 252"/>
                <a:gd name="T14" fmla="*/ 2147483647 w 250"/>
                <a:gd name="T15" fmla="*/ 2147483647 h 252"/>
                <a:gd name="T16" fmla="*/ 2147483647 w 250"/>
                <a:gd name="T17" fmla="*/ 2147483647 h 252"/>
                <a:gd name="T18" fmla="*/ 2147483647 w 250"/>
                <a:gd name="T19" fmla="*/ 2147483647 h 252"/>
                <a:gd name="T20" fmla="*/ 2147483647 w 250"/>
                <a:gd name="T21" fmla="*/ 2147483647 h 252"/>
                <a:gd name="T22" fmla="*/ 2147483647 w 250"/>
                <a:gd name="T23" fmla="*/ 2147483647 h 252"/>
                <a:gd name="T24" fmla="*/ 2147483647 w 250"/>
                <a:gd name="T25" fmla="*/ 2147483647 h 252"/>
                <a:gd name="T26" fmla="*/ 2147483647 w 250"/>
                <a:gd name="T27" fmla="*/ 2147483647 h 252"/>
                <a:gd name="T28" fmla="*/ 2147483647 w 250"/>
                <a:gd name="T29" fmla="*/ 2147483647 h 252"/>
                <a:gd name="T30" fmla="*/ 2147483647 w 250"/>
                <a:gd name="T31" fmla="*/ 2147483647 h 252"/>
                <a:gd name="T32" fmla="*/ 2147483647 w 250"/>
                <a:gd name="T33" fmla="*/ 2147483647 h 252"/>
                <a:gd name="T34" fmla="*/ 2147483647 w 250"/>
                <a:gd name="T35" fmla="*/ 0 h 252"/>
                <a:gd name="T36" fmla="*/ 2147483647 w 250"/>
                <a:gd name="T37" fmla="*/ 2147483647 h 252"/>
                <a:gd name="T38" fmla="*/ 2147483647 w 250"/>
                <a:gd name="T39" fmla="*/ 2147483647 h 252"/>
                <a:gd name="T40" fmla="*/ 2147483647 w 250"/>
                <a:gd name="T41" fmla="*/ 2147483647 h 252"/>
                <a:gd name="T42" fmla="*/ 2147483647 w 250"/>
                <a:gd name="T43" fmla="*/ 2147483647 h 252"/>
                <a:gd name="T44" fmla="*/ 2147483647 w 250"/>
                <a:gd name="T45" fmla="*/ 2147483647 h 252"/>
                <a:gd name="T46" fmla="*/ 2147483647 w 250"/>
                <a:gd name="T47" fmla="*/ 2147483647 h 252"/>
                <a:gd name="T48" fmla="*/ 2147483647 w 250"/>
                <a:gd name="T49" fmla="*/ 2147483647 h 252"/>
                <a:gd name="T50" fmla="*/ 2147483647 w 250"/>
                <a:gd name="T51" fmla="*/ 2147483647 h 252"/>
                <a:gd name="T52" fmla="*/ 2147483647 w 250"/>
                <a:gd name="T53" fmla="*/ 2147483647 h 252"/>
                <a:gd name="T54" fmla="*/ 2147483647 w 250"/>
                <a:gd name="T55" fmla="*/ 2147483647 h 252"/>
                <a:gd name="T56" fmla="*/ 2147483647 w 250"/>
                <a:gd name="T57" fmla="*/ 2147483647 h 252"/>
                <a:gd name="T58" fmla="*/ 2147483647 w 250"/>
                <a:gd name="T59" fmla="*/ 2147483647 h 252"/>
                <a:gd name="T60" fmla="*/ 2147483647 w 250"/>
                <a:gd name="T61" fmla="*/ 2147483647 h 252"/>
                <a:gd name="T62" fmla="*/ 2147483647 w 250"/>
                <a:gd name="T63" fmla="*/ 2147483647 h 252"/>
                <a:gd name="T64" fmla="*/ 2147483647 w 250"/>
                <a:gd name="T65" fmla="*/ 2147483647 h 252"/>
                <a:gd name="T66" fmla="*/ 2147483647 w 250"/>
                <a:gd name="T67" fmla="*/ 2147483647 h 252"/>
                <a:gd name="T68" fmla="*/ 2147483647 w 250"/>
                <a:gd name="T69" fmla="*/ 2147483647 h 252"/>
                <a:gd name="T70" fmla="*/ 2147483647 w 250"/>
                <a:gd name="T71" fmla="*/ 2147483647 h 252"/>
                <a:gd name="T72" fmla="*/ 2147483647 w 250"/>
                <a:gd name="T73" fmla="*/ 2147483647 h 252"/>
                <a:gd name="T74" fmla="*/ 2147483647 w 250"/>
                <a:gd name="T75" fmla="*/ 2147483647 h 252"/>
                <a:gd name="T76" fmla="*/ 2147483647 w 250"/>
                <a:gd name="T77" fmla="*/ 2147483647 h 252"/>
                <a:gd name="T78" fmla="*/ 2147483647 w 250"/>
                <a:gd name="T79" fmla="*/ 2147483647 h 252"/>
                <a:gd name="T80" fmla="*/ 2147483647 w 250"/>
                <a:gd name="T81" fmla="*/ 2147483647 h 252"/>
                <a:gd name="T82" fmla="*/ 2147483647 w 250"/>
                <a:gd name="T83" fmla="*/ 2147483647 h 252"/>
                <a:gd name="T84" fmla="*/ 2147483647 w 250"/>
                <a:gd name="T85" fmla="*/ 2147483647 h 252"/>
                <a:gd name="T86" fmla="*/ 2147483647 w 250"/>
                <a:gd name="T87" fmla="*/ 2147483647 h 252"/>
                <a:gd name="T88" fmla="*/ 2147483647 w 250"/>
                <a:gd name="T89" fmla="*/ 2147483647 h 252"/>
                <a:gd name="T90" fmla="*/ 2147483647 w 250"/>
                <a:gd name="T91" fmla="*/ 2147483647 h 252"/>
                <a:gd name="T92" fmla="*/ 2147483647 w 250"/>
                <a:gd name="T93" fmla="*/ 2147483647 h 252"/>
                <a:gd name="T94" fmla="*/ 2147483647 w 250"/>
                <a:gd name="T95" fmla="*/ 2147483647 h 252"/>
                <a:gd name="T96" fmla="*/ 2147483647 w 250"/>
                <a:gd name="T97" fmla="*/ 2147483647 h 252"/>
                <a:gd name="T98" fmla="*/ 2147483647 w 250"/>
                <a:gd name="T99" fmla="*/ 2147483647 h 252"/>
                <a:gd name="T100" fmla="*/ 2147483647 w 250"/>
                <a:gd name="T101" fmla="*/ 2147483647 h 2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252"/>
                <a:gd name="T155" fmla="*/ 250 w 250"/>
                <a:gd name="T156" fmla="*/ 252 h 2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252">
                  <a:moveTo>
                    <a:pt x="226" y="62"/>
                  </a:moveTo>
                  <a:lnTo>
                    <a:pt x="226" y="62"/>
                  </a:lnTo>
                  <a:lnTo>
                    <a:pt x="226" y="68"/>
                  </a:lnTo>
                  <a:lnTo>
                    <a:pt x="226" y="70"/>
                  </a:lnTo>
                  <a:lnTo>
                    <a:pt x="228" y="72"/>
                  </a:lnTo>
                  <a:lnTo>
                    <a:pt x="232" y="66"/>
                  </a:lnTo>
                  <a:lnTo>
                    <a:pt x="226" y="62"/>
                  </a:lnTo>
                  <a:close/>
                  <a:moveTo>
                    <a:pt x="242" y="62"/>
                  </a:moveTo>
                  <a:lnTo>
                    <a:pt x="246" y="66"/>
                  </a:lnTo>
                  <a:lnTo>
                    <a:pt x="250" y="66"/>
                  </a:lnTo>
                  <a:lnTo>
                    <a:pt x="248" y="64"/>
                  </a:lnTo>
                  <a:lnTo>
                    <a:pt x="242" y="62"/>
                  </a:lnTo>
                  <a:close/>
                  <a:moveTo>
                    <a:pt x="204" y="72"/>
                  </a:moveTo>
                  <a:lnTo>
                    <a:pt x="204" y="72"/>
                  </a:lnTo>
                  <a:lnTo>
                    <a:pt x="204" y="74"/>
                  </a:lnTo>
                  <a:lnTo>
                    <a:pt x="206" y="76"/>
                  </a:lnTo>
                  <a:lnTo>
                    <a:pt x="208" y="74"/>
                  </a:lnTo>
                  <a:lnTo>
                    <a:pt x="208" y="72"/>
                  </a:lnTo>
                  <a:lnTo>
                    <a:pt x="204" y="72"/>
                  </a:lnTo>
                  <a:close/>
                  <a:moveTo>
                    <a:pt x="34" y="240"/>
                  </a:moveTo>
                  <a:lnTo>
                    <a:pt x="34" y="240"/>
                  </a:lnTo>
                  <a:lnTo>
                    <a:pt x="30" y="246"/>
                  </a:lnTo>
                  <a:lnTo>
                    <a:pt x="36" y="244"/>
                  </a:lnTo>
                  <a:lnTo>
                    <a:pt x="34" y="240"/>
                  </a:lnTo>
                  <a:close/>
                  <a:moveTo>
                    <a:pt x="4" y="242"/>
                  </a:moveTo>
                  <a:lnTo>
                    <a:pt x="4" y="242"/>
                  </a:lnTo>
                  <a:lnTo>
                    <a:pt x="0" y="246"/>
                  </a:lnTo>
                  <a:lnTo>
                    <a:pt x="0" y="248"/>
                  </a:lnTo>
                  <a:lnTo>
                    <a:pt x="4" y="246"/>
                  </a:lnTo>
                  <a:lnTo>
                    <a:pt x="4" y="244"/>
                  </a:lnTo>
                  <a:lnTo>
                    <a:pt x="6" y="242"/>
                  </a:lnTo>
                  <a:lnTo>
                    <a:pt x="4" y="242"/>
                  </a:lnTo>
                  <a:close/>
                  <a:moveTo>
                    <a:pt x="14" y="246"/>
                  </a:moveTo>
                  <a:lnTo>
                    <a:pt x="14" y="246"/>
                  </a:lnTo>
                  <a:lnTo>
                    <a:pt x="12" y="248"/>
                  </a:lnTo>
                  <a:lnTo>
                    <a:pt x="14" y="250"/>
                  </a:lnTo>
                  <a:lnTo>
                    <a:pt x="16" y="252"/>
                  </a:lnTo>
                  <a:lnTo>
                    <a:pt x="18" y="248"/>
                  </a:lnTo>
                  <a:lnTo>
                    <a:pt x="18" y="246"/>
                  </a:lnTo>
                  <a:lnTo>
                    <a:pt x="14" y="246"/>
                  </a:lnTo>
                  <a:close/>
                  <a:moveTo>
                    <a:pt x="174" y="8"/>
                  </a:moveTo>
                  <a:lnTo>
                    <a:pt x="174" y="8"/>
                  </a:lnTo>
                  <a:lnTo>
                    <a:pt x="166" y="8"/>
                  </a:lnTo>
                  <a:lnTo>
                    <a:pt x="156" y="6"/>
                  </a:lnTo>
                  <a:lnTo>
                    <a:pt x="136" y="4"/>
                  </a:lnTo>
                  <a:lnTo>
                    <a:pt x="124" y="4"/>
                  </a:lnTo>
                  <a:lnTo>
                    <a:pt x="112" y="4"/>
                  </a:lnTo>
                  <a:lnTo>
                    <a:pt x="110" y="2"/>
                  </a:lnTo>
                  <a:lnTo>
                    <a:pt x="106" y="0"/>
                  </a:lnTo>
                  <a:lnTo>
                    <a:pt x="102" y="2"/>
                  </a:lnTo>
                  <a:lnTo>
                    <a:pt x="100" y="4"/>
                  </a:lnTo>
                  <a:lnTo>
                    <a:pt x="98" y="8"/>
                  </a:lnTo>
                  <a:lnTo>
                    <a:pt x="94" y="8"/>
                  </a:lnTo>
                  <a:lnTo>
                    <a:pt x="88" y="8"/>
                  </a:lnTo>
                  <a:lnTo>
                    <a:pt x="86" y="10"/>
                  </a:lnTo>
                  <a:lnTo>
                    <a:pt x="84" y="14"/>
                  </a:lnTo>
                  <a:lnTo>
                    <a:pt x="88" y="22"/>
                  </a:lnTo>
                  <a:lnTo>
                    <a:pt x="88" y="30"/>
                  </a:lnTo>
                  <a:lnTo>
                    <a:pt x="92" y="28"/>
                  </a:lnTo>
                  <a:lnTo>
                    <a:pt x="96" y="28"/>
                  </a:lnTo>
                  <a:lnTo>
                    <a:pt x="98" y="28"/>
                  </a:lnTo>
                  <a:lnTo>
                    <a:pt x="98" y="32"/>
                  </a:lnTo>
                  <a:lnTo>
                    <a:pt x="100" y="30"/>
                  </a:lnTo>
                  <a:lnTo>
                    <a:pt x="108" y="30"/>
                  </a:lnTo>
                  <a:lnTo>
                    <a:pt x="112" y="30"/>
                  </a:lnTo>
                  <a:lnTo>
                    <a:pt x="112" y="32"/>
                  </a:lnTo>
                  <a:lnTo>
                    <a:pt x="114" y="34"/>
                  </a:lnTo>
                  <a:lnTo>
                    <a:pt x="114" y="36"/>
                  </a:lnTo>
                  <a:lnTo>
                    <a:pt x="110" y="42"/>
                  </a:lnTo>
                  <a:lnTo>
                    <a:pt x="108" y="42"/>
                  </a:lnTo>
                  <a:lnTo>
                    <a:pt x="110" y="46"/>
                  </a:lnTo>
                  <a:lnTo>
                    <a:pt x="112" y="52"/>
                  </a:lnTo>
                  <a:lnTo>
                    <a:pt x="112" y="54"/>
                  </a:lnTo>
                  <a:lnTo>
                    <a:pt x="112" y="56"/>
                  </a:lnTo>
                  <a:lnTo>
                    <a:pt x="108" y="60"/>
                  </a:lnTo>
                  <a:lnTo>
                    <a:pt x="108" y="64"/>
                  </a:lnTo>
                  <a:lnTo>
                    <a:pt x="110" y="68"/>
                  </a:lnTo>
                  <a:lnTo>
                    <a:pt x="108" y="72"/>
                  </a:lnTo>
                  <a:lnTo>
                    <a:pt x="106" y="74"/>
                  </a:lnTo>
                  <a:lnTo>
                    <a:pt x="106" y="76"/>
                  </a:lnTo>
                  <a:lnTo>
                    <a:pt x="108" y="80"/>
                  </a:lnTo>
                  <a:lnTo>
                    <a:pt x="110" y="82"/>
                  </a:lnTo>
                  <a:lnTo>
                    <a:pt x="108" y="86"/>
                  </a:lnTo>
                  <a:lnTo>
                    <a:pt x="106" y="88"/>
                  </a:lnTo>
                  <a:lnTo>
                    <a:pt x="106" y="92"/>
                  </a:lnTo>
                  <a:lnTo>
                    <a:pt x="108" y="94"/>
                  </a:lnTo>
                  <a:lnTo>
                    <a:pt x="110" y="94"/>
                  </a:lnTo>
                  <a:lnTo>
                    <a:pt x="110" y="96"/>
                  </a:lnTo>
                  <a:lnTo>
                    <a:pt x="110" y="102"/>
                  </a:lnTo>
                  <a:lnTo>
                    <a:pt x="112" y="104"/>
                  </a:lnTo>
                  <a:lnTo>
                    <a:pt x="122" y="120"/>
                  </a:lnTo>
                  <a:lnTo>
                    <a:pt x="130" y="118"/>
                  </a:lnTo>
                  <a:lnTo>
                    <a:pt x="138" y="116"/>
                  </a:lnTo>
                  <a:lnTo>
                    <a:pt x="140" y="112"/>
                  </a:lnTo>
                  <a:lnTo>
                    <a:pt x="144" y="112"/>
                  </a:lnTo>
                  <a:lnTo>
                    <a:pt x="150" y="114"/>
                  </a:lnTo>
                  <a:lnTo>
                    <a:pt x="156" y="114"/>
                  </a:lnTo>
                  <a:lnTo>
                    <a:pt x="162" y="112"/>
                  </a:lnTo>
                  <a:lnTo>
                    <a:pt x="162" y="110"/>
                  </a:lnTo>
                  <a:lnTo>
                    <a:pt x="164" y="108"/>
                  </a:lnTo>
                  <a:lnTo>
                    <a:pt x="166" y="106"/>
                  </a:lnTo>
                  <a:lnTo>
                    <a:pt x="168" y="100"/>
                  </a:lnTo>
                  <a:lnTo>
                    <a:pt x="176" y="98"/>
                  </a:lnTo>
                  <a:lnTo>
                    <a:pt x="178" y="96"/>
                  </a:lnTo>
                  <a:lnTo>
                    <a:pt x="182" y="96"/>
                  </a:lnTo>
                  <a:lnTo>
                    <a:pt x="182" y="92"/>
                  </a:lnTo>
                  <a:lnTo>
                    <a:pt x="182" y="88"/>
                  </a:lnTo>
                  <a:lnTo>
                    <a:pt x="190" y="80"/>
                  </a:lnTo>
                  <a:lnTo>
                    <a:pt x="192" y="78"/>
                  </a:lnTo>
                  <a:lnTo>
                    <a:pt x="192" y="74"/>
                  </a:lnTo>
                  <a:lnTo>
                    <a:pt x="190" y="72"/>
                  </a:lnTo>
                  <a:lnTo>
                    <a:pt x="188" y="70"/>
                  </a:lnTo>
                  <a:lnTo>
                    <a:pt x="188" y="66"/>
                  </a:lnTo>
                  <a:lnTo>
                    <a:pt x="194" y="62"/>
                  </a:lnTo>
                  <a:lnTo>
                    <a:pt x="200" y="50"/>
                  </a:lnTo>
                  <a:lnTo>
                    <a:pt x="204" y="46"/>
                  </a:lnTo>
                  <a:lnTo>
                    <a:pt x="208" y="42"/>
                  </a:lnTo>
                  <a:lnTo>
                    <a:pt x="218" y="38"/>
                  </a:lnTo>
                  <a:lnTo>
                    <a:pt x="224" y="36"/>
                  </a:lnTo>
                  <a:lnTo>
                    <a:pt x="226" y="32"/>
                  </a:lnTo>
                  <a:lnTo>
                    <a:pt x="226" y="26"/>
                  </a:lnTo>
                  <a:lnTo>
                    <a:pt x="226" y="20"/>
                  </a:lnTo>
                  <a:lnTo>
                    <a:pt x="224" y="20"/>
                  </a:lnTo>
                  <a:lnTo>
                    <a:pt x="222" y="22"/>
                  </a:lnTo>
                  <a:lnTo>
                    <a:pt x="220" y="24"/>
                  </a:lnTo>
                  <a:lnTo>
                    <a:pt x="212" y="24"/>
                  </a:lnTo>
                  <a:lnTo>
                    <a:pt x="210" y="26"/>
                  </a:lnTo>
                  <a:lnTo>
                    <a:pt x="208" y="22"/>
                  </a:lnTo>
                  <a:lnTo>
                    <a:pt x="200" y="20"/>
                  </a:lnTo>
                  <a:lnTo>
                    <a:pt x="196" y="20"/>
                  </a:lnTo>
                  <a:lnTo>
                    <a:pt x="192" y="20"/>
                  </a:lnTo>
                  <a:lnTo>
                    <a:pt x="190" y="18"/>
                  </a:lnTo>
                  <a:lnTo>
                    <a:pt x="188" y="18"/>
                  </a:lnTo>
                  <a:lnTo>
                    <a:pt x="184" y="16"/>
                  </a:lnTo>
                  <a:lnTo>
                    <a:pt x="182" y="16"/>
                  </a:lnTo>
                  <a:lnTo>
                    <a:pt x="178" y="14"/>
                  </a:lnTo>
                  <a:lnTo>
                    <a:pt x="178" y="12"/>
                  </a:lnTo>
                  <a:lnTo>
                    <a:pt x="176" y="10"/>
                  </a:lnTo>
                  <a:lnTo>
                    <a:pt x="174"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1" name="Freeform 523">
              <a:extLst>
                <a:ext uri="{FF2B5EF4-FFF2-40B4-BE49-F238E27FC236}">
                  <a16:creationId xmlns:a16="http://schemas.microsoft.com/office/drawing/2014/main" id="{8D57FC55-C12E-42A6-842D-333CA12B13A9}"/>
                </a:ext>
              </a:extLst>
            </p:cNvPr>
            <p:cNvSpPr>
              <a:spLocks noEditPoints="1"/>
            </p:cNvSpPr>
            <p:nvPr/>
          </p:nvSpPr>
          <p:spPr bwMode="gray">
            <a:xfrm>
              <a:off x="7029902" y="3264745"/>
              <a:ext cx="65917" cy="153029"/>
            </a:xfrm>
            <a:custGeom>
              <a:avLst/>
              <a:gdLst>
                <a:gd name="T0" fmla="*/ 2147483647 w 36"/>
                <a:gd name="T1" fmla="*/ 2147483647 h 82"/>
                <a:gd name="T2" fmla="*/ 2147483647 w 36"/>
                <a:gd name="T3" fmla="*/ 2147483647 h 82"/>
                <a:gd name="T4" fmla="*/ 2147483647 w 36"/>
                <a:gd name="T5" fmla="*/ 2147483647 h 82"/>
                <a:gd name="T6" fmla="*/ 2147483647 w 36"/>
                <a:gd name="T7" fmla="*/ 2147483647 h 82"/>
                <a:gd name="T8" fmla="*/ 2147483647 w 36"/>
                <a:gd name="T9" fmla="*/ 2147483647 h 82"/>
                <a:gd name="T10" fmla="*/ 2147483647 w 36"/>
                <a:gd name="T11" fmla="*/ 2147483647 h 82"/>
                <a:gd name="T12" fmla="*/ 2147483647 w 36"/>
                <a:gd name="T13" fmla="*/ 2147483647 h 82"/>
                <a:gd name="T14" fmla="*/ 2147483647 w 36"/>
                <a:gd name="T15" fmla="*/ 2147483647 h 82"/>
                <a:gd name="T16" fmla="*/ 2147483647 w 36"/>
                <a:gd name="T17" fmla="*/ 2147483647 h 82"/>
                <a:gd name="T18" fmla="*/ 2147483647 w 36"/>
                <a:gd name="T19" fmla="*/ 2147483647 h 82"/>
                <a:gd name="T20" fmla="*/ 2147483647 w 36"/>
                <a:gd name="T21" fmla="*/ 2147483647 h 82"/>
                <a:gd name="T22" fmla="*/ 2147483647 w 36"/>
                <a:gd name="T23" fmla="*/ 2147483647 h 82"/>
                <a:gd name="T24" fmla="*/ 2147483647 w 36"/>
                <a:gd name="T25" fmla="*/ 2147483647 h 82"/>
                <a:gd name="T26" fmla="*/ 2147483647 w 36"/>
                <a:gd name="T27" fmla="*/ 2147483647 h 82"/>
                <a:gd name="T28" fmla="*/ 2147483647 w 36"/>
                <a:gd name="T29" fmla="*/ 2147483647 h 82"/>
                <a:gd name="T30" fmla="*/ 2147483647 w 36"/>
                <a:gd name="T31" fmla="*/ 2147483647 h 82"/>
                <a:gd name="T32" fmla="*/ 2147483647 w 36"/>
                <a:gd name="T33" fmla="*/ 2147483647 h 82"/>
                <a:gd name="T34" fmla="*/ 2147483647 w 36"/>
                <a:gd name="T35" fmla="*/ 2147483647 h 82"/>
                <a:gd name="T36" fmla="*/ 2147483647 w 36"/>
                <a:gd name="T37" fmla="*/ 2147483647 h 82"/>
                <a:gd name="T38" fmla="*/ 2147483647 w 36"/>
                <a:gd name="T39" fmla="*/ 2147483647 h 82"/>
                <a:gd name="T40" fmla="*/ 2147483647 w 36"/>
                <a:gd name="T41" fmla="*/ 2147483647 h 82"/>
                <a:gd name="T42" fmla="*/ 2147483647 w 36"/>
                <a:gd name="T43" fmla="*/ 2147483647 h 82"/>
                <a:gd name="T44" fmla="*/ 2147483647 w 36"/>
                <a:gd name="T45" fmla="*/ 2147483647 h 82"/>
                <a:gd name="T46" fmla="*/ 2147483647 w 36"/>
                <a:gd name="T47" fmla="*/ 2147483647 h 82"/>
                <a:gd name="T48" fmla="*/ 2147483647 w 36"/>
                <a:gd name="T49" fmla="*/ 2147483647 h 82"/>
                <a:gd name="T50" fmla="*/ 2147483647 w 36"/>
                <a:gd name="T51" fmla="*/ 2147483647 h 82"/>
                <a:gd name="T52" fmla="*/ 2147483647 w 36"/>
                <a:gd name="T53" fmla="*/ 2147483647 h 82"/>
                <a:gd name="T54" fmla="*/ 2147483647 w 36"/>
                <a:gd name="T55" fmla="*/ 2147483647 h 82"/>
                <a:gd name="T56" fmla="*/ 2147483647 w 36"/>
                <a:gd name="T57" fmla="*/ 2147483647 h 82"/>
                <a:gd name="T58" fmla="*/ 2147483647 w 36"/>
                <a:gd name="T59" fmla="*/ 2147483647 h 82"/>
                <a:gd name="T60" fmla="*/ 2147483647 w 36"/>
                <a:gd name="T61" fmla="*/ 2147483647 h 82"/>
                <a:gd name="T62" fmla="*/ 2147483647 w 36"/>
                <a:gd name="T63" fmla="*/ 2147483647 h 82"/>
                <a:gd name="T64" fmla="*/ 2147483647 w 36"/>
                <a:gd name="T65" fmla="*/ 2147483647 h 82"/>
                <a:gd name="T66" fmla="*/ 2147483647 w 36"/>
                <a:gd name="T67" fmla="*/ 2147483647 h 82"/>
                <a:gd name="T68" fmla="*/ 2147483647 w 36"/>
                <a:gd name="T69" fmla="*/ 2147483647 h 82"/>
                <a:gd name="T70" fmla="*/ 2147483647 w 36"/>
                <a:gd name="T71" fmla="*/ 2147483647 h 82"/>
                <a:gd name="T72" fmla="*/ 2147483647 w 36"/>
                <a:gd name="T73" fmla="*/ 2147483647 h 82"/>
                <a:gd name="T74" fmla="*/ 2147483647 w 36"/>
                <a:gd name="T75" fmla="*/ 2147483647 h 82"/>
                <a:gd name="T76" fmla="*/ 2147483647 w 36"/>
                <a:gd name="T77" fmla="*/ 2147483647 h 82"/>
                <a:gd name="T78" fmla="*/ 2147483647 w 36"/>
                <a:gd name="T79" fmla="*/ 2147483647 h 82"/>
                <a:gd name="T80" fmla="*/ 2147483647 w 36"/>
                <a:gd name="T81" fmla="*/ 2147483647 h 82"/>
                <a:gd name="T82" fmla="*/ 2147483647 w 36"/>
                <a:gd name="T83" fmla="*/ 2147483647 h 82"/>
                <a:gd name="T84" fmla="*/ 2147483647 w 36"/>
                <a:gd name="T85" fmla="*/ 2147483647 h 82"/>
                <a:gd name="T86" fmla="*/ 2147483647 w 36"/>
                <a:gd name="T87" fmla="*/ 2147483647 h 82"/>
                <a:gd name="T88" fmla="*/ 2147483647 w 36"/>
                <a:gd name="T89" fmla="*/ 2147483647 h 82"/>
                <a:gd name="T90" fmla="*/ 2147483647 w 36"/>
                <a:gd name="T91" fmla="*/ 2147483647 h 82"/>
                <a:gd name="T92" fmla="*/ 2147483647 w 36"/>
                <a:gd name="T93" fmla="*/ 2147483647 h 82"/>
                <a:gd name="T94" fmla="*/ 2147483647 w 36"/>
                <a:gd name="T95" fmla="*/ 0 h 82"/>
                <a:gd name="T96" fmla="*/ 2147483647 w 36"/>
                <a:gd name="T97" fmla="*/ 2147483647 h 82"/>
                <a:gd name="T98" fmla="*/ 2147483647 w 36"/>
                <a:gd name="T99" fmla="*/ 2147483647 h 82"/>
                <a:gd name="T100" fmla="*/ 2147483647 w 36"/>
                <a:gd name="T101" fmla="*/ 2147483647 h 82"/>
                <a:gd name="T102" fmla="*/ 2147483647 w 36"/>
                <a:gd name="T103" fmla="*/ 2147483647 h 82"/>
                <a:gd name="T104" fmla="*/ 2147483647 w 36"/>
                <a:gd name="T105" fmla="*/ 2147483647 h 82"/>
                <a:gd name="T106" fmla="*/ 0 w 36"/>
                <a:gd name="T107" fmla="*/ 2147483647 h 82"/>
                <a:gd name="T108" fmla="*/ 0 w 36"/>
                <a:gd name="T109" fmla="*/ 2147483647 h 82"/>
                <a:gd name="T110" fmla="*/ 2147483647 w 36"/>
                <a:gd name="T111" fmla="*/ 2147483647 h 82"/>
                <a:gd name="T112" fmla="*/ 2147483647 w 36"/>
                <a:gd name="T113" fmla="*/ 2147483647 h 82"/>
                <a:gd name="T114" fmla="*/ 2147483647 w 36"/>
                <a:gd name="T115" fmla="*/ 2147483647 h 82"/>
                <a:gd name="T116" fmla="*/ 2147483647 w 36"/>
                <a:gd name="T117" fmla="*/ 2147483647 h 82"/>
                <a:gd name="T118" fmla="*/ 2147483647 w 36"/>
                <a:gd name="T119" fmla="*/ 2147483647 h 82"/>
                <a:gd name="T120" fmla="*/ 2147483647 w 36"/>
                <a:gd name="T121" fmla="*/ 2147483647 h 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
                <a:gd name="T184" fmla="*/ 0 h 82"/>
                <a:gd name="T185" fmla="*/ 36 w 36"/>
                <a:gd name="T186" fmla="*/ 82 h 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 h="82">
                  <a:moveTo>
                    <a:pt x="6" y="8"/>
                  </a:moveTo>
                  <a:lnTo>
                    <a:pt x="6" y="8"/>
                  </a:lnTo>
                  <a:lnTo>
                    <a:pt x="8" y="18"/>
                  </a:lnTo>
                  <a:lnTo>
                    <a:pt x="8" y="20"/>
                  </a:lnTo>
                  <a:lnTo>
                    <a:pt x="4" y="22"/>
                  </a:lnTo>
                  <a:lnTo>
                    <a:pt x="8" y="28"/>
                  </a:lnTo>
                  <a:lnTo>
                    <a:pt x="8" y="30"/>
                  </a:lnTo>
                  <a:lnTo>
                    <a:pt x="6" y="32"/>
                  </a:lnTo>
                  <a:lnTo>
                    <a:pt x="6" y="36"/>
                  </a:lnTo>
                  <a:lnTo>
                    <a:pt x="8" y="36"/>
                  </a:lnTo>
                  <a:lnTo>
                    <a:pt x="8" y="38"/>
                  </a:lnTo>
                  <a:lnTo>
                    <a:pt x="8" y="44"/>
                  </a:lnTo>
                  <a:lnTo>
                    <a:pt x="4" y="46"/>
                  </a:lnTo>
                  <a:lnTo>
                    <a:pt x="2" y="56"/>
                  </a:lnTo>
                  <a:lnTo>
                    <a:pt x="2" y="64"/>
                  </a:lnTo>
                  <a:lnTo>
                    <a:pt x="4" y="64"/>
                  </a:lnTo>
                  <a:lnTo>
                    <a:pt x="6" y="66"/>
                  </a:lnTo>
                  <a:lnTo>
                    <a:pt x="12" y="60"/>
                  </a:lnTo>
                  <a:lnTo>
                    <a:pt x="20" y="56"/>
                  </a:lnTo>
                  <a:lnTo>
                    <a:pt x="28" y="52"/>
                  </a:lnTo>
                  <a:lnTo>
                    <a:pt x="32" y="52"/>
                  </a:lnTo>
                  <a:lnTo>
                    <a:pt x="34" y="48"/>
                  </a:lnTo>
                  <a:lnTo>
                    <a:pt x="36" y="36"/>
                  </a:lnTo>
                  <a:lnTo>
                    <a:pt x="36" y="20"/>
                  </a:lnTo>
                  <a:lnTo>
                    <a:pt x="32" y="16"/>
                  </a:lnTo>
                  <a:lnTo>
                    <a:pt x="32" y="10"/>
                  </a:lnTo>
                  <a:lnTo>
                    <a:pt x="28" y="10"/>
                  </a:lnTo>
                  <a:lnTo>
                    <a:pt x="28" y="6"/>
                  </a:lnTo>
                  <a:lnTo>
                    <a:pt x="28" y="4"/>
                  </a:lnTo>
                  <a:lnTo>
                    <a:pt x="24" y="2"/>
                  </a:lnTo>
                  <a:lnTo>
                    <a:pt x="20" y="4"/>
                  </a:lnTo>
                  <a:lnTo>
                    <a:pt x="14" y="0"/>
                  </a:lnTo>
                  <a:lnTo>
                    <a:pt x="10" y="2"/>
                  </a:lnTo>
                  <a:lnTo>
                    <a:pt x="4" y="8"/>
                  </a:lnTo>
                  <a:lnTo>
                    <a:pt x="6" y="8"/>
                  </a:lnTo>
                  <a:close/>
                  <a:moveTo>
                    <a:pt x="2" y="76"/>
                  </a:moveTo>
                  <a:lnTo>
                    <a:pt x="2" y="76"/>
                  </a:lnTo>
                  <a:lnTo>
                    <a:pt x="0" y="80"/>
                  </a:lnTo>
                  <a:lnTo>
                    <a:pt x="0" y="82"/>
                  </a:lnTo>
                  <a:lnTo>
                    <a:pt x="2" y="82"/>
                  </a:lnTo>
                  <a:lnTo>
                    <a:pt x="4" y="78"/>
                  </a:lnTo>
                  <a:lnTo>
                    <a:pt x="4" y="76"/>
                  </a:lnTo>
                  <a:lnTo>
                    <a:pt x="2" y="7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2" name="Freeform 524">
              <a:extLst>
                <a:ext uri="{FF2B5EF4-FFF2-40B4-BE49-F238E27FC236}">
                  <a16:creationId xmlns:a16="http://schemas.microsoft.com/office/drawing/2014/main" id="{FB72C873-D9D8-4A44-9460-3857D278B9BD}"/>
                </a:ext>
              </a:extLst>
            </p:cNvPr>
            <p:cNvSpPr>
              <a:spLocks noEditPoints="1"/>
            </p:cNvSpPr>
            <p:nvPr/>
          </p:nvSpPr>
          <p:spPr bwMode="gray">
            <a:xfrm>
              <a:off x="4727513" y="4875076"/>
              <a:ext cx="341356" cy="346081"/>
            </a:xfrm>
            <a:custGeom>
              <a:avLst/>
              <a:gdLst>
                <a:gd name="T0" fmla="*/ 2147483647 w 184"/>
                <a:gd name="T1" fmla="*/ 2147483647 h 186"/>
                <a:gd name="T2" fmla="*/ 2147483647 w 184"/>
                <a:gd name="T3" fmla="*/ 2147483647 h 186"/>
                <a:gd name="T4" fmla="*/ 2147483647 w 184"/>
                <a:gd name="T5" fmla="*/ 2147483647 h 186"/>
                <a:gd name="T6" fmla="*/ 2147483647 w 184"/>
                <a:gd name="T7" fmla="*/ 2147483647 h 186"/>
                <a:gd name="T8" fmla="*/ 2147483647 w 184"/>
                <a:gd name="T9" fmla="*/ 2147483647 h 186"/>
                <a:gd name="T10" fmla="*/ 2147483647 w 184"/>
                <a:gd name="T11" fmla="*/ 2147483647 h 186"/>
                <a:gd name="T12" fmla="*/ 2147483647 w 184"/>
                <a:gd name="T13" fmla="*/ 2147483647 h 186"/>
                <a:gd name="T14" fmla="*/ 2147483647 w 184"/>
                <a:gd name="T15" fmla="*/ 2147483647 h 186"/>
                <a:gd name="T16" fmla="*/ 2147483647 w 184"/>
                <a:gd name="T17" fmla="*/ 2147483647 h 186"/>
                <a:gd name="T18" fmla="*/ 2147483647 w 184"/>
                <a:gd name="T19" fmla="*/ 2147483647 h 186"/>
                <a:gd name="T20" fmla="*/ 2147483647 w 184"/>
                <a:gd name="T21" fmla="*/ 2147483647 h 186"/>
                <a:gd name="T22" fmla="*/ 2147483647 w 184"/>
                <a:gd name="T23" fmla="*/ 2147483647 h 186"/>
                <a:gd name="T24" fmla="*/ 2147483647 w 184"/>
                <a:gd name="T25" fmla="*/ 2147483647 h 186"/>
                <a:gd name="T26" fmla="*/ 2147483647 w 184"/>
                <a:gd name="T27" fmla="*/ 2147483647 h 186"/>
                <a:gd name="T28" fmla="*/ 2147483647 w 184"/>
                <a:gd name="T29" fmla="*/ 2147483647 h 186"/>
                <a:gd name="T30" fmla="*/ 2147483647 w 184"/>
                <a:gd name="T31" fmla="*/ 2147483647 h 186"/>
                <a:gd name="T32" fmla="*/ 2147483647 w 184"/>
                <a:gd name="T33" fmla="*/ 2147483647 h 186"/>
                <a:gd name="T34" fmla="*/ 2147483647 w 184"/>
                <a:gd name="T35" fmla="*/ 2147483647 h 186"/>
                <a:gd name="T36" fmla="*/ 0 w 184"/>
                <a:gd name="T37" fmla="*/ 2147483647 h 186"/>
                <a:gd name="T38" fmla="*/ 2147483647 w 184"/>
                <a:gd name="T39" fmla="*/ 2147483647 h 186"/>
                <a:gd name="T40" fmla="*/ 2147483647 w 184"/>
                <a:gd name="T41" fmla="*/ 2147483647 h 186"/>
                <a:gd name="T42" fmla="*/ 2147483647 w 184"/>
                <a:gd name="T43" fmla="*/ 2147483647 h 186"/>
                <a:gd name="T44" fmla="*/ 2147483647 w 184"/>
                <a:gd name="T45" fmla="*/ 2147483647 h 186"/>
                <a:gd name="T46" fmla="*/ 2147483647 w 184"/>
                <a:gd name="T47" fmla="*/ 2147483647 h 186"/>
                <a:gd name="T48" fmla="*/ 2147483647 w 184"/>
                <a:gd name="T49" fmla="*/ 2147483647 h 186"/>
                <a:gd name="T50" fmla="*/ 2147483647 w 184"/>
                <a:gd name="T51" fmla="*/ 2147483647 h 186"/>
                <a:gd name="T52" fmla="*/ 2147483647 w 184"/>
                <a:gd name="T53" fmla="*/ 2147483647 h 186"/>
                <a:gd name="T54" fmla="*/ 2147483647 w 184"/>
                <a:gd name="T55" fmla="*/ 2147483647 h 186"/>
                <a:gd name="T56" fmla="*/ 2147483647 w 184"/>
                <a:gd name="T57" fmla="*/ 2147483647 h 186"/>
                <a:gd name="T58" fmla="*/ 2147483647 w 184"/>
                <a:gd name="T59" fmla="*/ 2147483647 h 186"/>
                <a:gd name="T60" fmla="*/ 2147483647 w 184"/>
                <a:gd name="T61" fmla="*/ 2147483647 h 186"/>
                <a:gd name="T62" fmla="*/ 2147483647 w 184"/>
                <a:gd name="T63" fmla="*/ 2147483647 h 186"/>
                <a:gd name="T64" fmla="*/ 2147483647 w 184"/>
                <a:gd name="T65" fmla="*/ 2147483647 h 186"/>
                <a:gd name="T66" fmla="*/ 2147483647 w 184"/>
                <a:gd name="T67" fmla="*/ 2147483647 h 186"/>
                <a:gd name="T68" fmla="*/ 2147483647 w 184"/>
                <a:gd name="T69" fmla="*/ 2147483647 h 186"/>
                <a:gd name="T70" fmla="*/ 2147483647 w 184"/>
                <a:gd name="T71" fmla="*/ 2147483647 h 186"/>
                <a:gd name="T72" fmla="*/ 2147483647 w 184"/>
                <a:gd name="T73" fmla="*/ 2147483647 h 186"/>
                <a:gd name="T74" fmla="*/ 2147483647 w 184"/>
                <a:gd name="T75" fmla="*/ 2147483647 h 186"/>
                <a:gd name="T76" fmla="*/ 2147483647 w 184"/>
                <a:gd name="T77" fmla="*/ 2147483647 h 186"/>
                <a:gd name="T78" fmla="*/ 2147483647 w 184"/>
                <a:gd name="T79" fmla="*/ 2147483647 h 186"/>
                <a:gd name="T80" fmla="*/ 2147483647 w 184"/>
                <a:gd name="T81" fmla="*/ 2147483647 h 186"/>
                <a:gd name="T82" fmla="*/ 2147483647 w 184"/>
                <a:gd name="T83" fmla="*/ 2147483647 h 186"/>
                <a:gd name="T84" fmla="*/ 2147483647 w 184"/>
                <a:gd name="T85" fmla="*/ 0 h 186"/>
                <a:gd name="T86" fmla="*/ 2147483647 w 184"/>
                <a:gd name="T87" fmla="*/ 2147483647 h 186"/>
                <a:gd name="T88" fmla="*/ 2147483647 w 184"/>
                <a:gd name="T89" fmla="*/ 2147483647 h 186"/>
                <a:gd name="T90" fmla="*/ 2147483647 w 184"/>
                <a:gd name="T91" fmla="*/ 2147483647 h 186"/>
                <a:gd name="T92" fmla="*/ 2147483647 w 184"/>
                <a:gd name="T93" fmla="*/ 2147483647 h 186"/>
                <a:gd name="T94" fmla="*/ 2147483647 w 184"/>
                <a:gd name="T95" fmla="*/ 2147483647 h 186"/>
                <a:gd name="T96" fmla="*/ 2147483647 w 184"/>
                <a:gd name="T97" fmla="*/ 2147483647 h 186"/>
                <a:gd name="T98" fmla="*/ 2147483647 w 184"/>
                <a:gd name="T99" fmla="*/ 2147483647 h 186"/>
                <a:gd name="T100" fmla="*/ 2147483647 w 184"/>
                <a:gd name="T101" fmla="*/ 2147483647 h 186"/>
                <a:gd name="T102" fmla="*/ 2147483647 w 184"/>
                <a:gd name="T103" fmla="*/ 2147483647 h 186"/>
                <a:gd name="T104" fmla="*/ 2147483647 w 184"/>
                <a:gd name="T105" fmla="*/ 2147483647 h 186"/>
                <a:gd name="T106" fmla="*/ 2147483647 w 184"/>
                <a:gd name="T107" fmla="*/ 2147483647 h 186"/>
                <a:gd name="T108" fmla="*/ 2147483647 w 184"/>
                <a:gd name="T109" fmla="*/ 2147483647 h 186"/>
                <a:gd name="T110" fmla="*/ 2147483647 w 184"/>
                <a:gd name="T111" fmla="*/ 2147483647 h 186"/>
                <a:gd name="T112" fmla="*/ 2147483647 w 184"/>
                <a:gd name="T113" fmla="*/ 2147483647 h 186"/>
                <a:gd name="T114" fmla="*/ 2147483647 w 184"/>
                <a:gd name="T115" fmla="*/ 2147483647 h 186"/>
                <a:gd name="T116" fmla="*/ 2147483647 w 184"/>
                <a:gd name="T117" fmla="*/ 2147483647 h 186"/>
                <a:gd name="T118" fmla="*/ 2147483647 w 184"/>
                <a:gd name="T119" fmla="*/ 2147483647 h 1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4"/>
                <a:gd name="T181" fmla="*/ 0 h 186"/>
                <a:gd name="T182" fmla="*/ 184 w 184"/>
                <a:gd name="T183" fmla="*/ 186 h 1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4" h="186">
                  <a:moveTo>
                    <a:pt x="184" y="64"/>
                  </a:moveTo>
                  <a:lnTo>
                    <a:pt x="184" y="64"/>
                  </a:lnTo>
                  <a:lnTo>
                    <a:pt x="182" y="88"/>
                  </a:lnTo>
                  <a:lnTo>
                    <a:pt x="176" y="88"/>
                  </a:lnTo>
                  <a:lnTo>
                    <a:pt x="176" y="92"/>
                  </a:lnTo>
                  <a:lnTo>
                    <a:pt x="180" y="96"/>
                  </a:lnTo>
                  <a:lnTo>
                    <a:pt x="166" y="104"/>
                  </a:lnTo>
                  <a:lnTo>
                    <a:pt x="162" y="114"/>
                  </a:lnTo>
                  <a:lnTo>
                    <a:pt x="158" y="124"/>
                  </a:lnTo>
                  <a:lnTo>
                    <a:pt x="156" y="124"/>
                  </a:lnTo>
                  <a:lnTo>
                    <a:pt x="156" y="126"/>
                  </a:lnTo>
                  <a:lnTo>
                    <a:pt x="156" y="130"/>
                  </a:lnTo>
                  <a:lnTo>
                    <a:pt x="152" y="132"/>
                  </a:lnTo>
                  <a:lnTo>
                    <a:pt x="148" y="136"/>
                  </a:lnTo>
                  <a:lnTo>
                    <a:pt x="132" y="156"/>
                  </a:lnTo>
                  <a:lnTo>
                    <a:pt x="124" y="164"/>
                  </a:lnTo>
                  <a:lnTo>
                    <a:pt x="118" y="168"/>
                  </a:lnTo>
                  <a:lnTo>
                    <a:pt x="114" y="170"/>
                  </a:lnTo>
                  <a:lnTo>
                    <a:pt x="110" y="170"/>
                  </a:lnTo>
                  <a:lnTo>
                    <a:pt x="106" y="170"/>
                  </a:lnTo>
                  <a:lnTo>
                    <a:pt x="106" y="172"/>
                  </a:lnTo>
                  <a:lnTo>
                    <a:pt x="94" y="172"/>
                  </a:lnTo>
                  <a:lnTo>
                    <a:pt x="94" y="176"/>
                  </a:lnTo>
                  <a:lnTo>
                    <a:pt x="86" y="176"/>
                  </a:lnTo>
                  <a:lnTo>
                    <a:pt x="80" y="174"/>
                  </a:lnTo>
                  <a:lnTo>
                    <a:pt x="74" y="174"/>
                  </a:lnTo>
                  <a:lnTo>
                    <a:pt x="66" y="174"/>
                  </a:lnTo>
                  <a:lnTo>
                    <a:pt x="60" y="180"/>
                  </a:lnTo>
                  <a:lnTo>
                    <a:pt x="54" y="178"/>
                  </a:lnTo>
                  <a:lnTo>
                    <a:pt x="52" y="178"/>
                  </a:lnTo>
                  <a:lnTo>
                    <a:pt x="48" y="178"/>
                  </a:lnTo>
                  <a:lnTo>
                    <a:pt x="42" y="182"/>
                  </a:lnTo>
                  <a:lnTo>
                    <a:pt x="36" y="184"/>
                  </a:lnTo>
                  <a:lnTo>
                    <a:pt x="30" y="186"/>
                  </a:lnTo>
                  <a:lnTo>
                    <a:pt x="28" y="182"/>
                  </a:lnTo>
                  <a:lnTo>
                    <a:pt x="24" y="182"/>
                  </a:lnTo>
                  <a:lnTo>
                    <a:pt x="24" y="178"/>
                  </a:lnTo>
                  <a:lnTo>
                    <a:pt x="18" y="182"/>
                  </a:lnTo>
                  <a:lnTo>
                    <a:pt x="18" y="180"/>
                  </a:lnTo>
                  <a:lnTo>
                    <a:pt x="16" y="176"/>
                  </a:lnTo>
                  <a:lnTo>
                    <a:pt x="14" y="170"/>
                  </a:lnTo>
                  <a:lnTo>
                    <a:pt x="14" y="160"/>
                  </a:lnTo>
                  <a:lnTo>
                    <a:pt x="12" y="160"/>
                  </a:lnTo>
                  <a:lnTo>
                    <a:pt x="12" y="156"/>
                  </a:lnTo>
                  <a:lnTo>
                    <a:pt x="14" y="154"/>
                  </a:lnTo>
                  <a:lnTo>
                    <a:pt x="16" y="152"/>
                  </a:lnTo>
                  <a:lnTo>
                    <a:pt x="18" y="148"/>
                  </a:lnTo>
                  <a:lnTo>
                    <a:pt x="16" y="136"/>
                  </a:lnTo>
                  <a:lnTo>
                    <a:pt x="12" y="126"/>
                  </a:lnTo>
                  <a:lnTo>
                    <a:pt x="10" y="124"/>
                  </a:lnTo>
                  <a:lnTo>
                    <a:pt x="8" y="122"/>
                  </a:lnTo>
                  <a:lnTo>
                    <a:pt x="6" y="112"/>
                  </a:lnTo>
                  <a:lnTo>
                    <a:pt x="6" y="104"/>
                  </a:lnTo>
                  <a:lnTo>
                    <a:pt x="0" y="98"/>
                  </a:lnTo>
                  <a:lnTo>
                    <a:pt x="6" y="90"/>
                  </a:lnTo>
                  <a:lnTo>
                    <a:pt x="8" y="90"/>
                  </a:lnTo>
                  <a:lnTo>
                    <a:pt x="12" y="90"/>
                  </a:lnTo>
                  <a:lnTo>
                    <a:pt x="12" y="94"/>
                  </a:lnTo>
                  <a:lnTo>
                    <a:pt x="14" y="96"/>
                  </a:lnTo>
                  <a:lnTo>
                    <a:pt x="18" y="98"/>
                  </a:lnTo>
                  <a:lnTo>
                    <a:pt x="22" y="98"/>
                  </a:lnTo>
                  <a:lnTo>
                    <a:pt x="24" y="98"/>
                  </a:lnTo>
                  <a:lnTo>
                    <a:pt x="28" y="96"/>
                  </a:lnTo>
                  <a:lnTo>
                    <a:pt x="30" y="92"/>
                  </a:lnTo>
                  <a:lnTo>
                    <a:pt x="30" y="90"/>
                  </a:lnTo>
                  <a:lnTo>
                    <a:pt x="34" y="90"/>
                  </a:lnTo>
                  <a:lnTo>
                    <a:pt x="36" y="90"/>
                  </a:lnTo>
                  <a:lnTo>
                    <a:pt x="36" y="46"/>
                  </a:lnTo>
                  <a:lnTo>
                    <a:pt x="40" y="48"/>
                  </a:lnTo>
                  <a:lnTo>
                    <a:pt x="42" y="50"/>
                  </a:lnTo>
                  <a:lnTo>
                    <a:pt x="44" y="54"/>
                  </a:lnTo>
                  <a:lnTo>
                    <a:pt x="46" y="60"/>
                  </a:lnTo>
                  <a:lnTo>
                    <a:pt x="46" y="64"/>
                  </a:lnTo>
                  <a:lnTo>
                    <a:pt x="46" y="68"/>
                  </a:lnTo>
                  <a:lnTo>
                    <a:pt x="46" y="70"/>
                  </a:lnTo>
                  <a:lnTo>
                    <a:pt x="48" y="70"/>
                  </a:lnTo>
                  <a:lnTo>
                    <a:pt x="50" y="70"/>
                  </a:lnTo>
                  <a:lnTo>
                    <a:pt x="54" y="68"/>
                  </a:lnTo>
                  <a:lnTo>
                    <a:pt x="60" y="66"/>
                  </a:lnTo>
                  <a:lnTo>
                    <a:pt x="64" y="64"/>
                  </a:lnTo>
                  <a:lnTo>
                    <a:pt x="70" y="60"/>
                  </a:lnTo>
                  <a:lnTo>
                    <a:pt x="74" y="58"/>
                  </a:lnTo>
                  <a:lnTo>
                    <a:pt x="76" y="54"/>
                  </a:lnTo>
                  <a:lnTo>
                    <a:pt x="76" y="52"/>
                  </a:lnTo>
                  <a:lnTo>
                    <a:pt x="80" y="48"/>
                  </a:lnTo>
                  <a:lnTo>
                    <a:pt x="82" y="48"/>
                  </a:lnTo>
                  <a:lnTo>
                    <a:pt x="84" y="50"/>
                  </a:lnTo>
                  <a:lnTo>
                    <a:pt x="86" y="50"/>
                  </a:lnTo>
                  <a:lnTo>
                    <a:pt x="88" y="50"/>
                  </a:lnTo>
                  <a:lnTo>
                    <a:pt x="90" y="50"/>
                  </a:lnTo>
                  <a:lnTo>
                    <a:pt x="92" y="50"/>
                  </a:lnTo>
                  <a:lnTo>
                    <a:pt x="94" y="52"/>
                  </a:lnTo>
                  <a:lnTo>
                    <a:pt x="96" y="52"/>
                  </a:lnTo>
                  <a:lnTo>
                    <a:pt x="100" y="52"/>
                  </a:lnTo>
                  <a:lnTo>
                    <a:pt x="104" y="54"/>
                  </a:lnTo>
                  <a:lnTo>
                    <a:pt x="106" y="52"/>
                  </a:lnTo>
                  <a:lnTo>
                    <a:pt x="106" y="36"/>
                  </a:lnTo>
                  <a:lnTo>
                    <a:pt x="108" y="34"/>
                  </a:lnTo>
                  <a:lnTo>
                    <a:pt x="112" y="32"/>
                  </a:lnTo>
                  <a:lnTo>
                    <a:pt x="114" y="30"/>
                  </a:lnTo>
                  <a:lnTo>
                    <a:pt x="114" y="28"/>
                  </a:lnTo>
                  <a:lnTo>
                    <a:pt x="116" y="24"/>
                  </a:lnTo>
                  <a:lnTo>
                    <a:pt x="118" y="22"/>
                  </a:lnTo>
                  <a:lnTo>
                    <a:pt x="120" y="20"/>
                  </a:lnTo>
                  <a:lnTo>
                    <a:pt x="122" y="16"/>
                  </a:lnTo>
                  <a:lnTo>
                    <a:pt x="124" y="14"/>
                  </a:lnTo>
                  <a:lnTo>
                    <a:pt x="126" y="12"/>
                  </a:lnTo>
                  <a:lnTo>
                    <a:pt x="132" y="10"/>
                  </a:lnTo>
                  <a:lnTo>
                    <a:pt x="138" y="8"/>
                  </a:lnTo>
                  <a:lnTo>
                    <a:pt x="138" y="6"/>
                  </a:lnTo>
                  <a:lnTo>
                    <a:pt x="140" y="6"/>
                  </a:lnTo>
                  <a:lnTo>
                    <a:pt x="142" y="6"/>
                  </a:lnTo>
                  <a:lnTo>
                    <a:pt x="144" y="4"/>
                  </a:lnTo>
                  <a:lnTo>
                    <a:pt x="148" y="2"/>
                  </a:lnTo>
                  <a:lnTo>
                    <a:pt x="148" y="0"/>
                  </a:lnTo>
                  <a:lnTo>
                    <a:pt x="150" y="0"/>
                  </a:lnTo>
                  <a:lnTo>
                    <a:pt x="154" y="2"/>
                  </a:lnTo>
                  <a:lnTo>
                    <a:pt x="158" y="0"/>
                  </a:lnTo>
                  <a:lnTo>
                    <a:pt x="162" y="0"/>
                  </a:lnTo>
                  <a:lnTo>
                    <a:pt x="162" y="2"/>
                  </a:lnTo>
                  <a:lnTo>
                    <a:pt x="166" y="2"/>
                  </a:lnTo>
                  <a:lnTo>
                    <a:pt x="170" y="2"/>
                  </a:lnTo>
                  <a:lnTo>
                    <a:pt x="172" y="4"/>
                  </a:lnTo>
                  <a:lnTo>
                    <a:pt x="172" y="8"/>
                  </a:lnTo>
                  <a:lnTo>
                    <a:pt x="172" y="16"/>
                  </a:lnTo>
                  <a:lnTo>
                    <a:pt x="170" y="22"/>
                  </a:lnTo>
                  <a:lnTo>
                    <a:pt x="172" y="28"/>
                  </a:lnTo>
                  <a:lnTo>
                    <a:pt x="172" y="34"/>
                  </a:lnTo>
                  <a:lnTo>
                    <a:pt x="172" y="40"/>
                  </a:lnTo>
                  <a:lnTo>
                    <a:pt x="170" y="44"/>
                  </a:lnTo>
                  <a:lnTo>
                    <a:pt x="172" y="46"/>
                  </a:lnTo>
                  <a:lnTo>
                    <a:pt x="172" y="50"/>
                  </a:lnTo>
                  <a:lnTo>
                    <a:pt x="170" y="52"/>
                  </a:lnTo>
                  <a:lnTo>
                    <a:pt x="168" y="52"/>
                  </a:lnTo>
                  <a:lnTo>
                    <a:pt x="166" y="52"/>
                  </a:lnTo>
                  <a:lnTo>
                    <a:pt x="164" y="52"/>
                  </a:lnTo>
                  <a:lnTo>
                    <a:pt x="164" y="58"/>
                  </a:lnTo>
                  <a:lnTo>
                    <a:pt x="164" y="62"/>
                  </a:lnTo>
                  <a:lnTo>
                    <a:pt x="164" y="64"/>
                  </a:lnTo>
                  <a:lnTo>
                    <a:pt x="166" y="68"/>
                  </a:lnTo>
                  <a:lnTo>
                    <a:pt x="168" y="68"/>
                  </a:lnTo>
                  <a:lnTo>
                    <a:pt x="176" y="72"/>
                  </a:lnTo>
                  <a:lnTo>
                    <a:pt x="176" y="64"/>
                  </a:lnTo>
                  <a:lnTo>
                    <a:pt x="184" y="64"/>
                  </a:lnTo>
                  <a:close/>
                  <a:moveTo>
                    <a:pt x="130" y="120"/>
                  </a:moveTo>
                  <a:lnTo>
                    <a:pt x="130" y="120"/>
                  </a:lnTo>
                  <a:lnTo>
                    <a:pt x="132" y="116"/>
                  </a:lnTo>
                  <a:lnTo>
                    <a:pt x="136" y="114"/>
                  </a:lnTo>
                  <a:lnTo>
                    <a:pt x="138" y="114"/>
                  </a:lnTo>
                  <a:lnTo>
                    <a:pt x="140" y="114"/>
                  </a:lnTo>
                  <a:lnTo>
                    <a:pt x="140" y="110"/>
                  </a:lnTo>
                  <a:lnTo>
                    <a:pt x="138" y="108"/>
                  </a:lnTo>
                  <a:lnTo>
                    <a:pt x="136" y="104"/>
                  </a:lnTo>
                  <a:lnTo>
                    <a:pt x="134" y="100"/>
                  </a:lnTo>
                  <a:lnTo>
                    <a:pt x="126" y="106"/>
                  </a:lnTo>
                  <a:lnTo>
                    <a:pt x="124" y="108"/>
                  </a:lnTo>
                  <a:lnTo>
                    <a:pt x="122" y="108"/>
                  </a:lnTo>
                  <a:lnTo>
                    <a:pt x="120" y="110"/>
                  </a:lnTo>
                  <a:lnTo>
                    <a:pt x="120" y="112"/>
                  </a:lnTo>
                  <a:lnTo>
                    <a:pt x="120" y="114"/>
                  </a:lnTo>
                  <a:lnTo>
                    <a:pt x="122" y="116"/>
                  </a:lnTo>
                  <a:lnTo>
                    <a:pt x="122" y="120"/>
                  </a:lnTo>
                  <a:lnTo>
                    <a:pt x="126" y="120"/>
                  </a:lnTo>
                  <a:lnTo>
                    <a:pt x="128" y="120"/>
                  </a:lnTo>
                  <a:lnTo>
                    <a:pt x="130" y="1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3" name="Freeform 525">
              <a:extLst>
                <a:ext uri="{FF2B5EF4-FFF2-40B4-BE49-F238E27FC236}">
                  <a16:creationId xmlns:a16="http://schemas.microsoft.com/office/drawing/2014/main" id="{3BE2BA5E-322E-4DBE-88CE-E16335686F8A}"/>
                </a:ext>
              </a:extLst>
            </p:cNvPr>
            <p:cNvSpPr>
              <a:spLocks/>
            </p:cNvSpPr>
            <p:nvPr/>
          </p:nvSpPr>
          <p:spPr bwMode="gray">
            <a:xfrm>
              <a:off x="5257203" y="3973387"/>
              <a:ext cx="202459" cy="339017"/>
            </a:xfrm>
            <a:custGeom>
              <a:avLst/>
              <a:gdLst>
                <a:gd name="T0" fmla="*/ 2147483647 w 110"/>
                <a:gd name="T1" fmla="*/ 2147483647 h 184"/>
                <a:gd name="T2" fmla="*/ 2147483647 w 110"/>
                <a:gd name="T3" fmla="*/ 2147483647 h 184"/>
                <a:gd name="T4" fmla="*/ 2147483647 w 110"/>
                <a:gd name="T5" fmla="*/ 2147483647 h 184"/>
                <a:gd name="T6" fmla="*/ 2147483647 w 110"/>
                <a:gd name="T7" fmla="*/ 2147483647 h 184"/>
                <a:gd name="T8" fmla="*/ 2147483647 w 110"/>
                <a:gd name="T9" fmla="*/ 2147483647 h 184"/>
                <a:gd name="T10" fmla="*/ 2147483647 w 110"/>
                <a:gd name="T11" fmla="*/ 2147483647 h 184"/>
                <a:gd name="T12" fmla="*/ 2147483647 w 110"/>
                <a:gd name="T13" fmla="*/ 2147483647 h 184"/>
                <a:gd name="T14" fmla="*/ 2147483647 w 110"/>
                <a:gd name="T15" fmla="*/ 2147483647 h 184"/>
                <a:gd name="T16" fmla="*/ 2147483647 w 110"/>
                <a:gd name="T17" fmla="*/ 2147483647 h 184"/>
                <a:gd name="T18" fmla="*/ 2147483647 w 110"/>
                <a:gd name="T19" fmla="*/ 2147483647 h 184"/>
                <a:gd name="T20" fmla="*/ 0 w 110"/>
                <a:gd name="T21" fmla="*/ 2147483647 h 184"/>
                <a:gd name="T22" fmla="*/ 2147483647 w 110"/>
                <a:gd name="T23" fmla="*/ 2147483647 h 184"/>
                <a:gd name="T24" fmla="*/ 2147483647 w 110"/>
                <a:gd name="T25" fmla="*/ 2147483647 h 184"/>
                <a:gd name="T26" fmla="*/ 2147483647 w 110"/>
                <a:gd name="T27" fmla="*/ 2147483647 h 184"/>
                <a:gd name="T28" fmla="*/ 2147483647 w 110"/>
                <a:gd name="T29" fmla="*/ 2147483647 h 184"/>
                <a:gd name="T30" fmla="*/ 2147483647 w 110"/>
                <a:gd name="T31" fmla="*/ 2147483647 h 184"/>
                <a:gd name="T32" fmla="*/ 2147483647 w 110"/>
                <a:gd name="T33" fmla="*/ 2147483647 h 184"/>
                <a:gd name="T34" fmla="*/ 2147483647 w 110"/>
                <a:gd name="T35" fmla="*/ 2147483647 h 184"/>
                <a:gd name="T36" fmla="*/ 2147483647 w 110"/>
                <a:gd name="T37" fmla="*/ 2147483647 h 184"/>
                <a:gd name="T38" fmla="*/ 2147483647 w 110"/>
                <a:gd name="T39" fmla="*/ 2147483647 h 184"/>
                <a:gd name="T40" fmla="*/ 2147483647 w 110"/>
                <a:gd name="T41" fmla="*/ 2147483647 h 184"/>
                <a:gd name="T42" fmla="*/ 2147483647 w 110"/>
                <a:gd name="T43" fmla="*/ 2147483647 h 184"/>
                <a:gd name="T44" fmla="*/ 2147483647 w 110"/>
                <a:gd name="T45" fmla="*/ 2147483647 h 184"/>
                <a:gd name="T46" fmla="*/ 2147483647 w 110"/>
                <a:gd name="T47" fmla="*/ 2147483647 h 184"/>
                <a:gd name="T48" fmla="*/ 2147483647 w 110"/>
                <a:gd name="T49" fmla="*/ 2147483647 h 184"/>
                <a:gd name="T50" fmla="*/ 2147483647 w 110"/>
                <a:gd name="T51" fmla="*/ 2147483647 h 184"/>
                <a:gd name="T52" fmla="*/ 2147483647 w 110"/>
                <a:gd name="T53" fmla="*/ 2147483647 h 184"/>
                <a:gd name="T54" fmla="*/ 2147483647 w 110"/>
                <a:gd name="T55" fmla="*/ 2147483647 h 184"/>
                <a:gd name="T56" fmla="*/ 2147483647 w 110"/>
                <a:gd name="T57" fmla="*/ 2147483647 h 184"/>
                <a:gd name="T58" fmla="*/ 2147483647 w 110"/>
                <a:gd name="T59" fmla="*/ 2147483647 h 184"/>
                <a:gd name="T60" fmla="*/ 2147483647 w 110"/>
                <a:gd name="T61" fmla="*/ 2147483647 h 184"/>
                <a:gd name="T62" fmla="*/ 2147483647 w 110"/>
                <a:gd name="T63" fmla="*/ 2147483647 h 184"/>
                <a:gd name="T64" fmla="*/ 2147483647 w 110"/>
                <a:gd name="T65" fmla="*/ 2147483647 h 184"/>
                <a:gd name="T66" fmla="*/ 2147483647 w 110"/>
                <a:gd name="T67" fmla="*/ 2147483647 h 184"/>
                <a:gd name="T68" fmla="*/ 2147483647 w 110"/>
                <a:gd name="T69" fmla="*/ 2147483647 h 184"/>
                <a:gd name="T70" fmla="*/ 2147483647 w 110"/>
                <a:gd name="T71" fmla="*/ 2147483647 h 184"/>
                <a:gd name="T72" fmla="*/ 2147483647 w 110"/>
                <a:gd name="T73" fmla="*/ 2147483647 h 184"/>
                <a:gd name="T74" fmla="*/ 2147483647 w 110"/>
                <a:gd name="T75" fmla="*/ 2147483647 h 184"/>
                <a:gd name="T76" fmla="*/ 2147483647 w 110"/>
                <a:gd name="T77" fmla="*/ 2147483647 h 184"/>
                <a:gd name="T78" fmla="*/ 2147483647 w 110"/>
                <a:gd name="T79" fmla="*/ 0 h 184"/>
                <a:gd name="T80" fmla="*/ 2147483647 w 110"/>
                <a:gd name="T81" fmla="*/ 2147483647 h 184"/>
                <a:gd name="T82" fmla="*/ 2147483647 w 110"/>
                <a:gd name="T83" fmla="*/ 2147483647 h 184"/>
                <a:gd name="T84" fmla="*/ 2147483647 w 110"/>
                <a:gd name="T85" fmla="*/ 2147483647 h 184"/>
                <a:gd name="T86" fmla="*/ 2147483647 w 110"/>
                <a:gd name="T87" fmla="*/ 2147483647 h 184"/>
                <a:gd name="T88" fmla="*/ 2147483647 w 110"/>
                <a:gd name="T89" fmla="*/ 2147483647 h 184"/>
                <a:gd name="T90" fmla="*/ 2147483647 w 110"/>
                <a:gd name="T91" fmla="*/ 2147483647 h 184"/>
                <a:gd name="T92" fmla="*/ 2147483647 w 110"/>
                <a:gd name="T93" fmla="*/ 2147483647 h 184"/>
                <a:gd name="T94" fmla="*/ 2147483647 w 110"/>
                <a:gd name="T95" fmla="*/ 2147483647 h 184"/>
                <a:gd name="T96" fmla="*/ 2147483647 w 110"/>
                <a:gd name="T97" fmla="*/ 2147483647 h 184"/>
                <a:gd name="T98" fmla="*/ 2147483647 w 110"/>
                <a:gd name="T99" fmla="*/ 2147483647 h 184"/>
                <a:gd name="T100" fmla="*/ 2147483647 w 110"/>
                <a:gd name="T101" fmla="*/ 2147483647 h 1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0"/>
                <a:gd name="T154" fmla="*/ 0 h 184"/>
                <a:gd name="T155" fmla="*/ 110 w 110"/>
                <a:gd name="T156" fmla="*/ 184 h 1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0" h="184">
                  <a:moveTo>
                    <a:pt x="24" y="10"/>
                  </a:moveTo>
                  <a:lnTo>
                    <a:pt x="16" y="20"/>
                  </a:lnTo>
                  <a:lnTo>
                    <a:pt x="12" y="26"/>
                  </a:lnTo>
                  <a:lnTo>
                    <a:pt x="16" y="32"/>
                  </a:lnTo>
                  <a:lnTo>
                    <a:pt x="18" y="36"/>
                  </a:lnTo>
                  <a:lnTo>
                    <a:pt x="20" y="38"/>
                  </a:lnTo>
                  <a:lnTo>
                    <a:pt x="24" y="42"/>
                  </a:lnTo>
                  <a:lnTo>
                    <a:pt x="28" y="44"/>
                  </a:lnTo>
                  <a:lnTo>
                    <a:pt x="58" y="58"/>
                  </a:lnTo>
                  <a:lnTo>
                    <a:pt x="76" y="58"/>
                  </a:lnTo>
                  <a:lnTo>
                    <a:pt x="44" y="104"/>
                  </a:lnTo>
                  <a:lnTo>
                    <a:pt x="30" y="104"/>
                  </a:lnTo>
                  <a:lnTo>
                    <a:pt x="26" y="108"/>
                  </a:lnTo>
                  <a:lnTo>
                    <a:pt x="14" y="108"/>
                  </a:lnTo>
                  <a:lnTo>
                    <a:pt x="12" y="110"/>
                  </a:lnTo>
                  <a:lnTo>
                    <a:pt x="6" y="126"/>
                  </a:lnTo>
                  <a:lnTo>
                    <a:pt x="0" y="130"/>
                  </a:lnTo>
                  <a:lnTo>
                    <a:pt x="0" y="176"/>
                  </a:lnTo>
                  <a:lnTo>
                    <a:pt x="6" y="184"/>
                  </a:lnTo>
                  <a:lnTo>
                    <a:pt x="8" y="178"/>
                  </a:lnTo>
                  <a:lnTo>
                    <a:pt x="12" y="178"/>
                  </a:lnTo>
                  <a:lnTo>
                    <a:pt x="20" y="162"/>
                  </a:lnTo>
                  <a:lnTo>
                    <a:pt x="24" y="162"/>
                  </a:lnTo>
                  <a:lnTo>
                    <a:pt x="26" y="160"/>
                  </a:lnTo>
                  <a:lnTo>
                    <a:pt x="30" y="156"/>
                  </a:lnTo>
                  <a:lnTo>
                    <a:pt x="34" y="152"/>
                  </a:lnTo>
                  <a:lnTo>
                    <a:pt x="36" y="152"/>
                  </a:lnTo>
                  <a:lnTo>
                    <a:pt x="40" y="152"/>
                  </a:lnTo>
                  <a:lnTo>
                    <a:pt x="46" y="146"/>
                  </a:lnTo>
                  <a:lnTo>
                    <a:pt x="52" y="140"/>
                  </a:lnTo>
                  <a:lnTo>
                    <a:pt x="52" y="136"/>
                  </a:lnTo>
                  <a:lnTo>
                    <a:pt x="52" y="132"/>
                  </a:lnTo>
                  <a:lnTo>
                    <a:pt x="58" y="130"/>
                  </a:lnTo>
                  <a:lnTo>
                    <a:pt x="60" y="130"/>
                  </a:lnTo>
                  <a:lnTo>
                    <a:pt x="62" y="128"/>
                  </a:lnTo>
                  <a:lnTo>
                    <a:pt x="62" y="126"/>
                  </a:lnTo>
                  <a:lnTo>
                    <a:pt x="62" y="122"/>
                  </a:lnTo>
                  <a:lnTo>
                    <a:pt x="66" y="120"/>
                  </a:lnTo>
                  <a:lnTo>
                    <a:pt x="70" y="116"/>
                  </a:lnTo>
                  <a:lnTo>
                    <a:pt x="72" y="112"/>
                  </a:lnTo>
                  <a:lnTo>
                    <a:pt x="72" y="108"/>
                  </a:lnTo>
                  <a:lnTo>
                    <a:pt x="78" y="102"/>
                  </a:lnTo>
                  <a:lnTo>
                    <a:pt x="80" y="94"/>
                  </a:lnTo>
                  <a:lnTo>
                    <a:pt x="82" y="84"/>
                  </a:lnTo>
                  <a:lnTo>
                    <a:pt x="86" y="84"/>
                  </a:lnTo>
                  <a:lnTo>
                    <a:pt x="88" y="72"/>
                  </a:lnTo>
                  <a:lnTo>
                    <a:pt x="92" y="60"/>
                  </a:lnTo>
                  <a:lnTo>
                    <a:pt x="96" y="52"/>
                  </a:lnTo>
                  <a:lnTo>
                    <a:pt x="102" y="46"/>
                  </a:lnTo>
                  <a:lnTo>
                    <a:pt x="102" y="42"/>
                  </a:lnTo>
                  <a:lnTo>
                    <a:pt x="102" y="38"/>
                  </a:lnTo>
                  <a:lnTo>
                    <a:pt x="106" y="36"/>
                  </a:lnTo>
                  <a:lnTo>
                    <a:pt x="106" y="32"/>
                  </a:lnTo>
                  <a:lnTo>
                    <a:pt x="106" y="26"/>
                  </a:lnTo>
                  <a:lnTo>
                    <a:pt x="108" y="22"/>
                  </a:lnTo>
                  <a:lnTo>
                    <a:pt x="110" y="6"/>
                  </a:lnTo>
                  <a:lnTo>
                    <a:pt x="108" y="0"/>
                  </a:lnTo>
                  <a:lnTo>
                    <a:pt x="106" y="0"/>
                  </a:lnTo>
                  <a:lnTo>
                    <a:pt x="100" y="4"/>
                  </a:lnTo>
                  <a:lnTo>
                    <a:pt x="94" y="6"/>
                  </a:lnTo>
                  <a:lnTo>
                    <a:pt x="82" y="8"/>
                  </a:lnTo>
                  <a:lnTo>
                    <a:pt x="74" y="8"/>
                  </a:lnTo>
                  <a:lnTo>
                    <a:pt x="68" y="10"/>
                  </a:lnTo>
                  <a:lnTo>
                    <a:pt x="64" y="14"/>
                  </a:lnTo>
                  <a:lnTo>
                    <a:pt x="62" y="16"/>
                  </a:lnTo>
                  <a:lnTo>
                    <a:pt x="60" y="18"/>
                  </a:lnTo>
                  <a:lnTo>
                    <a:pt x="56" y="18"/>
                  </a:lnTo>
                  <a:lnTo>
                    <a:pt x="52" y="16"/>
                  </a:lnTo>
                  <a:lnTo>
                    <a:pt x="46" y="16"/>
                  </a:lnTo>
                  <a:lnTo>
                    <a:pt x="40" y="16"/>
                  </a:lnTo>
                  <a:lnTo>
                    <a:pt x="34" y="20"/>
                  </a:lnTo>
                  <a:lnTo>
                    <a:pt x="30" y="16"/>
                  </a:lnTo>
                  <a:lnTo>
                    <a:pt x="24"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4" name="Freeform 526">
              <a:extLst>
                <a:ext uri="{FF2B5EF4-FFF2-40B4-BE49-F238E27FC236}">
                  <a16:creationId xmlns:a16="http://schemas.microsoft.com/office/drawing/2014/main" id="{FF43E6F7-7D06-44A7-A24C-05C1D2F8B581}"/>
                </a:ext>
              </a:extLst>
            </p:cNvPr>
            <p:cNvSpPr>
              <a:spLocks noEditPoints="1"/>
            </p:cNvSpPr>
            <p:nvPr/>
          </p:nvSpPr>
          <p:spPr bwMode="gray">
            <a:xfrm>
              <a:off x="7646699" y="4479557"/>
              <a:ext cx="122418" cy="108298"/>
            </a:xfrm>
            <a:custGeom>
              <a:avLst/>
              <a:gdLst>
                <a:gd name="T0" fmla="*/ 2147483647 w 66"/>
                <a:gd name="T1" fmla="*/ 2147483647 h 58"/>
                <a:gd name="T2" fmla="*/ 2147483647 w 66"/>
                <a:gd name="T3" fmla="*/ 2147483647 h 58"/>
                <a:gd name="T4" fmla="*/ 2147483647 w 66"/>
                <a:gd name="T5" fmla="*/ 2147483647 h 58"/>
                <a:gd name="T6" fmla="*/ 2147483647 w 66"/>
                <a:gd name="T7" fmla="*/ 2147483647 h 58"/>
                <a:gd name="T8" fmla="*/ 2147483647 w 66"/>
                <a:gd name="T9" fmla="*/ 2147483647 h 58"/>
                <a:gd name="T10" fmla="*/ 2147483647 w 66"/>
                <a:gd name="T11" fmla="*/ 2147483647 h 58"/>
                <a:gd name="T12" fmla="*/ 2147483647 w 66"/>
                <a:gd name="T13" fmla="*/ 2147483647 h 58"/>
                <a:gd name="T14" fmla="*/ 2147483647 w 66"/>
                <a:gd name="T15" fmla="*/ 2147483647 h 58"/>
                <a:gd name="T16" fmla="*/ 2147483647 w 66"/>
                <a:gd name="T17" fmla="*/ 2147483647 h 58"/>
                <a:gd name="T18" fmla="*/ 2147483647 w 66"/>
                <a:gd name="T19" fmla="*/ 2147483647 h 58"/>
                <a:gd name="T20" fmla="*/ 2147483647 w 66"/>
                <a:gd name="T21" fmla="*/ 2147483647 h 58"/>
                <a:gd name="T22" fmla="*/ 2147483647 w 66"/>
                <a:gd name="T23" fmla="*/ 2147483647 h 58"/>
                <a:gd name="T24" fmla="*/ 2147483647 w 66"/>
                <a:gd name="T25" fmla="*/ 2147483647 h 58"/>
                <a:gd name="T26" fmla="*/ 2147483647 w 66"/>
                <a:gd name="T27" fmla="*/ 2147483647 h 58"/>
                <a:gd name="T28" fmla="*/ 2147483647 w 66"/>
                <a:gd name="T29" fmla="*/ 2147483647 h 58"/>
                <a:gd name="T30" fmla="*/ 2147483647 w 66"/>
                <a:gd name="T31" fmla="*/ 2147483647 h 58"/>
                <a:gd name="T32" fmla="*/ 2147483647 w 66"/>
                <a:gd name="T33" fmla="*/ 2147483647 h 58"/>
                <a:gd name="T34" fmla="*/ 2147483647 w 66"/>
                <a:gd name="T35" fmla="*/ 2147483647 h 58"/>
                <a:gd name="T36" fmla="*/ 2147483647 w 66"/>
                <a:gd name="T37" fmla="*/ 2147483647 h 58"/>
                <a:gd name="T38" fmla="*/ 2147483647 w 66"/>
                <a:gd name="T39" fmla="*/ 2147483647 h 58"/>
                <a:gd name="T40" fmla="*/ 2147483647 w 66"/>
                <a:gd name="T41" fmla="*/ 2147483647 h 58"/>
                <a:gd name="T42" fmla="*/ 2147483647 w 66"/>
                <a:gd name="T43" fmla="*/ 2147483647 h 58"/>
                <a:gd name="T44" fmla="*/ 2147483647 w 66"/>
                <a:gd name="T45" fmla="*/ 2147483647 h 58"/>
                <a:gd name="T46" fmla="*/ 2147483647 w 66"/>
                <a:gd name="T47" fmla="*/ 2147483647 h 58"/>
                <a:gd name="T48" fmla="*/ 2147483647 w 66"/>
                <a:gd name="T49" fmla="*/ 2147483647 h 58"/>
                <a:gd name="T50" fmla="*/ 2147483647 w 66"/>
                <a:gd name="T51" fmla="*/ 2147483647 h 58"/>
                <a:gd name="T52" fmla="*/ 2147483647 w 66"/>
                <a:gd name="T53" fmla="*/ 2147483647 h 58"/>
                <a:gd name="T54" fmla="*/ 0 w 66"/>
                <a:gd name="T55" fmla="*/ 0 h 58"/>
                <a:gd name="T56" fmla="*/ 2147483647 w 66"/>
                <a:gd name="T57" fmla="*/ 2147483647 h 58"/>
                <a:gd name="T58" fmla="*/ 2147483647 w 66"/>
                <a:gd name="T59" fmla="*/ 2147483647 h 58"/>
                <a:gd name="T60" fmla="*/ 2147483647 w 66"/>
                <a:gd name="T61" fmla="*/ 2147483647 h 58"/>
                <a:gd name="T62" fmla="*/ 2147483647 w 66"/>
                <a:gd name="T63" fmla="*/ 2147483647 h 58"/>
                <a:gd name="T64" fmla="*/ 0 w 66"/>
                <a:gd name="T65" fmla="*/ 0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6"/>
                <a:gd name="T100" fmla="*/ 0 h 58"/>
                <a:gd name="T101" fmla="*/ 66 w 66"/>
                <a:gd name="T102" fmla="*/ 58 h 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6" h="58">
                  <a:moveTo>
                    <a:pt x="56" y="52"/>
                  </a:moveTo>
                  <a:lnTo>
                    <a:pt x="56" y="52"/>
                  </a:lnTo>
                  <a:lnTo>
                    <a:pt x="60" y="54"/>
                  </a:lnTo>
                  <a:lnTo>
                    <a:pt x="64" y="58"/>
                  </a:lnTo>
                  <a:lnTo>
                    <a:pt x="66" y="58"/>
                  </a:lnTo>
                  <a:lnTo>
                    <a:pt x="66" y="56"/>
                  </a:lnTo>
                  <a:lnTo>
                    <a:pt x="62" y="52"/>
                  </a:lnTo>
                  <a:lnTo>
                    <a:pt x="60" y="52"/>
                  </a:lnTo>
                  <a:lnTo>
                    <a:pt x="56" y="52"/>
                  </a:lnTo>
                  <a:close/>
                  <a:moveTo>
                    <a:pt x="36" y="38"/>
                  </a:moveTo>
                  <a:lnTo>
                    <a:pt x="36" y="38"/>
                  </a:lnTo>
                  <a:lnTo>
                    <a:pt x="38" y="42"/>
                  </a:lnTo>
                  <a:lnTo>
                    <a:pt x="40" y="44"/>
                  </a:lnTo>
                  <a:lnTo>
                    <a:pt x="40" y="46"/>
                  </a:lnTo>
                  <a:lnTo>
                    <a:pt x="46" y="46"/>
                  </a:lnTo>
                  <a:lnTo>
                    <a:pt x="48" y="44"/>
                  </a:lnTo>
                  <a:lnTo>
                    <a:pt x="48" y="40"/>
                  </a:lnTo>
                  <a:lnTo>
                    <a:pt x="44" y="38"/>
                  </a:lnTo>
                  <a:lnTo>
                    <a:pt x="40" y="38"/>
                  </a:lnTo>
                  <a:lnTo>
                    <a:pt x="36" y="38"/>
                  </a:lnTo>
                  <a:close/>
                  <a:moveTo>
                    <a:pt x="48" y="26"/>
                  </a:moveTo>
                  <a:lnTo>
                    <a:pt x="48" y="26"/>
                  </a:lnTo>
                  <a:lnTo>
                    <a:pt x="52" y="36"/>
                  </a:lnTo>
                  <a:lnTo>
                    <a:pt x="56" y="40"/>
                  </a:lnTo>
                  <a:lnTo>
                    <a:pt x="56" y="34"/>
                  </a:lnTo>
                  <a:lnTo>
                    <a:pt x="52" y="26"/>
                  </a:lnTo>
                  <a:lnTo>
                    <a:pt x="48" y="26"/>
                  </a:lnTo>
                  <a:close/>
                  <a:moveTo>
                    <a:pt x="12" y="18"/>
                  </a:moveTo>
                  <a:lnTo>
                    <a:pt x="10" y="22"/>
                  </a:lnTo>
                  <a:lnTo>
                    <a:pt x="12" y="24"/>
                  </a:lnTo>
                  <a:lnTo>
                    <a:pt x="14" y="26"/>
                  </a:lnTo>
                  <a:lnTo>
                    <a:pt x="16" y="26"/>
                  </a:lnTo>
                  <a:lnTo>
                    <a:pt x="14" y="22"/>
                  </a:lnTo>
                  <a:lnTo>
                    <a:pt x="14" y="18"/>
                  </a:lnTo>
                  <a:lnTo>
                    <a:pt x="12" y="18"/>
                  </a:lnTo>
                  <a:close/>
                  <a:moveTo>
                    <a:pt x="24" y="12"/>
                  </a:moveTo>
                  <a:lnTo>
                    <a:pt x="32" y="22"/>
                  </a:lnTo>
                  <a:lnTo>
                    <a:pt x="38" y="22"/>
                  </a:lnTo>
                  <a:lnTo>
                    <a:pt x="32" y="14"/>
                  </a:lnTo>
                  <a:lnTo>
                    <a:pt x="28" y="12"/>
                  </a:lnTo>
                  <a:lnTo>
                    <a:pt x="24" y="12"/>
                  </a:lnTo>
                  <a:close/>
                  <a:moveTo>
                    <a:pt x="0" y="0"/>
                  </a:moveTo>
                  <a:lnTo>
                    <a:pt x="0" y="0"/>
                  </a:lnTo>
                  <a:lnTo>
                    <a:pt x="2" y="4"/>
                  </a:lnTo>
                  <a:lnTo>
                    <a:pt x="2" y="6"/>
                  </a:lnTo>
                  <a:lnTo>
                    <a:pt x="10" y="10"/>
                  </a:lnTo>
                  <a:lnTo>
                    <a:pt x="12" y="10"/>
                  </a:lnTo>
                  <a:lnTo>
                    <a:pt x="12" y="8"/>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5" name="Freeform 527">
              <a:extLst>
                <a:ext uri="{FF2B5EF4-FFF2-40B4-BE49-F238E27FC236}">
                  <a16:creationId xmlns:a16="http://schemas.microsoft.com/office/drawing/2014/main" id="{C101E3C3-8BEC-4246-9C09-8AE905C0115C}"/>
                </a:ext>
              </a:extLst>
            </p:cNvPr>
            <p:cNvSpPr>
              <a:spLocks/>
            </p:cNvSpPr>
            <p:nvPr/>
          </p:nvSpPr>
          <p:spPr bwMode="gray">
            <a:xfrm>
              <a:off x="4661594" y="2994001"/>
              <a:ext cx="72980" cy="68274"/>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2147483647 w 40"/>
                <a:gd name="T29" fmla="*/ 2147483647 h 36"/>
                <a:gd name="T30" fmla="*/ 2147483647 w 40"/>
                <a:gd name="T31" fmla="*/ 2147483647 h 36"/>
                <a:gd name="T32" fmla="*/ 2147483647 w 40"/>
                <a:gd name="T33" fmla="*/ 0 h 36"/>
                <a:gd name="T34" fmla="*/ 2147483647 w 40"/>
                <a:gd name="T35" fmla="*/ 0 h 36"/>
                <a:gd name="T36" fmla="*/ 2147483647 w 40"/>
                <a:gd name="T37" fmla="*/ 2147483647 h 36"/>
                <a:gd name="T38" fmla="*/ 2147483647 w 40"/>
                <a:gd name="T39" fmla="*/ 2147483647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2147483647 w 40"/>
                <a:gd name="T51" fmla="*/ 2147483647 h 36"/>
                <a:gd name="T52" fmla="*/ 2147483647 w 40"/>
                <a:gd name="T53" fmla="*/ 2147483647 h 36"/>
                <a:gd name="T54" fmla="*/ 0 w 40"/>
                <a:gd name="T55" fmla="*/ 2147483647 h 36"/>
                <a:gd name="T56" fmla="*/ 2147483647 w 40"/>
                <a:gd name="T57" fmla="*/ 2147483647 h 36"/>
                <a:gd name="T58" fmla="*/ 2147483647 w 40"/>
                <a:gd name="T59" fmla="*/ 2147483647 h 36"/>
                <a:gd name="T60" fmla="*/ 2147483647 w 40"/>
                <a:gd name="T61" fmla="*/ 2147483647 h 36"/>
                <a:gd name="T62" fmla="*/ 2147483647 w 40"/>
                <a:gd name="T63" fmla="*/ 2147483647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
                <a:gd name="T97" fmla="*/ 0 h 36"/>
                <a:gd name="T98" fmla="*/ 40 w 40"/>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 h="36">
                  <a:moveTo>
                    <a:pt x="6" y="30"/>
                  </a:moveTo>
                  <a:lnTo>
                    <a:pt x="6" y="30"/>
                  </a:lnTo>
                  <a:lnTo>
                    <a:pt x="4" y="32"/>
                  </a:lnTo>
                  <a:lnTo>
                    <a:pt x="4" y="36"/>
                  </a:lnTo>
                  <a:lnTo>
                    <a:pt x="10" y="34"/>
                  </a:lnTo>
                  <a:lnTo>
                    <a:pt x="14" y="32"/>
                  </a:lnTo>
                  <a:lnTo>
                    <a:pt x="18" y="32"/>
                  </a:lnTo>
                  <a:lnTo>
                    <a:pt x="18" y="28"/>
                  </a:lnTo>
                  <a:lnTo>
                    <a:pt x="18" y="24"/>
                  </a:lnTo>
                  <a:lnTo>
                    <a:pt x="18" y="22"/>
                  </a:lnTo>
                  <a:lnTo>
                    <a:pt x="18" y="24"/>
                  </a:lnTo>
                  <a:lnTo>
                    <a:pt x="20" y="26"/>
                  </a:lnTo>
                  <a:lnTo>
                    <a:pt x="22" y="26"/>
                  </a:lnTo>
                  <a:lnTo>
                    <a:pt x="24" y="26"/>
                  </a:lnTo>
                  <a:lnTo>
                    <a:pt x="26" y="22"/>
                  </a:lnTo>
                  <a:lnTo>
                    <a:pt x="28" y="16"/>
                  </a:lnTo>
                  <a:lnTo>
                    <a:pt x="28" y="14"/>
                  </a:lnTo>
                  <a:lnTo>
                    <a:pt x="30" y="14"/>
                  </a:lnTo>
                  <a:lnTo>
                    <a:pt x="34" y="14"/>
                  </a:lnTo>
                  <a:lnTo>
                    <a:pt x="36" y="12"/>
                  </a:lnTo>
                  <a:lnTo>
                    <a:pt x="36" y="8"/>
                  </a:lnTo>
                  <a:lnTo>
                    <a:pt x="38" y="8"/>
                  </a:lnTo>
                  <a:lnTo>
                    <a:pt x="40" y="6"/>
                  </a:lnTo>
                  <a:lnTo>
                    <a:pt x="40" y="4"/>
                  </a:lnTo>
                  <a:lnTo>
                    <a:pt x="38" y="0"/>
                  </a:lnTo>
                  <a:lnTo>
                    <a:pt x="36" y="0"/>
                  </a:lnTo>
                  <a:lnTo>
                    <a:pt x="32" y="2"/>
                  </a:lnTo>
                  <a:lnTo>
                    <a:pt x="28" y="2"/>
                  </a:lnTo>
                  <a:lnTo>
                    <a:pt x="24" y="2"/>
                  </a:lnTo>
                  <a:lnTo>
                    <a:pt x="22" y="2"/>
                  </a:lnTo>
                  <a:lnTo>
                    <a:pt x="20" y="4"/>
                  </a:lnTo>
                  <a:lnTo>
                    <a:pt x="16" y="6"/>
                  </a:lnTo>
                  <a:lnTo>
                    <a:pt x="12" y="6"/>
                  </a:lnTo>
                  <a:lnTo>
                    <a:pt x="8" y="6"/>
                  </a:lnTo>
                  <a:lnTo>
                    <a:pt x="6" y="8"/>
                  </a:lnTo>
                  <a:lnTo>
                    <a:pt x="4" y="10"/>
                  </a:lnTo>
                  <a:lnTo>
                    <a:pt x="2" y="10"/>
                  </a:lnTo>
                  <a:lnTo>
                    <a:pt x="0" y="12"/>
                  </a:lnTo>
                  <a:lnTo>
                    <a:pt x="0" y="16"/>
                  </a:lnTo>
                  <a:lnTo>
                    <a:pt x="2" y="16"/>
                  </a:lnTo>
                  <a:lnTo>
                    <a:pt x="4" y="18"/>
                  </a:lnTo>
                  <a:lnTo>
                    <a:pt x="4" y="22"/>
                  </a:lnTo>
                  <a:lnTo>
                    <a:pt x="4" y="26"/>
                  </a:lnTo>
                  <a:lnTo>
                    <a:pt x="4" y="28"/>
                  </a:lnTo>
                  <a:lnTo>
                    <a:pt x="6" y="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6" name="Freeform 528">
              <a:extLst>
                <a:ext uri="{FF2B5EF4-FFF2-40B4-BE49-F238E27FC236}">
                  <a16:creationId xmlns:a16="http://schemas.microsoft.com/office/drawing/2014/main" id="{A18A1253-7171-4843-B87D-8B7A43F723E0}"/>
                </a:ext>
              </a:extLst>
            </p:cNvPr>
            <p:cNvSpPr>
              <a:spLocks/>
            </p:cNvSpPr>
            <p:nvPr/>
          </p:nvSpPr>
          <p:spPr bwMode="gray">
            <a:xfrm>
              <a:off x="4739284" y="2909247"/>
              <a:ext cx="145959" cy="68274"/>
            </a:xfrm>
            <a:custGeom>
              <a:avLst/>
              <a:gdLst>
                <a:gd name="T0" fmla="*/ 2147483647 w 80"/>
                <a:gd name="T1" fmla="*/ 2147483647 h 36"/>
                <a:gd name="T2" fmla="*/ 2147483647 w 80"/>
                <a:gd name="T3" fmla="*/ 2147483647 h 36"/>
                <a:gd name="T4" fmla="*/ 2147483647 w 80"/>
                <a:gd name="T5" fmla="*/ 2147483647 h 36"/>
                <a:gd name="T6" fmla="*/ 2147483647 w 80"/>
                <a:gd name="T7" fmla="*/ 2147483647 h 36"/>
                <a:gd name="T8" fmla="*/ 2147483647 w 80"/>
                <a:gd name="T9" fmla="*/ 2147483647 h 36"/>
                <a:gd name="T10" fmla="*/ 2147483647 w 80"/>
                <a:gd name="T11" fmla="*/ 2147483647 h 36"/>
                <a:gd name="T12" fmla="*/ 2147483647 w 80"/>
                <a:gd name="T13" fmla="*/ 2147483647 h 36"/>
                <a:gd name="T14" fmla="*/ 2147483647 w 80"/>
                <a:gd name="T15" fmla="*/ 2147483647 h 36"/>
                <a:gd name="T16" fmla="*/ 2147483647 w 80"/>
                <a:gd name="T17" fmla="*/ 2147483647 h 36"/>
                <a:gd name="T18" fmla="*/ 2147483647 w 80"/>
                <a:gd name="T19" fmla="*/ 2147483647 h 36"/>
                <a:gd name="T20" fmla="*/ 2147483647 w 80"/>
                <a:gd name="T21" fmla="*/ 2147483647 h 36"/>
                <a:gd name="T22" fmla="*/ 2147483647 w 80"/>
                <a:gd name="T23" fmla="*/ 2147483647 h 36"/>
                <a:gd name="T24" fmla="*/ 2147483647 w 80"/>
                <a:gd name="T25" fmla="*/ 2147483647 h 36"/>
                <a:gd name="T26" fmla="*/ 2147483647 w 80"/>
                <a:gd name="T27" fmla="*/ 2147483647 h 36"/>
                <a:gd name="T28" fmla="*/ 2147483647 w 80"/>
                <a:gd name="T29" fmla="*/ 2147483647 h 36"/>
                <a:gd name="T30" fmla="*/ 2147483647 w 80"/>
                <a:gd name="T31" fmla="*/ 2147483647 h 36"/>
                <a:gd name="T32" fmla="*/ 2147483647 w 80"/>
                <a:gd name="T33" fmla="*/ 2147483647 h 36"/>
                <a:gd name="T34" fmla="*/ 2147483647 w 80"/>
                <a:gd name="T35" fmla="*/ 2147483647 h 36"/>
                <a:gd name="T36" fmla="*/ 0 w 80"/>
                <a:gd name="T37" fmla="*/ 2147483647 h 36"/>
                <a:gd name="T38" fmla="*/ 2147483647 w 80"/>
                <a:gd name="T39" fmla="*/ 2147483647 h 36"/>
                <a:gd name="T40" fmla="*/ 2147483647 w 80"/>
                <a:gd name="T41" fmla="*/ 2147483647 h 36"/>
                <a:gd name="T42" fmla="*/ 2147483647 w 80"/>
                <a:gd name="T43" fmla="*/ 2147483647 h 36"/>
                <a:gd name="T44" fmla="*/ 2147483647 w 80"/>
                <a:gd name="T45" fmla="*/ 2147483647 h 36"/>
                <a:gd name="T46" fmla="*/ 2147483647 w 80"/>
                <a:gd name="T47" fmla="*/ 2147483647 h 36"/>
                <a:gd name="T48" fmla="*/ 2147483647 w 80"/>
                <a:gd name="T49" fmla="*/ 2147483647 h 36"/>
                <a:gd name="T50" fmla="*/ 2147483647 w 80"/>
                <a:gd name="T51" fmla="*/ 2147483647 h 36"/>
                <a:gd name="T52" fmla="*/ 2147483647 w 80"/>
                <a:gd name="T53" fmla="*/ 2147483647 h 36"/>
                <a:gd name="T54" fmla="*/ 2147483647 w 80"/>
                <a:gd name="T55" fmla="*/ 2147483647 h 36"/>
                <a:gd name="T56" fmla="*/ 2147483647 w 80"/>
                <a:gd name="T57" fmla="*/ 2147483647 h 36"/>
                <a:gd name="T58" fmla="*/ 2147483647 w 80"/>
                <a:gd name="T59" fmla="*/ 2147483647 h 36"/>
                <a:gd name="T60" fmla="*/ 2147483647 w 80"/>
                <a:gd name="T61" fmla="*/ 2147483647 h 36"/>
                <a:gd name="T62" fmla="*/ 2147483647 w 80"/>
                <a:gd name="T63" fmla="*/ 2147483647 h 36"/>
                <a:gd name="T64" fmla="*/ 2147483647 w 80"/>
                <a:gd name="T65" fmla="*/ 2147483647 h 36"/>
                <a:gd name="T66" fmla="*/ 2147483647 w 80"/>
                <a:gd name="T67" fmla="*/ 0 h 36"/>
                <a:gd name="T68" fmla="*/ 2147483647 w 80"/>
                <a:gd name="T69" fmla="*/ 2147483647 h 36"/>
                <a:gd name="T70" fmla="*/ 2147483647 w 80"/>
                <a:gd name="T71" fmla="*/ 2147483647 h 36"/>
                <a:gd name="T72" fmla="*/ 2147483647 w 80"/>
                <a:gd name="T73" fmla="*/ 2147483647 h 36"/>
                <a:gd name="T74" fmla="*/ 2147483647 w 80"/>
                <a:gd name="T75" fmla="*/ 2147483647 h 36"/>
                <a:gd name="T76" fmla="*/ 2147483647 w 80"/>
                <a:gd name="T77" fmla="*/ 2147483647 h 36"/>
                <a:gd name="T78" fmla="*/ 2147483647 w 80"/>
                <a:gd name="T79" fmla="*/ 2147483647 h 36"/>
                <a:gd name="T80" fmla="*/ 2147483647 w 80"/>
                <a:gd name="T81" fmla="*/ 2147483647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
                <a:gd name="T124" fmla="*/ 0 h 36"/>
                <a:gd name="T125" fmla="*/ 80 w 8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 h="36">
                  <a:moveTo>
                    <a:pt x="80" y="20"/>
                  </a:moveTo>
                  <a:lnTo>
                    <a:pt x="76" y="22"/>
                  </a:lnTo>
                  <a:lnTo>
                    <a:pt x="76" y="28"/>
                  </a:lnTo>
                  <a:lnTo>
                    <a:pt x="74" y="28"/>
                  </a:lnTo>
                  <a:lnTo>
                    <a:pt x="70" y="26"/>
                  </a:lnTo>
                  <a:lnTo>
                    <a:pt x="66" y="24"/>
                  </a:lnTo>
                  <a:lnTo>
                    <a:pt x="62" y="26"/>
                  </a:lnTo>
                  <a:lnTo>
                    <a:pt x="56" y="26"/>
                  </a:lnTo>
                  <a:lnTo>
                    <a:pt x="52" y="26"/>
                  </a:lnTo>
                  <a:lnTo>
                    <a:pt x="48" y="28"/>
                  </a:lnTo>
                  <a:lnTo>
                    <a:pt x="46" y="30"/>
                  </a:lnTo>
                  <a:lnTo>
                    <a:pt x="42" y="28"/>
                  </a:lnTo>
                  <a:lnTo>
                    <a:pt x="40" y="28"/>
                  </a:lnTo>
                  <a:lnTo>
                    <a:pt x="34" y="30"/>
                  </a:lnTo>
                  <a:lnTo>
                    <a:pt x="28" y="30"/>
                  </a:lnTo>
                  <a:lnTo>
                    <a:pt x="26" y="30"/>
                  </a:lnTo>
                  <a:lnTo>
                    <a:pt x="28" y="34"/>
                  </a:lnTo>
                  <a:lnTo>
                    <a:pt x="28" y="36"/>
                  </a:lnTo>
                  <a:lnTo>
                    <a:pt x="22" y="34"/>
                  </a:lnTo>
                  <a:lnTo>
                    <a:pt x="16" y="34"/>
                  </a:lnTo>
                  <a:lnTo>
                    <a:pt x="12" y="34"/>
                  </a:lnTo>
                  <a:lnTo>
                    <a:pt x="6" y="32"/>
                  </a:lnTo>
                  <a:lnTo>
                    <a:pt x="4" y="30"/>
                  </a:lnTo>
                  <a:lnTo>
                    <a:pt x="2" y="24"/>
                  </a:lnTo>
                  <a:lnTo>
                    <a:pt x="0" y="24"/>
                  </a:lnTo>
                  <a:lnTo>
                    <a:pt x="0" y="20"/>
                  </a:lnTo>
                  <a:lnTo>
                    <a:pt x="2" y="18"/>
                  </a:lnTo>
                  <a:lnTo>
                    <a:pt x="4" y="16"/>
                  </a:lnTo>
                  <a:lnTo>
                    <a:pt x="4" y="14"/>
                  </a:lnTo>
                  <a:lnTo>
                    <a:pt x="6" y="12"/>
                  </a:lnTo>
                  <a:lnTo>
                    <a:pt x="8" y="12"/>
                  </a:lnTo>
                  <a:lnTo>
                    <a:pt x="8" y="10"/>
                  </a:lnTo>
                  <a:lnTo>
                    <a:pt x="8" y="8"/>
                  </a:lnTo>
                  <a:lnTo>
                    <a:pt x="10" y="8"/>
                  </a:lnTo>
                  <a:lnTo>
                    <a:pt x="16" y="4"/>
                  </a:lnTo>
                  <a:lnTo>
                    <a:pt x="20" y="6"/>
                  </a:lnTo>
                  <a:lnTo>
                    <a:pt x="24" y="4"/>
                  </a:lnTo>
                  <a:lnTo>
                    <a:pt x="28" y="6"/>
                  </a:lnTo>
                  <a:lnTo>
                    <a:pt x="34" y="8"/>
                  </a:lnTo>
                  <a:lnTo>
                    <a:pt x="38" y="10"/>
                  </a:lnTo>
                  <a:lnTo>
                    <a:pt x="40" y="10"/>
                  </a:lnTo>
                  <a:lnTo>
                    <a:pt x="42" y="8"/>
                  </a:lnTo>
                  <a:lnTo>
                    <a:pt x="44" y="6"/>
                  </a:lnTo>
                  <a:lnTo>
                    <a:pt x="48" y="6"/>
                  </a:lnTo>
                  <a:lnTo>
                    <a:pt x="54" y="2"/>
                  </a:lnTo>
                  <a:lnTo>
                    <a:pt x="56" y="0"/>
                  </a:lnTo>
                  <a:lnTo>
                    <a:pt x="60" y="2"/>
                  </a:lnTo>
                  <a:lnTo>
                    <a:pt x="64" y="4"/>
                  </a:lnTo>
                  <a:lnTo>
                    <a:pt x="68" y="6"/>
                  </a:lnTo>
                  <a:lnTo>
                    <a:pt x="70" y="8"/>
                  </a:lnTo>
                  <a:lnTo>
                    <a:pt x="72" y="10"/>
                  </a:lnTo>
                  <a:lnTo>
                    <a:pt x="74" y="12"/>
                  </a:lnTo>
                  <a:lnTo>
                    <a:pt x="76" y="16"/>
                  </a:lnTo>
                  <a:lnTo>
                    <a:pt x="78" y="20"/>
                  </a:lnTo>
                  <a:lnTo>
                    <a:pt x="80" y="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7" name="Freeform 529">
              <a:extLst>
                <a:ext uri="{FF2B5EF4-FFF2-40B4-BE49-F238E27FC236}">
                  <a16:creationId xmlns:a16="http://schemas.microsoft.com/office/drawing/2014/main" id="{BD45867B-97A2-4BAA-9E57-F469897B6D92}"/>
                </a:ext>
              </a:extLst>
            </p:cNvPr>
            <p:cNvSpPr>
              <a:spLocks/>
            </p:cNvSpPr>
            <p:nvPr/>
          </p:nvSpPr>
          <p:spPr bwMode="gray">
            <a:xfrm>
              <a:off x="6544940" y="4246481"/>
              <a:ext cx="21188" cy="7064"/>
            </a:xfrm>
            <a:custGeom>
              <a:avLst/>
              <a:gdLst>
                <a:gd name="T0" fmla="*/ 0 w 12"/>
                <a:gd name="T1" fmla="*/ 2147483647 h 4"/>
                <a:gd name="T2" fmla="*/ 2147483647 w 12"/>
                <a:gd name="T3" fmla="*/ 0 h 4"/>
                <a:gd name="T4" fmla="*/ 2147483647 w 12"/>
                <a:gd name="T5" fmla="*/ 2147483647 h 4"/>
                <a:gd name="T6" fmla="*/ 2147483647 w 12"/>
                <a:gd name="T7" fmla="*/ 2147483647 h 4"/>
                <a:gd name="T8" fmla="*/ 2147483647 w 12"/>
                <a:gd name="T9" fmla="*/ 2147483647 h 4"/>
                <a:gd name="T10" fmla="*/ 2147483647 w 12"/>
                <a:gd name="T11" fmla="*/ 2147483647 h 4"/>
                <a:gd name="T12" fmla="*/ 0 w 12"/>
                <a:gd name="T13" fmla="*/ 2147483647 h 4"/>
                <a:gd name="T14" fmla="*/ 0 w 12"/>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4"/>
                <a:gd name="T26" fmla="*/ 12 w 1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4">
                  <a:moveTo>
                    <a:pt x="0" y="4"/>
                  </a:moveTo>
                  <a:lnTo>
                    <a:pt x="4" y="0"/>
                  </a:lnTo>
                  <a:lnTo>
                    <a:pt x="12" y="2"/>
                  </a:lnTo>
                  <a:lnTo>
                    <a:pt x="6" y="4"/>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8" name="Freeform 530">
              <a:extLst>
                <a:ext uri="{FF2B5EF4-FFF2-40B4-BE49-F238E27FC236}">
                  <a16:creationId xmlns:a16="http://schemas.microsoft.com/office/drawing/2014/main" id="{92C12E42-D5DA-48F0-9E7C-A8CF37B75647}"/>
                </a:ext>
              </a:extLst>
            </p:cNvPr>
            <p:cNvSpPr>
              <a:spLocks/>
            </p:cNvSpPr>
            <p:nvPr/>
          </p:nvSpPr>
          <p:spPr bwMode="gray">
            <a:xfrm>
              <a:off x="4101299" y="4025181"/>
              <a:ext cx="70626" cy="91817"/>
            </a:xfrm>
            <a:custGeom>
              <a:avLst/>
              <a:gdLst>
                <a:gd name="T0" fmla="*/ 0 w 38"/>
                <a:gd name="T1" fmla="*/ 2147483647 h 50"/>
                <a:gd name="T2" fmla="*/ 0 w 38"/>
                <a:gd name="T3" fmla="*/ 2147483647 h 50"/>
                <a:gd name="T4" fmla="*/ 0 w 38"/>
                <a:gd name="T5" fmla="*/ 2147483647 h 50"/>
                <a:gd name="T6" fmla="*/ 2147483647 w 38"/>
                <a:gd name="T7" fmla="*/ 2147483647 h 50"/>
                <a:gd name="T8" fmla="*/ 2147483647 w 38"/>
                <a:gd name="T9" fmla="*/ 2147483647 h 50"/>
                <a:gd name="T10" fmla="*/ 2147483647 w 38"/>
                <a:gd name="T11" fmla="*/ 2147483647 h 50"/>
                <a:gd name="T12" fmla="*/ 2147483647 w 38"/>
                <a:gd name="T13" fmla="*/ 2147483647 h 50"/>
                <a:gd name="T14" fmla="*/ 2147483647 w 38"/>
                <a:gd name="T15" fmla="*/ 2147483647 h 50"/>
                <a:gd name="T16" fmla="*/ 2147483647 w 38"/>
                <a:gd name="T17" fmla="*/ 2147483647 h 50"/>
                <a:gd name="T18" fmla="*/ 2147483647 w 38"/>
                <a:gd name="T19" fmla="*/ 2147483647 h 50"/>
                <a:gd name="T20" fmla="*/ 2147483647 w 38"/>
                <a:gd name="T21" fmla="*/ 2147483647 h 50"/>
                <a:gd name="T22" fmla="*/ 2147483647 w 38"/>
                <a:gd name="T23" fmla="*/ 2147483647 h 50"/>
                <a:gd name="T24" fmla="*/ 2147483647 w 38"/>
                <a:gd name="T25" fmla="*/ 2147483647 h 50"/>
                <a:gd name="T26" fmla="*/ 2147483647 w 38"/>
                <a:gd name="T27" fmla="*/ 2147483647 h 50"/>
                <a:gd name="T28" fmla="*/ 2147483647 w 38"/>
                <a:gd name="T29" fmla="*/ 2147483647 h 50"/>
                <a:gd name="T30" fmla="*/ 2147483647 w 38"/>
                <a:gd name="T31" fmla="*/ 2147483647 h 50"/>
                <a:gd name="T32" fmla="*/ 2147483647 w 38"/>
                <a:gd name="T33" fmla="*/ 2147483647 h 50"/>
                <a:gd name="T34" fmla="*/ 2147483647 w 38"/>
                <a:gd name="T35" fmla="*/ 2147483647 h 50"/>
                <a:gd name="T36" fmla="*/ 2147483647 w 38"/>
                <a:gd name="T37" fmla="*/ 2147483647 h 50"/>
                <a:gd name="T38" fmla="*/ 2147483647 w 38"/>
                <a:gd name="T39" fmla="*/ 2147483647 h 50"/>
                <a:gd name="T40" fmla="*/ 2147483647 w 38"/>
                <a:gd name="T41" fmla="*/ 2147483647 h 50"/>
                <a:gd name="T42" fmla="*/ 2147483647 w 38"/>
                <a:gd name="T43" fmla="*/ 2147483647 h 50"/>
                <a:gd name="T44" fmla="*/ 2147483647 w 38"/>
                <a:gd name="T45" fmla="*/ 2147483647 h 50"/>
                <a:gd name="T46" fmla="*/ 2147483647 w 38"/>
                <a:gd name="T47" fmla="*/ 2147483647 h 50"/>
                <a:gd name="T48" fmla="*/ 2147483647 w 38"/>
                <a:gd name="T49" fmla="*/ 2147483647 h 50"/>
                <a:gd name="T50" fmla="*/ 2147483647 w 38"/>
                <a:gd name="T51" fmla="*/ 2147483647 h 50"/>
                <a:gd name="T52" fmla="*/ 2147483647 w 38"/>
                <a:gd name="T53" fmla="*/ 2147483647 h 50"/>
                <a:gd name="T54" fmla="*/ 2147483647 w 38"/>
                <a:gd name="T55" fmla="*/ 2147483647 h 50"/>
                <a:gd name="T56" fmla="*/ 2147483647 w 38"/>
                <a:gd name="T57" fmla="*/ 2147483647 h 50"/>
                <a:gd name="T58" fmla="*/ 2147483647 w 38"/>
                <a:gd name="T59" fmla="*/ 2147483647 h 50"/>
                <a:gd name="T60" fmla="*/ 2147483647 w 38"/>
                <a:gd name="T61" fmla="*/ 2147483647 h 50"/>
                <a:gd name="T62" fmla="*/ 2147483647 w 38"/>
                <a:gd name="T63" fmla="*/ 2147483647 h 50"/>
                <a:gd name="T64" fmla="*/ 2147483647 w 38"/>
                <a:gd name="T65" fmla="*/ 2147483647 h 50"/>
                <a:gd name="T66" fmla="*/ 2147483647 w 38"/>
                <a:gd name="T67" fmla="*/ 2147483647 h 50"/>
                <a:gd name="T68" fmla="*/ 2147483647 w 38"/>
                <a:gd name="T69" fmla="*/ 2147483647 h 50"/>
                <a:gd name="T70" fmla="*/ 2147483647 w 38"/>
                <a:gd name="T71" fmla="*/ 2147483647 h 50"/>
                <a:gd name="T72" fmla="*/ 2147483647 w 38"/>
                <a:gd name="T73" fmla="*/ 2147483647 h 50"/>
                <a:gd name="T74" fmla="*/ 2147483647 w 38"/>
                <a:gd name="T75" fmla="*/ 2147483647 h 50"/>
                <a:gd name="T76" fmla="*/ 2147483647 w 38"/>
                <a:gd name="T77" fmla="*/ 2147483647 h 50"/>
                <a:gd name="T78" fmla="*/ 2147483647 w 38"/>
                <a:gd name="T79" fmla="*/ 2147483647 h 50"/>
                <a:gd name="T80" fmla="*/ 2147483647 w 38"/>
                <a:gd name="T81" fmla="*/ 2147483647 h 50"/>
                <a:gd name="T82" fmla="*/ 2147483647 w 38"/>
                <a:gd name="T83" fmla="*/ 2147483647 h 50"/>
                <a:gd name="T84" fmla="*/ 2147483647 w 38"/>
                <a:gd name="T85" fmla="*/ 2147483647 h 50"/>
                <a:gd name="T86" fmla="*/ 2147483647 w 38"/>
                <a:gd name="T87" fmla="*/ 2147483647 h 50"/>
                <a:gd name="T88" fmla="*/ 2147483647 w 38"/>
                <a:gd name="T89" fmla="*/ 2147483647 h 50"/>
                <a:gd name="T90" fmla="*/ 2147483647 w 38"/>
                <a:gd name="T91" fmla="*/ 2147483647 h 50"/>
                <a:gd name="T92" fmla="*/ 2147483647 w 38"/>
                <a:gd name="T93" fmla="*/ 2147483647 h 50"/>
                <a:gd name="T94" fmla="*/ 2147483647 w 38"/>
                <a:gd name="T95" fmla="*/ 2147483647 h 50"/>
                <a:gd name="T96" fmla="*/ 2147483647 w 38"/>
                <a:gd name="T97" fmla="*/ 2147483647 h 50"/>
                <a:gd name="T98" fmla="*/ 2147483647 w 38"/>
                <a:gd name="T99" fmla="*/ 0 h 50"/>
                <a:gd name="T100" fmla="*/ 2147483647 w 38"/>
                <a:gd name="T101" fmla="*/ 0 h 50"/>
                <a:gd name="T102" fmla="*/ 2147483647 w 38"/>
                <a:gd name="T103" fmla="*/ 2147483647 h 50"/>
                <a:gd name="T104" fmla="*/ 2147483647 w 38"/>
                <a:gd name="T105" fmla="*/ 2147483647 h 50"/>
                <a:gd name="T106" fmla="*/ 2147483647 w 38"/>
                <a:gd name="T107" fmla="*/ 2147483647 h 50"/>
                <a:gd name="T108" fmla="*/ 2147483647 w 38"/>
                <a:gd name="T109" fmla="*/ 2147483647 h 50"/>
                <a:gd name="T110" fmla="*/ 2147483647 w 38"/>
                <a:gd name="T111" fmla="*/ 2147483647 h 50"/>
                <a:gd name="T112" fmla="*/ 2147483647 w 38"/>
                <a:gd name="T113" fmla="*/ 2147483647 h 50"/>
                <a:gd name="T114" fmla="*/ 2147483647 w 38"/>
                <a:gd name="T115" fmla="*/ 2147483647 h 50"/>
                <a:gd name="T116" fmla="*/ 2147483647 w 38"/>
                <a:gd name="T117" fmla="*/ 2147483647 h 50"/>
                <a:gd name="T118" fmla="*/ 0 w 38"/>
                <a:gd name="T119" fmla="*/ 2147483647 h 50"/>
                <a:gd name="T120" fmla="*/ 0 w 38"/>
                <a:gd name="T121" fmla="*/ 2147483647 h 50"/>
                <a:gd name="T122" fmla="*/ 0 w 38"/>
                <a:gd name="T123" fmla="*/ 2147483647 h 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
                <a:gd name="T187" fmla="*/ 0 h 50"/>
                <a:gd name="T188" fmla="*/ 38 w 38"/>
                <a:gd name="T189" fmla="*/ 50 h 5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 h="50">
                  <a:moveTo>
                    <a:pt x="0" y="18"/>
                  </a:moveTo>
                  <a:lnTo>
                    <a:pt x="0" y="18"/>
                  </a:lnTo>
                  <a:lnTo>
                    <a:pt x="0" y="24"/>
                  </a:lnTo>
                  <a:lnTo>
                    <a:pt x="2" y="30"/>
                  </a:lnTo>
                  <a:lnTo>
                    <a:pt x="2" y="34"/>
                  </a:lnTo>
                  <a:lnTo>
                    <a:pt x="6" y="38"/>
                  </a:lnTo>
                  <a:lnTo>
                    <a:pt x="6" y="40"/>
                  </a:lnTo>
                  <a:lnTo>
                    <a:pt x="4" y="40"/>
                  </a:lnTo>
                  <a:lnTo>
                    <a:pt x="4" y="42"/>
                  </a:lnTo>
                  <a:lnTo>
                    <a:pt x="6" y="42"/>
                  </a:lnTo>
                  <a:lnTo>
                    <a:pt x="6" y="40"/>
                  </a:lnTo>
                  <a:lnTo>
                    <a:pt x="10" y="46"/>
                  </a:lnTo>
                  <a:lnTo>
                    <a:pt x="14" y="50"/>
                  </a:lnTo>
                  <a:lnTo>
                    <a:pt x="20" y="50"/>
                  </a:lnTo>
                  <a:lnTo>
                    <a:pt x="22" y="48"/>
                  </a:lnTo>
                  <a:lnTo>
                    <a:pt x="26" y="40"/>
                  </a:lnTo>
                  <a:lnTo>
                    <a:pt x="30" y="34"/>
                  </a:lnTo>
                  <a:lnTo>
                    <a:pt x="32" y="32"/>
                  </a:lnTo>
                  <a:lnTo>
                    <a:pt x="36" y="28"/>
                  </a:lnTo>
                  <a:lnTo>
                    <a:pt x="38" y="26"/>
                  </a:lnTo>
                  <a:lnTo>
                    <a:pt x="38" y="24"/>
                  </a:lnTo>
                  <a:lnTo>
                    <a:pt x="32" y="26"/>
                  </a:lnTo>
                  <a:lnTo>
                    <a:pt x="34" y="22"/>
                  </a:lnTo>
                  <a:lnTo>
                    <a:pt x="34" y="18"/>
                  </a:lnTo>
                  <a:lnTo>
                    <a:pt x="32" y="14"/>
                  </a:lnTo>
                  <a:lnTo>
                    <a:pt x="30" y="10"/>
                  </a:lnTo>
                  <a:lnTo>
                    <a:pt x="28" y="10"/>
                  </a:lnTo>
                  <a:lnTo>
                    <a:pt x="28" y="8"/>
                  </a:lnTo>
                  <a:lnTo>
                    <a:pt x="28" y="4"/>
                  </a:lnTo>
                  <a:lnTo>
                    <a:pt x="24" y="2"/>
                  </a:lnTo>
                  <a:lnTo>
                    <a:pt x="22" y="2"/>
                  </a:lnTo>
                  <a:lnTo>
                    <a:pt x="18" y="2"/>
                  </a:lnTo>
                  <a:lnTo>
                    <a:pt x="12" y="0"/>
                  </a:lnTo>
                  <a:lnTo>
                    <a:pt x="10" y="2"/>
                  </a:lnTo>
                  <a:lnTo>
                    <a:pt x="8" y="8"/>
                  </a:lnTo>
                  <a:lnTo>
                    <a:pt x="6" y="12"/>
                  </a:lnTo>
                  <a:lnTo>
                    <a:pt x="6" y="14"/>
                  </a:lnTo>
                  <a:lnTo>
                    <a:pt x="4" y="16"/>
                  </a:lnTo>
                  <a:lnTo>
                    <a:pt x="0" y="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69" name="Freeform 531">
              <a:extLst>
                <a:ext uri="{FF2B5EF4-FFF2-40B4-BE49-F238E27FC236}">
                  <a16:creationId xmlns:a16="http://schemas.microsoft.com/office/drawing/2014/main" id="{3C38FF59-90D5-4890-9CF6-5F25275AEABE}"/>
                </a:ext>
              </a:extLst>
            </p:cNvPr>
            <p:cNvSpPr>
              <a:spLocks/>
            </p:cNvSpPr>
            <p:nvPr/>
          </p:nvSpPr>
          <p:spPr bwMode="gray">
            <a:xfrm>
              <a:off x="4021257" y="3846253"/>
              <a:ext cx="120062" cy="122422"/>
            </a:xfrm>
            <a:custGeom>
              <a:avLst/>
              <a:gdLst>
                <a:gd name="T0" fmla="*/ 2147483647 w 66"/>
                <a:gd name="T1" fmla="*/ 2147483647 h 66"/>
                <a:gd name="T2" fmla="*/ 2147483647 w 66"/>
                <a:gd name="T3" fmla="*/ 2147483647 h 66"/>
                <a:gd name="T4" fmla="*/ 2147483647 w 66"/>
                <a:gd name="T5" fmla="*/ 2147483647 h 66"/>
                <a:gd name="T6" fmla="*/ 2147483647 w 66"/>
                <a:gd name="T7" fmla="*/ 2147483647 h 66"/>
                <a:gd name="T8" fmla="*/ 2147483647 w 66"/>
                <a:gd name="T9" fmla="*/ 2147483647 h 66"/>
                <a:gd name="T10" fmla="*/ 2147483647 w 66"/>
                <a:gd name="T11" fmla="*/ 2147483647 h 66"/>
                <a:gd name="T12" fmla="*/ 2147483647 w 66"/>
                <a:gd name="T13" fmla="*/ 2147483647 h 66"/>
                <a:gd name="T14" fmla="*/ 2147483647 w 66"/>
                <a:gd name="T15" fmla="*/ 2147483647 h 66"/>
                <a:gd name="T16" fmla="*/ 2147483647 w 66"/>
                <a:gd name="T17" fmla="*/ 2147483647 h 66"/>
                <a:gd name="T18" fmla="*/ 2147483647 w 66"/>
                <a:gd name="T19" fmla="*/ 2147483647 h 66"/>
                <a:gd name="T20" fmla="*/ 2147483647 w 66"/>
                <a:gd name="T21" fmla="*/ 2147483647 h 66"/>
                <a:gd name="T22" fmla="*/ 2147483647 w 66"/>
                <a:gd name="T23" fmla="*/ 2147483647 h 66"/>
                <a:gd name="T24" fmla="*/ 2147483647 w 66"/>
                <a:gd name="T25" fmla="*/ 2147483647 h 66"/>
                <a:gd name="T26" fmla="*/ 2147483647 w 66"/>
                <a:gd name="T27" fmla="*/ 2147483647 h 66"/>
                <a:gd name="T28" fmla="*/ 2147483647 w 66"/>
                <a:gd name="T29" fmla="*/ 2147483647 h 66"/>
                <a:gd name="T30" fmla="*/ 2147483647 w 66"/>
                <a:gd name="T31" fmla="*/ 2147483647 h 66"/>
                <a:gd name="T32" fmla="*/ 2147483647 w 66"/>
                <a:gd name="T33" fmla="*/ 2147483647 h 66"/>
                <a:gd name="T34" fmla="*/ 2147483647 w 66"/>
                <a:gd name="T35" fmla="*/ 2147483647 h 66"/>
                <a:gd name="T36" fmla="*/ 2147483647 w 66"/>
                <a:gd name="T37" fmla="*/ 2147483647 h 66"/>
                <a:gd name="T38" fmla="*/ 2147483647 w 66"/>
                <a:gd name="T39" fmla="*/ 2147483647 h 66"/>
                <a:gd name="T40" fmla="*/ 2147483647 w 66"/>
                <a:gd name="T41" fmla="*/ 2147483647 h 66"/>
                <a:gd name="T42" fmla="*/ 2147483647 w 66"/>
                <a:gd name="T43" fmla="*/ 2147483647 h 66"/>
                <a:gd name="T44" fmla="*/ 2147483647 w 66"/>
                <a:gd name="T45" fmla="*/ 2147483647 h 66"/>
                <a:gd name="T46" fmla="*/ 2147483647 w 66"/>
                <a:gd name="T47" fmla="*/ 2147483647 h 66"/>
                <a:gd name="T48" fmla="*/ 2147483647 w 66"/>
                <a:gd name="T49" fmla="*/ 0 h 66"/>
                <a:gd name="T50" fmla="*/ 2147483647 w 66"/>
                <a:gd name="T51" fmla="*/ 0 h 66"/>
                <a:gd name="T52" fmla="*/ 2147483647 w 66"/>
                <a:gd name="T53" fmla="*/ 0 h 66"/>
                <a:gd name="T54" fmla="*/ 2147483647 w 66"/>
                <a:gd name="T55" fmla="*/ 0 h 66"/>
                <a:gd name="T56" fmla="*/ 2147483647 w 66"/>
                <a:gd name="T57" fmla="*/ 0 h 66"/>
                <a:gd name="T58" fmla="*/ 2147483647 w 66"/>
                <a:gd name="T59" fmla="*/ 2147483647 h 66"/>
                <a:gd name="T60" fmla="*/ 2147483647 w 66"/>
                <a:gd name="T61" fmla="*/ 2147483647 h 66"/>
                <a:gd name="T62" fmla="*/ 2147483647 w 66"/>
                <a:gd name="T63" fmla="*/ 2147483647 h 66"/>
                <a:gd name="T64" fmla="*/ 2147483647 w 66"/>
                <a:gd name="T65" fmla="*/ 2147483647 h 66"/>
                <a:gd name="T66" fmla="*/ 0 w 66"/>
                <a:gd name="T67" fmla="*/ 2147483647 h 66"/>
                <a:gd name="T68" fmla="*/ 0 w 66"/>
                <a:gd name="T69" fmla="*/ 2147483647 h 66"/>
                <a:gd name="T70" fmla="*/ 2147483647 w 66"/>
                <a:gd name="T71" fmla="*/ 2147483647 h 66"/>
                <a:gd name="T72" fmla="*/ 2147483647 w 66"/>
                <a:gd name="T73" fmla="*/ 2147483647 h 66"/>
                <a:gd name="T74" fmla="*/ 2147483647 w 66"/>
                <a:gd name="T75" fmla="*/ 2147483647 h 66"/>
                <a:gd name="T76" fmla="*/ 2147483647 w 66"/>
                <a:gd name="T77" fmla="*/ 2147483647 h 66"/>
                <a:gd name="T78" fmla="*/ 2147483647 w 66"/>
                <a:gd name="T79" fmla="*/ 2147483647 h 66"/>
                <a:gd name="T80" fmla="*/ 2147483647 w 66"/>
                <a:gd name="T81" fmla="*/ 2147483647 h 66"/>
                <a:gd name="T82" fmla="*/ 2147483647 w 66"/>
                <a:gd name="T83" fmla="*/ 2147483647 h 66"/>
                <a:gd name="T84" fmla="*/ 2147483647 w 66"/>
                <a:gd name="T85" fmla="*/ 2147483647 h 66"/>
                <a:gd name="T86" fmla="*/ 2147483647 w 66"/>
                <a:gd name="T87" fmla="*/ 2147483647 h 66"/>
                <a:gd name="T88" fmla="*/ 2147483647 w 66"/>
                <a:gd name="T89" fmla="*/ 2147483647 h 66"/>
                <a:gd name="T90" fmla="*/ 2147483647 w 66"/>
                <a:gd name="T91" fmla="*/ 2147483647 h 66"/>
                <a:gd name="T92" fmla="*/ 2147483647 w 66"/>
                <a:gd name="T93" fmla="*/ 2147483647 h 66"/>
                <a:gd name="T94" fmla="*/ 2147483647 w 66"/>
                <a:gd name="T95" fmla="*/ 2147483647 h 66"/>
                <a:gd name="T96" fmla="*/ 2147483647 w 66"/>
                <a:gd name="T97" fmla="*/ 2147483647 h 66"/>
                <a:gd name="T98" fmla="*/ 2147483647 w 66"/>
                <a:gd name="T99" fmla="*/ 2147483647 h 66"/>
                <a:gd name="T100" fmla="*/ 2147483647 w 66"/>
                <a:gd name="T101" fmla="*/ 2147483647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6"/>
                <a:gd name="T154" fmla="*/ 0 h 66"/>
                <a:gd name="T155" fmla="*/ 66 w 66"/>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6" h="66">
                  <a:moveTo>
                    <a:pt x="8" y="66"/>
                  </a:moveTo>
                  <a:lnTo>
                    <a:pt x="16" y="64"/>
                  </a:lnTo>
                  <a:lnTo>
                    <a:pt x="22" y="60"/>
                  </a:lnTo>
                  <a:lnTo>
                    <a:pt x="40" y="60"/>
                  </a:lnTo>
                  <a:lnTo>
                    <a:pt x="44" y="62"/>
                  </a:lnTo>
                  <a:lnTo>
                    <a:pt x="48" y="62"/>
                  </a:lnTo>
                  <a:lnTo>
                    <a:pt x="52" y="62"/>
                  </a:lnTo>
                  <a:lnTo>
                    <a:pt x="54" y="64"/>
                  </a:lnTo>
                  <a:lnTo>
                    <a:pt x="60" y="64"/>
                  </a:lnTo>
                  <a:lnTo>
                    <a:pt x="66" y="62"/>
                  </a:lnTo>
                  <a:lnTo>
                    <a:pt x="64" y="54"/>
                  </a:lnTo>
                  <a:lnTo>
                    <a:pt x="62" y="52"/>
                  </a:lnTo>
                  <a:lnTo>
                    <a:pt x="60" y="50"/>
                  </a:lnTo>
                  <a:lnTo>
                    <a:pt x="58" y="46"/>
                  </a:lnTo>
                  <a:lnTo>
                    <a:pt x="58" y="44"/>
                  </a:lnTo>
                  <a:lnTo>
                    <a:pt x="60" y="40"/>
                  </a:lnTo>
                  <a:lnTo>
                    <a:pt x="60" y="36"/>
                  </a:lnTo>
                  <a:lnTo>
                    <a:pt x="60" y="34"/>
                  </a:lnTo>
                  <a:lnTo>
                    <a:pt x="60" y="30"/>
                  </a:lnTo>
                  <a:lnTo>
                    <a:pt x="60" y="28"/>
                  </a:lnTo>
                  <a:lnTo>
                    <a:pt x="58" y="24"/>
                  </a:lnTo>
                  <a:lnTo>
                    <a:pt x="56" y="22"/>
                  </a:lnTo>
                  <a:lnTo>
                    <a:pt x="54" y="22"/>
                  </a:lnTo>
                  <a:lnTo>
                    <a:pt x="52" y="22"/>
                  </a:lnTo>
                  <a:lnTo>
                    <a:pt x="50" y="20"/>
                  </a:lnTo>
                  <a:lnTo>
                    <a:pt x="50" y="16"/>
                  </a:lnTo>
                  <a:lnTo>
                    <a:pt x="48" y="14"/>
                  </a:lnTo>
                  <a:lnTo>
                    <a:pt x="46" y="14"/>
                  </a:lnTo>
                  <a:lnTo>
                    <a:pt x="44" y="12"/>
                  </a:lnTo>
                  <a:lnTo>
                    <a:pt x="42" y="10"/>
                  </a:lnTo>
                  <a:lnTo>
                    <a:pt x="42" y="6"/>
                  </a:lnTo>
                  <a:lnTo>
                    <a:pt x="40" y="4"/>
                  </a:lnTo>
                  <a:lnTo>
                    <a:pt x="38" y="2"/>
                  </a:lnTo>
                  <a:lnTo>
                    <a:pt x="36" y="0"/>
                  </a:lnTo>
                  <a:lnTo>
                    <a:pt x="32" y="0"/>
                  </a:lnTo>
                  <a:lnTo>
                    <a:pt x="26" y="0"/>
                  </a:lnTo>
                  <a:lnTo>
                    <a:pt x="22" y="0"/>
                  </a:lnTo>
                  <a:lnTo>
                    <a:pt x="20" y="0"/>
                  </a:lnTo>
                  <a:lnTo>
                    <a:pt x="16" y="4"/>
                  </a:lnTo>
                  <a:lnTo>
                    <a:pt x="12" y="6"/>
                  </a:lnTo>
                  <a:lnTo>
                    <a:pt x="12" y="10"/>
                  </a:lnTo>
                  <a:lnTo>
                    <a:pt x="8" y="10"/>
                  </a:lnTo>
                  <a:lnTo>
                    <a:pt x="8" y="20"/>
                  </a:lnTo>
                  <a:lnTo>
                    <a:pt x="6" y="28"/>
                  </a:lnTo>
                  <a:lnTo>
                    <a:pt x="0" y="34"/>
                  </a:lnTo>
                  <a:lnTo>
                    <a:pt x="0" y="42"/>
                  </a:lnTo>
                  <a:lnTo>
                    <a:pt x="4" y="48"/>
                  </a:lnTo>
                  <a:lnTo>
                    <a:pt x="8" y="48"/>
                  </a:lnTo>
                  <a:lnTo>
                    <a:pt x="12" y="46"/>
                  </a:lnTo>
                  <a:lnTo>
                    <a:pt x="16" y="48"/>
                  </a:lnTo>
                  <a:lnTo>
                    <a:pt x="18" y="46"/>
                  </a:lnTo>
                  <a:lnTo>
                    <a:pt x="20" y="44"/>
                  </a:lnTo>
                  <a:lnTo>
                    <a:pt x="22" y="46"/>
                  </a:lnTo>
                  <a:lnTo>
                    <a:pt x="26" y="46"/>
                  </a:lnTo>
                  <a:lnTo>
                    <a:pt x="32" y="46"/>
                  </a:lnTo>
                  <a:lnTo>
                    <a:pt x="40" y="46"/>
                  </a:lnTo>
                  <a:lnTo>
                    <a:pt x="44" y="46"/>
                  </a:lnTo>
                  <a:lnTo>
                    <a:pt x="44" y="48"/>
                  </a:lnTo>
                  <a:lnTo>
                    <a:pt x="42" y="52"/>
                  </a:lnTo>
                  <a:lnTo>
                    <a:pt x="40" y="52"/>
                  </a:lnTo>
                  <a:lnTo>
                    <a:pt x="22" y="52"/>
                  </a:lnTo>
                  <a:lnTo>
                    <a:pt x="18" y="54"/>
                  </a:lnTo>
                  <a:lnTo>
                    <a:pt x="18" y="56"/>
                  </a:lnTo>
                  <a:lnTo>
                    <a:pt x="6" y="56"/>
                  </a:lnTo>
                  <a:lnTo>
                    <a:pt x="6" y="58"/>
                  </a:lnTo>
                  <a:lnTo>
                    <a:pt x="6" y="62"/>
                  </a:lnTo>
                  <a:lnTo>
                    <a:pt x="8" y="6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0" name="Freeform 532">
              <a:extLst>
                <a:ext uri="{FF2B5EF4-FFF2-40B4-BE49-F238E27FC236}">
                  <a16:creationId xmlns:a16="http://schemas.microsoft.com/office/drawing/2014/main" id="{ABB1DBA9-4D5C-42FD-81B1-794317A2D052}"/>
                </a:ext>
              </a:extLst>
            </p:cNvPr>
            <p:cNvSpPr>
              <a:spLocks/>
            </p:cNvSpPr>
            <p:nvPr/>
          </p:nvSpPr>
          <p:spPr bwMode="gray">
            <a:xfrm>
              <a:off x="5115951" y="3446024"/>
              <a:ext cx="440232" cy="426126"/>
            </a:xfrm>
            <a:custGeom>
              <a:avLst/>
              <a:gdLst>
                <a:gd name="T0" fmla="*/ 2147483647 w 238"/>
                <a:gd name="T1" fmla="*/ 2147483647 h 230"/>
                <a:gd name="T2" fmla="*/ 2147483647 w 238"/>
                <a:gd name="T3" fmla="*/ 2147483647 h 230"/>
                <a:gd name="T4" fmla="*/ 2147483647 w 238"/>
                <a:gd name="T5" fmla="*/ 2147483647 h 230"/>
                <a:gd name="T6" fmla="*/ 2147483647 w 238"/>
                <a:gd name="T7" fmla="*/ 2147483647 h 230"/>
                <a:gd name="T8" fmla="*/ 2147483647 w 238"/>
                <a:gd name="T9" fmla="*/ 2147483647 h 230"/>
                <a:gd name="T10" fmla="*/ 2147483647 w 238"/>
                <a:gd name="T11" fmla="*/ 2147483647 h 230"/>
                <a:gd name="T12" fmla="*/ 2147483647 w 238"/>
                <a:gd name="T13" fmla="*/ 2147483647 h 230"/>
                <a:gd name="T14" fmla="*/ 2147483647 w 238"/>
                <a:gd name="T15" fmla="*/ 2147483647 h 230"/>
                <a:gd name="T16" fmla="*/ 2147483647 w 238"/>
                <a:gd name="T17" fmla="*/ 2147483647 h 230"/>
                <a:gd name="T18" fmla="*/ 2147483647 w 238"/>
                <a:gd name="T19" fmla="*/ 2147483647 h 230"/>
                <a:gd name="T20" fmla="*/ 2147483647 w 238"/>
                <a:gd name="T21" fmla="*/ 2147483647 h 230"/>
                <a:gd name="T22" fmla="*/ 2147483647 w 238"/>
                <a:gd name="T23" fmla="*/ 2147483647 h 230"/>
                <a:gd name="T24" fmla="*/ 2147483647 w 238"/>
                <a:gd name="T25" fmla="*/ 2147483647 h 230"/>
                <a:gd name="T26" fmla="*/ 2147483647 w 238"/>
                <a:gd name="T27" fmla="*/ 2147483647 h 230"/>
                <a:gd name="T28" fmla="*/ 2147483647 w 238"/>
                <a:gd name="T29" fmla="*/ 2147483647 h 230"/>
                <a:gd name="T30" fmla="*/ 2147483647 w 238"/>
                <a:gd name="T31" fmla="*/ 2147483647 h 230"/>
                <a:gd name="T32" fmla="*/ 2147483647 w 238"/>
                <a:gd name="T33" fmla="*/ 2147483647 h 230"/>
                <a:gd name="T34" fmla="*/ 2147483647 w 238"/>
                <a:gd name="T35" fmla="*/ 2147483647 h 230"/>
                <a:gd name="T36" fmla="*/ 2147483647 w 238"/>
                <a:gd name="T37" fmla="*/ 2147483647 h 230"/>
                <a:gd name="T38" fmla="*/ 2147483647 w 238"/>
                <a:gd name="T39" fmla="*/ 2147483647 h 230"/>
                <a:gd name="T40" fmla="*/ 2147483647 w 238"/>
                <a:gd name="T41" fmla="*/ 2147483647 h 230"/>
                <a:gd name="T42" fmla="*/ 2147483647 w 238"/>
                <a:gd name="T43" fmla="*/ 2147483647 h 230"/>
                <a:gd name="T44" fmla="*/ 2147483647 w 238"/>
                <a:gd name="T45" fmla="*/ 2147483647 h 230"/>
                <a:gd name="T46" fmla="*/ 2147483647 w 238"/>
                <a:gd name="T47" fmla="*/ 2147483647 h 230"/>
                <a:gd name="T48" fmla="*/ 2147483647 w 238"/>
                <a:gd name="T49" fmla="*/ 2147483647 h 230"/>
                <a:gd name="T50" fmla="*/ 2147483647 w 238"/>
                <a:gd name="T51" fmla="*/ 2147483647 h 230"/>
                <a:gd name="T52" fmla="*/ 2147483647 w 238"/>
                <a:gd name="T53" fmla="*/ 2147483647 h 230"/>
                <a:gd name="T54" fmla="*/ 2147483647 w 238"/>
                <a:gd name="T55" fmla="*/ 2147483647 h 230"/>
                <a:gd name="T56" fmla="*/ 0 w 238"/>
                <a:gd name="T57" fmla="*/ 2147483647 h 230"/>
                <a:gd name="T58" fmla="*/ 0 w 238"/>
                <a:gd name="T59" fmla="*/ 2147483647 h 230"/>
                <a:gd name="T60" fmla="*/ 2147483647 w 238"/>
                <a:gd name="T61" fmla="*/ 2147483647 h 230"/>
                <a:gd name="T62" fmla="*/ 2147483647 w 238"/>
                <a:gd name="T63" fmla="*/ 2147483647 h 230"/>
                <a:gd name="T64" fmla="*/ 2147483647 w 238"/>
                <a:gd name="T65" fmla="*/ 2147483647 h 230"/>
                <a:gd name="T66" fmla="*/ 2147483647 w 238"/>
                <a:gd name="T67" fmla="*/ 2147483647 h 230"/>
                <a:gd name="T68" fmla="*/ 2147483647 w 238"/>
                <a:gd name="T69" fmla="*/ 2147483647 h 230"/>
                <a:gd name="T70" fmla="*/ 2147483647 w 238"/>
                <a:gd name="T71" fmla="*/ 2147483647 h 230"/>
                <a:gd name="T72" fmla="*/ 2147483647 w 238"/>
                <a:gd name="T73" fmla="*/ 2147483647 h 230"/>
                <a:gd name="T74" fmla="*/ 2147483647 w 238"/>
                <a:gd name="T75" fmla="*/ 2147483647 h 230"/>
                <a:gd name="T76" fmla="*/ 2147483647 w 238"/>
                <a:gd name="T77" fmla="*/ 2147483647 h 230"/>
                <a:gd name="T78" fmla="*/ 2147483647 w 238"/>
                <a:gd name="T79" fmla="*/ 2147483647 h 230"/>
                <a:gd name="T80" fmla="*/ 2147483647 w 238"/>
                <a:gd name="T81" fmla="*/ 2147483647 h 230"/>
                <a:gd name="T82" fmla="*/ 2147483647 w 238"/>
                <a:gd name="T83" fmla="*/ 2147483647 h 230"/>
                <a:gd name="T84" fmla="*/ 2147483647 w 238"/>
                <a:gd name="T85" fmla="*/ 2147483647 h 230"/>
                <a:gd name="T86" fmla="*/ 2147483647 w 238"/>
                <a:gd name="T87" fmla="*/ 2147483647 h 23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8"/>
                <a:gd name="T133" fmla="*/ 0 h 230"/>
                <a:gd name="T134" fmla="*/ 238 w 238"/>
                <a:gd name="T135" fmla="*/ 230 h 23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8" h="230">
                  <a:moveTo>
                    <a:pt x="90" y="220"/>
                  </a:moveTo>
                  <a:lnTo>
                    <a:pt x="90" y="220"/>
                  </a:lnTo>
                  <a:lnTo>
                    <a:pt x="92" y="218"/>
                  </a:lnTo>
                  <a:lnTo>
                    <a:pt x="94" y="216"/>
                  </a:lnTo>
                  <a:lnTo>
                    <a:pt x="94" y="214"/>
                  </a:lnTo>
                  <a:lnTo>
                    <a:pt x="96" y="212"/>
                  </a:lnTo>
                  <a:lnTo>
                    <a:pt x="96" y="210"/>
                  </a:lnTo>
                  <a:lnTo>
                    <a:pt x="98" y="208"/>
                  </a:lnTo>
                  <a:lnTo>
                    <a:pt x="100" y="206"/>
                  </a:lnTo>
                  <a:lnTo>
                    <a:pt x="102" y="206"/>
                  </a:lnTo>
                  <a:lnTo>
                    <a:pt x="102" y="208"/>
                  </a:lnTo>
                  <a:lnTo>
                    <a:pt x="104" y="210"/>
                  </a:lnTo>
                  <a:lnTo>
                    <a:pt x="106" y="210"/>
                  </a:lnTo>
                  <a:lnTo>
                    <a:pt x="110" y="210"/>
                  </a:lnTo>
                  <a:lnTo>
                    <a:pt x="122" y="212"/>
                  </a:lnTo>
                  <a:lnTo>
                    <a:pt x="130" y="216"/>
                  </a:lnTo>
                  <a:lnTo>
                    <a:pt x="132" y="230"/>
                  </a:lnTo>
                  <a:lnTo>
                    <a:pt x="138" y="222"/>
                  </a:lnTo>
                  <a:lnTo>
                    <a:pt x="154" y="204"/>
                  </a:lnTo>
                  <a:lnTo>
                    <a:pt x="194" y="190"/>
                  </a:lnTo>
                  <a:lnTo>
                    <a:pt x="230" y="174"/>
                  </a:lnTo>
                  <a:lnTo>
                    <a:pt x="232" y="168"/>
                  </a:lnTo>
                  <a:lnTo>
                    <a:pt x="236" y="156"/>
                  </a:lnTo>
                  <a:lnTo>
                    <a:pt x="238" y="140"/>
                  </a:lnTo>
                  <a:lnTo>
                    <a:pt x="230" y="130"/>
                  </a:lnTo>
                  <a:lnTo>
                    <a:pt x="226" y="132"/>
                  </a:lnTo>
                  <a:lnTo>
                    <a:pt x="190" y="124"/>
                  </a:lnTo>
                  <a:lnTo>
                    <a:pt x="188" y="112"/>
                  </a:lnTo>
                  <a:lnTo>
                    <a:pt x="182" y="106"/>
                  </a:lnTo>
                  <a:lnTo>
                    <a:pt x="184" y="100"/>
                  </a:lnTo>
                  <a:lnTo>
                    <a:pt x="178" y="98"/>
                  </a:lnTo>
                  <a:lnTo>
                    <a:pt x="176" y="98"/>
                  </a:lnTo>
                  <a:lnTo>
                    <a:pt x="172" y="86"/>
                  </a:lnTo>
                  <a:lnTo>
                    <a:pt x="174" y="82"/>
                  </a:lnTo>
                  <a:lnTo>
                    <a:pt x="174" y="80"/>
                  </a:lnTo>
                  <a:lnTo>
                    <a:pt x="174" y="78"/>
                  </a:lnTo>
                  <a:lnTo>
                    <a:pt x="170" y="74"/>
                  </a:lnTo>
                  <a:lnTo>
                    <a:pt x="166" y="72"/>
                  </a:lnTo>
                  <a:lnTo>
                    <a:pt x="164" y="66"/>
                  </a:lnTo>
                  <a:lnTo>
                    <a:pt x="162" y="60"/>
                  </a:lnTo>
                  <a:lnTo>
                    <a:pt x="158" y="58"/>
                  </a:lnTo>
                  <a:lnTo>
                    <a:pt x="156" y="56"/>
                  </a:lnTo>
                  <a:lnTo>
                    <a:pt x="154" y="50"/>
                  </a:lnTo>
                  <a:lnTo>
                    <a:pt x="154" y="42"/>
                  </a:lnTo>
                  <a:lnTo>
                    <a:pt x="142" y="44"/>
                  </a:lnTo>
                  <a:lnTo>
                    <a:pt x="140" y="40"/>
                  </a:lnTo>
                  <a:lnTo>
                    <a:pt x="126" y="36"/>
                  </a:lnTo>
                  <a:lnTo>
                    <a:pt x="104" y="34"/>
                  </a:lnTo>
                  <a:lnTo>
                    <a:pt x="96" y="30"/>
                  </a:lnTo>
                  <a:lnTo>
                    <a:pt x="94" y="22"/>
                  </a:lnTo>
                  <a:lnTo>
                    <a:pt x="86" y="22"/>
                  </a:lnTo>
                  <a:lnTo>
                    <a:pt x="86" y="18"/>
                  </a:lnTo>
                  <a:lnTo>
                    <a:pt x="54" y="0"/>
                  </a:lnTo>
                  <a:lnTo>
                    <a:pt x="54" y="2"/>
                  </a:lnTo>
                  <a:lnTo>
                    <a:pt x="32" y="8"/>
                  </a:lnTo>
                  <a:lnTo>
                    <a:pt x="38" y="20"/>
                  </a:lnTo>
                  <a:lnTo>
                    <a:pt x="36" y="22"/>
                  </a:lnTo>
                  <a:lnTo>
                    <a:pt x="32" y="26"/>
                  </a:lnTo>
                  <a:lnTo>
                    <a:pt x="30" y="28"/>
                  </a:lnTo>
                  <a:lnTo>
                    <a:pt x="28" y="30"/>
                  </a:lnTo>
                  <a:lnTo>
                    <a:pt x="26" y="34"/>
                  </a:lnTo>
                  <a:lnTo>
                    <a:pt x="24" y="34"/>
                  </a:lnTo>
                  <a:lnTo>
                    <a:pt x="12" y="40"/>
                  </a:lnTo>
                  <a:lnTo>
                    <a:pt x="0" y="38"/>
                  </a:lnTo>
                  <a:lnTo>
                    <a:pt x="0" y="46"/>
                  </a:lnTo>
                  <a:lnTo>
                    <a:pt x="8" y="52"/>
                  </a:lnTo>
                  <a:lnTo>
                    <a:pt x="12" y="58"/>
                  </a:lnTo>
                  <a:lnTo>
                    <a:pt x="14" y="64"/>
                  </a:lnTo>
                  <a:lnTo>
                    <a:pt x="20" y="72"/>
                  </a:lnTo>
                  <a:lnTo>
                    <a:pt x="24" y="76"/>
                  </a:lnTo>
                  <a:lnTo>
                    <a:pt x="28" y="80"/>
                  </a:lnTo>
                  <a:lnTo>
                    <a:pt x="30" y="84"/>
                  </a:lnTo>
                  <a:lnTo>
                    <a:pt x="30" y="90"/>
                  </a:lnTo>
                  <a:lnTo>
                    <a:pt x="30" y="94"/>
                  </a:lnTo>
                  <a:lnTo>
                    <a:pt x="32" y="98"/>
                  </a:lnTo>
                  <a:lnTo>
                    <a:pt x="34" y="102"/>
                  </a:lnTo>
                  <a:lnTo>
                    <a:pt x="40" y="106"/>
                  </a:lnTo>
                  <a:lnTo>
                    <a:pt x="44" y="110"/>
                  </a:lnTo>
                  <a:lnTo>
                    <a:pt x="48" y="116"/>
                  </a:lnTo>
                  <a:lnTo>
                    <a:pt x="46" y="120"/>
                  </a:lnTo>
                  <a:lnTo>
                    <a:pt x="46" y="126"/>
                  </a:lnTo>
                  <a:lnTo>
                    <a:pt x="46" y="134"/>
                  </a:lnTo>
                  <a:lnTo>
                    <a:pt x="46" y="140"/>
                  </a:lnTo>
                  <a:lnTo>
                    <a:pt x="48" y="140"/>
                  </a:lnTo>
                  <a:lnTo>
                    <a:pt x="48" y="150"/>
                  </a:lnTo>
                  <a:lnTo>
                    <a:pt x="50" y="160"/>
                  </a:lnTo>
                  <a:lnTo>
                    <a:pt x="54" y="164"/>
                  </a:lnTo>
                  <a:lnTo>
                    <a:pt x="60" y="168"/>
                  </a:lnTo>
                  <a:lnTo>
                    <a:pt x="66" y="172"/>
                  </a:lnTo>
                  <a:lnTo>
                    <a:pt x="70" y="176"/>
                  </a:lnTo>
                  <a:lnTo>
                    <a:pt x="72" y="180"/>
                  </a:lnTo>
                  <a:lnTo>
                    <a:pt x="72" y="186"/>
                  </a:lnTo>
                  <a:lnTo>
                    <a:pt x="74" y="192"/>
                  </a:lnTo>
                  <a:lnTo>
                    <a:pt x="74" y="196"/>
                  </a:lnTo>
                  <a:lnTo>
                    <a:pt x="82" y="200"/>
                  </a:lnTo>
                  <a:lnTo>
                    <a:pt x="90" y="214"/>
                  </a:lnTo>
                  <a:lnTo>
                    <a:pt x="90" y="2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1" name="Freeform 533">
              <a:extLst>
                <a:ext uri="{FF2B5EF4-FFF2-40B4-BE49-F238E27FC236}">
                  <a16:creationId xmlns:a16="http://schemas.microsoft.com/office/drawing/2014/main" id="{F13E0471-0752-4377-9D2F-084B0EA7A74B}"/>
                </a:ext>
              </a:extLst>
            </p:cNvPr>
            <p:cNvSpPr>
              <a:spLocks/>
            </p:cNvSpPr>
            <p:nvPr/>
          </p:nvSpPr>
          <p:spPr bwMode="gray">
            <a:xfrm>
              <a:off x="4986472" y="4338298"/>
              <a:ext cx="51793" cy="44731"/>
            </a:xfrm>
            <a:custGeom>
              <a:avLst/>
              <a:gdLst>
                <a:gd name="T0" fmla="*/ 2147483647 w 28"/>
                <a:gd name="T1" fmla="*/ 2147483647 h 24"/>
                <a:gd name="T2" fmla="*/ 2147483647 w 28"/>
                <a:gd name="T3" fmla="*/ 2147483647 h 24"/>
                <a:gd name="T4" fmla="*/ 2147483647 w 28"/>
                <a:gd name="T5" fmla="*/ 2147483647 h 24"/>
                <a:gd name="T6" fmla="*/ 2147483647 w 28"/>
                <a:gd name="T7" fmla="*/ 2147483647 h 24"/>
                <a:gd name="T8" fmla="*/ 2147483647 w 28"/>
                <a:gd name="T9" fmla="*/ 2147483647 h 24"/>
                <a:gd name="T10" fmla="*/ 2147483647 w 28"/>
                <a:gd name="T11" fmla="*/ 2147483647 h 24"/>
                <a:gd name="T12" fmla="*/ 0 w 28"/>
                <a:gd name="T13" fmla="*/ 2147483647 h 24"/>
                <a:gd name="T14" fmla="*/ 0 w 28"/>
                <a:gd name="T15" fmla="*/ 2147483647 h 24"/>
                <a:gd name="T16" fmla="*/ 0 w 28"/>
                <a:gd name="T17" fmla="*/ 2147483647 h 24"/>
                <a:gd name="T18" fmla="*/ 0 w 28"/>
                <a:gd name="T19" fmla="*/ 2147483647 h 24"/>
                <a:gd name="T20" fmla="*/ 2147483647 w 28"/>
                <a:gd name="T21" fmla="*/ 2147483647 h 24"/>
                <a:gd name="T22" fmla="*/ 2147483647 w 28"/>
                <a:gd name="T23" fmla="*/ 2147483647 h 24"/>
                <a:gd name="T24" fmla="*/ 2147483647 w 28"/>
                <a:gd name="T25" fmla="*/ 2147483647 h 24"/>
                <a:gd name="T26" fmla="*/ 2147483647 w 28"/>
                <a:gd name="T27" fmla="*/ 2147483647 h 24"/>
                <a:gd name="T28" fmla="*/ 2147483647 w 28"/>
                <a:gd name="T29" fmla="*/ 2147483647 h 24"/>
                <a:gd name="T30" fmla="*/ 2147483647 w 28"/>
                <a:gd name="T31" fmla="*/ 2147483647 h 24"/>
                <a:gd name="T32" fmla="*/ 2147483647 w 28"/>
                <a:gd name="T33" fmla="*/ 2147483647 h 24"/>
                <a:gd name="T34" fmla="*/ 2147483647 w 28"/>
                <a:gd name="T35" fmla="*/ 2147483647 h 24"/>
                <a:gd name="T36" fmla="*/ 2147483647 w 28"/>
                <a:gd name="T37" fmla="*/ 2147483647 h 24"/>
                <a:gd name="T38" fmla="*/ 2147483647 w 28"/>
                <a:gd name="T39" fmla="*/ 2147483647 h 24"/>
                <a:gd name="T40" fmla="*/ 2147483647 w 28"/>
                <a:gd name="T41" fmla="*/ 2147483647 h 24"/>
                <a:gd name="T42" fmla="*/ 2147483647 w 28"/>
                <a:gd name="T43" fmla="*/ 2147483647 h 24"/>
                <a:gd name="T44" fmla="*/ 2147483647 w 28"/>
                <a:gd name="T45" fmla="*/ 2147483647 h 24"/>
                <a:gd name="T46" fmla="*/ 2147483647 w 28"/>
                <a:gd name="T47" fmla="*/ 2147483647 h 24"/>
                <a:gd name="T48" fmla="*/ 2147483647 w 28"/>
                <a:gd name="T49" fmla="*/ 2147483647 h 24"/>
                <a:gd name="T50" fmla="*/ 2147483647 w 28"/>
                <a:gd name="T51" fmla="*/ 2147483647 h 24"/>
                <a:gd name="T52" fmla="*/ 2147483647 w 28"/>
                <a:gd name="T53" fmla="*/ 2147483647 h 24"/>
                <a:gd name="T54" fmla="*/ 2147483647 w 28"/>
                <a:gd name="T55" fmla="*/ 2147483647 h 24"/>
                <a:gd name="T56" fmla="*/ 2147483647 w 28"/>
                <a:gd name="T57" fmla="*/ 2147483647 h 24"/>
                <a:gd name="T58" fmla="*/ 2147483647 w 28"/>
                <a:gd name="T59" fmla="*/ 2147483647 h 24"/>
                <a:gd name="T60" fmla="*/ 2147483647 w 28"/>
                <a:gd name="T61" fmla="*/ 2147483647 h 24"/>
                <a:gd name="T62" fmla="*/ 2147483647 w 28"/>
                <a:gd name="T63" fmla="*/ 2147483647 h 24"/>
                <a:gd name="T64" fmla="*/ 2147483647 w 28"/>
                <a:gd name="T65" fmla="*/ 2147483647 h 24"/>
                <a:gd name="T66" fmla="*/ 2147483647 w 28"/>
                <a:gd name="T67" fmla="*/ 2147483647 h 24"/>
                <a:gd name="T68" fmla="*/ 2147483647 w 28"/>
                <a:gd name="T69" fmla="*/ 2147483647 h 24"/>
                <a:gd name="T70" fmla="*/ 2147483647 w 28"/>
                <a:gd name="T71" fmla="*/ 2147483647 h 24"/>
                <a:gd name="T72" fmla="*/ 2147483647 w 28"/>
                <a:gd name="T73" fmla="*/ 2147483647 h 24"/>
                <a:gd name="T74" fmla="*/ 2147483647 w 28"/>
                <a:gd name="T75" fmla="*/ 2147483647 h 24"/>
                <a:gd name="T76" fmla="*/ 2147483647 w 28"/>
                <a:gd name="T77" fmla="*/ 2147483647 h 24"/>
                <a:gd name="T78" fmla="*/ 2147483647 w 28"/>
                <a:gd name="T79" fmla="*/ 2147483647 h 24"/>
                <a:gd name="T80" fmla="*/ 2147483647 w 28"/>
                <a:gd name="T81" fmla="*/ 0 h 24"/>
                <a:gd name="T82" fmla="*/ 2147483647 w 28"/>
                <a:gd name="T83" fmla="*/ 0 h 24"/>
                <a:gd name="T84" fmla="*/ 2147483647 w 28"/>
                <a:gd name="T85" fmla="*/ 2147483647 h 24"/>
                <a:gd name="T86" fmla="*/ 2147483647 w 28"/>
                <a:gd name="T87" fmla="*/ 2147483647 h 24"/>
                <a:gd name="T88" fmla="*/ 2147483647 w 28"/>
                <a:gd name="T89" fmla="*/ 2147483647 h 24"/>
                <a:gd name="T90" fmla="*/ 2147483647 w 28"/>
                <a:gd name="T91" fmla="*/ 2147483647 h 24"/>
                <a:gd name="T92" fmla="*/ 2147483647 w 28"/>
                <a:gd name="T93" fmla="*/ 2147483647 h 24"/>
                <a:gd name="T94" fmla="*/ 2147483647 w 28"/>
                <a:gd name="T95" fmla="*/ 2147483647 h 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
                <a:gd name="T145" fmla="*/ 0 h 24"/>
                <a:gd name="T146" fmla="*/ 28 w 28"/>
                <a:gd name="T147" fmla="*/ 24 h 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 h="24">
                  <a:moveTo>
                    <a:pt x="4" y="10"/>
                  </a:moveTo>
                  <a:lnTo>
                    <a:pt x="4" y="10"/>
                  </a:lnTo>
                  <a:lnTo>
                    <a:pt x="4" y="12"/>
                  </a:lnTo>
                  <a:lnTo>
                    <a:pt x="2" y="12"/>
                  </a:lnTo>
                  <a:lnTo>
                    <a:pt x="0" y="12"/>
                  </a:lnTo>
                  <a:lnTo>
                    <a:pt x="0" y="16"/>
                  </a:lnTo>
                  <a:lnTo>
                    <a:pt x="0" y="18"/>
                  </a:lnTo>
                  <a:lnTo>
                    <a:pt x="2" y="18"/>
                  </a:lnTo>
                  <a:lnTo>
                    <a:pt x="6" y="18"/>
                  </a:lnTo>
                  <a:lnTo>
                    <a:pt x="8" y="18"/>
                  </a:lnTo>
                  <a:lnTo>
                    <a:pt x="8" y="16"/>
                  </a:lnTo>
                  <a:lnTo>
                    <a:pt x="10" y="18"/>
                  </a:lnTo>
                  <a:lnTo>
                    <a:pt x="12" y="22"/>
                  </a:lnTo>
                  <a:lnTo>
                    <a:pt x="12" y="24"/>
                  </a:lnTo>
                  <a:lnTo>
                    <a:pt x="14" y="22"/>
                  </a:lnTo>
                  <a:lnTo>
                    <a:pt x="16" y="20"/>
                  </a:lnTo>
                  <a:lnTo>
                    <a:pt x="18" y="18"/>
                  </a:lnTo>
                  <a:lnTo>
                    <a:pt x="18" y="16"/>
                  </a:lnTo>
                  <a:lnTo>
                    <a:pt x="24" y="18"/>
                  </a:lnTo>
                  <a:lnTo>
                    <a:pt x="26" y="18"/>
                  </a:lnTo>
                  <a:lnTo>
                    <a:pt x="26" y="14"/>
                  </a:lnTo>
                  <a:lnTo>
                    <a:pt x="28" y="8"/>
                  </a:lnTo>
                  <a:lnTo>
                    <a:pt x="24" y="2"/>
                  </a:lnTo>
                  <a:lnTo>
                    <a:pt x="18" y="4"/>
                  </a:lnTo>
                  <a:lnTo>
                    <a:pt x="16" y="6"/>
                  </a:lnTo>
                  <a:lnTo>
                    <a:pt x="12" y="4"/>
                  </a:lnTo>
                  <a:lnTo>
                    <a:pt x="6" y="0"/>
                  </a:lnTo>
                  <a:lnTo>
                    <a:pt x="6" y="6"/>
                  </a:lnTo>
                  <a:lnTo>
                    <a:pt x="4" y="8"/>
                  </a:lnTo>
                  <a:lnTo>
                    <a:pt x="4"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3" name="Freeform 535">
              <a:extLst>
                <a:ext uri="{FF2B5EF4-FFF2-40B4-BE49-F238E27FC236}">
                  <a16:creationId xmlns:a16="http://schemas.microsoft.com/office/drawing/2014/main" id="{C30FA7DE-229C-4591-91CF-5B42F2FF7847}"/>
                </a:ext>
              </a:extLst>
            </p:cNvPr>
            <p:cNvSpPr>
              <a:spLocks noEditPoints="1"/>
            </p:cNvSpPr>
            <p:nvPr/>
          </p:nvSpPr>
          <p:spPr bwMode="gray">
            <a:xfrm>
              <a:off x="4798137" y="1661475"/>
              <a:ext cx="1972807" cy="1523223"/>
            </a:xfrm>
            <a:custGeom>
              <a:avLst/>
              <a:gdLst>
                <a:gd name="T0" fmla="*/ 2147483647 w 1066"/>
                <a:gd name="T1" fmla="*/ 2147483647 h 822"/>
                <a:gd name="T2" fmla="*/ 2147483647 w 1066"/>
                <a:gd name="T3" fmla="*/ 2147483647 h 822"/>
                <a:gd name="T4" fmla="*/ 2147483647 w 1066"/>
                <a:gd name="T5" fmla="*/ 2147483647 h 822"/>
                <a:gd name="T6" fmla="*/ 2147483647 w 1066"/>
                <a:gd name="T7" fmla="*/ 2147483647 h 822"/>
                <a:gd name="T8" fmla="*/ 2147483647 w 1066"/>
                <a:gd name="T9" fmla="*/ 2147483647 h 822"/>
                <a:gd name="T10" fmla="*/ 2147483647 w 1066"/>
                <a:gd name="T11" fmla="*/ 2147483647 h 822"/>
                <a:gd name="T12" fmla="*/ 2147483647 w 1066"/>
                <a:gd name="T13" fmla="*/ 2147483647 h 822"/>
                <a:gd name="T14" fmla="*/ 2147483647 w 1066"/>
                <a:gd name="T15" fmla="*/ 2147483647 h 822"/>
                <a:gd name="T16" fmla="*/ 2147483647 w 1066"/>
                <a:gd name="T17" fmla="*/ 2147483647 h 822"/>
                <a:gd name="T18" fmla="*/ 2147483647 w 1066"/>
                <a:gd name="T19" fmla="*/ 2147483647 h 822"/>
                <a:gd name="T20" fmla="*/ 2147483647 w 1066"/>
                <a:gd name="T21" fmla="*/ 2147483647 h 822"/>
                <a:gd name="T22" fmla="*/ 2147483647 w 1066"/>
                <a:gd name="T23" fmla="*/ 2147483647 h 822"/>
                <a:gd name="T24" fmla="*/ 2147483647 w 1066"/>
                <a:gd name="T25" fmla="*/ 2147483647 h 822"/>
                <a:gd name="T26" fmla="*/ 2147483647 w 1066"/>
                <a:gd name="T27" fmla="*/ 2147483647 h 822"/>
                <a:gd name="T28" fmla="*/ 2147483647 w 1066"/>
                <a:gd name="T29" fmla="*/ 2147483647 h 822"/>
                <a:gd name="T30" fmla="*/ 2147483647 w 1066"/>
                <a:gd name="T31" fmla="*/ 2147483647 h 822"/>
                <a:gd name="T32" fmla="*/ 2147483647 w 1066"/>
                <a:gd name="T33" fmla="*/ 2147483647 h 822"/>
                <a:gd name="T34" fmla="*/ 2147483647 w 1066"/>
                <a:gd name="T35" fmla="*/ 2147483647 h 822"/>
                <a:gd name="T36" fmla="*/ 2147483647 w 1066"/>
                <a:gd name="T37" fmla="*/ 2147483647 h 822"/>
                <a:gd name="T38" fmla="*/ 2147483647 w 1066"/>
                <a:gd name="T39" fmla="*/ 2147483647 h 822"/>
                <a:gd name="T40" fmla="*/ 2147483647 w 1066"/>
                <a:gd name="T41" fmla="*/ 2147483647 h 822"/>
                <a:gd name="T42" fmla="*/ 2147483647 w 1066"/>
                <a:gd name="T43" fmla="*/ 2147483647 h 822"/>
                <a:gd name="T44" fmla="*/ 2147483647 w 1066"/>
                <a:gd name="T45" fmla="*/ 2147483647 h 822"/>
                <a:gd name="T46" fmla="*/ 2147483647 w 1066"/>
                <a:gd name="T47" fmla="*/ 2147483647 h 822"/>
                <a:gd name="T48" fmla="*/ 2147483647 w 1066"/>
                <a:gd name="T49" fmla="*/ 2147483647 h 822"/>
                <a:gd name="T50" fmla="*/ 2147483647 w 1066"/>
                <a:gd name="T51" fmla="*/ 2147483647 h 822"/>
                <a:gd name="T52" fmla="*/ 2147483647 w 1066"/>
                <a:gd name="T53" fmla="*/ 2147483647 h 822"/>
                <a:gd name="T54" fmla="*/ 2147483647 w 1066"/>
                <a:gd name="T55" fmla="*/ 2147483647 h 822"/>
                <a:gd name="T56" fmla="*/ 2147483647 w 1066"/>
                <a:gd name="T57" fmla="*/ 2147483647 h 822"/>
                <a:gd name="T58" fmla="*/ 2147483647 w 1066"/>
                <a:gd name="T59" fmla="*/ 2147483647 h 822"/>
                <a:gd name="T60" fmla="*/ 2147483647 w 1066"/>
                <a:gd name="T61" fmla="*/ 2147483647 h 822"/>
                <a:gd name="T62" fmla="*/ 2147483647 w 1066"/>
                <a:gd name="T63" fmla="*/ 2147483647 h 822"/>
                <a:gd name="T64" fmla="*/ 2147483647 w 1066"/>
                <a:gd name="T65" fmla="*/ 2147483647 h 822"/>
                <a:gd name="T66" fmla="*/ 2147483647 w 1066"/>
                <a:gd name="T67" fmla="*/ 2147483647 h 822"/>
                <a:gd name="T68" fmla="*/ 2147483647 w 1066"/>
                <a:gd name="T69" fmla="*/ 2147483647 h 822"/>
                <a:gd name="T70" fmla="*/ 2147483647 w 1066"/>
                <a:gd name="T71" fmla="*/ 2147483647 h 822"/>
                <a:gd name="T72" fmla="*/ 2147483647 w 1066"/>
                <a:gd name="T73" fmla="*/ 2147483647 h 822"/>
                <a:gd name="T74" fmla="*/ 2147483647 w 1066"/>
                <a:gd name="T75" fmla="*/ 2147483647 h 822"/>
                <a:gd name="T76" fmla="*/ 2147483647 w 1066"/>
                <a:gd name="T77" fmla="*/ 2147483647 h 822"/>
                <a:gd name="T78" fmla="*/ 2147483647 w 1066"/>
                <a:gd name="T79" fmla="*/ 2147483647 h 822"/>
                <a:gd name="T80" fmla="*/ 2147483647 w 1066"/>
                <a:gd name="T81" fmla="*/ 2147483647 h 822"/>
                <a:gd name="T82" fmla="*/ 2147483647 w 1066"/>
                <a:gd name="T83" fmla="*/ 2147483647 h 822"/>
                <a:gd name="T84" fmla="*/ 2147483647 w 1066"/>
                <a:gd name="T85" fmla="*/ 2147483647 h 822"/>
                <a:gd name="T86" fmla="*/ 2147483647 w 1066"/>
                <a:gd name="T87" fmla="*/ 2147483647 h 822"/>
                <a:gd name="T88" fmla="*/ 2147483647 w 1066"/>
                <a:gd name="T89" fmla="*/ 2147483647 h 822"/>
                <a:gd name="T90" fmla="*/ 2147483647 w 1066"/>
                <a:gd name="T91" fmla="*/ 2147483647 h 822"/>
                <a:gd name="T92" fmla="*/ 2147483647 w 1066"/>
                <a:gd name="T93" fmla="*/ 2147483647 h 822"/>
                <a:gd name="T94" fmla="*/ 2147483647 w 1066"/>
                <a:gd name="T95" fmla="*/ 2147483647 h 822"/>
                <a:gd name="T96" fmla="*/ 2147483647 w 1066"/>
                <a:gd name="T97" fmla="*/ 2147483647 h 822"/>
                <a:gd name="T98" fmla="*/ 2147483647 w 1066"/>
                <a:gd name="T99" fmla="*/ 2147483647 h 822"/>
                <a:gd name="T100" fmla="*/ 2147483647 w 1066"/>
                <a:gd name="T101" fmla="*/ 2147483647 h 822"/>
                <a:gd name="T102" fmla="*/ 2147483647 w 1066"/>
                <a:gd name="T103" fmla="*/ 2147483647 h 822"/>
                <a:gd name="T104" fmla="*/ 2147483647 w 1066"/>
                <a:gd name="T105" fmla="*/ 2147483647 h 822"/>
                <a:gd name="T106" fmla="*/ 2147483647 w 1066"/>
                <a:gd name="T107" fmla="*/ 2147483647 h 822"/>
                <a:gd name="T108" fmla="*/ 2147483647 w 1066"/>
                <a:gd name="T109" fmla="*/ 2147483647 h 822"/>
                <a:gd name="T110" fmla="*/ 2147483647 w 1066"/>
                <a:gd name="T111" fmla="*/ 2147483647 h 822"/>
                <a:gd name="T112" fmla="*/ 2147483647 w 1066"/>
                <a:gd name="T113" fmla="*/ 2147483647 h 822"/>
                <a:gd name="T114" fmla="*/ 2147483647 w 1066"/>
                <a:gd name="T115" fmla="*/ 2147483647 h 822"/>
                <a:gd name="T116" fmla="*/ 2147483647 w 1066"/>
                <a:gd name="T117" fmla="*/ 2147483647 h 822"/>
                <a:gd name="T118" fmla="*/ 2147483647 w 1066"/>
                <a:gd name="T119" fmla="*/ 2147483647 h 822"/>
                <a:gd name="T120" fmla="*/ 2147483647 w 1066"/>
                <a:gd name="T121" fmla="*/ 2147483647 h 822"/>
                <a:gd name="T122" fmla="*/ 2147483647 w 1066"/>
                <a:gd name="T123" fmla="*/ 2147483647 h 822"/>
                <a:gd name="T124" fmla="*/ 2147483647 w 1066"/>
                <a:gd name="T125" fmla="*/ 2147483647 h 8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66"/>
                <a:gd name="T190" fmla="*/ 0 h 822"/>
                <a:gd name="T191" fmla="*/ 1066 w 1066"/>
                <a:gd name="T192" fmla="*/ 822 h 8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66" h="822">
                  <a:moveTo>
                    <a:pt x="984" y="240"/>
                  </a:moveTo>
                  <a:lnTo>
                    <a:pt x="984" y="240"/>
                  </a:lnTo>
                  <a:lnTo>
                    <a:pt x="964" y="242"/>
                  </a:lnTo>
                  <a:lnTo>
                    <a:pt x="974" y="240"/>
                  </a:lnTo>
                  <a:lnTo>
                    <a:pt x="982" y="236"/>
                  </a:lnTo>
                  <a:lnTo>
                    <a:pt x="984" y="230"/>
                  </a:lnTo>
                  <a:lnTo>
                    <a:pt x="990" y="228"/>
                  </a:lnTo>
                  <a:lnTo>
                    <a:pt x="996" y="228"/>
                  </a:lnTo>
                  <a:lnTo>
                    <a:pt x="1002" y="224"/>
                  </a:lnTo>
                  <a:lnTo>
                    <a:pt x="1008" y="218"/>
                  </a:lnTo>
                  <a:lnTo>
                    <a:pt x="1012" y="210"/>
                  </a:lnTo>
                  <a:lnTo>
                    <a:pt x="1016" y="202"/>
                  </a:lnTo>
                  <a:lnTo>
                    <a:pt x="1042" y="196"/>
                  </a:lnTo>
                  <a:lnTo>
                    <a:pt x="1066" y="188"/>
                  </a:lnTo>
                  <a:lnTo>
                    <a:pt x="1066" y="182"/>
                  </a:lnTo>
                  <a:lnTo>
                    <a:pt x="1064" y="178"/>
                  </a:lnTo>
                  <a:lnTo>
                    <a:pt x="1058" y="174"/>
                  </a:lnTo>
                  <a:lnTo>
                    <a:pt x="1058" y="172"/>
                  </a:lnTo>
                  <a:lnTo>
                    <a:pt x="1064" y="174"/>
                  </a:lnTo>
                  <a:lnTo>
                    <a:pt x="1066" y="172"/>
                  </a:lnTo>
                  <a:lnTo>
                    <a:pt x="1066" y="166"/>
                  </a:lnTo>
                  <a:lnTo>
                    <a:pt x="1060" y="162"/>
                  </a:lnTo>
                  <a:lnTo>
                    <a:pt x="1060" y="158"/>
                  </a:lnTo>
                  <a:lnTo>
                    <a:pt x="1060" y="154"/>
                  </a:lnTo>
                  <a:lnTo>
                    <a:pt x="1058" y="154"/>
                  </a:lnTo>
                  <a:lnTo>
                    <a:pt x="1054" y="154"/>
                  </a:lnTo>
                  <a:lnTo>
                    <a:pt x="1052" y="154"/>
                  </a:lnTo>
                  <a:lnTo>
                    <a:pt x="1050" y="152"/>
                  </a:lnTo>
                  <a:lnTo>
                    <a:pt x="1046" y="146"/>
                  </a:lnTo>
                  <a:lnTo>
                    <a:pt x="1044" y="140"/>
                  </a:lnTo>
                  <a:lnTo>
                    <a:pt x="1040" y="140"/>
                  </a:lnTo>
                  <a:lnTo>
                    <a:pt x="1038" y="138"/>
                  </a:lnTo>
                  <a:lnTo>
                    <a:pt x="1032" y="142"/>
                  </a:lnTo>
                  <a:lnTo>
                    <a:pt x="1026" y="144"/>
                  </a:lnTo>
                  <a:lnTo>
                    <a:pt x="1024" y="140"/>
                  </a:lnTo>
                  <a:lnTo>
                    <a:pt x="1018" y="140"/>
                  </a:lnTo>
                  <a:lnTo>
                    <a:pt x="1010" y="142"/>
                  </a:lnTo>
                  <a:lnTo>
                    <a:pt x="1006" y="144"/>
                  </a:lnTo>
                  <a:lnTo>
                    <a:pt x="1002" y="148"/>
                  </a:lnTo>
                  <a:lnTo>
                    <a:pt x="998" y="152"/>
                  </a:lnTo>
                  <a:lnTo>
                    <a:pt x="994" y="152"/>
                  </a:lnTo>
                  <a:lnTo>
                    <a:pt x="990" y="152"/>
                  </a:lnTo>
                  <a:lnTo>
                    <a:pt x="996" y="140"/>
                  </a:lnTo>
                  <a:lnTo>
                    <a:pt x="984" y="138"/>
                  </a:lnTo>
                  <a:lnTo>
                    <a:pt x="972" y="136"/>
                  </a:lnTo>
                  <a:lnTo>
                    <a:pt x="974" y="132"/>
                  </a:lnTo>
                  <a:lnTo>
                    <a:pt x="978" y="128"/>
                  </a:lnTo>
                  <a:lnTo>
                    <a:pt x="968" y="124"/>
                  </a:lnTo>
                  <a:lnTo>
                    <a:pt x="962" y="122"/>
                  </a:lnTo>
                  <a:lnTo>
                    <a:pt x="954" y="122"/>
                  </a:lnTo>
                  <a:lnTo>
                    <a:pt x="954" y="126"/>
                  </a:lnTo>
                  <a:lnTo>
                    <a:pt x="942" y="126"/>
                  </a:lnTo>
                  <a:lnTo>
                    <a:pt x="938" y="128"/>
                  </a:lnTo>
                  <a:lnTo>
                    <a:pt x="934" y="130"/>
                  </a:lnTo>
                  <a:lnTo>
                    <a:pt x="928" y="136"/>
                  </a:lnTo>
                  <a:lnTo>
                    <a:pt x="928" y="138"/>
                  </a:lnTo>
                  <a:lnTo>
                    <a:pt x="924" y="140"/>
                  </a:lnTo>
                  <a:lnTo>
                    <a:pt x="922" y="140"/>
                  </a:lnTo>
                  <a:lnTo>
                    <a:pt x="922" y="142"/>
                  </a:lnTo>
                  <a:lnTo>
                    <a:pt x="922" y="146"/>
                  </a:lnTo>
                  <a:lnTo>
                    <a:pt x="928" y="152"/>
                  </a:lnTo>
                  <a:lnTo>
                    <a:pt x="916" y="150"/>
                  </a:lnTo>
                  <a:lnTo>
                    <a:pt x="900" y="148"/>
                  </a:lnTo>
                  <a:lnTo>
                    <a:pt x="902" y="154"/>
                  </a:lnTo>
                  <a:lnTo>
                    <a:pt x="904" y="156"/>
                  </a:lnTo>
                  <a:lnTo>
                    <a:pt x="898" y="156"/>
                  </a:lnTo>
                  <a:lnTo>
                    <a:pt x="894" y="158"/>
                  </a:lnTo>
                  <a:lnTo>
                    <a:pt x="894" y="162"/>
                  </a:lnTo>
                  <a:lnTo>
                    <a:pt x="884" y="168"/>
                  </a:lnTo>
                  <a:lnTo>
                    <a:pt x="882" y="168"/>
                  </a:lnTo>
                  <a:lnTo>
                    <a:pt x="882" y="164"/>
                  </a:lnTo>
                  <a:lnTo>
                    <a:pt x="878" y="166"/>
                  </a:lnTo>
                  <a:lnTo>
                    <a:pt x="872" y="168"/>
                  </a:lnTo>
                  <a:lnTo>
                    <a:pt x="870" y="172"/>
                  </a:lnTo>
                  <a:lnTo>
                    <a:pt x="868" y="172"/>
                  </a:lnTo>
                  <a:lnTo>
                    <a:pt x="868" y="170"/>
                  </a:lnTo>
                  <a:lnTo>
                    <a:pt x="870" y="166"/>
                  </a:lnTo>
                  <a:lnTo>
                    <a:pt x="876" y="162"/>
                  </a:lnTo>
                  <a:lnTo>
                    <a:pt x="876" y="160"/>
                  </a:lnTo>
                  <a:lnTo>
                    <a:pt x="872" y="156"/>
                  </a:lnTo>
                  <a:lnTo>
                    <a:pt x="878" y="156"/>
                  </a:lnTo>
                  <a:lnTo>
                    <a:pt x="880" y="150"/>
                  </a:lnTo>
                  <a:lnTo>
                    <a:pt x="866" y="150"/>
                  </a:lnTo>
                  <a:lnTo>
                    <a:pt x="866" y="156"/>
                  </a:lnTo>
                  <a:lnTo>
                    <a:pt x="872" y="156"/>
                  </a:lnTo>
                  <a:lnTo>
                    <a:pt x="870" y="158"/>
                  </a:lnTo>
                  <a:lnTo>
                    <a:pt x="870" y="160"/>
                  </a:lnTo>
                  <a:lnTo>
                    <a:pt x="846" y="160"/>
                  </a:lnTo>
                  <a:lnTo>
                    <a:pt x="844" y="158"/>
                  </a:lnTo>
                  <a:lnTo>
                    <a:pt x="840" y="158"/>
                  </a:lnTo>
                  <a:lnTo>
                    <a:pt x="840" y="162"/>
                  </a:lnTo>
                  <a:lnTo>
                    <a:pt x="826" y="166"/>
                  </a:lnTo>
                  <a:lnTo>
                    <a:pt x="812" y="168"/>
                  </a:lnTo>
                  <a:lnTo>
                    <a:pt x="804" y="168"/>
                  </a:lnTo>
                  <a:lnTo>
                    <a:pt x="798" y="166"/>
                  </a:lnTo>
                  <a:lnTo>
                    <a:pt x="794" y="170"/>
                  </a:lnTo>
                  <a:lnTo>
                    <a:pt x="790" y="172"/>
                  </a:lnTo>
                  <a:lnTo>
                    <a:pt x="782" y="172"/>
                  </a:lnTo>
                  <a:lnTo>
                    <a:pt x="774" y="172"/>
                  </a:lnTo>
                  <a:lnTo>
                    <a:pt x="776" y="174"/>
                  </a:lnTo>
                  <a:lnTo>
                    <a:pt x="778" y="176"/>
                  </a:lnTo>
                  <a:lnTo>
                    <a:pt x="778" y="178"/>
                  </a:lnTo>
                  <a:lnTo>
                    <a:pt x="774" y="180"/>
                  </a:lnTo>
                  <a:lnTo>
                    <a:pt x="772" y="190"/>
                  </a:lnTo>
                  <a:lnTo>
                    <a:pt x="768" y="184"/>
                  </a:lnTo>
                  <a:lnTo>
                    <a:pt x="762" y="184"/>
                  </a:lnTo>
                  <a:lnTo>
                    <a:pt x="760" y="186"/>
                  </a:lnTo>
                  <a:lnTo>
                    <a:pt x="762" y="188"/>
                  </a:lnTo>
                  <a:lnTo>
                    <a:pt x="766" y="190"/>
                  </a:lnTo>
                  <a:lnTo>
                    <a:pt x="768" y="192"/>
                  </a:lnTo>
                  <a:lnTo>
                    <a:pt x="762" y="194"/>
                  </a:lnTo>
                  <a:lnTo>
                    <a:pt x="768" y="204"/>
                  </a:lnTo>
                  <a:lnTo>
                    <a:pt x="774" y="216"/>
                  </a:lnTo>
                  <a:lnTo>
                    <a:pt x="764" y="216"/>
                  </a:lnTo>
                  <a:lnTo>
                    <a:pt x="766" y="212"/>
                  </a:lnTo>
                  <a:lnTo>
                    <a:pt x="766" y="210"/>
                  </a:lnTo>
                  <a:lnTo>
                    <a:pt x="764" y="208"/>
                  </a:lnTo>
                  <a:lnTo>
                    <a:pt x="764" y="206"/>
                  </a:lnTo>
                  <a:lnTo>
                    <a:pt x="760" y="206"/>
                  </a:lnTo>
                  <a:lnTo>
                    <a:pt x="754" y="208"/>
                  </a:lnTo>
                  <a:lnTo>
                    <a:pt x="748" y="210"/>
                  </a:lnTo>
                  <a:lnTo>
                    <a:pt x="742" y="208"/>
                  </a:lnTo>
                  <a:lnTo>
                    <a:pt x="738" y="206"/>
                  </a:lnTo>
                  <a:lnTo>
                    <a:pt x="708" y="212"/>
                  </a:lnTo>
                  <a:lnTo>
                    <a:pt x="702" y="216"/>
                  </a:lnTo>
                  <a:lnTo>
                    <a:pt x="698" y="224"/>
                  </a:lnTo>
                  <a:lnTo>
                    <a:pt x="698" y="234"/>
                  </a:lnTo>
                  <a:lnTo>
                    <a:pt x="702" y="244"/>
                  </a:lnTo>
                  <a:lnTo>
                    <a:pt x="706" y="246"/>
                  </a:lnTo>
                  <a:lnTo>
                    <a:pt x="710" y="248"/>
                  </a:lnTo>
                  <a:lnTo>
                    <a:pt x="714" y="248"/>
                  </a:lnTo>
                  <a:lnTo>
                    <a:pt x="716" y="246"/>
                  </a:lnTo>
                  <a:lnTo>
                    <a:pt x="718" y="250"/>
                  </a:lnTo>
                  <a:lnTo>
                    <a:pt x="722" y="254"/>
                  </a:lnTo>
                  <a:lnTo>
                    <a:pt x="730" y="258"/>
                  </a:lnTo>
                  <a:lnTo>
                    <a:pt x="728" y="266"/>
                  </a:lnTo>
                  <a:lnTo>
                    <a:pt x="726" y="278"/>
                  </a:lnTo>
                  <a:lnTo>
                    <a:pt x="728" y="280"/>
                  </a:lnTo>
                  <a:lnTo>
                    <a:pt x="728" y="284"/>
                  </a:lnTo>
                  <a:lnTo>
                    <a:pt x="730" y="284"/>
                  </a:lnTo>
                  <a:lnTo>
                    <a:pt x="730" y="286"/>
                  </a:lnTo>
                  <a:lnTo>
                    <a:pt x="728" y="288"/>
                  </a:lnTo>
                  <a:lnTo>
                    <a:pt x="724" y="288"/>
                  </a:lnTo>
                  <a:lnTo>
                    <a:pt x="722" y="288"/>
                  </a:lnTo>
                  <a:lnTo>
                    <a:pt x="722" y="294"/>
                  </a:lnTo>
                  <a:lnTo>
                    <a:pt x="732" y="300"/>
                  </a:lnTo>
                  <a:lnTo>
                    <a:pt x="734" y="300"/>
                  </a:lnTo>
                  <a:lnTo>
                    <a:pt x="736" y="300"/>
                  </a:lnTo>
                  <a:lnTo>
                    <a:pt x="738" y="298"/>
                  </a:lnTo>
                  <a:lnTo>
                    <a:pt x="742" y="298"/>
                  </a:lnTo>
                  <a:lnTo>
                    <a:pt x="746" y="298"/>
                  </a:lnTo>
                  <a:lnTo>
                    <a:pt x="750" y="300"/>
                  </a:lnTo>
                  <a:lnTo>
                    <a:pt x="752" y="310"/>
                  </a:lnTo>
                  <a:lnTo>
                    <a:pt x="750" y="310"/>
                  </a:lnTo>
                  <a:lnTo>
                    <a:pt x="748" y="302"/>
                  </a:lnTo>
                  <a:lnTo>
                    <a:pt x="722" y="302"/>
                  </a:lnTo>
                  <a:lnTo>
                    <a:pt x="722" y="296"/>
                  </a:lnTo>
                  <a:lnTo>
                    <a:pt x="716" y="292"/>
                  </a:lnTo>
                  <a:lnTo>
                    <a:pt x="714" y="290"/>
                  </a:lnTo>
                  <a:lnTo>
                    <a:pt x="714" y="292"/>
                  </a:lnTo>
                  <a:lnTo>
                    <a:pt x="712" y="292"/>
                  </a:lnTo>
                  <a:lnTo>
                    <a:pt x="712" y="294"/>
                  </a:lnTo>
                  <a:lnTo>
                    <a:pt x="710" y="296"/>
                  </a:lnTo>
                  <a:lnTo>
                    <a:pt x="708" y="296"/>
                  </a:lnTo>
                  <a:lnTo>
                    <a:pt x="712" y="276"/>
                  </a:lnTo>
                  <a:lnTo>
                    <a:pt x="716" y="268"/>
                  </a:lnTo>
                  <a:lnTo>
                    <a:pt x="722" y="258"/>
                  </a:lnTo>
                  <a:lnTo>
                    <a:pt x="702" y="256"/>
                  </a:lnTo>
                  <a:lnTo>
                    <a:pt x="704" y="258"/>
                  </a:lnTo>
                  <a:lnTo>
                    <a:pt x="700" y="258"/>
                  </a:lnTo>
                  <a:lnTo>
                    <a:pt x="696" y="248"/>
                  </a:lnTo>
                  <a:lnTo>
                    <a:pt x="694" y="248"/>
                  </a:lnTo>
                  <a:lnTo>
                    <a:pt x="692" y="250"/>
                  </a:lnTo>
                  <a:lnTo>
                    <a:pt x="688" y="246"/>
                  </a:lnTo>
                  <a:lnTo>
                    <a:pt x="678" y="244"/>
                  </a:lnTo>
                  <a:lnTo>
                    <a:pt x="672" y="244"/>
                  </a:lnTo>
                  <a:lnTo>
                    <a:pt x="668" y="246"/>
                  </a:lnTo>
                  <a:lnTo>
                    <a:pt x="662" y="250"/>
                  </a:lnTo>
                  <a:lnTo>
                    <a:pt x="664" y="252"/>
                  </a:lnTo>
                  <a:lnTo>
                    <a:pt x="668" y="252"/>
                  </a:lnTo>
                  <a:lnTo>
                    <a:pt x="670" y="256"/>
                  </a:lnTo>
                  <a:lnTo>
                    <a:pt x="668" y="258"/>
                  </a:lnTo>
                  <a:lnTo>
                    <a:pt x="668" y="260"/>
                  </a:lnTo>
                  <a:lnTo>
                    <a:pt x="664" y="260"/>
                  </a:lnTo>
                  <a:lnTo>
                    <a:pt x="662" y="260"/>
                  </a:lnTo>
                  <a:lnTo>
                    <a:pt x="662" y="258"/>
                  </a:lnTo>
                  <a:lnTo>
                    <a:pt x="656" y="256"/>
                  </a:lnTo>
                  <a:lnTo>
                    <a:pt x="650" y="256"/>
                  </a:lnTo>
                  <a:lnTo>
                    <a:pt x="644" y="264"/>
                  </a:lnTo>
                  <a:lnTo>
                    <a:pt x="650" y="264"/>
                  </a:lnTo>
                  <a:lnTo>
                    <a:pt x="660" y="272"/>
                  </a:lnTo>
                  <a:lnTo>
                    <a:pt x="664" y="276"/>
                  </a:lnTo>
                  <a:lnTo>
                    <a:pt x="660" y="278"/>
                  </a:lnTo>
                  <a:lnTo>
                    <a:pt x="650" y="278"/>
                  </a:lnTo>
                  <a:lnTo>
                    <a:pt x="648" y="276"/>
                  </a:lnTo>
                  <a:lnTo>
                    <a:pt x="646" y="274"/>
                  </a:lnTo>
                  <a:lnTo>
                    <a:pt x="642" y="276"/>
                  </a:lnTo>
                  <a:lnTo>
                    <a:pt x="638" y="278"/>
                  </a:lnTo>
                  <a:lnTo>
                    <a:pt x="632" y="272"/>
                  </a:lnTo>
                  <a:lnTo>
                    <a:pt x="632" y="264"/>
                  </a:lnTo>
                  <a:lnTo>
                    <a:pt x="628" y="260"/>
                  </a:lnTo>
                  <a:lnTo>
                    <a:pt x="628" y="256"/>
                  </a:lnTo>
                  <a:lnTo>
                    <a:pt x="630" y="250"/>
                  </a:lnTo>
                  <a:lnTo>
                    <a:pt x="630" y="244"/>
                  </a:lnTo>
                  <a:lnTo>
                    <a:pt x="630" y="238"/>
                  </a:lnTo>
                  <a:lnTo>
                    <a:pt x="624" y="232"/>
                  </a:lnTo>
                  <a:lnTo>
                    <a:pt x="626" y="244"/>
                  </a:lnTo>
                  <a:lnTo>
                    <a:pt x="626" y="250"/>
                  </a:lnTo>
                  <a:lnTo>
                    <a:pt x="626" y="256"/>
                  </a:lnTo>
                  <a:lnTo>
                    <a:pt x="624" y="258"/>
                  </a:lnTo>
                  <a:lnTo>
                    <a:pt x="622" y="260"/>
                  </a:lnTo>
                  <a:lnTo>
                    <a:pt x="616" y="264"/>
                  </a:lnTo>
                  <a:lnTo>
                    <a:pt x="616" y="268"/>
                  </a:lnTo>
                  <a:lnTo>
                    <a:pt x="614" y="272"/>
                  </a:lnTo>
                  <a:lnTo>
                    <a:pt x="614" y="274"/>
                  </a:lnTo>
                  <a:lnTo>
                    <a:pt x="612" y="276"/>
                  </a:lnTo>
                  <a:lnTo>
                    <a:pt x="620" y="286"/>
                  </a:lnTo>
                  <a:lnTo>
                    <a:pt x="620" y="290"/>
                  </a:lnTo>
                  <a:lnTo>
                    <a:pt x="618" y="294"/>
                  </a:lnTo>
                  <a:lnTo>
                    <a:pt x="616" y="298"/>
                  </a:lnTo>
                  <a:lnTo>
                    <a:pt x="618" y="306"/>
                  </a:lnTo>
                  <a:lnTo>
                    <a:pt x="620" y="314"/>
                  </a:lnTo>
                  <a:lnTo>
                    <a:pt x="632" y="312"/>
                  </a:lnTo>
                  <a:lnTo>
                    <a:pt x="636" y="310"/>
                  </a:lnTo>
                  <a:lnTo>
                    <a:pt x="640" y="308"/>
                  </a:lnTo>
                  <a:lnTo>
                    <a:pt x="642" y="310"/>
                  </a:lnTo>
                  <a:lnTo>
                    <a:pt x="646" y="312"/>
                  </a:lnTo>
                  <a:lnTo>
                    <a:pt x="648" y="312"/>
                  </a:lnTo>
                  <a:lnTo>
                    <a:pt x="648" y="310"/>
                  </a:lnTo>
                  <a:lnTo>
                    <a:pt x="650" y="310"/>
                  </a:lnTo>
                  <a:lnTo>
                    <a:pt x="654" y="310"/>
                  </a:lnTo>
                  <a:lnTo>
                    <a:pt x="656" y="312"/>
                  </a:lnTo>
                  <a:lnTo>
                    <a:pt x="662" y="318"/>
                  </a:lnTo>
                  <a:lnTo>
                    <a:pt x="668" y="332"/>
                  </a:lnTo>
                  <a:lnTo>
                    <a:pt x="662" y="338"/>
                  </a:lnTo>
                  <a:lnTo>
                    <a:pt x="662" y="340"/>
                  </a:lnTo>
                  <a:lnTo>
                    <a:pt x="662" y="344"/>
                  </a:lnTo>
                  <a:lnTo>
                    <a:pt x="664" y="346"/>
                  </a:lnTo>
                  <a:lnTo>
                    <a:pt x="666" y="348"/>
                  </a:lnTo>
                  <a:lnTo>
                    <a:pt x="682" y="352"/>
                  </a:lnTo>
                  <a:lnTo>
                    <a:pt x="684" y="354"/>
                  </a:lnTo>
                  <a:lnTo>
                    <a:pt x="674" y="354"/>
                  </a:lnTo>
                  <a:lnTo>
                    <a:pt x="664" y="352"/>
                  </a:lnTo>
                  <a:lnTo>
                    <a:pt x="664" y="356"/>
                  </a:lnTo>
                  <a:lnTo>
                    <a:pt x="662" y="356"/>
                  </a:lnTo>
                  <a:lnTo>
                    <a:pt x="660" y="354"/>
                  </a:lnTo>
                  <a:lnTo>
                    <a:pt x="654" y="352"/>
                  </a:lnTo>
                  <a:lnTo>
                    <a:pt x="656" y="340"/>
                  </a:lnTo>
                  <a:lnTo>
                    <a:pt x="656" y="332"/>
                  </a:lnTo>
                  <a:lnTo>
                    <a:pt x="650" y="314"/>
                  </a:lnTo>
                  <a:lnTo>
                    <a:pt x="634" y="320"/>
                  </a:lnTo>
                  <a:lnTo>
                    <a:pt x="628" y="324"/>
                  </a:lnTo>
                  <a:lnTo>
                    <a:pt x="624" y="326"/>
                  </a:lnTo>
                  <a:lnTo>
                    <a:pt x="624" y="328"/>
                  </a:lnTo>
                  <a:lnTo>
                    <a:pt x="624" y="332"/>
                  </a:lnTo>
                  <a:lnTo>
                    <a:pt x="626" y="332"/>
                  </a:lnTo>
                  <a:lnTo>
                    <a:pt x="626" y="334"/>
                  </a:lnTo>
                  <a:lnTo>
                    <a:pt x="626" y="336"/>
                  </a:lnTo>
                  <a:lnTo>
                    <a:pt x="626" y="340"/>
                  </a:lnTo>
                  <a:lnTo>
                    <a:pt x="622" y="354"/>
                  </a:lnTo>
                  <a:lnTo>
                    <a:pt x="618" y="360"/>
                  </a:lnTo>
                  <a:lnTo>
                    <a:pt x="610" y="364"/>
                  </a:lnTo>
                  <a:lnTo>
                    <a:pt x="600" y="368"/>
                  </a:lnTo>
                  <a:lnTo>
                    <a:pt x="602" y="370"/>
                  </a:lnTo>
                  <a:lnTo>
                    <a:pt x="604" y="372"/>
                  </a:lnTo>
                  <a:lnTo>
                    <a:pt x="606" y="384"/>
                  </a:lnTo>
                  <a:lnTo>
                    <a:pt x="604" y="384"/>
                  </a:lnTo>
                  <a:lnTo>
                    <a:pt x="600" y="384"/>
                  </a:lnTo>
                  <a:lnTo>
                    <a:pt x="596" y="374"/>
                  </a:lnTo>
                  <a:lnTo>
                    <a:pt x="592" y="372"/>
                  </a:lnTo>
                  <a:lnTo>
                    <a:pt x="586" y="374"/>
                  </a:lnTo>
                  <a:lnTo>
                    <a:pt x="582" y="374"/>
                  </a:lnTo>
                  <a:lnTo>
                    <a:pt x="578" y="374"/>
                  </a:lnTo>
                  <a:lnTo>
                    <a:pt x="574" y="372"/>
                  </a:lnTo>
                  <a:lnTo>
                    <a:pt x="572" y="370"/>
                  </a:lnTo>
                  <a:lnTo>
                    <a:pt x="566" y="366"/>
                  </a:lnTo>
                  <a:lnTo>
                    <a:pt x="586" y="366"/>
                  </a:lnTo>
                  <a:lnTo>
                    <a:pt x="590" y="362"/>
                  </a:lnTo>
                  <a:lnTo>
                    <a:pt x="594" y="358"/>
                  </a:lnTo>
                  <a:lnTo>
                    <a:pt x="596" y="358"/>
                  </a:lnTo>
                  <a:lnTo>
                    <a:pt x="598" y="360"/>
                  </a:lnTo>
                  <a:lnTo>
                    <a:pt x="600" y="362"/>
                  </a:lnTo>
                  <a:lnTo>
                    <a:pt x="602" y="360"/>
                  </a:lnTo>
                  <a:lnTo>
                    <a:pt x="604" y="360"/>
                  </a:lnTo>
                  <a:lnTo>
                    <a:pt x="604" y="356"/>
                  </a:lnTo>
                  <a:lnTo>
                    <a:pt x="602" y="354"/>
                  </a:lnTo>
                  <a:lnTo>
                    <a:pt x="612" y="348"/>
                  </a:lnTo>
                  <a:lnTo>
                    <a:pt x="612" y="328"/>
                  </a:lnTo>
                  <a:lnTo>
                    <a:pt x="606" y="322"/>
                  </a:lnTo>
                  <a:lnTo>
                    <a:pt x="602" y="320"/>
                  </a:lnTo>
                  <a:lnTo>
                    <a:pt x="600" y="316"/>
                  </a:lnTo>
                  <a:lnTo>
                    <a:pt x="600" y="308"/>
                  </a:lnTo>
                  <a:lnTo>
                    <a:pt x="602" y="302"/>
                  </a:lnTo>
                  <a:lnTo>
                    <a:pt x="606" y="294"/>
                  </a:lnTo>
                  <a:lnTo>
                    <a:pt x="606" y="288"/>
                  </a:lnTo>
                  <a:lnTo>
                    <a:pt x="602" y="284"/>
                  </a:lnTo>
                  <a:lnTo>
                    <a:pt x="598" y="278"/>
                  </a:lnTo>
                  <a:lnTo>
                    <a:pt x="598" y="274"/>
                  </a:lnTo>
                  <a:lnTo>
                    <a:pt x="596" y="272"/>
                  </a:lnTo>
                  <a:lnTo>
                    <a:pt x="596" y="270"/>
                  </a:lnTo>
                  <a:lnTo>
                    <a:pt x="598" y="266"/>
                  </a:lnTo>
                  <a:lnTo>
                    <a:pt x="602" y="260"/>
                  </a:lnTo>
                  <a:lnTo>
                    <a:pt x="604" y="246"/>
                  </a:lnTo>
                  <a:lnTo>
                    <a:pt x="604" y="238"/>
                  </a:lnTo>
                  <a:lnTo>
                    <a:pt x="602" y="230"/>
                  </a:lnTo>
                  <a:lnTo>
                    <a:pt x="600" y="228"/>
                  </a:lnTo>
                  <a:lnTo>
                    <a:pt x="596" y="228"/>
                  </a:lnTo>
                  <a:lnTo>
                    <a:pt x="586" y="226"/>
                  </a:lnTo>
                  <a:lnTo>
                    <a:pt x="574" y="228"/>
                  </a:lnTo>
                  <a:lnTo>
                    <a:pt x="568" y="230"/>
                  </a:lnTo>
                  <a:lnTo>
                    <a:pt x="566" y="232"/>
                  </a:lnTo>
                  <a:lnTo>
                    <a:pt x="564" y="236"/>
                  </a:lnTo>
                  <a:lnTo>
                    <a:pt x="560" y="244"/>
                  </a:lnTo>
                  <a:lnTo>
                    <a:pt x="556" y="248"/>
                  </a:lnTo>
                  <a:lnTo>
                    <a:pt x="552" y="254"/>
                  </a:lnTo>
                  <a:lnTo>
                    <a:pt x="550" y="258"/>
                  </a:lnTo>
                  <a:lnTo>
                    <a:pt x="546" y="262"/>
                  </a:lnTo>
                  <a:lnTo>
                    <a:pt x="544" y="264"/>
                  </a:lnTo>
                  <a:lnTo>
                    <a:pt x="540" y="264"/>
                  </a:lnTo>
                  <a:lnTo>
                    <a:pt x="542" y="278"/>
                  </a:lnTo>
                  <a:lnTo>
                    <a:pt x="544" y="286"/>
                  </a:lnTo>
                  <a:lnTo>
                    <a:pt x="544" y="290"/>
                  </a:lnTo>
                  <a:lnTo>
                    <a:pt x="538" y="292"/>
                  </a:lnTo>
                  <a:lnTo>
                    <a:pt x="538" y="298"/>
                  </a:lnTo>
                  <a:lnTo>
                    <a:pt x="538" y="302"/>
                  </a:lnTo>
                  <a:lnTo>
                    <a:pt x="550" y="304"/>
                  </a:lnTo>
                  <a:lnTo>
                    <a:pt x="550" y="322"/>
                  </a:lnTo>
                  <a:lnTo>
                    <a:pt x="556" y="320"/>
                  </a:lnTo>
                  <a:lnTo>
                    <a:pt x="552" y="330"/>
                  </a:lnTo>
                  <a:lnTo>
                    <a:pt x="546" y="338"/>
                  </a:lnTo>
                  <a:lnTo>
                    <a:pt x="532" y="318"/>
                  </a:lnTo>
                  <a:lnTo>
                    <a:pt x="530" y="318"/>
                  </a:lnTo>
                  <a:lnTo>
                    <a:pt x="526" y="318"/>
                  </a:lnTo>
                  <a:lnTo>
                    <a:pt x="524" y="316"/>
                  </a:lnTo>
                  <a:lnTo>
                    <a:pt x="524" y="314"/>
                  </a:lnTo>
                  <a:lnTo>
                    <a:pt x="526" y="312"/>
                  </a:lnTo>
                  <a:lnTo>
                    <a:pt x="522" y="312"/>
                  </a:lnTo>
                  <a:lnTo>
                    <a:pt x="518" y="312"/>
                  </a:lnTo>
                  <a:lnTo>
                    <a:pt x="516" y="310"/>
                  </a:lnTo>
                  <a:lnTo>
                    <a:pt x="514" y="314"/>
                  </a:lnTo>
                  <a:lnTo>
                    <a:pt x="514" y="316"/>
                  </a:lnTo>
                  <a:lnTo>
                    <a:pt x="512" y="316"/>
                  </a:lnTo>
                  <a:lnTo>
                    <a:pt x="512" y="314"/>
                  </a:lnTo>
                  <a:lnTo>
                    <a:pt x="512" y="312"/>
                  </a:lnTo>
                  <a:lnTo>
                    <a:pt x="514" y="306"/>
                  </a:lnTo>
                  <a:lnTo>
                    <a:pt x="502" y="304"/>
                  </a:lnTo>
                  <a:lnTo>
                    <a:pt x="492" y="304"/>
                  </a:lnTo>
                  <a:lnTo>
                    <a:pt x="488" y="302"/>
                  </a:lnTo>
                  <a:lnTo>
                    <a:pt x="486" y="300"/>
                  </a:lnTo>
                  <a:lnTo>
                    <a:pt x="484" y="302"/>
                  </a:lnTo>
                  <a:lnTo>
                    <a:pt x="484" y="306"/>
                  </a:lnTo>
                  <a:lnTo>
                    <a:pt x="466" y="304"/>
                  </a:lnTo>
                  <a:lnTo>
                    <a:pt x="466" y="306"/>
                  </a:lnTo>
                  <a:lnTo>
                    <a:pt x="464" y="308"/>
                  </a:lnTo>
                  <a:lnTo>
                    <a:pt x="468" y="316"/>
                  </a:lnTo>
                  <a:lnTo>
                    <a:pt x="468" y="326"/>
                  </a:lnTo>
                  <a:lnTo>
                    <a:pt x="464" y="328"/>
                  </a:lnTo>
                  <a:lnTo>
                    <a:pt x="462" y="326"/>
                  </a:lnTo>
                  <a:lnTo>
                    <a:pt x="460" y="326"/>
                  </a:lnTo>
                  <a:lnTo>
                    <a:pt x="456" y="326"/>
                  </a:lnTo>
                  <a:lnTo>
                    <a:pt x="456" y="336"/>
                  </a:lnTo>
                  <a:lnTo>
                    <a:pt x="450" y="328"/>
                  </a:lnTo>
                  <a:lnTo>
                    <a:pt x="448" y="324"/>
                  </a:lnTo>
                  <a:lnTo>
                    <a:pt x="448" y="322"/>
                  </a:lnTo>
                  <a:lnTo>
                    <a:pt x="450" y="320"/>
                  </a:lnTo>
                  <a:lnTo>
                    <a:pt x="436" y="326"/>
                  </a:lnTo>
                  <a:lnTo>
                    <a:pt x="434" y="324"/>
                  </a:lnTo>
                  <a:lnTo>
                    <a:pt x="432" y="324"/>
                  </a:lnTo>
                  <a:lnTo>
                    <a:pt x="434" y="326"/>
                  </a:lnTo>
                  <a:lnTo>
                    <a:pt x="434" y="328"/>
                  </a:lnTo>
                  <a:lnTo>
                    <a:pt x="428" y="328"/>
                  </a:lnTo>
                  <a:lnTo>
                    <a:pt x="424" y="326"/>
                  </a:lnTo>
                  <a:lnTo>
                    <a:pt x="420" y="324"/>
                  </a:lnTo>
                  <a:lnTo>
                    <a:pt x="414" y="324"/>
                  </a:lnTo>
                  <a:lnTo>
                    <a:pt x="404" y="330"/>
                  </a:lnTo>
                  <a:lnTo>
                    <a:pt x="404" y="336"/>
                  </a:lnTo>
                  <a:lnTo>
                    <a:pt x="402" y="336"/>
                  </a:lnTo>
                  <a:lnTo>
                    <a:pt x="400" y="334"/>
                  </a:lnTo>
                  <a:lnTo>
                    <a:pt x="398" y="330"/>
                  </a:lnTo>
                  <a:lnTo>
                    <a:pt x="396" y="332"/>
                  </a:lnTo>
                  <a:lnTo>
                    <a:pt x="396" y="334"/>
                  </a:lnTo>
                  <a:lnTo>
                    <a:pt x="390" y="334"/>
                  </a:lnTo>
                  <a:lnTo>
                    <a:pt x="382" y="334"/>
                  </a:lnTo>
                  <a:lnTo>
                    <a:pt x="382" y="330"/>
                  </a:lnTo>
                  <a:lnTo>
                    <a:pt x="390" y="330"/>
                  </a:lnTo>
                  <a:lnTo>
                    <a:pt x="392" y="330"/>
                  </a:lnTo>
                  <a:lnTo>
                    <a:pt x="390" y="328"/>
                  </a:lnTo>
                  <a:lnTo>
                    <a:pt x="388" y="328"/>
                  </a:lnTo>
                  <a:lnTo>
                    <a:pt x="388" y="326"/>
                  </a:lnTo>
                  <a:lnTo>
                    <a:pt x="388" y="324"/>
                  </a:lnTo>
                  <a:lnTo>
                    <a:pt x="382" y="322"/>
                  </a:lnTo>
                  <a:lnTo>
                    <a:pt x="384" y="320"/>
                  </a:lnTo>
                  <a:lnTo>
                    <a:pt x="384" y="318"/>
                  </a:lnTo>
                  <a:lnTo>
                    <a:pt x="378" y="322"/>
                  </a:lnTo>
                  <a:lnTo>
                    <a:pt x="374" y="324"/>
                  </a:lnTo>
                  <a:lnTo>
                    <a:pt x="372" y="326"/>
                  </a:lnTo>
                  <a:lnTo>
                    <a:pt x="372" y="330"/>
                  </a:lnTo>
                  <a:lnTo>
                    <a:pt x="370" y="328"/>
                  </a:lnTo>
                  <a:lnTo>
                    <a:pt x="364" y="326"/>
                  </a:lnTo>
                  <a:lnTo>
                    <a:pt x="362" y="330"/>
                  </a:lnTo>
                  <a:lnTo>
                    <a:pt x="356" y="330"/>
                  </a:lnTo>
                  <a:lnTo>
                    <a:pt x="346" y="336"/>
                  </a:lnTo>
                  <a:lnTo>
                    <a:pt x="338" y="340"/>
                  </a:lnTo>
                  <a:lnTo>
                    <a:pt x="334" y="340"/>
                  </a:lnTo>
                  <a:lnTo>
                    <a:pt x="330" y="340"/>
                  </a:lnTo>
                  <a:lnTo>
                    <a:pt x="330" y="344"/>
                  </a:lnTo>
                  <a:lnTo>
                    <a:pt x="326" y="346"/>
                  </a:lnTo>
                  <a:lnTo>
                    <a:pt x="322" y="346"/>
                  </a:lnTo>
                  <a:lnTo>
                    <a:pt x="318" y="364"/>
                  </a:lnTo>
                  <a:lnTo>
                    <a:pt x="316" y="364"/>
                  </a:lnTo>
                  <a:lnTo>
                    <a:pt x="314" y="362"/>
                  </a:lnTo>
                  <a:lnTo>
                    <a:pt x="312" y="368"/>
                  </a:lnTo>
                  <a:lnTo>
                    <a:pt x="304" y="370"/>
                  </a:lnTo>
                  <a:lnTo>
                    <a:pt x="298" y="370"/>
                  </a:lnTo>
                  <a:lnTo>
                    <a:pt x="294" y="362"/>
                  </a:lnTo>
                  <a:lnTo>
                    <a:pt x="292" y="358"/>
                  </a:lnTo>
                  <a:lnTo>
                    <a:pt x="292" y="354"/>
                  </a:lnTo>
                  <a:lnTo>
                    <a:pt x="294" y="352"/>
                  </a:lnTo>
                  <a:lnTo>
                    <a:pt x="296" y="348"/>
                  </a:lnTo>
                  <a:lnTo>
                    <a:pt x="304" y="346"/>
                  </a:lnTo>
                  <a:lnTo>
                    <a:pt x="310" y="346"/>
                  </a:lnTo>
                  <a:lnTo>
                    <a:pt x="304" y="334"/>
                  </a:lnTo>
                  <a:lnTo>
                    <a:pt x="300" y="328"/>
                  </a:lnTo>
                  <a:lnTo>
                    <a:pt x="296" y="326"/>
                  </a:lnTo>
                  <a:lnTo>
                    <a:pt x="290" y="324"/>
                  </a:lnTo>
                  <a:lnTo>
                    <a:pt x="286" y="326"/>
                  </a:lnTo>
                  <a:lnTo>
                    <a:pt x="274" y="320"/>
                  </a:lnTo>
                  <a:lnTo>
                    <a:pt x="278" y="326"/>
                  </a:lnTo>
                  <a:lnTo>
                    <a:pt x="280" y="332"/>
                  </a:lnTo>
                  <a:lnTo>
                    <a:pt x="280" y="338"/>
                  </a:lnTo>
                  <a:lnTo>
                    <a:pt x="274" y="348"/>
                  </a:lnTo>
                  <a:lnTo>
                    <a:pt x="272" y="350"/>
                  </a:lnTo>
                  <a:lnTo>
                    <a:pt x="274" y="352"/>
                  </a:lnTo>
                  <a:lnTo>
                    <a:pt x="276" y="352"/>
                  </a:lnTo>
                  <a:lnTo>
                    <a:pt x="278" y="354"/>
                  </a:lnTo>
                  <a:lnTo>
                    <a:pt x="278" y="358"/>
                  </a:lnTo>
                  <a:lnTo>
                    <a:pt x="274" y="368"/>
                  </a:lnTo>
                  <a:lnTo>
                    <a:pt x="270" y="374"/>
                  </a:lnTo>
                  <a:lnTo>
                    <a:pt x="270" y="376"/>
                  </a:lnTo>
                  <a:lnTo>
                    <a:pt x="270" y="378"/>
                  </a:lnTo>
                  <a:lnTo>
                    <a:pt x="268" y="380"/>
                  </a:lnTo>
                  <a:lnTo>
                    <a:pt x="266" y="374"/>
                  </a:lnTo>
                  <a:lnTo>
                    <a:pt x="262" y="370"/>
                  </a:lnTo>
                  <a:lnTo>
                    <a:pt x="260" y="370"/>
                  </a:lnTo>
                  <a:lnTo>
                    <a:pt x="258" y="370"/>
                  </a:lnTo>
                  <a:lnTo>
                    <a:pt x="256" y="368"/>
                  </a:lnTo>
                  <a:lnTo>
                    <a:pt x="254" y="368"/>
                  </a:lnTo>
                  <a:lnTo>
                    <a:pt x="252" y="368"/>
                  </a:lnTo>
                  <a:lnTo>
                    <a:pt x="232" y="382"/>
                  </a:lnTo>
                  <a:lnTo>
                    <a:pt x="232" y="388"/>
                  </a:lnTo>
                  <a:lnTo>
                    <a:pt x="232" y="394"/>
                  </a:lnTo>
                  <a:lnTo>
                    <a:pt x="240" y="400"/>
                  </a:lnTo>
                  <a:lnTo>
                    <a:pt x="242" y="402"/>
                  </a:lnTo>
                  <a:lnTo>
                    <a:pt x="240" y="404"/>
                  </a:lnTo>
                  <a:lnTo>
                    <a:pt x="236" y="404"/>
                  </a:lnTo>
                  <a:lnTo>
                    <a:pt x="230" y="402"/>
                  </a:lnTo>
                  <a:lnTo>
                    <a:pt x="220" y="398"/>
                  </a:lnTo>
                  <a:lnTo>
                    <a:pt x="206" y="388"/>
                  </a:lnTo>
                  <a:lnTo>
                    <a:pt x="204" y="400"/>
                  </a:lnTo>
                  <a:lnTo>
                    <a:pt x="204" y="404"/>
                  </a:lnTo>
                  <a:lnTo>
                    <a:pt x="208" y="408"/>
                  </a:lnTo>
                  <a:lnTo>
                    <a:pt x="212" y="406"/>
                  </a:lnTo>
                  <a:lnTo>
                    <a:pt x="214" y="408"/>
                  </a:lnTo>
                  <a:lnTo>
                    <a:pt x="214" y="414"/>
                  </a:lnTo>
                  <a:lnTo>
                    <a:pt x="214" y="420"/>
                  </a:lnTo>
                  <a:lnTo>
                    <a:pt x="212" y="420"/>
                  </a:lnTo>
                  <a:lnTo>
                    <a:pt x="210" y="422"/>
                  </a:lnTo>
                  <a:lnTo>
                    <a:pt x="208" y="422"/>
                  </a:lnTo>
                  <a:lnTo>
                    <a:pt x="206" y="422"/>
                  </a:lnTo>
                  <a:lnTo>
                    <a:pt x="192" y="420"/>
                  </a:lnTo>
                  <a:lnTo>
                    <a:pt x="192" y="412"/>
                  </a:lnTo>
                  <a:lnTo>
                    <a:pt x="188" y="412"/>
                  </a:lnTo>
                  <a:lnTo>
                    <a:pt x="184" y="412"/>
                  </a:lnTo>
                  <a:lnTo>
                    <a:pt x="180" y="398"/>
                  </a:lnTo>
                  <a:lnTo>
                    <a:pt x="178" y="380"/>
                  </a:lnTo>
                  <a:lnTo>
                    <a:pt x="170" y="376"/>
                  </a:lnTo>
                  <a:lnTo>
                    <a:pt x="158" y="374"/>
                  </a:lnTo>
                  <a:lnTo>
                    <a:pt x="160" y="368"/>
                  </a:lnTo>
                  <a:lnTo>
                    <a:pt x="152" y="368"/>
                  </a:lnTo>
                  <a:lnTo>
                    <a:pt x="152" y="364"/>
                  </a:lnTo>
                  <a:lnTo>
                    <a:pt x="150" y="360"/>
                  </a:lnTo>
                  <a:lnTo>
                    <a:pt x="144" y="350"/>
                  </a:lnTo>
                  <a:lnTo>
                    <a:pt x="158" y="358"/>
                  </a:lnTo>
                  <a:lnTo>
                    <a:pt x="160" y="358"/>
                  </a:lnTo>
                  <a:lnTo>
                    <a:pt x="160" y="356"/>
                  </a:lnTo>
                  <a:lnTo>
                    <a:pt x="162" y="356"/>
                  </a:lnTo>
                  <a:lnTo>
                    <a:pt x="166" y="360"/>
                  </a:lnTo>
                  <a:lnTo>
                    <a:pt x="168" y="366"/>
                  </a:lnTo>
                  <a:lnTo>
                    <a:pt x="170" y="362"/>
                  </a:lnTo>
                  <a:lnTo>
                    <a:pt x="172" y="360"/>
                  </a:lnTo>
                  <a:lnTo>
                    <a:pt x="174" y="360"/>
                  </a:lnTo>
                  <a:lnTo>
                    <a:pt x="174" y="366"/>
                  </a:lnTo>
                  <a:lnTo>
                    <a:pt x="196" y="372"/>
                  </a:lnTo>
                  <a:lnTo>
                    <a:pt x="210" y="376"/>
                  </a:lnTo>
                  <a:lnTo>
                    <a:pt x="220" y="376"/>
                  </a:lnTo>
                  <a:lnTo>
                    <a:pt x="232" y="368"/>
                  </a:lnTo>
                  <a:lnTo>
                    <a:pt x="236" y="364"/>
                  </a:lnTo>
                  <a:lnTo>
                    <a:pt x="242" y="360"/>
                  </a:lnTo>
                  <a:lnTo>
                    <a:pt x="244" y="352"/>
                  </a:lnTo>
                  <a:lnTo>
                    <a:pt x="244" y="348"/>
                  </a:lnTo>
                  <a:lnTo>
                    <a:pt x="242" y="344"/>
                  </a:lnTo>
                  <a:lnTo>
                    <a:pt x="238" y="344"/>
                  </a:lnTo>
                  <a:lnTo>
                    <a:pt x="238" y="340"/>
                  </a:lnTo>
                  <a:lnTo>
                    <a:pt x="232" y="338"/>
                  </a:lnTo>
                  <a:lnTo>
                    <a:pt x="226" y="336"/>
                  </a:lnTo>
                  <a:lnTo>
                    <a:pt x="226" y="332"/>
                  </a:lnTo>
                  <a:lnTo>
                    <a:pt x="224" y="332"/>
                  </a:lnTo>
                  <a:lnTo>
                    <a:pt x="220" y="332"/>
                  </a:lnTo>
                  <a:lnTo>
                    <a:pt x="220" y="328"/>
                  </a:lnTo>
                  <a:lnTo>
                    <a:pt x="206" y="320"/>
                  </a:lnTo>
                  <a:lnTo>
                    <a:pt x="192" y="314"/>
                  </a:lnTo>
                  <a:lnTo>
                    <a:pt x="188" y="314"/>
                  </a:lnTo>
                  <a:lnTo>
                    <a:pt x="184" y="314"/>
                  </a:lnTo>
                  <a:lnTo>
                    <a:pt x="180" y="310"/>
                  </a:lnTo>
                  <a:lnTo>
                    <a:pt x="178" y="310"/>
                  </a:lnTo>
                  <a:lnTo>
                    <a:pt x="174" y="310"/>
                  </a:lnTo>
                  <a:lnTo>
                    <a:pt x="172" y="306"/>
                  </a:lnTo>
                  <a:lnTo>
                    <a:pt x="158" y="304"/>
                  </a:lnTo>
                  <a:lnTo>
                    <a:pt x="146" y="302"/>
                  </a:lnTo>
                  <a:lnTo>
                    <a:pt x="146" y="298"/>
                  </a:lnTo>
                  <a:lnTo>
                    <a:pt x="152" y="298"/>
                  </a:lnTo>
                  <a:lnTo>
                    <a:pt x="152" y="296"/>
                  </a:lnTo>
                  <a:lnTo>
                    <a:pt x="144" y="294"/>
                  </a:lnTo>
                  <a:lnTo>
                    <a:pt x="142" y="294"/>
                  </a:lnTo>
                  <a:lnTo>
                    <a:pt x="136" y="294"/>
                  </a:lnTo>
                  <a:lnTo>
                    <a:pt x="132" y="292"/>
                  </a:lnTo>
                  <a:lnTo>
                    <a:pt x="130" y="294"/>
                  </a:lnTo>
                  <a:lnTo>
                    <a:pt x="128" y="298"/>
                  </a:lnTo>
                  <a:lnTo>
                    <a:pt x="124" y="300"/>
                  </a:lnTo>
                  <a:lnTo>
                    <a:pt x="122" y="300"/>
                  </a:lnTo>
                  <a:lnTo>
                    <a:pt x="122" y="302"/>
                  </a:lnTo>
                  <a:lnTo>
                    <a:pt x="122" y="308"/>
                  </a:lnTo>
                  <a:lnTo>
                    <a:pt x="120" y="312"/>
                  </a:lnTo>
                  <a:lnTo>
                    <a:pt x="118" y="312"/>
                  </a:lnTo>
                  <a:lnTo>
                    <a:pt x="118" y="310"/>
                  </a:lnTo>
                  <a:lnTo>
                    <a:pt x="118" y="308"/>
                  </a:lnTo>
                  <a:lnTo>
                    <a:pt x="114" y="312"/>
                  </a:lnTo>
                  <a:lnTo>
                    <a:pt x="112" y="318"/>
                  </a:lnTo>
                  <a:lnTo>
                    <a:pt x="112" y="324"/>
                  </a:lnTo>
                  <a:lnTo>
                    <a:pt x="114" y="326"/>
                  </a:lnTo>
                  <a:lnTo>
                    <a:pt x="116" y="328"/>
                  </a:lnTo>
                  <a:lnTo>
                    <a:pt x="118" y="328"/>
                  </a:lnTo>
                  <a:lnTo>
                    <a:pt x="120" y="332"/>
                  </a:lnTo>
                  <a:lnTo>
                    <a:pt x="120" y="334"/>
                  </a:lnTo>
                  <a:lnTo>
                    <a:pt x="120" y="336"/>
                  </a:lnTo>
                  <a:lnTo>
                    <a:pt x="116" y="342"/>
                  </a:lnTo>
                  <a:lnTo>
                    <a:pt x="114" y="348"/>
                  </a:lnTo>
                  <a:lnTo>
                    <a:pt x="120" y="370"/>
                  </a:lnTo>
                  <a:lnTo>
                    <a:pt x="120" y="372"/>
                  </a:lnTo>
                  <a:lnTo>
                    <a:pt x="120" y="378"/>
                  </a:lnTo>
                  <a:lnTo>
                    <a:pt x="122" y="380"/>
                  </a:lnTo>
                  <a:lnTo>
                    <a:pt x="122" y="384"/>
                  </a:lnTo>
                  <a:lnTo>
                    <a:pt x="120" y="386"/>
                  </a:lnTo>
                  <a:lnTo>
                    <a:pt x="120" y="390"/>
                  </a:lnTo>
                  <a:lnTo>
                    <a:pt x="122" y="398"/>
                  </a:lnTo>
                  <a:lnTo>
                    <a:pt x="122" y="400"/>
                  </a:lnTo>
                  <a:lnTo>
                    <a:pt x="126" y="404"/>
                  </a:lnTo>
                  <a:lnTo>
                    <a:pt x="128" y="406"/>
                  </a:lnTo>
                  <a:lnTo>
                    <a:pt x="128" y="410"/>
                  </a:lnTo>
                  <a:lnTo>
                    <a:pt x="130" y="414"/>
                  </a:lnTo>
                  <a:lnTo>
                    <a:pt x="132" y="416"/>
                  </a:lnTo>
                  <a:lnTo>
                    <a:pt x="130" y="418"/>
                  </a:lnTo>
                  <a:lnTo>
                    <a:pt x="128" y="420"/>
                  </a:lnTo>
                  <a:lnTo>
                    <a:pt x="128" y="424"/>
                  </a:lnTo>
                  <a:lnTo>
                    <a:pt x="128" y="428"/>
                  </a:lnTo>
                  <a:lnTo>
                    <a:pt x="130" y="432"/>
                  </a:lnTo>
                  <a:lnTo>
                    <a:pt x="134" y="434"/>
                  </a:lnTo>
                  <a:lnTo>
                    <a:pt x="136" y="434"/>
                  </a:lnTo>
                  <a:lnTo>
                    <a:pt x="136" y="436"/>
                  </a:lnTo>
                  <a:lnTo>
                    <a:pt x="138" y="440"/>
                  </a:lnTo>
                  <a:lnTo>
                    <a:pt x="138" y="444"/>
                  </a:lnTo>
                  <a:lnTo>
                    <a:pt x="132" y="450"/>
                  </a:lnTo>
                  <a:lnTo>
                    <a:pt x="118" y="458"/>
                  </a:lnTo>
                  <a:lnTo>
                    <a:pt x="100" y="470"/>
                  </a:lnTo>
                  <a:lnTo>
                    <a:pt x="90" y="478"/>
                  </a:lnTo>
                  <a:lnTo>
                    <a:pt x="92" y="478"/>
                  </a:lnTo>
                  <a:lnTo>
                    <a:pt x="100" y="476"/>
                  </a:lnTo>
                  <a:lnTo>
                    <a:pt x="100" y="478"/>
                  </a:lnTo>
                  <a:lnTo>
                    <a:pt x="98" y="480"/>
                  </a:lnTo>
                  <a:lnTo>
                    <a:pt x="104" y="486"/>
                  </a:lnTo>
                  <a:lnTo>
                    <a:pt x="110" y="490"/>
                  </a:lnTo>
                  <a:lnTo>
                    <a:pt x="112" y="488"/>
                  </a:lnTo>
                  <a:lnTo>
                    <a:pt x="118" y="488"/>
                  </a:lnTo>
                  <a:lnTo>
                    <a:pt x="122" y="492"/>
                  </a:lnTo>
                  <a:lnTo>
                    <a:pt x="124" y="492"/>
                  </a:lnTo>
                  <a:lnTo>
                    <a:pt x="126" y="492"/>
                  </a:lnTo>
                  <a:lnTo>
                    <a:pt x="112" y="494"/>
                  </a:lnTo>
                  <a:lnTo>
                    <a:pt x="110" y="498"/>
                  </a:lnTo>
                  <a:lnTo>
                    <a:pt x="104" y="498"/>
                  </a:lnTo>
                  <a:lnTo>
                    <a:pt x="98" y="496"/>
                  </a:lnTo>
                  <a:lnTo>
                    <a:pt x="98" y="502"/>
                  </a:lnTo>
                  <a:lnTo>
                    <a:pt x="100" y="502"/>
                  </a:lnTo>
                  <a:lnTo>
                    <a:pt x="100" y="506"/>
                  </a:lnTo>
                  <a:lnTo>
                    <a:pt x="100" y="510"/>
                  </a:lnTo>
                  <a:lnTo>
                    <a:pt x="98" y="510"/>
                  </a:lnTo>
                  <a:lnTo>
                    <a:pt x="96" y="514"/>
                  </a:lnTo>
                  <a:lnTo>
                    <a:pt x="96" y="524"/>
                  </a:lnTo>
                  <a:lnTo>
                    <a:pt x="94" y="526"/>
                  </a:lnTo>
                  <a:lnTo>
                    <a:pt x="94" y="530"/>
                  </a:lnTo>
                  <a:lnTo>
                    <a:pt x="92" y="528"/>
                  </a:lnTo>
                  <a:lnTo>
                    <a:pt x="90" y="530"/>
                  </a:lnTo>
                  <a:lnTo>
                    <a:pt x="88" y="532"/>
                  </a:lnTo>
                  <a:lnTo>
                    <a:pt x="86" y="536"/>
                  </a:lnTo>
                  <a:lnTo>
                    <a:pt x="86" y="538"/>
                  </a:lnTo>
                  <a:lnTo>
                    <a:pt x="88" y="542"/>
                  </a:lnTo>
                  <a:lnTo>
                    <a:pt x="88" y="544"/>
                  </a:lnTo>
                  <a:lnTo>
                    <a:pt x="90" y="544"/>
                  </a:lnTo>
                  <a:lnTo>
                    <a:pt x="94" y="542"/>
                  </a:lnTo>
                  <a:lnTo>
                    <a:pt x="94" y="552"/>
                  </a:lnTo>
                  <a:lnTo>
                    <a:pt x="96" y="552"/>
                  </a:lnTo>
                  <a:lnTo>
                    <a:pt x="98" y="554"/>
                  </a:lnTo>
                  <a:lnTo>
                    <a:pt x="100" y="554"/>
                  </a:lnTo>
                  <a:lnTo>
                    <a:pt x="102" y="560"/>
                  </a:lnTo>
                  <a:lnTo>
                    <a:pt x="104" y="564"/>
                  </a:lnTo>
                  <a:lnTo>
                    <a:pt x="106" y="566"/>
                  </a:lnTo>
                  <a:lnTo>
                    <a:pt x="106" y="568"/>
                  </a:lnTo>
                  <a:lnTo>
                    <a:pt x="108" y="568"/>
                  </a:lnTo>
                  <a:lnTo>
                    <a:pt x="110" y="566"/>
                  </a:lnTo>
                  <a:lnTo>
                    <a:pt x="112" y="566"/>
                  </a:lnTo>
                  <a:lnTo>
                    <a:pt x="118" y="568"/>
                  </a:lnTo>
                  <a:lnTo>
                    <a:pt x="122" y="568"/>
                  </a:lnTo>
                  <a:lnTo>
                    <a:pt x="124" y="572"/>
                  </a:lnTo>
                  <a:lnTo>
                    <a:pt x="124" y="574"/>
                  </a:lnTo>
                  <a:lnTo>
                    <a:pt x="126" y="574"/>
                  </a:lnTo>
                  <a:lnTo>
                    <a:pt x="128" y="576"/>
                  </a:lnTo>
                  <a:lnTo>
                    <a:pt x="128" y="578"/>
                  </a:lnTo>
                  <a:lnTo>
                    <a:pt x="130" y="582"/>
                  </a:lnTo>
                  <a:lnTo>
                    <a:pt x="130" y="588"/>
                  </a:lnTo>
                  <a:lnTo>
                    <a:pt x="130" y="592"/>
                  </a:lnTo>
                  <a:lnTo>
                    <a:pt x="132" y="596"/>
                  </a:lnTo>
                  <a:lnTo>
                    <a:pt x="136" y="600"/>
                  </a:lnTo>
                  <a:lnTo>
                    <a:pt x="140" y="602"/>
                  </a:lnTo>
                  <a:lnTo>
                    <a:pt x="142" y="608"/>
                  </a:lnTo>
                  <a:lnTo>
                    <a:pt x="142" y="610"/>
                  </a:lnTo>
                  <a:lnTo>
                    <a:pt x="140" y="612"/>
                  </a:lnTo>
                  <a:lnTo>
                    <a:pt x="138" y="612"/>
                  </a:lnTo>
                  <a:lnTo>
                    <a:pt x="136" y="610"/>
                  </a:lnTo>
                  <a:lnTo>
                    <a:pt x="134" y="610"/>
                  </a:lnTo>
                  <a:lnTo>
                    <a:pt x="132" y="612"/>
                  </a:lnTo>
                  <a:lnTo>
                    <a:pt x="132" y="614"/>
                  </a:lnTo>
                  <a:lnTo>
                    <a:pt x="134" y="616"/>
                  </a:lnTo>
                  <a:lnTo>
                    <a:pt x="136" y="618"/>
                  </a:lnTo>
                  <a:lnTo>
                    <a:pt x="136" y="632"/>
                  </a:lnTo>
                  <a:lnTo>
                    <a:pt x="138" y="636"/>
                  </a:lnTo>
                  <a:lnTo>
                    <a:pt x="140" y="636"/>
                  </a:lnTo>
                  <a:lnTo>
                    <a:pt x="144" y="634"/>
                  </a:lnTo>
                  <a:lnTo>
                    <a:pt x="144" y="632"/>
                  </a:lnTo>
                  <a:lnTo>
                    <a:pt x="146" y="632"/>
                  </a:lnTo>
                  <a:lnTo>
                    <a:pt x="148" y="634"/>
                  </a:lnTo>
                  <a:lnTo>
                    <a:pt x="152" y="634"/>
                  </a:lnTo>
                  <a:lnTo>
                    <a:pt x="154" y="634"/>
                  </a:lnTo>
                  <a:lnTo>
                    <a:pt x="154" y="636"/>
                  </a:lnTo>
                  <a:lnTo>
                    <a:pt x="154" y="638"/>
                  </a:lnTo>
                  <a:lnTo>
                    <a:pt x="156" y="640"/>
                  </a:lnTo>
                  <a:lnTo>
                    <a:pt x="156" y="644"/>
                  </a:lnTo>
                  <a:lnTo>
                    <a:pt x="158" y="646"/>
                  </a:lnTo>
                  <a:lnTo>
                    <a:pt x="158" y="648"/>
                  </a:lnTo>
                  <a:lnTo>
                    <a:pt x="160" y="650"/>
                  </a:lnTo>
                  <a:lnTo>
                    <a:pt x="160" y="652"/>
                  </a:lnTo>
                  <a:lnTo>
                    <a:pt x="166" y="650"/>
                  </a:lnTo>
                  <a:lnTo>
                    <a:pt x="168" y="652"/>
                  </a:lnTo>
                  <a:lnTo>
                    <a:pt x="172" y="654"/>
                  </a:lnTo>
                  <a:lnTo>
                    <a:pt x="176" y="652"/>
                  </a:lnTo>
                  <a:lnTo>
                    <a:pt x="178" y="654"/>
                  </a:lnTo>
                  <a:lnTo>
                    <a:pt x="180" y="658"/>
                  </a:lnTo>
                  <a:lnTo>
                    <a:pt x="184" y="660"/>
                  </a:lnTo>
                  <a:lnTo>
                    <a:pt x="186" y="660"/>
                  </a:lnTo>
                  <a:lnTo>
                    <a:pt x="186" y="662"/>
                  </a:lnTo>
                  <a:lnTo>
                    <a:pt x="188" y="664"/>
                  </a:lnTo>
                  <a:lnTo>
                    <a:pt x="188" y="668"/>
                  </a:lnTo>
                  <a:lnTo>
                    <a:pt x="194" y="666"/>
                  </a:lnTo>
                  <a:lnTo>
                    <a:pt x="200" y="664"/>
                  </a:lnTo>
                  <a:lnTo>
                    <a:pt x="202" y="664"/>
                  </a:lnTo>
                  <a:lnTo>
                    <a:pt x="206" y="664"/>
                  </a:lnTo>
                  <a:lnTo>
                    <a:pt x="206" y="666"/>
                  </a:lnTo>
                  <a:lnTo>
                    <a:pt x="208" y="668"/>
                  </a:lnTo>
                  <a:lnTo>
                    <a:pt x="212" y="668"/>
                  </a:lnTo>
                  <a:lnTo>
                    <a:pt x="214" y="670"/>
                  </a:lnTo>
                  <a:lnTo>
                    <a:pt x="220" y="674"/>
                  </a:lnTo>
                  <a:lnTo>
                    <a:pt x="222" y="676"/>
                  </a:lnTo>
                  <a:lnTo>
                    <a:pt x="222" y="678"/>
                  </a:lnTo>
                  <a:lnTo>
                    <a:pt x="220" y="680"/>
                  </a:lnTo>
                  <a:lnTo>
                    <a:pt x="224" y="682"/>
                  </a:lnTo>
                  <a:lnTo>
                    <a:pt x="224" y="684"/>
                  </a:lnTo>
                  <a:lnTo>
                    <a:pt x="220" y="686"/>
                  </a:lnTo>
                  <a:lnTo>
                    <a:pt x="220" y="688"/>
                  </a:lnTo>
                  <a:lnTo>
                    <a:pt x="222" y="690"/>
                  </a:lnTo>
                  <a:lnTo>
                    <a:pt x="222" y="692"/>
                  </a:lnTo>
                  <a:lnTo>
                    <a:pt x="222" y="694"/>
                  </a:lnTo>
                  <a:lnTo>
                    <a:pt x="224" y="696"/>
                  </a:lnTo>
                  <a:lnTo>
                    <a:pt x="224" y="698"/>
                  </a:lnTo>
                  <a:lnTo>
                    <a:pt x="222" y="702"/>
                  </a:lnTo>
                  <a:lnTo>
                    <a:pt x="224" y="706"/>
                  </a:lnTo>
                  <a:lnTo>
                    <a:pt x="226" y="710"/>
                  </a:lnTo>
                  <a:lnTo>
                    <a:pt x="226" y="712"/>
                  </a:lnTo>
                  <a:lnTo>
                    <a:pt x="224" y="714"/>
                  </a:lnTo>
                  <a:lnTo>
                    <a:pt x="222" y="714"/>
                  </a:lnTo>
                  <a:lnTo>
                    <a:pt x="216" y="714"/>
                  </a:lnTo>
                  <a:lnTo>
                    <a:pt x="212" y="718"/>
                  </a:lnTo>
                  <a:lnTo>
                    <a:pt x="210" y="726"/>
                  </a:lnTo>
                  <a:lnTo>
                    <a:pt x="212" y="726"/>
                  </a:lnTo>
                  <a:lnTo>
                    <a:pt x="224" y="722"/>
                  </a:lnTo>
                  <a:lnTo>
                    <a:pt x="224" y="726"/>
                  </a:lnTo>
                  <a:lnTo>
                    <a:pt x="212" y="732"/>
                  </a:lnTo>
                  <a:lnTo>
                    <a:pt x="212" y="736"/>
                  </a:lnTo>
                  <a:lnTo>
                    <a:pt x="208" y="736"/>
                  </a:lnTo>
                  <a:lnTo>
                    <a:pt x="204" y="736"/>
                  </a:lnTo>
                  <a:lnTo>
                    <a:pt x="204" y="740"/>
                  </a:lnTo>
                  <a:lnTo>
                    <a:pt x="210" y="742"/>
                  </a:lnTo>
                  <a:lnTo>
                    <a:pt x="208" y="746"/>
                  </a:lnTo>
                  <a:lnTo>
                    <a:pt x="208" y="748"/>
                  </a:lnTo>
                  <a:lnTo>
                    <a:pt x="206" y="748"/>
                  </a:lnTo>
                  <a:lnTo>
                    <a:pt x="206" y="752"/>
                  </a:lnTo>
                  <a:lnTo>
                    <a:pt x="192" y="754"/>
                  </a:lnTo>
                  <a:lnTo>
                    <a:pt x="196" y="756"/>
                  </a:lnTo>
                  <a:lnTo>
                    <a:pt x="202" y="758"/>
                  </a:lnTo>
                  <a:lnTo>
                    <a:pt x="202" y="762"/>
                  </a:lnTo>
                  <a:lnTo>
                    <a:pt x="204" y="764"/>
                  </a:lnTo>
                  <a:lnTo>
                    <a:pt x="206" y="764"/>
                  </a:lnTo>
                  <a:lnTo>
                    <a:pt x="208" y="764"/>
                  </a:lnTo>
                  <a:lnTo>
                    <a:pt x="208" y="768"/>
                  </a:lnTo>
                  <a:lnTo>
                    <a:pt x="210" y="770"/>
                  </a:lnTo>
                  <a:lnTo>
                    <a:pt x="214" y="770"/>
                  </a:lnTo>
                  <a:lnTo>
                    <a:pt x="218" y="776"/>
                  </a:lnTo>
                  <a:lnTo>
                    <a:pt x="224" y="784"/>
                  </a:lnTo>
                  <a:lnTo>
                    <a:pt x="230" y="786"/>
                  </a:lnTo>
                  <a:lnTo>
                    <a:pt x="232" y="782"/>
                  </a:lnTo>
                  <a:lnTo>
                    <a:pt x="234" y="778"/>
                  </a:lnTo>
                  <a:lnTo>
                    <a:pt x="238" y="776"/>
                  </a:lnTo>
                  <a:lnTo>
                    <a:pt x="240" y="776"/>
                  </a:lnTo>
                  <a:lnTo>
                    <a:pt x="242" y="776"/>
                  </a:lnTo>
                  <a:lnTo>
                    <a:pt x="244" y="778"/>
                  </a:lnTo>
                  <a:lnTo>
                    <a:pt x="250" y="780"/>
                  </a:lnTo>
                  <a:lnTo>
                    <a:pt x="258" y="780"/>
                  </a:lnTo>
                  <a:lnTo>
                    <a:pt x="262" y="780"/>
                  </a:lnTo>
                  <a:lnTo>
                    <a:pt x="264" y="784"/>
                  </a:lnTo>
                  <a:lnTo>
                    <a:pt x="268" y="788"/>
                  </a:lnTo>
                  <a:lnTo>
                    <a:pt x="270" y="790"/>
                  </a:lnTo>
                  <a:lnTo>
                    <a:pt x="274" y="790"/>
                  </a:lnTo>
                  <a:lnTo>
                    <a:pt x="278" y="788"/>
                  </a:lnTo>
                  <a:lnTo>
                    <a:pt x="280" y="788"/>
                  </a:lnTo>
                  <a:lnTo>
                    <a:pt x="282" y="790"/>
                  </a:lnTo>
                  <a:lnTo>
                    <a:pt x="284" y="790"/>
                  </a:lnTo>
                  <a:lnTo>
                    <a:pt x="288" y="788"/>
                  </a:lnTo>
                  <a:lnTo>
                    <a:pt x="290" y="786"/>
                  </a:lnTo>
                  <a:lnTo>
                    <a:pt x="292" y="788"/>
                  </a:lnTo>
                  <a:lnTo>
                    <a:pt x="294" y="792"/>
                  </a:lnTo>
                  <a:lnTo>
                    <a:pt x="298" y="794"/>
                  </a:lnTo>
                  <a:lnTo>
                    <a:pt x="302" y="796"/>
                  </a:lnTo>
                  <a:lnTo>
                    <a:pt x="302" y="798"/>
                  </a:lnTo>
                  <a:lnTo>
                    <a:pt x="302" y="800"/>
                  </a:lnTo>
                  <a:lnTo>
                    <a:pt x="302" y="802"/>
                  </a:lnTo>
                  <a:lnTo>
                    <a:pt x="306" y="802"/>
                  </a:lnTo>
                  <a:lnTo>
                    <a:pt x="308" y="802"/>
                  </a:lnTo>
                  <a:lnTo>
                    <a:pt x="312" y="806"/>
                  </a:lnTo>
                  <a:lnTo>
                    <a:pt x="318" y="812"/>
                  </a:lnTo>
                  <a:lnTo>
                    <a:pt x="320" y="814"/>
                  </a:lnTo>
                  <a:lnTo>
                    <a:pt x="322" y="816"/>
                  </a:lnTo>
                  <a:lnTo>
                    <a:pt x="324" y="820"/>
                  </a:lnTo>
                  <a:lnTo>
                    <a:pt x="326" y="822"/>
                  </a:lnTo>
                  <a:lnTo>
                    <a:pt x="330" y="818"/>
                  </a:lnTo>
                  <a:lnTo>
                    <a:pt x="334" y="814"/>
                  </a:lnTo>
                  <a:lnTo>
                    <a:pt x="330" y="810"/>
                  </a:lnTo>
                  <a:lnTo>
                    <a:pt x="326" y="806"/>
                  </a:lnTo>
                  <a:lnTo>
                    <a:pt x="324" y="800"/>
                  </a:lnTo>
                  <a:lnTo>
                    <a:pt x="318" y="796"/>
                  </a:lnTo>
                  <a:lnTo>
                    <a:pt x="318" y="792"/>
                  </a:lnTo>
                  <a:lnTo>
                    <a:pt x="318" y="788"/>
                  </a:lnTo>
                  <a:lnTo>
                    <a:pt x="318" y="782"/>
                  </a:lnTo>
                  <a:lnTo>
                    <a:pt x="314" y="782"/>
                  </a:lnTo>
                  <a:lnTo>
                    <a:pt x="314" y="780"/>
                  </a:lnTo>
                  <a:lnTo>
                    <a:pt x="316" y="776"/>
                  </a:lnTo>
                  <a:lnTo>
                    <a:pt x="318" y="774"/>
                  </a:lnTo>
                  <a:lnTo>
                    <a:pt x="316" y="772"/>
                  </a:lnTo>
                  <a:lnTo>
                    <a:pt x="314" y="770"/>
                  </a:lnTo>
                  <a:lnTo>
                    <a:pt x="312" y="772"/>
                  </a:lnTo>
                  <a:lnTo>
                    <a:pt x="306" y="772"/>
                  </a:lnTo>
                  <a:lnTo>
                    <a:pt x="314" y="740"/>
                  </a:lnTo>
                  <a:lnTo>
                    <a:pt x="318" y="740"/>
                  </a:lnTo>
                  <a:lnTo>
                    <a:pt x="320" y="736"/>
                  </a:lnTo>
                  <a:lnTo>
                    <a:pt x="322" y="740"/>
                  </a:lnTo>
                  <a:lnTo>
                    <a:pt x="326" y="742"/>
                  </a:lnTo>
                  <a:lnTo>
                    <a:pt x="324" y="742"/>
                  </a:lnTo>
                  <a:lnTo>
                    <a:pt x="326" y="744"/>
                  </a:lnTo>
                  <a:lnTo>
                    <a:pt x="328" y="742"/>
                  </a:lnTo>
                  <a:lnTo>
                    <a:pt x="328" y="740"/>
                  </a:lnTo>
                  <a:lnTo>
                    <a:pt x="328" y="738"/>
                  </a:lnTo>
                  <a:lnTo>
                    <a:pt x="330" y="736"/>
                  </a:lnTo>
                  <a:lnTo>
                    <a:pt x="330" y="734"/>
                  </a:lnTo>
                  <a:lnTo>
                    <a:pt x="328" y="730"/>
                  </a:lnTo>
                  <a:lnTo>
                    <a:pt x="328" y="728"/>
                  </a:lnTo>
                  <a:lnTo>
                    <a:pt x="328" y="726"/>
                  </a:lnTo>
                  <a:lnTo>
                    <a:pt x="328" y="722"/>
                  </a:lnTo>
                  <a:lnTo>
                    <a:pt x="328" y="720"/>
                  </a:lnTo>
                  <a:lnTo>
                    <a:pt x="324" y="710"/>
                  </a:lnTo>
                  <a:lnTo>
                    <a:pt x="320" y="712"/>
                  </a:lnTo>
                  <a:lnTo>
                    <a:pt x="318" y="712"/>
                  </a:lnTo>
                  <a:lnTo>
                    <a:pt x="318" y="710"/>
                  </a:lnTo>
                  <a:lnTo>
                    <a:pt x="318" y="706"/>
                  </a:lnTo>
                  <a:lnTo>
                    <a:pt x="318" y="702"/>
                  </a:lnTo>
                  <a:lnTo>
                    <a:pt x="316" y="702"/>
                  </a:lnTo>
                  <a:lnTo>
                    <a:pt x="312" y="698"/>
                  </a:lnTo>
                  <a:lnTo>
                    <a:pt x="310" y="698"/>
                  </a:lnTo>
                  <a:lnTo>
                    <a:pt x="312" y="696"/>
                  </a:lnTo>
                  <a:lnTo>
                    <a:pt x="316" y="688"/>
                  </a:lnTo>
                  <a:lnTo>
                    <a:pt x="318" y="686"/>
                  </a:lnTo>
                  <a:lnTo>
                    <a:pt x="318" y="684"/>
                  </a:lnTo>
                  <a:lnTo>
                    <a:pt x="316" y="682"/>
                  </a:lnTo>
                  <a:lnTo>
                    <a:pt x="316" y="680"/>
                  </a:lnTo>
                  <a:lnTo>
                    <a:pt x="318" y="678"/>
                  </a:lnTo>
                  <a:lnTo>
                    <a:pt x="320" y="674"/>
                  </a:lnTo>
                  <a:lnTo>
                    <a:pt x="318" y="670"/>
                  </a:lnTo>
                  <a:lnTo>
                    <a:pt x="320" y="670"/>
                  </a:lnTo>
                  <a:lnTo>
                    <a:pt x="320" y="668"/>
                  </a:lnTo>
                  <a:lnTo>
                    <a:pt x="322" y="668"/>
                  </a:lnTo>
                  <a:lnTo>
                    <a:pt x="324" y="666"/>
                  </a:lnTo>
                  <a:lnTo>
                    <a:pt x="326" y="664"/>
                  </a:lnTo>
                  <a:lnTo>
                    <a:pt x="328" y="662"/>
                  </a:lnTo>
                  <a:lnTo>
                    <a:pt x="330" y="662"/>
                  </a:lnTo>
                  <a:lnTo>
                    <a:pt x="334" y="672"/>
                  </a:lnTo>
                  <a:lnTo>
                    <a:pt x="342" y="666"/>
                  </a:lnTo>
                  <a:lnTo>
                    <a:pt x="338" y="664"/>
                  </a:lnTo>
                  <a:lnTo>
                    <a:pt x="336" y="662"/>
                  </a:lnTo>
                  <a:lnTo>
                    <a:pt x="336" y="660"/>
                  </a:lnTo>
                  <a:lnTo>
                    <a:pt x="336" y="656"/>
                  </a:lnTo>
                  <a:lnTo>
                    <a:pt x="338" y="654"/>
                  </a:lnTo>
                  <a:lnTo>
                    <a:pt x="338" y="652"/>
                  </a:lnTo>
                  <a:lnTo>
                    <a:pt x="342" y="650"/>
                  </a:lnTo>
                  <a:lnTo>
                    <a:pt x="342" y="648"/>
                  </a:lnTo>
                  <a:lnTo>
                    <a:pt x="344" y="648"/>
                  </a:lnTo>
                  <a:lnTo>
                    <a:pt x="350" y="650"/>
                  </a:lnTo>
                  <a:lnTo>
                    <a:pt x="352" y="648"/>
                  </a:lnTo>
                  <a:lnTo>
                    <a:pt x="362" y="640"/>
                  </a:lnTo>
                  <a:lnTo>
                    <a:pt x="362" y="638"/>
                  </a:lnTo>
                  <a:lnTo>
                    <a:pt x="360" y="636"/>
                  </a:lnTo>
                  <a:lnTo>
                    <a:pt x="370" y="634"/>
                  </a:lnTo>
                  <a:lnTo>
                    <a:pt x="370" y="638"/>
                  </a:lnTo>
                  <a:lnTo>
                    <a:pt x="376" y="636"/>
                  </a:lnTo>
                  <a:lnTo>
                    <a:pt x="374" y="636"/>
                  </a:lnTo>
                  <a:lnTo>
                    <a:pt x="376" y="634"/>
                  </a:lnTo>
                  <a:lnTo>
                    <a:pt x="378" y="634"/>
                  </a:lnTo>
                  <a:lnTo>
                    <a:pt x="382" y="638"/>
                  </a:lnTo>
                  <a:lnTo>
                    <a:pt x="382" y="640"/>
                  </a:lnTo>
                  <a:lnTo>
                    <a:pt x="382" y="642"/>
                  </a:lnTo>
                  <a:lnTo>
                    <a:pt x="384" y="642"/>
                  </a:lnTo>
                  <a:lnTo>
                    <a:pt x="388" y="644"/>
                  </a:lnTo>
                  <a:lnTo>
                    <a:pt x="392" y="646"/>
                  </a:lnTo>
                  <a:lnTo>
                    <a:pt x="394" y="648"/>
                  </a:lnTo>
                  <a:lnTo>
                    <a:pt x="396" y="652"/>
                  </a:lnTo>
                  <a:lnTo>
                    <a:pt x="400" y="654"/>
                  </a:lnTo>
                  <a:lnTo>
                    <a:pt x="404" y="654"/>
                  </a:lnTo>
                  <a:lnTo>
                    <a:pt x="406" y="654"/>
                  </a:lnTo>
                  <a:lnTo>
                    <a:pt x="406" y="656"/>
                  </a:lnTo>
                  <a:lnTo>
                    <a:pt x="406" y="660"/>
                  </a:lnTo>
                  <a:lnTo>
                    <a:pt x="404" y="662"/>
                  </a:lnTo>
                  <a:lnTo>
                    <a:pt x="410" y="662"/>
                  </a:lnTo>
                  <a:lnTo>
                    <a:pt x="410" y="660"/>
                  </a:lnTo>
                  <a:lnTo>
                    <a:pt x="410" y="656"/>
                  </a:lnTo>
                  <a:lnTo>
                    <a:pt x="412" y="656"/>
                  </a:lnTo>
                  <a:lnTo>
                    <a:pt x="412" y="654"/>
                  </a:lnTo>
                  <a:lnTo>
                    <a:pt x="414" y="654"/>
                  </a:lnTo>
                  <a:lnTo>
                    <a:pt x="416" y="654"/>
                  </a:lnTo>
                  <a:lnTo>
                    <a:pt x="422" y="658"/>
                  </a:lnTo>
                  <a:lnTo>
                    <a:pt x="426" y="658"/>
                  </a:lnTo>
                  <a:lnTo>
                    <a:pt x="430" y="654"/>
                  </a:lnTo>
                  <a:lnTo>
                    <a:pt x="436" y="652"/>
                  </a:lnTo>
                  <a:lnTo>
                    <a:pt x="438" y="652"/>
                  </a:lnTo>
                  <a:lnTo>
                    <a:pt x="440" y="652"/>
                  </a:lnTo>
                  <a:lnTo>
                    <a:pt x="440" y="654"/>
                  </a:lnTo>
                  <a:lnTo>
                    <a:pt x="442" y="654"/>
                  </a:lnTo>
                  <a:lnTo>
                    <a:pt x="444" y="654"/>
                  </a:lnTo>
                  <a:lnTo>
                    <a:pt x="446" y="654"/>
                  </a:lnTo>
                  <a:lnTo>
                    <a:pt x="450" y="658"/>
                  </a:lnTo>
                  <a:lnTo>
                    <a:pt x="452" y="662"/>
                  </a:lnTo>
                  <a:lnTo>
                    <a:pt x="460" y="664"/>
                  </a:lnTo>
                  <a:lnTo>
                    <a:pt x="464" y="664"/>
                  </a:lnTo>
                  <a:lnTo>
                    <a:pt x="468" y="662"/>
                  </a:lnTo>
                  <a:lnTo>
                    <a:pt x="468" y="660"/>
                  </a:lnTo>
                  <a:lnTo>
                    <a:pt x="470" y="656"/>
                  </a:lnTo>
                  <a:lnTo>
                    <a:pt x="466" y="654"/>
                  </a:lnTo>
                  <a:lnTo>
                    <a:pt x="462" y="652"/>
                  </a:lnTo>
                  <a:lnTo>
                    <a:pt x="458" y="648"/>
                  </a:lnTo>
                  <a:lnTo>
                    <a:pt x="462" y="640"/>
                  </a:lnTo>
                  <a:lnTo>
                    <a:pt x="462" y="638"/>
                  </a:lnTo>
                  <a:lnTo>
                    <a:pt x="456" y="630"/>
                  </a:lnTo>
                  <a:lnTo>
                    <a:pt x="456" y="624"/>
                  </a:lnTo>
                  <a:lnTo>
                    <a:pt x="458" y="620"/>
                  </a:lnTo>
                  <a:lnTo>
                    <a:pt x="458" y="614"/>
                  </a:lnTo>
                  <a:lnTo>
                    <a:pt x="464" y="608"/>
                  </a:lnTo>
                  <a:lnTo>
                    <a:pt x="464" y="602"/>
                  </a:lnTo>
                  <a:lnTo>
                    <a:pt x="464" y="598"/>
                  </a:lnTo>
                  <a:lnTo>
                    <a:pt x="468" y="596"/>
                  </a:lnTo>
                  <a:lnTo>
                    <a:pt x="474" y="598"/>
                  </a:lnTo>
                  <a:lnTo>
                    <a:pt x="482" y="600"/>
                  </a:lnTo>
                  <a:lnTo>
                    <a:pt x="486" y="602"/>
                  </a:lnTo>
                  <a:lnTo>
                    <a:pt x="496" y="600"/>
                  </a:lnTo>
                  <a:lnTo>
                    <a:pt x="504" y="598"/>
                  </a:lnTo>
                  <a:lnTo>
                    <a:pt x="516" y="598"/>
                  </a:lnTo>
                  <a:lnTo>
                    <a:pt x="526" y="594"/>
                  </a:lnTo>
                  <a:lnTo>
                    <a:pt x="530" y="594"/>
                  </a:lnTo>
                  <a:lnTo>
                    <a:pt x="542" y="588"/>
                  </a:lnTo>
                  <a:lnTo>
                    <a:pt x="550" y="586"/>
                  </a:lnTo>
                  <a:lnTo>
                    <a:pt x="554" y="586"/>
                  </a:lnTo>
                  <a:lnTo>
                    <a:pt x="556" y="588"/>
                  </a:lnTo>
                  <a:lnTo>
                    <a:pt x="560" y="590"/>
                  </a:lnTo>
                  <a:lnTo>
                    <a:pt x="560" y="592"/>
                  </a:lnTo>
                  <a:lnTo>
                    <a:pt x="560" y="598"/>
                  </a:lnTo>
                  <a:lnTo>
                    <a:pt x="564" y="600"/>
                  </a:lnTo>
                  <a:lnTo>
                    <a:pt x="568" y="606"/>
                  </a:lnTo>
                  <a:lnTo>
                    <a:pt x="572" y="602"/>
                  </a:lnTo>
                  <a:lnTo>
                    <a:pt x="578" y="598"/>
                  </a:lnTo>
                  <a:lnTo>
                    <a:pt x="586" y="602"/>
                  </a:lnTo>
                  <a:lnTo>
                    <a:pt x="586" y="604"/>
                  </a:lnTo>
                  <a:lnTo>
                    <a:pt x="590" y="602"/>
                  </a:lnTo>
                  <a:lnTo>
                    <a:pt x="592" y="602"/>
                  </a:lnTo>
                  <a:lnTo>
                    <a:pt x="594" y="604"/>
                  </a:lnTo>
                  <a:lnTo>
                    <a:pt x="596" y="608"/>
                  </a:lnTo>
                  <a:lnTo>
                    <a:pt x="594" y="608"/>
                  </a:lnTo>
                  <a:lnTo>
                    <a:pt x="604" y="608"/>
                  </a:lnTo>
                  <a:lnTo>
                    <a:pt x="614" y="604"/>
                  </a:lnTo>
                  <a:lnTo>
                    <a:pt x="626" y="600"/>
                  </a:lnTo>
                  <a:lnTo>
                    <a:pt x="634" y="596"/>
                  </a:lnTo>
                  <a:lnTo>
                    <a:pt x="644" y="594"/>
                  </a:lnTo>
                  <a:lnTo>
                    <a:pt x="646" y="596"/>
                  </a:lnTo>
                  <a:lnTo>
                    <a:pt x="644" y="602"/>
                  </a:lnTo>
                  <a:lnTo>
                    <a:pt x="652" y="616"/>
                  </a:lnTo>
                  <a:lnTo>
                    <a:pt x="660" y="634"/>
                  </a:lnTo>
                  <a:lnTo>
                    <a:pt x="666" y="648"/>
                  </a:lnTo>
                  <a:lnTo>
                    <a:pt x="670" y="652"/>
                  </a:lnTo>
                  <a:lnTo>
                    <a:pt x="674" y="656"/>
                  </a:lnTo>
                  <a:lnTo>
                    <a:pt x="680" y="654"/>
                  </a:lnTo>
                  <a:lnTo>
                    <a:pt x="684" y="652"/>
                  </a:lnTo>
                  <a:lnTo>
                    <a:pt x="698" y="652"/>
                  </a:lnTo>
                  <a:lnTo>
                    <a:pt x="700" y="654"/>
                  </a:lnTo>
                  <a:lnTo>
                    <a:pt x="704" y="658"/>
                  </a:lnTo>
                  <a:lnTo>
                    <a:pt x="708" y="662"/>
                  </a:lnTo>
                  <a:lnTo>
                    <a:pt x="710" y="670"/>
                  </a:lnTo>
                  <a:lnTo>
                    <a:pt x="712" y="678"/>
                  </a:lnTo>
                  <a:lnTo>
                    <a:pt x="714" y="682"/>
                  </a:lnTo>
                  <a:lnTo>
                    <a:pt x="720" y="684"/>
                  </a:lnTo>
                  <a:lnTo>
                    <a:pt x="728" y="682"/>
                  </a:lnTo>
                  <a:lnTo>
                    <a:pt x="742" y="676"/>
                  </a:lnTo>
                  <a:lnTo>
                    <a:pt x="752" y="674"/>
                  </a:lnTo>
                  <a:lnTo>
                    <a:pt x="756" y="676"/>
                  </a:lnTo>
                  <a:lnTo>
                    <a:pt x="760" y="680"/>
                  </a:lnTo>
                  <a:lnTo>
                    <a:pt x="764" y="686"/>
                  </a:lnTo>
                  <a:lnTo>
                    <a:pt x="766" y="688"/>
                  </a:lnTo>
                  <a:lnTo>
                    <a:pt x="774" y="690"/>
                  </a:lnTo>
                  <a:lnTo>
                    <a:pt x="778" y="686"/>
                  </a:lnTo>
                  <a:lnTo>
                    <a:pt x="784" y="686"/>
                  </a:lnTo>
                  <a:lnTo>
                    <a:pt x="788" y="682"/>
                  </a:lnTo>
                  <a:lnTo>
                    <a:pt x="792" y="680"/>
                  </a:lnTo>
                  <a:lnTo>
                    <a:pt x="792" y="676"/>
                  </a:lnTo>
                  <a:lnTo>
                    <a:pt x="794" y="672"/>
                  </a:lnTo>
                  <a:lnTo>
                    <a:pt x="798" y="670"/>
                  </a:lnTo>
                  <a:lnTo>
                    <a:pt x="804" y="666"/>
                  </a:lnTo>
                  <a:lnTo>
                    <a:pt x="812" y="664"/>
                  </a:lnTo>
                  <a:lnTo>
                    <a:pt x="816" y="662"/>
                  </a:lnTo>
                  <a:lnTo>
                    <a:pt x="824" y="660"/>
                  </a:lnTo>
                  <a:lnTo>
                    <a:pt x="830" y="662"/>
                  </a:lnTo>
                  <a:lnTo>
                    <a:pt x="832" y="666"/>
                  </a:lnTo>
                  <a:lnTo>
                    <a:pt x="838" y="662"/>
                  </a:lnTo>
                  <a:lnTo>
                    <a:pt x="848" y="666"/>
                  </a:lnTo>
                  <a:lnTo>
                    <a:pt x="854" y="670"/>
                  </a:lnTo>
                  <a:lnTo>
                    <a:pt x="860" y="672"/>
                  </a:lnTo>
                  <a:lnTo>
                    <a:pt x="868" y="672"/>
                  </a:lnTo>
                  <a:lnTo>
                    <a:pt x="878" y="670"/>
                  </a:lnTo>
                  <a:lnTo>
                    <a:pt x="888" y="672"/>
                  </a:lnTo>
                  <a:lnTo>
                    <a:pt x="890" y="668"/>
                  </a:lnTo>
                  <a:lnTo>
                    <a:pt x="890" y="660"/>
                  </a:lnTo>
                  <a:lnTo>
                    <a:pt x="886" y="656"/>
                  </a:lnTo>
                  <a:lnTo>
                    <a:pt x="882" y="652"/>
                  </a:lnTo>
                  <a:lnTo>
                    <a:pt x="884" y="646"/>
                  </a:lnTo>
                  <a:lnTo>
                    <a:pt x="886" y="642"/>
                  </a:lnTo>
                  <a:lnTo>
                    <a:pt x="888" y="638"/>
                  </a:lnTo>
                  <a:lnTo>
                    <a:pt x="892" y="632"/>
                  </a:lnTo>
                  <a:lnTo>
                    <a:pt x="896" y="620"/>
                  </a:lnTo>
                  <a:lnTo>
                    <a:pt x="910" y="576"/>
                  </a:lnTo>
                  <a:lnTo>
                    <a:pt x="928" y="518"/>
                  </a:lnTo>
                  <a:lnTo>
                    <a:pt x="944" y="450"/>
                  </a:lnTo>
                  <a:lnTo>
                    <a:pt x="962" y="380"/>
                  </a:lnTo>
                  <a:lnTo>
                    <a:pt x="976" y="316"/>
                  </a:lnTo>
                  <a:lnTo>
                    <a:pt x="984" y="268"/>
                  </a:lnTo>
                  <a:lnTo>
                    <a:pt x="984" y="250"/>
                  </a:lnTo>
                  <a:lnTo>
                    <a:pt x="984" y="240"/>
                  </a:lnTo>
                  <a:close/>
                  <a:moveTo>
                    <a:pt x="328" y="734"/>
                  </a:moveTo>
                  <a:lnTo>
                    <a:pt x="328" y="734"/>
                  </a:lnTo>
                  <a:lnTo>
                    <a:pt x="328" y="736"/>
                  </a:lnTo>
                  <a:lnTo>
                    <a:pt x="326" y="736"/>
                  </a:lnTo>
                  <a:lnTo>
                    <a:pt x="326" y="734"/>
                  </a:lnTo>
                  <a:lnTo>
                    <a:pt x="326" y="732"/>
                  </a:lnTo>
                  <a:lnTo>
                    <a:pt x="328" y="734"/>
                  </a:lnTo>
                  <a:close/>
                  <a:moveTo>
                    <a:pt x="442" y="0"/>
                  </a:moveTo>
                  <a:lnTo>
                    <a:pt x="442" y="4"/>
                  </a:lnTo>
                  <a:lnTo>
                    <a:pt x="450" y="2"/>
                  </a:lnTo>
                  <a:lnTo>
                    <a:pt x="442" y="0"/>
                  </a:lnTo>
                  <a:close/>
                  <a:moveTo>
                    <a:pt x="432" y="8"/>
                  </a:moveTo>
                  <a:lnTo>
                    <a:pt x="432" y="8"/>
                  </a:lnTo>
                  <a:lnTo>
                    <a:pt x="430" y="12"/>
                  </a:lnTo>
                  <a:lnTo>
                    <a:pt x="432" y="12"/>
                  </a:lnTo>
                  <a:lnTo>
                    <a:pt x="434" y="14"/>
                  </a:lnTo>
                  <a:lnTo>
                    <a:pt x="436" y="14"/>
                  </a:lnTo>
                  <a:lnTo>
                    <a:pt x="434" y="14"/>
                  </a:lnTo>
                  <a:lnTo>
                    <a:pt x="436" y="12"/>
                  </a:lnTo>
                  <a:lnTo>
                    <a:pt x="438" y="12"/>
                  </a:lnTo>
                  <a:lnTo>
                    <a:pt x="438" y="10"/>
                  </a:lnTo>
                  <a:lnTo>
                    <a:pt x="432" y="8"/>
                  </a:lnTo>
                  <a:close/>
                  <a:moveTo>
                    <a:pt x="420" y="12"/>
                  </a:moveTo>
                  <a:lnTo>
                    <a:pt x="420" y="16"/>
                  </a:lnTo>
                  <a:lnTo>
                    <a:pt x="414" y="18"/>
                  </a:lnTo>
                  <a:lnTo>
                    <a:pt x="412" y="18"/>
                  </a:lnTo>
                  <a:lnTo>
                    <a:pt x="412" y="20"/>
                  </a:lnTo>
                  <a:lnTo>
                    <a:pt x="414" y="20"/>
                  </a:lnTo>
                  <a:lnTo>
                    <a:pt x="412" y="22"/>
                  </a:lnTo>
                  <a:lnTo>
                    <a:pt x="414" y="22"/>
                  </a:lnTo>
                  <a:lnTo>
                    <a:pt x="424" y="18"/>
                  </a:lnTo>
                  <a:lnTo>
                    <a:pt x="426" y="16"/>
                  </a:lnTo>
                  <a:lnTo>
                    <a:pt x="424" y="14"/>
                  </a:lnTo>
                  <a:lnTo>
                    <a:pt x="420" y="12"/>
                  </a:lnTo>
                  <a:close/>
                  <a:moveTo>
                    <a:pt x="442" y="14"/>
                  </a:moveTo>
                  <a:lnTo>
                    <a:pt x="442" y="14"/>
                  </a:lnTo>
                  <a:lnTo>
                    <a:pt x="440" y="18"/>
                  </a:lnTo>
                  <a:lnTo>
                    <a:pt x="442" y="18"/>
                  </a:lnTo>
                  <a:lnTo>
                    <a:pt x="444" y="16"/>
                  </a:lnTo>
                  <a:lnTo>
                    <a:pt x="444" y="14"/>
                  </a:lnTo>
                  <a:lnTo>
                    <a:pt x="442" y="14"/>
                  </a:lnTo>
                  <a:close/>
                  <a:moveTo>
                    <a:pt x="404" y="26"/>
                  </a:moveTo>
                  <a:lnTo>
                    <a:pt x="404" y="26"/>
                  </a:lnTo>
                  <a:lnTo>
                    <a:pt x="406" y="30"/>
                  </a:lnTo>
                  <a:lnTo>
                    <a:pt x="410" y="32"/>
                  </a:lnTo>
                  <a:lnTo>
                    <a:pt x="410" y="30"/>
                  </a:lnTo>
                  <a:lnTo>
                    <a:pt x="408" y="28"/>
                  </a:lnTo>
                  <a:lnTo>
                    <a:pt x="404" y="26"/>
                  </a:lnTo>
                  <a:close/>
                  <a:moveTo>
                    <a:pt x="436" y="26"/>
                  </a:moveTo>
                  <a:lnTo>
                    <a:pt x="438" y="28"/>
                  </a:lnTo>
                  <a:lnTo>
                    <a:pt x="440" y="28"/>
                  </a:lnTo>
                  <a:lnTo>
                    <a:pt x="436" y="26"/>
                  </a:lnTo>
                  <a:close/>
                  <a:moveTo>
                    <a:pt x="414" y="26"/>
                  </a:moveTo>
                  <a:lnTo>
                    <a:pt x="414" y="26"/>
                  </a:lnTo>
                  <a:lnTo>
                    <a:pt x="412" y="32"/>
                  </a:lnTo>
                  <a:lnTo>
                    <a:pt x="426" y="36"/>
                  </a:lnTo>
                  <a:lnTo>
                    <a:pt x="428" y="40"/>
                  </a:lnTo>
                  <a:lnTo>
                    <a:pt x="424" y="38"/>
                  </a:lnTo>
                  <a:lnTo>
                    <a:pt x="414" y="40"/>
                  </a:lnTo>
                  <a:lnTo>
                    <a:pt x="414" y="42"/>
                  </a:lnTo>
                  <a:lnTo>
                    <a:pt x="428" y="42"/>
                  </a:lnTo>
                  <a:lnTo>
                    <a:pt x="430" y="40"/>
                  </a:lnTo>
                  <a:lnTo>
                    <a:pt x="434" y="38"/>
                  </a:lnTo>
                  <a:lnTo>
                    <a:pt x="432" y="36"/>
                  </a:lnTo>
                  <a:lnTo>
                    <a:pt x="430" y="34"/>
                  </a:lnTo>
                  <a:lnTo>
                    <a:pt x="436" y="32"/>
                  </a:lnTo>
                  <a:lnTo>
                    <a:pt x="436" y="28"/>
                  </a:lnTo>
                  <a:lnTo>
                    <a:pt x="430" y="26"/>
                  </a:lnTo>
                  <a:lnTo>
                    <a:pt x="424" y="28"/>
                  </a:lnTo>
                  <a:lnTo>
                    <a:pt x="422" y="28"/>
                  </a:lnTo>
                  <a:lnTo>
                    <a:pt x="414" y="26"/>
                  </a:lnTo>
                  <a:close/>
                  <a:moveTo>
                    <a:pt x="424" y="30"/>
                  </a:moveTo>
                  <a:lnTo>
                    <a:pt x="424" y="30"/>
                  </a:lnTo>
                  <a:lnTo>
                    <a:pt x="428" y="32"/>
                  </a:lnTo>
                  <a:lnTo>
                    <a:pt x="430" y="34"/>
                  </a:lnTo>
                  <a:lnTo>
                    <a:pt x="428" y="34"/>
                  </a:lnTo>
                  <a:lnTo>
                    <a:pt x="424" y="34"/>
                  </a:lnTo>
                  <a:lnTo>
                    <a:pt x="424" y="32"/>
                  </a:lnTo>
                  <a:lnTo>
                    <a:pt x="422" y="30"/>
                  </a:lnTo>
                  <a:lnTo>
                    <a:pt x="424" y="30"/>
                  </a:lnTo>
                  <a:close/>
                  <a:moveTo>
                    <a:pt x="440" y="30"/>
                  </a:moveTo>
                  <a:lnTo>
                    <a:pt x="440" y="30"/>
                  </a:lnTo>
                  <a:lnTo>
                    <a:pt x="438" y="34"/>
                  </a:lnTo>
                  <a:lnTo>
                    <a:pt x="438" y="36"/>
                  </a:lnTo>
                  <a:lnTo>
                    <a:pt x="442" y="36"/>
                  </a:lnTo>
                  <a:lnTo>
                    <a:pt x="442" y="32"/>
                  </a:lnTo>
                  <a:lnTo>
                    <a:pt x="442" y="30"/>
                  </a:lnTo>
                  <a:lnTo>
                    <a:pt x="440" y="30"/>
                  </a:lnTo>
                  <a:close/>
                  <a:moveTo>
                    <a:pt x="402" y="36"/>
                  </a:moveTo>
                  <a:lnTo>
                    <a:pt x="406" y="40"/>
                  </a:lnTo>
                  <a:lnTo>
                    <a:pt x="412" y="40"/>
                  </a:lnTo>
                  <a:lnTo>
                    <a:pt x="410" y="38"/>
                  </a:lnTo>
                  <a:lnTo>
                    <a:pt x="410" y="36"/>
                  </a:lnTo>
                  <a:lnTo>
                    <a:pt x="402" y="36"/>
                  </a:lnTo>
                  <a:close/>
                  <a:moveTo>
                    <a:pt x="506" y="40"/>
                  </a:moveTo>
                  <a:lnTo>
                    <a:pt x="506" y="40"/>
                  </a:lnTo>
                  <a:lnTo>
                    <a:pt x="502" y="44"/>
                  </a:lnTo>
                  <a:lnTo>
                    <a:pt x="494" y="44"/>
                  </a:lnTo>
                  <a:lnTo>
                    <a:pt x="496" y="48"/>
                  </a:lnTo>
                  <a:lnTo>
                    <a:pt x="494" y="46"/>
                  </a:lnTo>
                  <a:lnTo>
                    <a:pt x="494" y="48"/>
                  </a:lnTo>
                  <a:lnTo>
                    <a:pt x="492" y="52"/>
                  </a:lnTo>
                  <a:lnTo>
                    <a:pt x="496" y="52"/>
                  </a:lnTo>
                  <a:lnTo>
                    <a:pt x="498" y="56"/>
                  </a:lnTo>
                  <a:lnTo>
                    <a:pt x="504" y="56"/>
                  </a:lnTo>
                  <a:lnTo>
                    <a:pt x="504" y="52"/>
                  </a:lnTo>
                  <a:lnTo>
                    <a:pt x="516" y="46"/>
                  </a:lnTo>
                  <a:lnTo>
                    <a:pt x="520" y="44"/>
                  </a:lnTo>
                  <a:lnTo>
                    <a:pt x="520" y="42"/>
                  </a:lnTo>
                  <a:lnTo>
                    <a:pt x="518" y="40"/>
                  </a:lnTo>
                  <a:lnTo>
                    <a:pt x="512" y="40"/>
                  </a:lnTo>
                  <a:lnTo>
                    <a:pt x="506" y="40"/>
                  </a:lnTo>
                  <a:close/>
                  <a:moveTo>
                    <a:pt x="812" y="40"/>
                  </a:moveTo>
                  <a:lnTo>
                    <a:pt x="812" y="40"/>
                  </a:lnTo>
                  <a:lnTo>
                    <a:pt x="806" y="40"/>
                  </a:lnTo>
                  <a:lnTo>
                    <a:pt x="810" y="46"/>
                  </a:lnTo>
                  <a:lnTo>
                    <a:pt x="820" y="42"/>
                  </a:lnTo>
                  <a:lnTo>
                    <a:pt x="812" y="40"/>
                  </a:lnTo>
                  <a:close/>
                  <a:moveTo>
                    <a:pt x="868" y="40"/>
                  </a:moveTo>
                  <a:lnTo>
                    <a:pt x="868" y="40"/>
                  </a:lnTo>
                  <a:lnTo>
                    <a:pt x="864" y="46"/>
                  </a:lnTo>
                  <a:lnTo>
                    <a:pt x="862" y="48"/>
                  </a:lnTo>
                  <a:lnTo>
                    <a:pt x="858" y="50"/>
                  </a:lnTo>
                  <a:lnTo>
                    <a:pt x="856" y="50"/>
                  </a:lnTo>
                  <a:lnTo>
                    <a:pt x="852" y="50"/>
                  </a:lnTo>
                  <a:lnTo>
                    <a:pt x="848" y="62"/>
                  </a:lnTo>
                  <a:lnTo>
                    <a:pt x="844" y="62"/>
                  </a:lnTo>
                  <a:lnTo>
                    <a:pt x="838" y="62"/>
                  </a:lnTo>
                  <a:lnTo>
                    <a:pt x="832" y="66"/>
                  </a:lnTo>
                  <a:lnTo>
                    <a:pt x="838" y="66"/>
                  </a:lnTo>
                  <a:lnTo>
                    <a:pt x="844" y="66"/>
                  </a:lnTo>
                  <a:lnTo>
                    <a:pt x="846" y="70"/>
                  </a:lnTo>
                  <a:lnTo>
                    <a:pt x="852" y="72"/>
                  </a:lnTo>
                  <a:lnTo>
                    <a:pt x="860" y="72"/>
                  </a:lnTo>
                  <a:lnTo>
                    <a:pt x="872" y="68"/>
                  </a:lnTo>
                  <a:lnTo>
                    <a:pt x="872" y="72"/>
                  </a:lnTo>
                  <a:lnTo>
                    <a:pt x="866" y="72"/>
                  </a:lnTo>
                  <a:lnTo>
                    <a:pt x="862" y="74"/>
                  </a:lnTo>
                  <a:lnTo>
                    <a:pt x="858" y="76"/>
                  </a:lnTo>
                  <a:lnTo>
                    <a:pt x="858" y="80"/>
                  </a:lnTo>
                  <a:lnTo>
                    <a:pt x="846" y="84"/>
                  </a:lnTo>
                  <a:lnTo>
                    <a:pt x="846" y="88"/>
                  </a:lnTo>
                  <a:lnTo>
                    <a:pt x="858" y="90"/>
                  </a:lnTo>
                  <a:lnTo>
                    <a:pt x="866" y="90"/>
                  </a:lnTo>
                  <a:lnTo>
                    <a:pt x="868" y="94"/>
                  </a:lnTo>
                  <a:lnTo>
                    <a:pt x="880" y="94"/>
                  </a:lnTo>
                  <a:lnTo>
                    <a:pt x="886" y="96"/>
                  </a:lnTo>
                  <a:lnTo>
                    <a:pt x="890" y="94"/>
                  </a:lnTo>
                  <a:lnTo>
                    <a:pt x="900" y="92"/>
                  </a:lnTo>
                  <a:lnTo>
                    <a:pt x="902" y="92"/>
                  </a:lnTo>
                  <a:lnTo>
                    <a:pt x="906" y="92"/>
                  </a:lnTo>
                  <a:lnTo>
                    <a:pt x="908" y="90"/>
                  </a:lnTo>
                  <a:lnTo>
                    <a:pt x="908" y="86"/>
                  </a:lnTo>
                  <a:lnTo>
                    <a:pt x="914" y="82"/>
                  </a:lnTo>
                  <a:lnTo>
                    <a:pt x="912" y="76"/>
                  </a:lnTo>
                  <a:lnTo>
                    <a:pt x="908" y="74"/>
                  </a:lnTo>
                  <a:lnTo>
                    <a:pt x="906" y="72"/>
                  </a:lnTo>
                  <a:lnTo>
                    <a:pt x="902" y="80"/>
                  </a:lnTo>
                  <a:lnTo>
                    <a:pt x="900" y="80"/>
                  </a:lnTo>
                  <a:lnTo>
                    <a:pt x="898" y="80"/>
                  </a:lnTo>
                  <a:lnTo>
                    <a:pt x="900" y="70"/>
                  </a:lnTo>
                  <a:lnTo>
                    <a:pt x="894" y="66"/>
                  </a:lnTo>
                  <a:lnTo>
                    <a:pt x="894" y="70"/>
                  </a:lnTo>
                  <a:lnTo>
                    <a:pt x="882" y="72"/>
                  </a:lnTo>
                  <a:lnTo>
                    <a:pt x="890" y="68"/>
                  </a:lnTo>
                  <a:lnTo>
                    <a:pt x="890" y="60"/>
                  </a:lnTo>
                  <a:lnTo>
                    <a:pt x="892" y="60"/>
                  </a:lnTo>
                  <a:lnTo>
                    <a:pt x="892" y="58"/>
                  </a:lnTo>
                  <a:lnTo>
                    <a:pt x="868" y="40"/>
                  </a:lnTo>
                  <a:close/>
                  <a:moveTo>
                    <a:pt x="466" y="44"/>
                  </a:moveTo>
                  <a:lnTo>
                    <a:pt x="466" y="44"/>
                  </a:lnTo>
                  <a:lnTo>
                    <a:pt x="460" y="52"/>
                  </a:lnTo>
                  <a:lnTo>
                    <a:pt x="458" y="56"/>
                  </a:lnTo>
                  <a:lnTo>
                    <a:pt x="458" y="58"/>
                  </a:lnTo>
                  <a:lnTo>
                    <a:pt x="458" y="60"/>
                  </a:lnTo>
                  <a:lnTo>
                    <a:pt x="462" y="62"/>
                  </a:lnTo>
                  <a:lnTo>
                    <a:pt x="470" y="64"/>
                  </a:lnTo>
                  <a:lnTo>
                    <a:pt x="468" y="56"/>
                  </a:lnTo>
                  <a:lnTo>
                    <a:pt x="482" y="56"/>
                  </a:lnTo>
                  <a:lnTo>
                    <a:pt x="478" y="50"/>
                  </a:lnTo>
                  <a:lnTo>
                    <a:pt x="474" y="48"/>
                  </a:lnTo>
                  <a:lnTo>
                    <a:pt x="474" y="44"/>
                  </a:lnTo>
                  <a:lnTo>
                    <a:pt x="470" y="44"/>
                  </a:lnTo>
                  <a:lnTo>
                    <a:pt x="466" y="44"/>
                  </a:lnTo>
                  <a:close/>
                  <a:moveTo>
                    <a:pt x="316" y="46"/>
                  </a:moveTo>
                  <a:lnTo>
                    <a:pt x="314" y="50"/>
                  </a:lnTo>
                  <a:lnTo>
                    <a:pt x="308" y="50"/>
                  </a:lnTo>
                  <a:lnTo>
                    <a:pt x="302" y="50"/>
                  </a:lnTo>
                  <a:lnTo>
                    <a:pt x="296" y="48"/>
                  </a:lnTo>
                  <a:lnTo>
                    <a:pt x="290" y="48"/>
                  </a:lnTo>
                  <a:lnTo>
                    <a:pt x="274" y="54"/>
                  </a:lnTo>
                  <a:lnTo>
                    <a:pt x="272" y="54"/>
                  </a:lnTo>
                  <a:lnTo>
                    <a:pt x="270" y="52"/>
                  </a:lnTo>
                  <a:lnTo>
                    <a:pt x="268" y="54"/>
                  </a:lnTo>
                  <a:lnTo>
                    <a:pt x="264" y="58"/>
                  </a:lnTo>
                  <a:lnTo>
                    <a:pt x="260" y="62"/>
                  </a:lnTo>
                  <a:lnTo>
                    <a:pt x="274" y="62"/>
                  </a:lnTo>
                  <a:lnTo>
                    <a:pt x="274" y="64"/>
                  </a:lnTo>
                  <a:lnTo>
                    <a:pt x="290" y="60"/>
                  </a:lnTo>
                  <a:lnTo>
                    <a:pt x="292" y="64"/>
                  </a:lnTo>
                  <a:lnTo>
                    <a:pt x="298" y="62"/>
                  </a:lnTo>
                  <a:lnTo>
                    <a:pt x="300" y="60"/>
                  </a:lnTo>
                  <a:lnTo>
                    <a:pt x="304" y="54"/>
                  </a:lnTo>
                  <a:lnTo>
                    <a:pt x="312" y="58"/>
                  </a:lnTo>
                  <a:lnTo>
                    <a:pt x="318" y="60"/>
                  </a:lnTo>
                  <a:lnTo>
                    <a:pt x="314" y="66"/>
                  </a:lnTo>
                  <a:lnTo>
                    <a:pt x="320" y="66"/>
                  </a:lnTo>
                  <a:lnTo>
                    <a:pt x="322" y="66"/>
                  </a:lnTo>
                  <a:lnTo>
                    <a:pt x="324" y="70"/>
                  </a:lnTo>
                  <a:lnTo>
                    <a:pt x="328" y="70"/>
                  </a:lnTo>
                  <a:lnTo>
                    <a:pt x="330" y="66"/>
                  </a:lnTo>
                  <a:lnTo>
                    <a:pt x="336" y="64"/>
                  </a:lnTo>
                  <a:lnTo>
                    <a:pt x="340" y="62"/>
                  </a:lnTo>
                  <a:lnTo>
                    <a:pt x="344" y="62"/>
                  </a:lnTo>
                  <a:lnTo>
                    <a:pt x="350" y="64"/>
                  </a:lnTo>
                  <a:lnTo>
                    <a:pt x="350" y="60"/>
                  </a:lnTo>
                  <a:lnTo>
                    <a:pt x="364" y="58"/>
                  </a:lnTo>
                  <a:lnTo>
                    <a:pt x="364" y="52"/>
                  </a:lnTo>
                  <a:lnTo>
                    <a:pt x="358" y="54"/>
                  </a:lnTo>
                  <a:lnTo>
                    <a:pt x="356" y="54"/>
                  </a:lnTo>
                  <a:lnTo>
                    <a:pt x="358" y="50"/>
                  </a:lnTo>
                  <a:lnTo>
                    <a:pt x="346" y="50"/>
                  </a:lnTo>
                  <a:lnTo>
                    <a:pt x="348" y="50"/>
                  </a:lnTo>
                  <a:lnTo>
                    <a:pt x="348" y="52"/>
                  </a:lnTo>
                  <a:lnTo>
                    <a:pt x="346" y="54"/>
                  </a:lnTo>
                  <a:lnTo>
                    <a:pt x="338" y="58"/>
                  </a:lnTo>
                  <a:lnTo>
                    <a:pt x="330" y="58"/>
                  </a:lnTo>
                  <a:lnTo>
                    <a:pt x="314" y="54"/>
                  </a:lnTo>
                  <a:lnTo>
                    <a:pt x="332" y="54"/>
                  </a:lnTo>
                  <a:lnTo>
                    <a:pt x="338" y="54"/>
                  </a:lnTo>
                  <a:lnTo>
                    <a:pt x="330" y="52"/>
                  </a:lnTo>
                  <a:lnTo>
                    <a:pt x="324" y="48"/>
                  </a:lnTo>
                  <a:lnTo>
                    <a:pt x="316" y="46"/>
                  </a:lnTo>
                  <a:close/>
                  <a:moveTo>
                    <a:pt x="392" y="54"/>
                  </a:moveTo>
                  <a:lnTo>
                    <a:pt x="392" y="56"/>
                  </a:lnTo>
                  <a:lnTo>
                    <a:pt x="396" y="56"/>
                  </a:lnTo>
                  <a:lnTo>
                    <a:pt x="394" y="56"/>
                  </a:lnTo>
                  <a:lnTo>
                    <a:pt x="394" y="54"/>
                  </a:lnTo>
                  <a:lnTo>
                    <a:pt x="392" y="54"/>
                  </a:lnTo>
                  <a:close/>
                  <a:moveTo>
                    <a:pt x="436" y="54"/>
                  </a:moveTo>
                  <a:lnTo>
                    <a:pt x="436" y="54"/>
                  </a:lnTo>
                  <a:lnTo>
                    <a:pt x="436" y="66"/>
                  </a:lnTo>
                  <a:lnTo>
                    <a:pt x="438" y="66"/>
                  </a:lnTo>
                  <a:lnTo>
                    <a:pt x="442" y="66"/>
                  </a:lnTo>
                  <a:lnTo>
                    <a:pt x="444" y="64"/>
                  </a:lnTo>
                  <a:lnTo>
                    <a:pt x="444" y="60"/>
                  </a:lnTo>
                  <a:lnTo>
                    <a:pt x="450" y="58"/>
                  </a:lnTo>
                  <a:lnTo>
                    <a:pt x="448" y="56"/>
                  </a:lnTo>
                  <a:lnTo>
                    <a:pt x="436" y="54"/>
                  </a:lnTo>
                  <a:close/>
                  <a:moveTo>
                    <a:pt x="382" y="56"/>
                  </a:moveTo>
                  <a:lnTo>
                    <a:pt x="382" y="56"/>
                  </a:lnTo>
                  <a:lnTo>
                    <a:pt x="374" y="60"/>
                  </a:lnTo>
                  <a:lnTo>
                    <a:pt x="374" y="62"/>
                  </a:lnTo>
                  <a:lnTo>
                    <a:pt x="376" y="62"/>
                  </a:lnTo>
                  <a:lnTo>
                    <a:pt x="388" y="66"/>
                  </a:lnTo>
                  <a:lnTo>
                    <a:pt x="390" y="60"/>
                  </a:lnTo>
                  <a:lnTo>
                    <a:pt x="382" y="56"/>
                  </a:lnTo>
                  <a:close/>
                  <a:moveTo>
                    <a:pt x="426" y="58"/>
                  </a:moveTo>
                  <a:lnTo>
                    <a:pt x="426" y="58"/>
                  </a:lnTo>
                  <a:lnTo>
                    <a:pt x="422" y="62"/>
                  </a:lnTo>
                  <a:lnTo>
                    <a:pt x="420" y="64"/>
                  </a:lnTo>
                  <a:lnTo>
                    <a:pt x="424" y="68"/>
                  </a:lnTo>
                  <a:lnTo>
                    <a:pt x="430" y="68"/>
                  </a:lnTo>
                  <a:lnTo>
                    <a:pt x="432" y="68"/>
                  </a:lnTo>
                  <a:lnTo>
                    <a:pt x="432" y="66"/>
                  </a:lnTo>
                  <a:lnTo>
                    <a:pt x="430" y="64"/>
                  </a:lnTo>
                  <a:lnTo>
                    <a:pt x="432" y="64"/>
                  </a:lnTo>
                  <a:lnTo>
                    <a:pt x="432" y="60"/>
                  </a:lnTo>
                  <a:lnTo>
                    <a:pt x="430" y="58"/>
                  </a:lnTo>
                  <a:lnTo>
                    <a:pt x="426" y="58"/>
                  </a:lnTo>
                  <a:close/>
                  <a:moveTo>
                    <a:pt x="404" y="60"/>
                  </a:moveTo>
                  <a:lnTo>
                    <a:pt x="404" y="64"/>
                  </a:lnTo>
                  <a:lnTo>
                    <a:pt x="408" y="64"/>
                  </a:lnTo>
                  <a:lnTo>
                    <a:pt x="406" y="62"/>
                  </a:lnTo>
                  <a:lnTo>
                    <a:pt x="406" y="60"/>
                  </a:lnTo>
                  <a:lnTo>
                    <a:pt x="404" y="60"/>
                  </a:lnTo>
                  <a:close/>
                  <a:moveTo>
                    <a:pt x="350" y="66"/>
                  </a:moveTo>
                  <a:lnTo>
                    <a:pt x="350" y="66"/>
                  </a:lnTo>
                  <a:lnTo>
                    <a:pt x="346" y="66"/>
                  </a:lnTo>
                  <a:lnTo>
                    <a:pt x="348" y="68"/>
                  </a:lnTo>
                  <a:lnTo>
                    <a:pt x="348" y="70"/>
                  </a:lnTo>
                  <a:lnTo>
                    <a:pt x="356" y="70"/>
                  </a:lnTo>
                  <a:lnTo>
                    <a:pt x="354" y="66"/>
                  </a:lnTo>
                  <a:lnTo>
                    <a:pt x="352" y="66"/>
                  </a:lnTo>
                  <a:lnTo>
                    <a:pt x="350" y="66"/>
                  </a:lnTo>
                  <a:close/>
                  <a:moveTo>
                    <a:pt x="452" y="66"/>
                  </a:moveTo>
                  <a:lnTo>
                    <a:pt x="452" y="66"/>
                  </a:lnTo>
                  <a:lnTo>
                    <a:pt x="448" y="70"/>
                  </a:lnTo>
                  <a:lnTo>
                    <a:pt x="448" y="72"/>
                  </a:lnTo>
                  <a:lnTo>
                    <a:pt x="456" y="78"/>
                  </a:lnTo>
                  <a:lnTo>
                    <a:pt x="458" y="68"/>
                  </a:lnTo>
                  <a:lnTo>
                    <a:pt x="452" y="66"/>
                  </a:lnTo>
                  <a:close/>
                  <a:moveTo>
                    <a:pt x="362" y="68"/>
                  </a:moveTo>
                  <a:lnTo>
                    <a:pt x="362" y="68"/>
                  </a:lnTo>
                  <a:lnTo>
                    <a:pt x="360" y="70"/>
                  </a:lnTo>
                  <a:lnTo>
                    <a:pt x="360" y="74"/>
                  </a:lnTo>
                  <a:lnTo>
                    <a:pt x="368" y="76"/>
                  </a:lnTo>
                  <a:lnTo>
                    <a:pt x="366" y="70"/>
                  </a:lnTo>
                  <a:lnTo>
                    <a:pt x="364" y="70"/>
                  </a:lnTo>
                  <a:lnTo>
                    <a:pt x="362" y="68"/>
                  </a:lnTo>
                  <a:close/>
                  <a:moveTo>
                    <a:pt x="822" y="70"/>
                  </a:moveTo>
                  <a:lnTo>
                    <a:pt x="822" y="70"/>
                  </a:lnTo>
                  <a:lnTo>
                    <a:pt x="820" y="80"/>
                  </a:lnTo>
                  <a:lnTo>
                    <a:pt x="820" y="86"/>
                  </a:lnTo>
                  <a:lnTo>
                    <a:pt x="844" y="84"/>
                  </a:lnTo>
                  <a:lnTo>
                    <a:pt x="844" y="82"/>
                  </a:lnTo>
                  <a:lnTo>
                    <a:pt x="844" y="80"/>
                  </a:lnTo>
                  <a:lnTo>
                    <a:pt x="844" y="78"/>
                  </a:lnTo>
                  <a:lnTo>
                    <a:pt x="838" y="74"/>
                  </a:lnTo>
                  <a:lnTo>
                    <a:pt x="834" y="72"/>
                  </a:lnTo>
                  <a:lnTo>
                    <a:pt x="822" y="70"/>
                  </a:lnTo>
                  <a:close/>
                  <a:moveTo>
                    <a:pt x="930" y="78"/>
                  </a:moveTo>
                  <a:lnTo>
                    <a:pt x="930" y="80"/>
                  </a:lnTo>
                  <a:lnTo>
                    <a:pt x="928" y="80"/>
                  </a:lnTo>
                  <a:lnTo>
                    <a:pt x="926" y="80"/>
                  </a:lnTo>
                  <a:lnTo>
                    <a:pt x="926" y="82"/>
                  </a:lnTo>
                  <a:lnTo>
                    <a:pt x="928" y="82"/>
                  </a:lnTo>
                  <a:lnTo>
                    <a:pt x="916" y="98"/>
                  </a:lnTo>
                  <a:lnTo>
                    <a:pt x="916" y="102"/>
                  </a:lnTo>
                  <a:lnTo>
                    <a:pt x="916" y="106"/>
                  </a:lnTo>
                  <a:lnTo>
                    <a:pt x="912" y="110"/>
                  </a:lnTo>
                  <a:lnTo>
                    <a:pt x="906" y="114"/>
                  </a:lnTo>
                  <a:lnTo>
                    <a:pt x="914" y="114"/>
                  </a:lnTo>
                  <a:lnTo>
                    <a:pt x="916" y="114"/>
                  </a:lnTo>
                  <a:lnTo>
                    <a:pt x="920" y="112"/>
                  </a:lnTo>
                  <a:lnTo>
                    <a:pt x="922" y="108"/>
                  </a:lnTo>
                  <a:lnTo>
                    <a:pt x="926" y="106"/>
                  </a:lnTo>
                  <a:lnTo>
                    <a:pt x="934" y="108"/>
                  </a:lnTo>
                  <a:lnTo>
                    <a:pt x="940" y="108"/>
                  </a:lnTo>
                  <a:lnTo>
                    <a:pt x="946" y="108"/>
                  </a:lnTo>
                  <a:lnTo>
                    <a:pt x="954" y="104"/>
                  </a:lnTo>
                  <a:lnTo>
                    <a:pt x="956" y="104"/>
                  </a:lnTo>
                  <a:lnTo>
                    <a:pt x="960" y="104"/>
                  </a:lnTo>
                  <a:lnTo>
                    <a:pt x="962" y="100"/>
                  </a:lnTo>
                  <a:lnTo>
                    <a:pt x="962" y="96"/>
                  </a:lnTo>
                  <a:lnTo>
                    <a:pt x="940" y="82"/>
                  </a:lnTo>
                  <a:lnTo>
                    <a:pt x="936" y="84"/>
                  </a:lnTo>
                  <a:lnTo>
                    <a:pt x="934" y="86"/>
                  </a:lnTo>
                  <a:lnTo>
                    <a:pt x="934" y="84"/>
                  </a:lnTo>
                  <a:lnTo>
                    <a:pt x="934" y="82"/>
                  </a:lnTo>
                  <a:lnTo>
                    <a:pt x="936" y="80"/>
                  </a:lnTo>
                  <a:lnTo>
                    <a:pt x="932" y="78"/>
                  </a:lnTo>
                  <a:lnTo>
                    <a:pt x="930" y="78"/>
                  </a:lnTo>
                  <a:close/>
                  <a:moveTo>
                    <a:pt x="532" y="142"/>
                  </a:moveTo>
                  <a:lnTo>
                    <a:pt x="532" y="142"/>
                  </a:lnTo>
                  <a:lnTo>
                    <a:pt x="528" y="146"/>
                  </a:lnTo>
                  <a:lnTo>
                    <a:pt x="522" y="150"/>
                  </a:lnTo>
                  <a:lnTo>
                    <a:pt x="520" y="150"/>
                  </a:lnTo>
                  <a:lnTo>
                    <a:pt x="518" y="148"/>
                  </a:lnTo>
                  <a:lnTo>
                    <a:pt x="510" y="154"/>
                  </a:lnTo>
                  <a:lnTo>
                    <a:pt x="502" y="158"/>
                  </a:lnTo>
                  <a:lnTo>
                    <a:pt x="496" y="158"/>
                  </a:lnTo>
                  <a:lnTo>
                    <a:pt x="492" y="158"/>
                  </a:lnTo>
                  <a:lnTo>
                    <a:pt x="488" y="160"/>
                  </a:lnTo>
                  <a:lnTo>
                    <a:pt x="486" y="162"/>
                  </a:lnTo>
                  <a:lnTo>
                    <a:pt x="486" y="158"/>
                  </a:lnTo>
                  <a:lnTo>
                    <a:pt x="484" y="158"/>
                  </a:lnTo>
                  <a:lnTo>
                    <a:pt x="482" y="160"/>
                  </a:lnTo>
                  <a:lnTo>
                    <a:pt x="480" y="160"/>
                  </a:lnTo>
                  <a:lnTo>
                    <a:pt x="476" y="158"/>
                  </a:lnTo>
                  <a:lnTo>
                    <a:pt x="474" y="156"/>
                  </a:lnTo>
                  <a:lnTo>
                    <a:pt x="470" y="156"/>
                  </a:lnTo>
                  <a:lnTo>
                    <a:pt x="470" y="162"/>
                  </a:lnTo>
                  <a:lnTo>
                    <a:pt x="460" y="162"/>
                  </a:lnTo>
                  <a:lnTo>
                    <a:pt x="450" y="162"/>
                  </a:lnTo>
                  <a:lnTo>
                    <a:pt x="450" y="166"/>
                  </a:lnTo>
                  <a:lnTo>
                    <a:pt x="446" y="166"/>
                  </a:lnTo>
                  <a:lnTo>
                    <a:pt x="442" y="166"/>
                  </a:lnTo>
                  <a:lnTo>
                    <a:pt x="438" y="170"/>
                  </a:lnTo>
                  <a:lnTo>
                    <a:pt x="436" y="174"/>
                  </a:lnTo>
                  <a:lnTo>
                    <a:pt x="428" y="174"/>
                  </a:lnTo>
                  <a:lnTo>
                    <a:pt x="420" y="174"/>
                  </a:lnTo>
                  <a:lnTo>
                    <a:pt x="418" y="176"/>
                  </a:lnTo>
                  <a:lnTo>
                    <a:pt x="418" y="178"/>
                  </a:lnTo>
                  <a:lnTo>
                    <a:pt x="414" y="178"/>
                  </a:lnTo>
                  <a:lnTo>
                    <a:pt x="412" y="178"/>
                  </a:lnTo>
                  <a:lnTo>
                    <a:pt x="410" y="176"/>
                  </a:lnTo>
                  <a:lnTo>
                    <a:pt x="408" y="180"/>
                  </a:lnTo>
                  <a:lnTo>
                    <a:pt x="410" y="180"/>
                  </a:lnTo>
                  <a:lnTo>
                    <a:pt x="410" y="182"/>
                  </a:lnTo>
                  <a:lnTo>
                    <a:pt x="406" y="184"/>
                  </a:lnTo>
                  <a:lnTo>
                    <a:pt x="406" y="186"/>
                  </a:lnTo>
                  <a:lnTo>
                    <a:pt x="410" y="188"/>
                  </a:lnTo>
                  <a:lnTo>
                    <a:pt x="406" y="188"/>
                  </a:lnTo>
                  <a:lnTo>
                    <a:pt x="404" y="188"/>
                  </a:lnTo>
                  <a:lnTo>
                    <a:pt x="402" y="186"/>
                  </a:lnTo>
                  <a:lnTo>
                    <a:pt x="398" y="192"/>
                  </a:lnTo>
                  <a:lnTo>
                    <a:pt x="398" y="190"/>
                  </a:lnTo>
                  <a:lnTo>
                    <a:pt x="396" y="190"/>
                  </a:lnTo>
                  <a:lnTo>
                    <a:pt x="396" y="196"/>
                  </a:lnTo>
                  <a:lnTo>
                    <a:pt x="394" y="196"/>
                  </a:lnTo>
                  <a:lnTo>
                    <a:pt x="388" y="198"/>
                  </a:lnTo>
                  <a:lnTo>
                    <a:pt x="386" y="200"/>
                  </a:lnTo>
                  <a:lnTo>
                    <a:pt x="384" y="204"/>
                  </a:lnTo>
                  <a:lnTo>
                    <a:pt x="382" y="202"/>
                  </a:lnTo>
                  <a:lnTo>
                    <a:pt x="378" y="204"/>
                  </a:lnTo>
                  <a:lnTo>
                    <a:pt x="378" y="206"/>
                  </a:lnTo>
                  <a:lnTo>
                    <a:pt x="386" y="210"/>
                  </a:lnTo>
                  <a:lnTo>
                    <a:pt x="386" y="212"/>
                  </a:lnTo>
                  <a:lnTo>
                    <a:pt x="382" y="216"/>
                  </a:lnTo>
                  <a:lnTo>
                    <a:pt x="386" y="216"/>
                  </a:lnTo>
                  <a:lnTo>
                    <a:pt x="388" y="218"/>
                  </a:lnTo>
                  <a:lnTo>
                    <a:pt x="388" y="220"/>
                  </a:lnTo>
                  <a:lnTo>
                    <a:pt x="382" y="222"/>
                  </a:lnTo>
                  <a:lnTo>
                    <a:pt x="372" y="226"/>
                  </a:lnTo>
                  <a:lnTo>
                    <a:pt x="374" y="234"/>
                  </a:lnTo>
                  <a:lnTo>
                    <a:pt x="374" y="236"/>
                  </a:lnTo>
                  <a:lnTo>
                    <a:pt x="372" y="238"/>
                  </a:lnTo>
                  <a:lnTo>
                    <a:pt x="372" y="236"/>
                  </a:lnTo>
                  <a:lnTo>
                    <a:pt x="374" y="236"/>
                  </a:lnTo>
                  <a:lnTo>
                    <a:pt x="372" y="238"/>
                  </a:lnTo>
                  <a:lnTo>
                    <a:pt x="374" y="238"/>
                  </a:lnTo>
                  <a:lnTo>
                    <a:pt x="374" y="240"/>
                  </a:lnTo>
                  <a:lnTo>
                    <a:pt x="370" y="242"/>
                  </a:lnTo>
                  <a:lnTo>
                    <a:pt x="372" y="244"/>
                  </a:lnTo>
                  <a:lnTo>
                    <a:pt x="372" y="246"/>
                  </a:lnTo>
                  <a:lnTo>
                    <a:pt x="366" y="248"/>
                  </a:lnTo>
                  <a:lnTo>
                    <a:pt x="362" y="250"/>
                  </a:lnTo>
                  <a:lnTo>
                    <a:pt x="362" y="256"/>
                  </a:lnTo>
                  <a:lnTo>
                    <a:pt x="364" y="264"/>
                  </a:lnTo>
                  <a:lnTo>
                    <a:pt x="368" y="264"/>
                  </a:lnTo>
                  <a:lnTo>
                    <a:pt x="370" y="258"/>
                  </a:lnTo>
                  <a:lnTo>
                    <a:pt x="372" y="258"/>
                  </a:lnTo>
                  <a:lnTo>
                    <a:pt x="374" y="260"/>
                  </a:lnTo>
                  <a:lnTo>
                    <a:pt x="376" y="262"/>
                  </a:lnTo>
                  <a:lnTo>
                    <a:pt x="378" y="260"/>
                  </a:lnTo>
                  <a:lnTo>
                    <a:pt x="378" y="258"/>
                  </a:lnTo>
                  <a:lnTo>
                    <a:pt x="384" y="258"/>
                  </a:lnTo>
                  <a:lnTo>
                    <a:pt x="384" y="262"/>
                  </a:lnTo>
                  <a:lnTo>
                    <a:pt x="384" y="268"/>
                  </a:lnTo>
                  <a:lnTo>
                    <a:pt x="388" y="268"/>
                  </a:lnTo>
                  <a:lnTo>
                    <a:pt x="390" y="268"/>
                  </a:lnTo>
                  <a:lnTo>
                    <a:pt x="394" y="266"/>
                  </a:lnTo>
                  <a:lnTo>
                    <a:pt x="394" y="272"/>
                  </a:lnTo>
                  <a:lnTo>
                    <a:pt x="390" y="272"/>
                  </a:lnTo>
                  <a:lnTo>
                    <a:pt x="384" y="272"/>
                  </a:lnTo>
                  <a:lnTo>
                    <a:pt x="384" y="276"/>
                  </a:lnTo>
                  <a:lnTo>
                    <a:pt x="388" y="276"/>
                  </a:lnTo>
                  <a:lnTo>
                    <a:pt x="388" y="278"/>
                  </a:lnTo>
                  <a:lnTo>
                    <a:pt x="382" y="282"/>
                  </a:lnTo>
                  <a:lnTo>
                    <a:pt x="396" y="282"/>
                  </a:lnTo>
                  <a:lnTo>
                    <a:pt x="402" y="286"/>
                  </a:lnTo>
                  <a:lnTo>
                    <a:pt x="406" y="280"/>
                  </a:lnTo>
                  <a:lnTo>
                    <a:pt x="408" y="282"/>
                  </a:lnTo>
                  <a:lnTo>
                    <a:pt x="410" y="284"/>
                  </a:lnTo>
                  <a:lnTo>
                    <a:pt x="422" y="284"/>
                  </a:lnTo>
                  <a:lnTo>
                    <a:pt x="420" y="280"/>
                  </a:lnTo>
                  <a:lnTo>
                    <a:pt x="418" y="276"/>
                  </a:lnTo>
                  <a:lnTo>
                    <a:pt x="424" y="276"/>
                  </a:lnTo>
                  <a:lnTo>
                    <a:pt x="426" y="278"/>
                  </a:lnTo>
                  <a:lnTo>
                    <a:pt x="426" y="280"/>
                  </a:lnTo>
                  <a:lnTo>
                    <a:pt x="428" y="280"/>
                  </a:lnTo>
                  <a:lnTo>
                    <a:pt x="436" y="278"/>
                  </a:lnTo>
                  <a:lnTo>
                    <a:pt x="436" y="274"/>
                  </a:lnTo>
                  <a:lnTo>
                    <a:pt x="430" y="274"/>
                  </a:lnTo>
                  <a:lnTo>
                    <a:pt x="426" y="274"/>
                  </a:lnTo>
                  <a:lnTo>
                    <a:pt x="422" y="272"/>
                  </a:lnTo>
                  <a:lnTo>
                    <a:pt x="418" y="270"/>
                  </a:lnTo>
                  <a:lnTo>
                    <a:pt x="414" y="262"/>
                  </a:lnTo>
                  <a:lnTo>
                    <a:pt x="410" y="254"/>
                  </a:lnTo>
                  <a:lnTo>
                    <a:pt x="408" y="246"/>
                  </a:lnTo>
                  <a:lnTo>
                    <a:pt x="412" y="244"/>
                  </a:lnTo>
                  <a:lnTo>
                    <a:pt x="410" y="240"/>
                  </a:lnTo>
                  <a:lnTo>
                    <a:pt x="410" y="238"/>
                  </a:lnTo>
                  <a:lnTo>
                    <a:pt x="416" y="226"/>
                  </a:lnTo>
                  <a:lnTo>
                    <a:pt x="416" y="222"/>
                  </a:lnTo>
                  <a:lnTo>
                    <a:pt x="410" y="220"/>
                  </a:lnTo>
                  <a:lnTo>
                    <a:pt x="416" y="220"/>
                  </a:lnTo>
                  <a:lnTo>
                    <a:pt x="420" y="218"/>
                  </a:lnTo>
                  <a:lnTo>
                    <a:pt x="420" y="216"/>
                  </a:lnTo>
                  <a:lnTo>
                    <a:pt x="420" y="214"/>
                  </a:lnTo>
                  <a:lnTo>
                    <a:pt x="420" y="212"/>
                  </a:lnTo>
                  <a:lnTo>
                    <a:pt x="420" y="210"/>
                  </a:lnTo>
                  <a:lnTo>
                    <a:pt x="422" y="210"/>
                  </a:lnTo>
                  <a:lnTo>
                    <a:pt x="422" y="212"/>
                  </a:lnTo>
                  <a:lnTo>
                    <a:pt x="426" y="212"/>
                  </a:lnTo>
                  <a:lnTo>
                    <a:pt x="426" y="210"/>
                  </a:lnTo>
                  <a:lnTo>
                    <a:pt x="424" y="206"/>
                  </a:lnTo>
                  <a:lnTo>
                    <a:pt x="430" y="206"/>
                  </a:lnTo>
                  <a:lnTo>
                    <a:pt x="428" y="202"/>
                  </a:lnTo>
                  <a:lnTo>
                    <a:pt x="428" y="200"/>
                  </a:lnTo>
                  <a:lnTo>
                    <a:pt x="430" y="198"/>
                  </a:lnTo>
                  <a:lnTo>
                    <a:pt x="436" y="202"/>
                  </a:lnTo>
                  <a:lnTo>
                    <a:pt x="438" y="194"/>
                  </a:lnTo>
                  <a:lnTo>
                    <a:pt x="442" y="194"/>
                  </a:lnTo>
                  <a:lnTo>
                    <a:pt x="444" y="190"/>
                  </a:lnTo>
                  <a:lnTo>
                    <a:pt x="446" y="186"/>
                  </a:lnTo>
                  <a:lnTo>
                    <a:pt x="460" y="186"/>
                  </a:lnTo>
                  <a:lnTo>
                    <a:pt x="462" y="182"/>
                  </a:lnTo>
                  <a:lnTo>
                    <a:pt x="466" y="176"/>
                  </a:lnTo>
                  <a:lnTo>
                    <a:pt x="472" y="176"/>
                  </a:lnTo>
                  <a:lnTo>
                    <a:pt x="476" y="176"/>
                  </a:lnTo>
                  <a:lnTo>
                    <a:pt x="486" y="176"/>
                  </a:lnTo>
                  <a:lnTo>
                    <a:pt x="494" y="170"/>
                  </a:lnTo>
                  <a:lnTo>
                    <a:pt x="496" y="172"/>
                  </a:lnTo>
                  <a:lnTo>
                    <a:pt x="498" y="174"/>
                  </a:lnTo>
                  <a:lnTo>
                    <a:pt x="504" y="168"/>
                  </a:lnTo>
                  <a:lnTo>
                    <a:pt x="526" y="162"/>
                  </a:lnTo>
                  <a:lnTo>
                    <a:pt x="544" y="156"/>
                  </a:lnTo>
                  <a:lnTo>
                    <a:pt x="540" y="142"/>
                  </a:lnTo>
                  <a:lnTo>
                    <a:pt x="532" y="142"/>
                  </a:lnTo>
                  <a:close/>
                  <a:moveTo>
                    <a:pt x="906" y="156"/>
                  </a:moveTo>
                  <a:lnTo>
                    <a:pt x="906" y="156"/>
                  </a:lnTo>
                  <a:lnTo>
                    <a:pt x="908" y="164"/>
                  </a:lnTo>
                  <a:lnTo>
                    <a:pt x="902" y="164"/>
                  </a:lnTo>
                  <a:lnTo>
                    <a:pt x="904" y="160"/>
                  </a:lnTo>
                  <a:lnTo>
                    <a:pt x="906" y="156"/>
                  </a:lnTo>
                  <a:close/>
                  <a:moveTo>
                    <a:pt x="954" y="162"/>
                  </a:moveTo>
                  <a:lnTo>
                    <a:pt x="954" y="162"/>
                  </a:lnTo>
                  <a:lnTo>
                    <a:pt x="958" y="166"/>
                  </a:lnTo>
                  <a:lnTo>
                    <a:pt x="956" y="168"/>
                  </a:lnTo>
                  <a:lnTo>
                    <a:pt x="944" y="174"/>
                  </a:lnTo>
                  <a:lnTo>
                    <a:pt x="932" y="184"/>
                  </a:lnTo>
                  <a:lnTo>
                    <a:pt x="932" y="180"/>
                  </a:lnTo>
                  <a:lnTo>
                    <a:pt x="926" y="178"/>
                  </a:lnTo>
                  <a:lnTo>
                    <a:pt x="926" y="174"/>
                  </a:lnTo>
                  <a:lnTo>
                    <a:pt x="928" y="170"/>
                  </a:lnTo>
                  <a:lnTo>
                    <a:pt x="928" y="168"/>
                  </a:lnTo>
                  <a:lnTo>
                    <a:pt x="930" y="170"/>
                  </a:lnTo>
                  <a:lnTo>
                    <a:pt x="930" y="172"/>
                  </a:lnTo>
                  <a:lnTo>
                    <a:pt x="936" y="172"/>
                  </a:lnTo>
                  <a:lnTo>
                    <a:pt x="942" y="170"/>
                  </a:lnTo>
                  <a:lnTo>
                    <a:pt x="954" y="166"/>
                  </a:lnTo>
                  <a:lnTo>
                    <a:pt x="952" y="164"/>
                  </a:lnTo>
                  <a:lnTo>
                    <a:pt x="954" y="162"/>
                  </a:lnTo>
                  <a:close/>
                  <a:moveTo>
                    <a:pt x="578" y="210"/>
                  </a:moveTo>
                  <a:lnTo>
                    <a:pt x="578" y="210"/>
                  </a:lnTo>
                  <a:lnTo>
                    <a:pt x="576" y="218"/>
                  </a:lnTo>
                  <a:lnTo>
                    <a:pt x="576" y="220"/>
                  </a:lnTo>
                  <a:lnTo>
                    <a:pt x="578" y="220"/>
                  </a:lnTo>
                  <a:lnTo>
                    <a:pt x="586" y="220"/>
                  </a:lnTo>
                  <a:lnTo>
                    <a:pt x="584" y="216"/>
                  </a:lnTo>
                  <a:lnTo>
                    <a:pt x="584" y="214"/>
                  </a:lnTo>
                  <a:lnTo>
                    <a:pt x="586" y="212"/>
                  </a:lnTo>
                  <a:lnTo>
                    <a:pt x="578" y="210"/>
                  </a:lnTo>
                  <a:close/>
                  <a:moveTo>
                    <a:pt x="398" y="216"/>
                  </a:moveTo>
                  <a:lnTo>
                    <a:pt x="398" y="216"/>
                  </a:lnTo>
                  <a:lnTo>
                    <a:pt x="400" y="218"/>
                  </a:lnTo>
                  <a:lnTo>
                    <a:pt x="396" y="218"/>
                  </a:lnTo>
                  <a:lnTo>
                    <a:pt x="396" y="216"/>
                  </a:lnTo>
                  <a:lnTo>
                    <a:pt x="398" y="216"/>
                  </a:lnTo>
                  <a:close/>
                  <a:moveTo>
                    <a:pt x="408" y="216"/>
                  </a:moveTo>
                  <a:lnTo>
                    <a:pt x="408" y="216"/>
                  </a:lnTo>
                  <a:lnTo>
                    <a:pt x="410" y="218"/>
                  </a:lnTo>
                  <a:lnTo>
                    <a:pt x="410" y="220"/>
                  </a:lnTo>
                  <a:lnTo>
                    <a:pt x="406" y="218"/>
                  </a:lnTo>
                  <a:lnTo>
                    <a:pt x="404" y="218"/>
                  </a:lnTo>
                  <a:lnTo>
                    <a:pt x="408" y="216"/>
                  </a:lnTo>
                  <a:close/>
                  <a:moveTo>
                    <a:pt x="756" y="216"/>
                  </a:moveTo>
                  <a:lnTo>
                    <a:pt x="756" y="216"/>
                  </a:lnTo>
                  <a:lnTo>
                    <a:pt x="754" y="222"/>
                  </a:lnTo>
                  <a:lnTo>
                    <a:pt x="752" y="226"/>
                  </a:lnTo>
                  <a:lnTo>
                    <a:pt x="750" y="226"/>
                  </a:lnTo>
                  <a:lnTo>
                    <a:pt x="750" y="224"/>
                  </a:lnTo>
                  <a:lnTo>
                    <a:pt x="756" y="216"/>
                  </a:lnTo>
                  <a:close/>
                  <a:moveTo>
                    <a:pt x="678" y="218"/>
                  </a:moveTo>
                  <a:lnTo>
                    <a:pt x="678" y="218"/>
                  </a:lnTo>
                  <a:lnTo>
                    <a:pt x="672" y="224"/>
                  </a:lnTo>
                  <a:lnTo>
                    <a:pt x="676" y="230"/>
                  </a:lnTo>
                  <a:lnTo>
                    <a:pt x="678" y="230"/>
                  </a:lnTo>
                  <a:lnTo>
                    <a:pt x="682" y="230"/>
                  </a:lnTo>
                  <a:lnTo>
                    <a:pt x="682" y="222"/>
                  </a:lnTo>
                  <a:lnTo>
                    <a:pt x="678" y="218"/>
                  </a:lnTo>
                  <a:close/>
                  <a:moveTo>
                    <a:pt x="664" y="232"/>
                  </a:moveTo>
                  <a:lnTo>
                    <a:pt x="664" y="232"/>
                  </a:lnTo>
                  <a:lnTo>
                    <a:pt x="660" y="238"/>
                  </a:lnTo>
                  <a:lnTo>
                    <a:pt x="660" y="240"/>
                  </a:lnTo>
                  <a:lnTo>
                    <a:pt x="656" y="242"/>
                  </a:lnTo>
                  <a:lnTo>
                    <a:pt x="662" y="242"/>
                  </a:lnTo>
                  <a:lnTo>
                    <a:pt x="672" y="240"/>
                  </a:lnTo>
                  <a:lnTo>
                    <a:pt x="672" y="234"/>
                  </a:lnTo>
                  <a:lnTo>
                    <a:pt x="668" y="234"/>
                  </a:lnTo>
                  <a:lnTo>
                    <a:pt x="664" y="232"/>
                  </a:lnTo>
                  <a:close/>
                  <a:moveTo>
                    <a:pt x="666" y="278"/>
                  </a:moveTo>
                  <a:lnTo>
                    <a:pt x="666" y="278"/>
                  </a:lnTo>
                  <a:lnTo>
                    <a:pt x="666" y="280"/>
                  </a:lnTo>
                  <a:lnTo>
                    <a:pt x="664" y="282"/>
                  </a:lnTo>
                  <a:lnTo>
                    <a:pt x="664" y="278"/>
                  </a:lnTo>
                  <a:lnTo>
                    <a:pt x="666" y="278"/>
                  </a:lnTo>
                  <a:close/>
                  <a:moveTo>
                    <a:pt x="444" y="286"/>
                  </a:moveTo>
                  <a:lnTo>
                    <a:pt x="444" y="286"/>
                  </a:lnTo>
                  <a:lnTo>
                    <a:pt x="444" y="290"/>
                  </a:lnTo>
                  <a:lnTo>
                    <a:pt x="444" y="296"/>
                  </a:lnTo>
                  <a:lnTo>
                    <a:pt x="450" y="296"/>
                  </a:lnTo>
                  <a:lnTo>
                    <a:pt x="454" y="298"/>
                  </a:lnTo>
                  <a:lnTo>
                    <a:pt x="454" y="300"/>
                  </a:lnTo>
                  <a:lnTo>
                    <a:pt x="458" y="300"/>
                  </a:lnTo>
                  <a:lnTo>
                    <a:pt x="464" y="300"/>
                  </a:lnTo>
                  <a:lnTo>
                    <a:pt x="464" y="294"/>
                  </a:lnTo>
                  <a:lnTo>
                    <a:pt x="450" y="286"/>
                  </a:lnTo>
                  <a:lnTo>
                    <a:pt x="448" y="286"/>
                  </a:lnTo>
                  <a:lnTo>
                    <a:pt x="444" y="286"/>
                  </a:lnTo>
                  <a:close/>
                  <a:moveTo>
                    <a:pt x="338" y="300"/>
                  </a:moveTo>
                  <a:lnTo>
                    <a:pt x="338" y="300"/>
                  </a:lnTo>
                  <a:lnTo>
                    <a:pt x="336" y="302"/>
                  </a:lnTo>
                  <a:lnTo>
                    <a:pt x="332" y="304"/>
                  </a:lnTo>
                  <a:lnTo>
                    <a:pt x="332" y="308"/>
                  </a:lnTo>
                  <a:lnTo>
                    <a:pt x="332" y="312"/>
                  </a:lnTo>
                  <a:lnTo>
                    <a:pt x="334" y="314"/>
                  </a:lnTo>
                  <a:lnTo>
                    <a:pt x="336" y="316"/>
                  </a:lnTo>
                  <a:lnTo>
                    <a:pt x="340" y="316"/>
                  </a:lnTo>
                  <a:lnTo>
                    <a:pt x="342" y="314"/>
                  </a:lnTo>
                  <a:lnTo>
                    <a:pt x="346" y="312"/>
                  </a:lnTo>
                  <a:lnTo>
                    <a:pt x="346" y="308"/>
                  </a:lnTo>
                  <a:lnTo>
                    <a:pt x="346" y="304"/>
                  </a:lnTo>
                  <a:lnTo>
                    <a:pt x="338" y="300"/>
                  </a:lnTo>
                  <a:close/>
                  <a:moveTo>
                    <a:pt x="220" y="398"/>
                  </a:moveTo>
                  <a:lnTo>
                    <a:pt x="220" y="398"/>
                  </a:lnTo>
                  <a:lnTo>
                    <a:pt x="220" y="400"/>
                  </a:lnTo>
                  <a:lnTo>
                    <a:pt x="218" y="402"/>
                  </a:lnTo>
                  <a:lnTo>
                    <a:pt x="218" y="400"/>
                  </a:lnTo>
                  <a:lnTo>
                    <a:pt x="218" y="398"/>
                  </a:lnTo>
                  <a:lnTo>
                    <a:pt x="220" y="398"/>
                  </a:lnTo>
                  <a:close/>
                  <a:moveTo>
                    <a:pt x="168" y="422"/>
                  </a:moveTo>
                  <a:lnTo>
                    <a:pt x="168" y="422"/>
                  </a:lnTo>
                  <a:lnTo>
                    <a:pt x="174" y="422"/>
                  </a:lnTo>
                  <a:lnTo>
                    <a:pt x="176" y="424"/>
                  </a:lnTo>
                  <a:lnTo>
                    <a:pt x="176" y="426"/>
                  </a:lnTo>
                  <a:lnTo>
                    <a:pt x="178" y="428"/>
                  </a:lnTo>
                  <a:lnTo>
                    <a:pt x="180" y="430"/>
                  </a:lnTo>
                  <a:lnTo>
                    <a:pt x="178" y="432"/>
                  </a:lnTo>
                  <a:lnTo>
                    <a:pt x="170" y="432"/>
                  </a:lnTo>
                  <a:lnTo>
                    <a:pt x="168" y="422"/>
                  </a:lnTo>
                  <a:close/>
                  <a:moveTo>
                    <a:pt x="176" y="442"/>
                  </a:moveTo>
                  <a:lnTo>
                    <a:pt x="176" y="442"/>
                  </a:lnTo>
                  <a:lnTo>
                    <a:pt x="186" y="446"/>
                  </a:lnTo>
                  <a:lnTo>
                    <a:pt x="186" y="452"/>
                  </a:lnTo>
                  <a:lnTo>
                    <a:pt x="188" y="460"/>
                  </a:lnTo>
                  <a:lnTo>
                    <a:pt x="192" y="464"/>
                  </a:lnTo>
                  <a:lnTo>
                    <a:pt x="192" y="468"/>
                  </a:lnTo>
                  <a:lnTo>
                    <a:pt x="192" y="472"/>
                  </a:lnTo>
                  <a:lnTo>
                    <a:pt x="188" y="476"/>
                  </a:lnTo>
                  <a:lnTo>
                    <a:pt x="180" y="468"/>
                  </a:lnTo>
                  <a:lnTo>
                    <a:pt x="172" y="462"/>
                  </a:lnTo>
                  <a:lnTo>
                    <a:pt x="172" y="458"/>
                  </a:lnTo>
                  <a:lnTo>
                    <a:pt x="178" y="460"/>
                  </a:lnTo>
                  <a:lnTo>
                    <a:pt x="176" y="456"/>
                  </a:lnTo>
                  <a:lnTo>
                    <a:pt x="176" y="454"/>
                  </a:lnTo>
                  <a:lnTo>
                    <a:pt x="178" y="454"/>
                  </a:lnTo>
                  <a:lnTo>
                    <a:pt x="178" y="456"/>
                  </a:lnTo>
                  <a:lnTo>
                    <a:pt x="180" y="456"/>
                  </a:lnTo>
                  <a:lnTo>
                    <a:pt x="182" y="450"/>
                  </a:lnTo>
                  <a:lnTo>
                    <a:pt x="182" y="448"/>
                  </a:lnTo>
                  <a:lnTo>
                    <a:pt x="180" y="446"/>
                  </a:lnTo>
                  <a:lnTo>
                    <a:pt x="178" y="448"/>
                  </a:lnTo>
                  <a:lnTo>
                    <a:pt x="180" y="448"/>
                  </a:lnTo>
                  <a:lnTo>
                    <a:pt x="178" y="448"/>
                  </a:lnTo>
                  <a:lnTo>
                    <a:pt x="176" y="448"/>
                  </a:lnTo>
                  <a:lnTo>
                    <a:pt x="174" y="446"/>
                  </a:lnTo>
                  <a:lnTo>
                    <a:pt x="174" y="442"/>
                  </a:lnTo>
                  <a:lnTo>
                    <a:pt x="176" y="442"/>
                  </a:lnTo>
                  <a:close/>
                  <a:moveTo>
                    <a:pt x="130" y="458"/>
                  </a:moveTo>
                  <a:lnTo>
                    <a:pt x="130" y="458"/>
                  </a:lnTo>
                  <a:lnTo>
                    <a:pt x="136" y="464"/>
                  </a:lnTo>
                  <a:lnTo>
                    <a:pt x="142" y="468"/>
                  </a:lnTo>
                  <a:lnTo>
                    <a:pt x="144" y="468"/>
                  </a:lnTo>
                  <a:lnTo>
                    <a:pt x="148" y="468"/>
                  </a:lnTo>
                  <a:lnTo>
                    <a:pt x="150" y="472"/>
                  </a:lnTo>
                  <a:lnTo>
                    <a:pt x="150" y="476"/>
                  </a:lnTo>
                  <a:lnTo>
                    <a:pt x="152" y="476"/>
                  </a:lnTo>
                  <a:lnTo>
                    <a:pt x="152" y="478"/>
                  </a:lnTo>
                  <a:lnTo>
                    <a:pt x="152" y="484"/>
                  </a:lnTo>
                  <a:lnTo>
                    <a:pt x="150" y="484"/>
                  </a:lnTo>
                  <a:lnTo>
                    <a:pt x="150" y="482"/>
                  </a:lnTo>
                  <a:lnTo>
                    <a:pt x="150" y="488"/>
                  </a:lnTo>
                  <a:lnTo>
                    <a:pt x="134" y="490"/>
                  </a:lnTo>
                  <a:lnTo>
                    <a:pt x="134" y="486"/>
                  </a:lnTo>
                  <a:lnTo>
                    <a:pt x="126" y="478"/>
                  </a:lnTo>
                  <a:lnTo>
                    <a:pt x="126" y="474"/>
                  </a:lnTo>
                  <a:lnTo>
                    <a:pt x="124" y="470"/>
                  </a:lnTo>
                  <a:lnTo>
                    <a:pt x="120" y="464"/>
                  </a:lnTo>
                  <a:lnTo>
                    <a:pt x="126" y="462"/>
                  </a:lnTo>
                  <a:lnTo>
                    <a:pt x="130" y="458"/>
                  </a:lnTo>
                  <a:close/>
                  <a:moveTo>
                    <a:pt x="200" y="484"/>
                  </a:moveTo>
                  <a:lnTo>
                    <a:pt x="200" y="484"/>
                  </a:lnTo>
                  <a:lnTo>
                    <a:pt x="204" y="484"/>
                  </a:lnTo>
                  <a:lnTo>
                    <a:pt x="206" y="486"/>
                  </a:lnTo>
                  <a:lnTo>
                    <a:pt x="204" y="488"/>
                  </a:lnTo>
                  <a:lnTo>
                    <a:pt x="200" y="488"/>
                  </a:lnTo>
                  <a:lnTo>
                    <a:pt x="198" y="486"/>
                  </a:lnTo>
                  <a:lnTo>
                    <a:pt x="198" y="484"/>
                  </a:lnTo>
                  <a:lnTo>
                    <a:pt x="200" y="484"/>
                  </a:lnTo>
                  <a:close/>
                  <a:moveTo>
                    <a:pt x="206" y="504"/>
                  </a:moveTo>
                  <a:lnTo>
                    <a:pt x="206" y="504"/>
                  </a:lnTo>
                  <a:lnTo>
                    <a:pt x="208" y="508"/>
                  </a:lnTo>
                  <a:lnTo>
                    <a:pt x="208" y="510"/>
                  </a:lnTo>
                  <a:lnTo>
                    <a:pt x="206" y="510"/>
                  </a:lnTo>
                  <a:lnTo>
                    <a:pt x="206" y="506"/>
                  </a:lnTo>
                  <a:lnTo>
                    <a:pt x="206" y="504"/>
                  </a:lnTo>
                  <a:close/>
                  <a:moveTo>
                    <a:pt x="212" y="512"/>
                  </a:moveTo>
                  <a:lnTo>
                    <a:pt x="212" y="512"/>
                  </a:lnTo>
                  <a:lnTo>
                    <a:pt x="218" y="518"/>
                  </a:lnTo>
                  <a:lnTo>
                    <a:pt x="220" y="518"/>
                  </a:lnTo>
                  <a:lnTo>
                    <a:pt x="220" y="520"/>
                  </a:lnTo>
                  <a:lnTo>
                    <a:pt x="220" y="524"/>
                  </a:lnTo>
                  <a:lnTo>
                    <a:pt x="214" y="526"/>
                  </a:lnTo>
                  <a:lnTo>
                    <a:pt x="210" y="528"/>
                  </a:lnTo>
                  <a:lnTo>
                    <a:pt x="204" y="522"/>
                  </a:lnTo>
                  <a:lnTo>
                    <a:pt x="200" y="516"/>
                  </a:lnTo>
                  <a:lnTo>
                    <a:pt x="204" y="516"/>
                  </a:lnTo>
                  <a:lnTo>
                    <a:pt x="210" y="518"/>
                  </a:lnTo>
                  <a:lnTo>
                    <a:pt x="210" y="514"/>
                  </a:lnTo>
                  <a:lnTo>
                    <a:pt x="210" y="512"/>
                  </a:lnTo>
                  <a:lnTo>
                    <a:pt x="212" y="512"/>
                  </a:lnTo>
                  <a:close/>
                  <a:moveTo>
                    <a:pt x="16" y="584"/>
                  </a:moveTo>
                  <a:lnTo>
                    <a:pt x="16" y="584"/>
                  </a:lnTo>
                  <a:lnTo>
                    <a:pt x="10" y="586"/>
                  </a:lnTo>
                  <a:lnTo>
                    <a:pt x="12" y="582"/>
                  </a:lnTo>
                  <a:lnTo>
                    <a:pt x="8" y="582"/>
                  </a:lnTo>
                  <a:lnTo>
                    <a:pt x="2" y="586"/>
                  </a:lnTo>
                  <a:lnTo>
                    <a:pt x="2" y="592"/>
                  </a:lnTo>
                  <a:lnTo>
                    <a:pt x="2" y="596"/>
                  </a:lnTo>
                  <a:lnTo>
                    <a:pt x="0" y="598"/>
                  </a:lnTo>
                  <a:lnTo>
                    <a:pt x="4" y="602"/>
                  </a:lnTo>
                  <a:lnTo>
                    <a:pt x="14" y="606"/>
                  </a:lnTo>
                  <a:lnTo>
                    <a:pt x="22" y="606"/>
                  </a:lnTo>
                  <a:lnTo>
                    <a:pt x="28" y="608"/>
                  </a:lnTo>
                  <a:lnTo>
                    <a:pt x="34" y="608"/>
                  </a:lnTo>
                  <a:lnTo>
                    <a:pt x="40" y="606"/>
                  </a:lnTo>
                  <a:lnTo>
                    <a:pt x="38" y="594"/>
                  </a:lnTo>
                  <a:lnTo>
                    <a:pt x="32" y="594"/>
                  </a:lnTo>
                  <a:lnTo>
                    <a:pt x="26" y="594"/>
                  </a:lnTo>
                  <a:lnTo>
                    <a:pt x="24" y="592"/>
                  </a:lnTo>
                  <a:lnTo>
                    <a:pt x="16" y="58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4" name="Freeform 536">
              <a:extLst>
                <a:ext uri="{FF2B5EF4-FFF2-40B4-BE49-F238E27FC236}">
                  <a16:creationId xmlns:a16="http://schemas.microsoft.com/office/drawing/2014/main" id="{129535F0-6FB6-456C-AB0B-6FEA22E93F81}"/>
                </a:ext>
              </a:extLst>
            </p:cNvPr>
            <p:cNvSpPr>
              <a:spLocks/>
            </p:cNvSpPr>
            <p:nvPr/>
          </p:nvSpPr>
          <p:spPr bwMode="gray">
            <a:xfrm>
              <a:off x="4831094" y="2958688"/>
              <a:ext cx="176564" cy="138902"/>
            </a:xfrm>
            <a:custGeom>
              <a:avLst/>
              <a:gdLst>
                <a:gd name="T0" fmla="*/ 2147483647 w 96"/>
                <a:gd name="T1" fmla="*/ 2147483647 h 76"/>
                <a:gd name="T2" fmla="*/ 2147483647 w 96"/>
                <a:gd name="T3" fmla="*/ 2147483647 h 76"/>
                <a:gd name="T4" fmla="*/ 2147483647 w 96"/>
                <a:gd name="T5" fmla="*/ 2147483647 h 76"/>
                <a:gd name="T6" fmla="*/ 2147483647 w 96"/>
                <a:gd name="T7" fmla="*/ 2147483647 h 76"/>
                <a:gd name="T8" fmla="*/ 2147483647 w 96"/>
                <a:gd name="T9" fmla="*/ 2147483647 h 76"/>
                <a:gd name="T10" fmla="*/ 2147483647 w 96"/>
                <a:gd name="T11" fmla="*/ 2147483647 h 76"/>
                <a:gd name="T12" fmla="*/ 2147483647 w 96"/>
                <a:gd name="T13" fmla="*/ 2147483647 h 76"/>
                <a:gd name="T14" fmla="*/ 2147483647 w 96"/>
                <a:gd name="T15" fmla="*/ 2147483647 h 76"/>
                <a:gd name="T16" fmla="*/ 2147483647 w 96"/>
                <a:gd name="T17" fmla="*/ 2147483647 h 76"/>
                <a:gd name="T18" fmla="*/ 2147483647 w 96"/>
                <a:gd name="T19" fmla="*/ 2147483647 h 76"/>
                <a:gd name="T20" fmla="*/ 2147483647 w 96"/>
                <a:gd name="T21" fmla="*/ 2147483647 h 76"/>
                <a:gd name="T22" fmla="*/ 2147483647 w 96"/>
                <a:gd name="T23" fmla="*/ 2147483647 h 76"/>
                <a:gd name="T24" fmla="*/ 2147483647 w 96"/>
                <a:gd name="T25" fmla="*/ 0 h 76"/>
                <a:gd name="T26" fmla="*/ 2147483647 w 96"/>
                <a:gd name="T27" fmla="*/ 2147483647 h 76"/>
                <a:gd name="T28" fmla="*/ 2147483647 w 96"/>
                <a:gd name="T29" fmla="*/ 2147483647 h 76"/>
                <a:gd name="T30" fmla="*/ 2147483647 w 96"/>
                <a:gd name="T31" fmla="*/ 2147483647 h 76"/>
                <a:gd name="T32" fmla="*/ 2147483647 w 96"/>
                <a:gd name="T33" fmla="*/ 2147483647 h 76"/>
                <a:gd name="T34" fmla="*/ 2147483647 w 96"/>
                <a:gd name="T35" fmla="*/ 2147483647 h 76"/>
                <a:gd name="T36" fmla="*/ 2147483647 w 96"/>
                <a:gd name="T37" fmla="*/ 2147483647 h 76"/>
                <a:gd name="T38" fmla="*/ 2147483647 w 96"/>
                <a:gd name="T39" fmla="*/ 2147483647 h 76"/>
                <a:gd name="T40" fmla="*/ 2147483647 w 96"/>
                <a:gd name="T41" fmla="*/ 2147483647 h 76"/>
                <a:gd name="T42" fmla="*/ 2147483647 w 96"/>
                <a:gd name="T43" fmla="*/ 2147483647 h 76"/>
                <a:gd name="T44" fmla="*/ 2147483647 w 96"/>
                <a:gd name="T45" fmla="*/ 2147483647 h 76"/>
                <a:gd name="T46" fmla="*/ 2147483647 w 96"/>
                <a:gd name="T47" fmla="*/ 2147483647 h 76"/>
                <a:gd name="T48" fmla="*/ 0 w 96"/>
                <a:gd name="T49" fmla="*/ 2147483647 h 76"/>
                <a:gd name="T50" fmla="*/ 2147483647 w 96"/>
                <a:gd name="T51" fmla="*/ 2147483647 h 76"/>
                <a:gd name="T52" fmla="*/ 2147483647 w 96"/>
                <a:gd name="T53" fmla="*/ 2147483647 h 76"/>
                <a:gd name="T54" fmla="*/ 2147483647 w 96"/>
                <a:gd name="T55" fmla="*/ 2147483647 h 76"/>
                <a:gd name="T56" fmla="*/ 2147483647 w 96"/>
                <a:gd name="T57" fmla="*/ 2147483647 h 76"/>
                <a:gd name="T58" fmla="*/ 2147483647 w 96"/>
                <a:gd name="T59" fmla="*/ 2147483647 h 76"/>
                <a:gd name="T60" fmla="*/ 2147483647 w 96"/>
                <a:gd name="T61" fmla="*/ 2147483647 h 76"/>
                <a:gd name="T62" fmla="*/ 2147483647 w 96"/>
                <a:gd name="T63" fmla="*/ 2147483647 h 76"/>
                <a:gd name="T64" fmla="*/ 2147483647 w 96"/>
                <a:gd name="T65" fmla="*/ 2147483647 h 76"/>
                <a:gd name="T66" fmla="*/ 2147483647 w 96"/>
                <a:gd name="T67" fmla="*/ 2147483647 h 76"/>
                <a:gd name="T68" fmla="*/ 2147483647 w 96"/>
                <a:gd name="T69" fmla="*/ 2147483647 h 76"/>
                <a:gd name="T70" fmla="*/ 2147483647 w 96"/>
                <a:gd name="T71" fmla="*/ 2147483647 h 76"/>
                <a:gd name="T72" fmla="*/ 2147483647 w 96"/>
                <a:gd name="T73" fmla="*/ 2147483647 h 76"/>
                <a:gd name="T74" fmla="*/ 2147483647 w 96"/>
                <a:gd name="T75" fmla="*/ 2147483647 h 76"/>
                <a:gd name="T76" fmla="*/ 2147483647 w 96"/>
                <a:gd name="T77" fmla="*/ 2147483647 h 76"/>
                <a:gd name="T78" fmla="*/ 2147483647 w 96"/>
                <a:gd name="T79" fmla="*/ 2147483647 h 76"/>
                <a:gd name="T80" fmla="*/ 2147483647 w 96"/>
                <a:gd name="T81" fmla="*/ 2147483647 h 76"/>
                <a:gd name="T82" fmla="*/ 2147483647 w 96"/>
                <a:gd name="T83" fmla="*/ 2147483647 h 76"/>
                <a:gd name="T84" fmla="*/ 2147483647 w 96"/>
                <a:gd name="T85" fmla="*/ 2147483647 h 76"/>
                <a:gd name="T86" fmla="*/ 2147483647 w 96"/>
                <a:gd name="T87" fmla="*/ 2147483647 h 76"/>
                <a:gd name="T88" fmla="*/ 2147483647 w 96"/>
                <a:gd name="T89" fmla="*/ 2147483647 h 76"/>
                <a:gd name="T90" fmla="*/ 2147483647 w 96"/>
                <a:gd name="T91" fmla="*/ 2147483647 h 76"/>
                <a:gd name="T92" fmla="*/ 2147483647 w 96"/>
                <a:gd name="T93" fmla="*/ 2147483647 h 76"/>
                <a:gd name="T94" fmla="*/ 2147483647 w 96"/>
                <a:gd name="T95" fmla="*/ 2147483647 h 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6"/>
                <a:gd name="T145" fmla="*/ 0 h 76"/>
                <a:gd name="T146" fmla="*/ 96 w 96"/>
                <a:gd name="T147" fmla="*/ 76 h 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6" h="76">
                  <a:moveTo>
                    <a:pt x="96" y="52"/>
                  </a:moveTo>
                  <a:lnTo>
                    <a:pt x="96" y="52"/>
                  </a:lnTo>
                  <a:lnTo>
                    <a:pt x="94" y="50"/>
                  </a:lnTo>
                  <a:lnTo>
                    <a:pt x="92" y="52"/>
                  </a:lnTo>
                  <a:lnTo>
                    <a:pt x="90" y="52"/>
                  </a:lnTo>
                  <a:lnTo>
                    <a:pt x="88" y="52"/>
                  </a:lnTo>
                  <a:lnTo>
                    <a:pt x="86" y="50"/>
                  </a:lnTo>
                  <a:lnTo>
                    <a:pt x="82" y="48"/>
                  </a:lnTo>
                  <a:lnTo>
                    <a:pt x="82" y="46"/>
                  </a:lnTo>
                  <a:lnTo>
                    <a:pt x="82" y="44"/>
                  </a:lnTo>
                  <a:lnTo>
                    <a:pt x="82" y="42"/>
                  </a:lnTo>
                  <a:lnTo>
                    <a:pt x="80" y="42"/>
                  </a:lnTo>
                  <a:lnTo>
                    <a:pt x="82" y="40"/>
                  </a:lnTo>
                  <a:lnTo>
                    <a:pt x="82" y="36"/>
                  </a:lnTo>
                  <a:lnTo>
                    <a:pt x="82" y="32"/>
                  </a:lnTo>
                  <a:lnTo>
                    <a:pt x="82" y="30"/>
                  </a:lnTo>
                  <a:lnTo>
                    <a:pt x="80" y="28"/>
                  </a:lnTo>
                  <a:lnTo>
                    <a:pt x="82" y="24"/>
                  </a:lnTo>
                  <a:lnTo>
                    <a:pt x="80" y="20"/>
                  </a:lnTo>
                  <a:lnTo>
                    <a:pt x="76" y="16"/>
                  </a:lnTo>
                  <a:lnTo>
                    <a:pt x="74" y="12"/>
                  </a:lnTo>
                  <a:lnTo>
                    <a:pt x="72" y="8"/>
                  </a:lnTo>
                  <a:lnTo>
                    <a:pt x="68" y="2"/>
                  </a:lnTo>
                  <a:lnTo>
                    <a:pt x="64" y="0"/>
                  </a:lnTo>
                  <a:lnTo>
                    <a:pt x="62" y="0"/>
                  </a:lnTo>
                  <a:lnTo>
                    <a:pt x="60" y="4"/>
                  </a:lnTo>
                  <a:lnTo>
                    <a:pt x="58" y="6"/>
                  </a:lnTo>
                  <a:lnTo>
                    <a:pt x="54" y="6"/>
                  </a:lnTo>
                  <a:lnTo>
                    <a:pt x="52" y="8"/>
                  </a:lnTo>
                  <a:lnTo>
                    <a:pt x="48" y="10"/>
                  </a:lnTo>
                  <a:lnTo>
                    <a:pt x="46" y="12"/>
                  </a:lnTo>
                  <a:lnTo>
                    <a:pt x="44" y="10"/>
                  </a:lnTo>
                  <a:lnTo>
                    <a:pt x="40" y="8"/>
                  </a:lnTo>
                  <a:lnTo>
                    <a:pt x="36" y="6"/>
                  </a:lnTo>
                  <a:lnTo>
                    <a:pt x="32" y="6"/>
                  </a:lnTo>
                  <a:lnTo>
                    <a:pt x="30" y="4"/>
                  </a:lnTo>
                  <a:lnTo>
                    <a:pt x="26" y="2"/>
                  </a:lnTo>
                  <a:lnTo>
                    <a:pt x="24" y="12"/>
                  </a:lnTo>
                  <a:lnTo>
                    <a:pt x="22" y="16"/>
                  </a:lnTo>
                  <a:lnTo>
                    <a:pt x="16" y="18"/>
                  </a:lnTo>
                  <a:lnTo>
                    <a:pt x="14" y="22"/>
                  </a:lnTo>
                  <a:lnTo>
                    <a:pt x="14" y="28"/>
                  </a:lnTo>
                  <a:lnTo>
                    <a:pt x="14" y="34"/>
                  </a:lnTo>
                  <a:lnTo>
                    <a:pt x="12" y="38"/>
                  </a:lnTo>
                  <a:lnTo>
                    <a:pt x="8" y="42"/>
                  </a:lnTo>
                  <a:lnTo>
                    <a:pt x="6" y="44"/>
                  </a:lnTo>
                  <a:lnTo>
                    <a:pt x="4" y="46"/>
                  </a:lnTo>
                  <a:lnTo>
                    <a:pt x="0" y="46"/>
                  </a:lnTo>
                  <a:lnTo>
                    <a:pt x="4" y="48"/>
                  </a:lnTo>
                  <a:lnTo>
                    <a:pt x="6" y="54"/>
                  </a:lnTo>
                  <a:lnTo>
                    <a:pt x="6" y="56"/>
                  </a:lnTo>
                  <a:lnTo>
                    <a:pt x="8" y="58"/>
                  </a:lnTo>
                  <a:lnTo>
                    <a:pt x="10" y="58"/>
                  </a:lnTo>
                  <a:lnTo>
                    <a:pt x="12" y="60"/>
                  </a:lnTo>
                  <a:lnTo>
                    <a:pt x="14" y="62"/>
                  </a:lnTo>
                  <a:lnTo>
                    <a:pt x="16" y="58"/>
                  </a:lnTo>
                  <a:lnTo>
                    <a:pt x="18" y="58"/>
                  </a:lnTo>
                  <a:lnTo>
                    <a:pt x="20" y="58"/>
                  </a:lnTo>
                  <a:lnTo>
                    <a:pt x="24" y="60"/>
                  </a:lnTo>
                  <a:lnTo>
                    <a:pt x="26" y="62"/>
                  </a:lnTo>
                  <a:lnTo>
                    <a:pt x="22" y="62"/>
                  </a:lnTo>
                  <a:lnTo>
                    <a:pt x="20" y="64"/>
                  </a:lnTo>
                  <a:lnTo>
                    <a:pt x="22" y="66"/>
                  </a:lnTo>
                  <a:lnTo>
                    <a:pt x="26" y="70"/>
                  </a:lnTo>
                  <a:lnTo>
                    <a:pt x="28" y="70"/>
                  </a:lnTo>
                  <a:lnTo>
                    <a:pt x="30" y="70"/>
                  </a:lnTo>
                  <a:lnTo>
                    <a:pt x="32" y="72"/>
                  </a:lnTo>
                  <a:lnTo>
                    <a:pt x="30" y="74"/>
                  </a:lnTo>
                  <a:lnTo>
                    <a:pt x="30" y="76"/>
                  </a:lnTo>
                  <a:lnTo>
                    <a:pt x="32" y="76"/>
                  </a:lnTo>
                  <a:lnTo>
                    <a:pt x="36" y="76"/>
                  </a:lnTo>
                  <a:lnTo>
                    <a:pt x="38" y="76"/>
                  </a:lnTo>
                  <a:lnTo>
                    <a:pt x="40" y="76"/>
                  </a:lnTo>
                  <a:lnTo>
                    <a:pt x="42" y="76"/>
                  </a:lnTo>
                  <a:lnTo>
                    <a:pt x="46" y="76"/>
                  </a:lnTo>
                  <a:lnTo>
                    <a:pt x="52" y="76"/>
                  </a:lnTo>
                  <a:lnTo>
                    <a:pt x="56" y="74"/>
                  </a:lnTo>
                  <a:lnTo>
                    <a:pt x="58" y="72"/>
                  </a:lnTo>
                  <a:lnTo>
                    <a:pt x="62" y="70"/>
                  </a:lnTo>
                  <a:lnTo>
                    <a:pt x="66" y="68"/>
                  </a:lnTo>
                  <a:lnTo>
                    <a:pt x="68" y="72"/>
                  </a:lnTo>
                  <a:lnTo>
                    <a:pt x="70" y="72"/>
                  </a:lnTo>
                  <a:lnTo>
                    <a:pt x="74" y="72"/>
                  </a:lnTo>
                  <a:lnTo>
                    <a:pt x="78" y="70"/>
                  </a:lnTo>
                  <a:lnTo>
                    <a:pt x="82" y="70"/>
                  </a:lnTo>
                  <a:lnTo>
                    <a:pt x="86" y="72"/>
                  </a:lnTo>
                  <a:lnTo>
                    <a:pt x="90" y="70"/>
                  </a:lnTo>
                  <a:lnTo>
                    <a:pt x="88" y="68"/>
                  </a:lnTo>
                  <a:lnTo>
                    <a:pt x="88" y="66"/>
                  </a:lnTo>
                  <a:lnTo>
                    <a:pt x="92" y="66"/>
                  </a:lnTo>
                  <a:lnTo>
                    <a:pt x="94" y="58"/>
                  </a:lnTo>
                  <a:lnTo>
                    <a:pt x="92" y="52"/>
                  </a:lnTo>
                  <a:lnTo>
                    <a:pt x="96" y="5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5" name="Freeform 537">
              <a:extLst>
                <a:ext uri="{FF2B5EF4-FFF2-40B4-BE49-F238E27FC236}">
                  <a16:creationId xmlns:a16="http://schemas.microsoft.com/office/drawing/2014/main" id="{F3973201-E860-4408-96CD-F5D24F501077}"/>
                </a:ext>
              </a:extLst>
            </p:cNvPr>
            <p:cNvSpPr>
              <a:spLocks/>
            </p:cNvSpPr>
            <p:nvPr/>
          </p:nvSpPr>
          <p:spPr bwMode="gray">
            <a:xfrm>
              <a:off x="5445537" y="3606116"/>
              <a:ext cx="18833" cy="30605"/>
            </a:xfrm>
            <a:custGeom>
              <a:avLst/>
              <a:gdLst>
                <a:gd name="T0" fmla="*/ 0 w 10"/>
                <a:gd name="T1" fmla="*/ 2147483647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0 h 16"/>
                <a:gd name="T12" fmla="*/ 2147483647 w 10"/>
                <a:gd name="T13" fmla="*/ 0 h 16"/>
                <a:gd name="T14" fmla="*/ 2147483647 w 10"/>
                <a:gd name="T15" fmla="*/ 0 h 16"/>
                <a:gd name="T16" fmla="*/ 2147483647 w 10"/>
                <a:gd name="T17" fmla="*/ 2147483647 h 16"/>
                <a:gd name="T18" fmla="*/ 2147483647 w 10"/>
                <a:gd name="T19" fmla="*/ 2147483647 h 16"/>
                <a:gd name="T20" fmla="*/ 0 w 10"/>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6"/>
                <a:gd name="T35" fmla="*/ 10 w 1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6">
                  <a:moveTo>
                    <a:pt x="0" y="12"/>
                  </a:moveTo>
                  <a:lnTo>
                    <a:pt x="6" y="14"/>
                  </a:lnTo>
                  <a:lnTo>
                    <a:pt x="10" y="16"/>
                  </a:lnTo>
                  <a:lnTo>
                    <a:pt x="10" y="4"/>
                  </a:lnTo>
                  <a:lnTo>
                    <a:pt x="8" y="0"/>
                  </a:lnTo>
                  <a:lnTo>
                    <a:pt x="6" y="0"/>
                  </a:lnTo>
                  <a:lnTo>
                    <a:pt x="4" y="4"/>
                  </a:lnTo>
                  <a:lnTo>
                    <a:pt x="2" y="12"/>
                  </a:lnTo>
                  <a:lnTo>
                    <a:pt x="0"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6" name="Freeform 538">
              <a:extLst>
                <a:ext uri="{FF2B5EF4-FFF2-40B4-BE49-F238E27FC236}">
                  <a16:creationId xmlns:a16="http://schemas.microsoft.com/office/drawing/2014/main" id="{4DA5130D-228D-4A7E-9F3C-0C5B03A9E4A9}"/>
                </a:ext>
              </a:extLst>
            </p:cNvPr>
            <p:cNvSpPr>
              <a:spLocks/>
            </p:cNvSpPr>
            <p:nvPr/>
          </p:nvSpPr>
          <p:spPr bwMode="gray">
            <a:xfrm>
              <a:off x="2983061" y="3808586"/>
              <a:ext cx="25896" cy="16480"/>
            </a:xfrm>
            <a:custGeom>
              <a:avLst/>
              <a:gdLst>
                <a:gd name="T0" fmla="*/ 0 w 14"/>
                <a:gd name="T1" fmla="*/ 0 h 8"/>
                <a:gd name="T2" fmla="*/ 0 w 14"/>
                <a:gd name="T3" fmla="*/ 2147483647 h 8"/>
                <a:gd name="T4" fmla="*/ 0 w 14"/>
                <a:gd name="T5" fmla="*/ 2147483647 h 8"/>
                <a:gd name="T6" fmla="*/ 2147483647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0 h 8"/>
                <a:gd name="T22" fmla="*/ 0 w 14"/>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8"/>
                <a:gd name="T38" fmla="*/ 14 w 14"/>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8">
                  <a:moveTo>
                    <a:pt x="0" y="0"/>
                  </a:moveTo>
                  <a:lnTo>
                    <a:pt x="0" y="8"/>
                  </a:lnTo>
                  <a:lnTo>
                    <a:pt x="12" y="8"/>
                  </a:lnTo>
                  <a:lnTo>
                    <a:pt x="14" y="4"/>
                  </a:lnTo>
                  <a:lnTo>
                    <a:pt x="1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7" name="Freeform 539">
              <a:extLst>
                <a:ext uri="{FF2B5EF4-FFF2-40B4-BE49-F238E27FC236}">
                  <a16:creationId xmlns:a16="http://schemas.microsoft.com/office/drawing/2014/main" id="{257D5965-66D7-45A5-B44D-3BF2A4ED9192}"/>
                </a:ext>
              </a:extLst>
            </p:cNvPr>
            <p:cNvSpPr>
              <a:spLocks/>
            </p:cNvSpPr>
            <p:nvPr/>
          </p:nvSpPr>
          <p:spPr bwMode="gray">
            <a:xfrm>
              <a:off x="4190758" y="3149386"/>
              <a:ext cx="56501" cy="145966"/>
            </a:xfrm>
            <a:custGeom>
              <a:avLst/>
              <a:gdLst>
                <a:gd name="T0" fmla="*/ 2147483647 w 30"/>
                <a:gd name="T1" fmla="*/ 2147483647 h 78"/>
                <a:gd name="T2" fmla="*/ 2147483647 w 30"/>
                <a:gd name="T3" fmla="*/ 2147483647 h 78"/>
                <a:gd name="T4" fmla="*/ 2147483647 w 30"/>
                <a:gd name="T5" fmla="*/ 2147483647 h 78"/>
                <a:gd name="T6" fmla="*/ 2147483647 w 30"/>
                <a:gd name="T7" fmla="*/ 2147483647 h 78"/>
                <a:gd name="T8" fmla="*/ 2147483647 w 30"/>
                <a:gd name="T9" fmla="*/ 2147483647 h 78"/>
                <a:gd name="T10" fmla="*/ 2147483647 w 30"/>
                <a:gd name="T11" fmla="*/ 2147483647 h 78"/>
                <a:gd name="T12" fmla="*/ 2147483647 w 30"/>
                <a:gd name="T13" fmla="*/ 2147483647 h 78"/>
                <a:gd name="T14" fmla="*/ 2147483647 w 30"/>
                <a:gd name="T15" fmla="*/ 2147483647 h 78"/>
                <a:gd name="T16" fmla="*/ 2147483647 w 30"/>
                <a:gd name="T17" fmla="*/ 2147483647 h 78"/>
                <a:gd name="T18" fmla="*/ 2147483647 w 30"/>
                <a:gd name="T19" fmla="*/ 2147483647 h 78"/>
                <a:gd name="T20" fmla="*/ 2147483647 w 30"/>
                <a:gd name="T21" fmla="*/ 2147483647 h 78"/>
                <a:gd name="T22" fmla="*/ 2147483647 w 30"/>
                <a:gd name="T23" fmla="*/ 2147483647 h 78"/>
                <a:gd name="T24" fmla="*/ 2147483647 w 30"/>
                <a:gd name="T25" fmla="*/ 2147483647 h 78"/>
                <a:gd name="T26" fmla="*/ 2147483647 w 30"/>
                <a:gd name="T27" fmla="*/ 2147483647 h 78"/>
                <a:gd name="T28" fmla="*/ 2147483647 w 30"/>
                <a:gd name="T29" fmla="*/ 2147483647 h 78"/>
                <a:gd name="T30" fmla="*/ 2147483647 w 30"/>
                <a:gd name="T31" fmla="*/ 2147483647 h 78"/>
                <a:gd name="T32" fmla="*/ 2147483647 w 30"/>
                <a:gd name="T33" fmla="*/ 2147483647 h 78"/>
                <a:gd name="T34" fmla="*/ 2147483647 w 30"/>
                <a:gd name="T35" fmla="*/ 2147483647 h 78"/>
                <a:gd name="T36" fmla="*/ 2147483647 w 30"/>
                <a:gd name="T37" fmla="*/ 2147483647 h 78"/>
                <a:gd name="T38" fmla="*/ 2147483647 w 30"/>
                <a:gd name="T39" fmla="*/ 2147483647 h 78"/>
                <a:gd name="T40" fmla="*/ 2147483647 w 30"/>
                <a:gd name="T41" fmla="*/ 2147483647 h 78"/>
                <a:gd name="T42" fmla="*/ 2147483647 w 30"/>
                <a:gd name="T43" fmla="*/ 0 h 78"/>
                <a:gd name="T44" fmla="*/ 2147483647 w 30"/>
                <a:gd name="T45" fmla="*/ 0 h 78"/>
                <a:gd name="T46" fmla="*/ 2147483647 w 30"/>
                <a:gd name="T47" fmla="*/ 2147483647 h 78"/>
                <a:gd name="T48" fmla="*/ 2147483647 w 30"/>
                <a:gd name="T49" fmla="*/ 2147483647 h 78"/>
                <a:gd name="T50" fmla="*/ 2147483647 w 30"/>
                <a:gd name="T51" fmla="*/ 2147483647 h 78"/>
                <a:gd name="T52" fmla="*/ 2147483647 w 30"/>
                <a:gd name="T53" fmla="*/ 2147483647 h 78"/>
                <a:gd name="T54" fmla="*/ 2147483647 w 30"/>
                <a:gd name="T55" fmla="*/ 2147483647 h 78"/>
                <a:gd name="T56" fmla="*/ 0 w 30"/>
                <a:gd name="T57" fmla="*/ 2147483647 h 78"/>
                <a:gd name="T58" fmla="*/ 0 w 30"/>
                <a:gd name="T59" fmla="*/ 2147483647 h 78"/>
                <a:gd name="T60" fmla="*/ 2147483647 w 30"/>
                <a:gd name="T61" fmla="*/ 2147483647 h 78"/>
                <a:gd name="T62" fmla="*/ 2147483647 w 30"/>
                <a:gd name="T63" fmla="*/ 2147483647 h 78"/>
                <a:gd name="T64" fmla="*/ 2147483647 w 30"/>
                <a:gd name="T65" fmla="*/ 2147483647 h 78"/>
                <a:gd name="T66" fmla="*/ 2147483647 w 30"/>
                <a:gd name="T67" fmla="*/ 2147483647 h 78"/>
                <a:gd name="T68" fmla="*/ 2147483647 w 30"/>
                <a:gd name="T69" fmla="*/ 2147483647 h 78"/>
                <a:gd name="T70" fmla="*/ 2147483647 w 30"/>
                <a:gd name="T71" fmla="*/ 2147483647 h 78"/>
                <a:gd name="T72" fmla="*/ 2147483647 w 30"/>
                <a:gd name="T73" fmla="*/ 2147483647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
                <a:gd name="T112" fmla="*/ 0 h 78"/>
                <a:gd name="T113" fmla="*/ 30 w 30"/>
                <a:gd name="T114" fmla="*/ 78 h 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 h="78">
                  <a:moveTo>
                    <a:pt x="26" y="76"/>
                  </a:moveTo>
                  <a:lnTo>
                    <a:pt x="26" y="76"/>
                  </a:lnTo>
                  <a:lnTo>
                    <a:pt x="26" y="74"/>
                  </a:lnTo>
                  <a:lnTo>
                    <a:pt x="26" y="68"/>
                  </a:lnTo>
                  <a:lnTo>
                    <a:pt x="26" y="66"/>
                  </a:lnTo>
                  <a:lnTo>
                    <a:pt x="24" y="66"/>
                  </a:lnTo>
                  <a:lnTo>
                    <a:pt x="22" y="64"/>
                  </a:lnTo>
                  <a:lnTo>
                    <a:pt x="22" y="60"/>
                  </a:lnTo>
                  <a:lnTo>
                    <a:pt x="24" y="58"/>
                  </a:lnTo>
                  <a:lnTo>
                    <a:pt x="26" y="54"/>
                  </a:lnTo>
                  <a:lnTo>
                    <a:pt x="24" y="52"/>
                  </a:lnTo>
                  <a:lnTo>
                    <a:pt x="22" y="48"/>
                  </a:lnTo>
                  <a:lnTo>
                    <a:pt x="22" y="46"/>
                  </a:lnTo>
                  <a:lnTo>
                    <a:pt x="24" y="44"/>
                  </a:lnTo>
                  <a:lnTo>
                    <a:pt x="26" y="40"/>
                  </a:lnTo>
                  <a:lnTo>
                    <a:pt x="24" y="36"/>
                  </a:lnTo>
                  <a:lnTo>
                    <a:pt x="24" y="32"/>
                  </a:lnTo>
                  <a:lnTo>
                    <a:pt x="28" y="28"/>
                  </a:lnTo>
                  <a:lnTo>
                    <a:pt x="28" y="26"/>
                  </a:lnTo>
                  <a:lnTo>
                    <a:pt x="28" y="24"/>
                  </a:lnTo>
                  <a:lnTo>
                    <a:pt x="26" y="18"/>
                  </a:lnTo>
                  <a:lnTo>
                    <a:pt x="24" y="14"/>
                  </a:lnTo>
                  <a:lnTo>
                    <a:pt x="26" y="14"/>
                  </a:lnTo>
                  <a:lnTo>
                    <a:pt x="30" y="8"/>
                  </a:lnTo>
                  <a:lnTo>
                    <a:pt x="30" y="6"/>
                  </a:lnTo>
                  <a:lnTo>
                    <a:pt x="28" y="4"/>
                  </a:lnTo>
                  <a:lnTo>
                    <a:pt x="28" y="2"/>
                  </a:lnTo>
                  <a:lnTo>
                    <a:pt x="24" y="2"/>
                  </a:lnTo>
                  <a:lnTo>
                    <a:pt x="16" y="2"/>
                  </a:lnTo>
                  <a:lnTo>
                    <a:pt x="14" y="4"/>
                  </a:lnTo>
                  <a:lnTo>
                    <a:pt x="14" y="0"/>
                  </a:lnTo>
                  <a:lnTo>
                    <a:pt x="12" y="0"/>
                  </a:lnTo>
                  <a:lnTo>
                    <a:pt x="8" y="0"/>
                  </a:lnTo>
                  <a:lnTo>
                    <a:pt x="4" y="2"/>
                  </a:lnTo>
                  <a:lnTo>
                    <a:pt x="8" y="12"/>
                  </a:lnTo>
                  <a:lnTo>
                    <a:pt x="8" y="18"/>
                  </a:lnTo>
                  <a:lnTo>
                    <a:pt x="8" y="26"/>
                  </a:lnTo>
                  <a:lnTo>
                    <a:pt x="4" y="26"/>
                  </a:lnTo>
                  <a:lnTo>
                    <a:pt x="2" y="40"/>
                  </a:lnTo>
                  <a:lnTo>
                    <a:pt x="0" y="40"/>
                  </a:lnTo>
                  <a:lnTo>
                    <a:pt x="0" y="52"/>
                  </a:lnTo>
                  <a:lnTo>
                    <a:pt x="2" y="50"/>
                  </a:lnTo>
                  <a:lnTo>
                    <a:pt x="2" y="52"/>
                  </a:lnTo>
                  <a:lnTo>
                    <a:pt x="2" y="54"/>
                  </a:lnTo>
                  <a:lnTo>
                    <a:pt x="2" y="56"/>
                  </a:lnTo>
                  <a:lnTo>
                    <a:pt x="4" y="60"/>
                  </a:lnTo>
                  <a:lnTo>
                    <a:pt x="4" y="68"/>
                  </a:lnTo>
                  <a:lnTo>
                    <a:pt x="2" y="78"/>
                  </a:lnTo>
                  <a:lnTo>
                    <a:pt x="14" y="78"/>
                  </a:lnTo>
                  <a:lnTo>
                    <a:pt x="26" y="7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8" name="Freeform 540">
              <a:extLst>
                <a:ext uri="{FF2B5EF4-FFF2-40B4-BE49-F238E27FC236}">
                  <a16:creationId xmlns:a16="http://schemas.microsoft.com/office/drawing/2014/main" id="{A4BCCCEE-F95C-41A0-9DE2-FEC57BC1F242}"/>
                </a:ext>
              </a:extLst>
            </p:cNvPr>
            <p:cNvSpPr>
              <a:spLocks/>
            </p:cNvSpPr>
            <p:nvPr/>
          </p:nvSpPr>
          <p:spPr bwMode="gray">
            <a:xfrm>
              <a:off x="4682782" y="2760928"/>
              <a:ext cx="226002" cy="185990"/>
            </a:xfrm>
            <a:custGeom>
              <a:avLst/>
              <a:gdLst>
                <a:gd name="T0" fmla="*/ 2147483647 w 122"/>
                <a:gd name="T1" fmla="*/ 2147483647 h 100"/>
                <a:gd name="T2" fmla="*/ 2147483647 w 122"/>
                <a:gd name="T3" fmla="*/ 2147483647 h 100"/>
                <a:gd name="T4" fmla="*/ 2147483647 w 122"/>
                <a:gd name="T5" fmla="*/ 2147483647 h 100"/>
                <a:gd name="T6" fmla="*/ 2147483647 w 122"/>
                <a:gd name="T7" fmla="*/ 2147483647 h 100"/>
                <a:gd name="T8" fmla="*/ 2147483647 w 122"/>
                <a:gd name="T9" fmla="*/ 0 h 100"/>
                <a:gd name="T10" fmla="*/ 2147483647 w 122"/>
                <a:gd name="T11" fmla="*/ 2147483647 h 100"/>
                <a:gd name="T12" fmla="*/ 2147483647 w 122"/>
                <a:gd name="T13" fmla="*/ 2147483647 h 100"/>
                <a:gd name="T14" fmla="*/ 2147483647 w 122"/>
                <a:gd name="T15" fmla="*/ 2147483647 h 100"/>
                <a:gd name="T16" fmla="*/ 0 w 122"/>
                <a:gd name="T17" fmla="*/ 2147483647 h 100"/>
                <a:gd name="T18" fmla="*/ 2147483647 w 122"/>
                <a:gd name="T19" fmla="*/ 2147483647 h 100"/>
                <a:gd name="T20" fmla="*/ 2147483647 w 122"/>
                <a:gd name="T21" fmla="*/ 2147483647 h 100"/>
                <a:gd name="T22" fmla="*/ 2147483647 w 122"/>
                <a:gd name="T23" fmla="*/ 2147483647 h 100"/>
                <a:gd name="T24" fmla="*/ 2147483647 w 122"/>
                <a:gd name="T25" fmla="*/ 2147483647 h 100"/>
                <a:gd name="T26" fmla="*/ 2147483647 w 122"/>
                <a:gd name="T27" fmla="*/ 2147483647 h 100"/>
                <a:gd name="T28" fmla="*/ 2147483647 w 122"/>
                <a:gd name="T29" fmla="*/ 2147483647 h 100"/>
                <a:gd name="T30" fmla="*/ 2147483647 w 122"/>
                <a:gd name="T31" fmla="*/ 2147483647 h 100"/>
                <a:gd name="T32" fmla="*/ 2147483647 w 122"/>
                <a:gd name="T33" fmla="*/ 2147483647 h 100"/>
                <a:gd name="T34" fmla="*/ 2147483647 w 122"/>
                <a:gd name="T35" fmla="*/ 2147483647 h 100"/>
                <a:gd name="T36" fmla="*/ 2147483647 w 122"/>
                <a:gd name="T37" fmla="*/ 2147483647 h 100"/>
                <a:gd name="T38" fmla="*/ 2147483647 w 122"/>
                <a:gd name="T39" fmla="*/ 2147483647 h 100"/>
                <a:gd name="T40" fmla="*/ 2147483647 w 122"/>
                <a:gd name="T41" fmla="*/ 2147483647 h 100"/>
                <a:gd name="T42" fmla="*/ 2147483647 w 122"/>
                <a:gd name="T43" fmla="*/ 2147483647 h 100"/>
                <a:gd name="T44" fmla="*/ 2147483647 w 122"/>
                <a:gd name="T45" fmla="*/ 2147483647 h 100"/>
                <a:gd name="T46" fmla="*/ 2147483647 w 122"/>
                <a:gd name="T47" fmla="*/ 2147483647 h 100"/>
                <a:gd name="T48" fmla="*/ 2147483647 w 122"/>
                <a:gd name="T49" fmla="*/ 2147483647 h 100"/>
                <a:gd name="T50" fmla="*/ 2147483647 w 122"/>
                <a:gd name="T51" fmla="*/ 2147483647 h 100"/>
                <a:gd name="T52" fmla="*/ 2147483647 w 122"/>
                <a:gd name="T53" fmla="*/ 2147483647 h 100"/>
                <a:gd name="T54" fmla="*/ 2147483647 w 122"/>
                <a:gd name="T55" fmla="*/ 2147483647 h 100"/>
                <a:gd name="T56" fmla="*/ 2147483647 w 122"/>
                <a:gd name="T57" fmla="*/ 2147483647 h 100"/>
                <a:gd name="T58" fmla="*/ 2147483647 w 122"/>
                <a:gd name="T59" fmla="*/ 2147483647 h 100"/>
                <a:gd name="T60" fmla="*/ 2147483647 w 122"/>
                <a:gd name="T61" fmla="*/ 2147483647 h 100"/>
                <a:gd name="T62" fmla="*/ 2147483647 w 122"/>
                <a:gd name="T63" fmla="*/ 2147483647 h 100"/>
                <a:gd name="T64" fmla="*/ 2147483647 w 122"/>
                <a:gd name="T65" fmla="*/ 2147483647 h 100"/>
                <a:gd name="T66" fmla="*/ 2147483647 w 122"/>
                <a:gd name="T67" fmla="*/ 2147483647 h 100"/>
                <a:gd name="T68" fmla="*/ 2147483647 w 122"/>
                <a:gd name="T69" fmla="*/ 2147483647 h 100"/>
                <a:gd name="T70" fmla="*/ 2147483647 w 122"/>
                <a:gd name="T71" fmla="*/ 2147483647 h 100"/>
                <a:gd name="T72" fmla="*/ 2147483647 w 122"/>
                <a:gd name="T73" fmla="*/ 2147483647 h 100"/>
                <a:gd name="T74" fmla="*/ 2147483647 w 122"/>
                <a:gd name="T75" fmla="*/ 2147483647 h 100"/>
                <a:gd name="T76" fmla="*/ 2147483647 w 122"/>
                <a:gd name="T77" fmla="*/ 2147483647 h 100"/>
                <a:gd name="T78" fmla="*/ 2147483647 w 122"/>
                <a:gd name="T79" fmla="*/ 2147483647 h 100"/>
                <a:gd name="T80" fmla="*/ 2147483647 w 122"/>
                <a:gd name="T81" fmla="*/ 2147483647 h 100"/>
                <a:gd name="T82" fmla="*/ 2147483647 w 122"/>
                <a:gd name="T83" fmla="*/ 2147483647 h 100"/>
                <a:gd name="T84" fmla="*/ 2147483647 w 122"/>
                <a:gd name="T85" fmla="*/ 2147483647 h 100"/>
                <a:gd name="T86" fmla="*/ 2147483647 w 122"/>
                <a:gd name="T87" fmla="*/ 2147483647 h 100"/>
                <a:gd name="T88" fmla="*/ 2147483647 w 122"/>
                <a:gd name="T89" fmla="*/ 2147483647 h 100"/>
                <a:gd name="T90" fmla="*/ 2147483647 w 122"/>
                <a:gd name="T91" fmla="*/ 2147483647 h 100"/>
                <a:gd name="T92" fmla="*/ 2147483647 w 122"/>
                <a:gd name="T93" fmla="*/ 2147483647 h 100"/>
                <a:gd name="T94" fmla="*/ 2147483647 w 122"/>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2"/>
                <a:gd name="T145" fmla="*/ 0 h 100"/>
                <a:gd name="T146" fmla="*/ 122 w 122"/>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2" h="100">
                  <a:moveTo>
                    <a:pt x="62" y="6"/>
                  </a:moveTo>
                  <a:lnTo>
                    <a:pt x="62" y="6"/>
                  </a:lnTo>
                  <a:lnTo>
                    <a:pt x="60" y="6"/>
                  </a:lnTo>
                  <a:lnTo>
                    <a:pt x="60" y="4"/>
                  </a:lnTo>
                  <a:lnTo>
                    <a:pt x="58" y="4"/>
                  </a:lnTo>
                  <a:lnTo>
                    <a:pt x="54" y="6"/>
                  </a:lnTo>
                  <a:lnTo>
                    <a:pt x="50" y="8"/>
                  </a:lnTo>
                  <a:lnTo>
                    <a:pt x="48" y="4"/>
                  </a:lnTo>
                  <a:lnTo>
                    <a:pt x="50" y="4"/>
                  </a:lnTo>
                  <a:lnTo>
                    <a:pt x="50" y="2"/>
                  </a:lnTo>
                  <a:lnTo>
                    <a:pt x="48" y="0"/>
                  </a:lnTo>
                  <a:lnTo>
                    <a:pt x="44" y="0"/>
                  </a:lnTo>
                  <a:lnTo>
                    <a:pt x="36" y="2"/>
                  </a:lnTo>
                  <a:lnTo>
                    <a:pt x="28" y="6"/>
                  </a:lnTo>
                  <a:lnTo>
                    <a:pt x="18" y="12"/>
                  </a:lnTo>
                  <a:lnTo>
                    <a:pt x="8" y="14"/>
                  </a:lnTo>
                  <a:lnTo>
                    <a:pt x="2" y="14"/>
                  </a:lnTo>
                  <a:lnTo>
                    <a:pt x="2" y="18"/>
                  </a:lnTo>
                  <a:lnTo>
                    <a:pt x="0" y="24"/>
                  </a:lnTo>
                  <a:lnTo>
                    <a:pt x="0" y="26"/>
                  </a:lnTo>
                  <a:lnTo>
                    <a:pt x="2" y="30"/>
                  </a:lnTo>
                  <a:lnTo>
                    <a:pt x="2" y="32"/>
                  </a:lnTo>
                  <a:lnTo>
                    <a:pt x="2" y="40"/>
                  </a:lnTo>
                  <a:lnTo>
                    <a:pt x="4" y="44"/>
                  </a:lnTo>
                  <a:lnTo>
                    <a:pt x="4" y="46"/>
                  </a:lnTo>
                  <a:lnTo>
                    <a:pt x="6" y="62"/>
                  </a:lnTo>
                  <a:lnTo>
                    <a:pt x="8" y="64"/>
                  </a:lnTo>
                  <a:lnTo>
                    <a:pt x="14" y="64"/>
                  </a:lnTo>
                  <a:lnTo>
                    <a:pt x="18" y="66"/>
                  </a:lnTo>
                  <a:lnTo>
                    <a:pt x="18" y="68"/>
                  </a:lnTo>
                  <a:lnTo>
                    <a:pt x="20" y="68"/>
                  </a:lnTo>
                  <a:lnTo>
                    <a:pt x="22" y="66"/>
                  </a:lnTo>
                  <a:lnTo>
                    <a:pt x="24" y="68"/>
                  </a:lnTo>
                  <a:lnTo>
                    <a:pt x="28" y="72"/>
                  </a:lnTo>
                  <a:lnTo>
                    <a:pt x="32" y="74"/>
                  </a:lnTo>
                  <a:lnTo>
                    <a:pt x="36" y="72"/>
                  </a:lnTo>
                  <a:lnTo>
                    <a:pt x="38" y="74"/>
                  </a:lnTo>
                  <a:lnTo>
                    <a:pt x="38" y="76"/>
                  </a:lnTo>
                  <a:lnTo>
                    <a:pt x="40" y="78"/>
                  </a:lnTo>
                  <a:lnTo>
                    <a:pt x="42" y="78"/>
                  </a:lnTo>
                  <a:lnTo>
                    <a:pt x="44" y="82"/>
                  </a:lnTo>
                  <a:lnTo>
                    <a:pt x="46" y="84"/>
                  </a:lnTo>
                  <a:lnTo>
                    <a:pt x="50" y="86"/>
                  </a:lnTo>
                  <a:lnTo>
                    <a:pt x="54" y="84"/>
                  </a:lnTo>
                  <a:lnTo>
                    <a:pt x="58" y="86"/>
                  </a:lnTo>
                  <a:lnTo>
                    <a:pt x="64" y="88"/>
                  </a:lnTo>
                  <a:lnTo>
                    <a:pt x="68" y="90"/>
                  </a:lnTo>
                  <a:lnTo>
                    <a:pt x="70" y="90"/>
                  </a:lnTo>
                  <a:lnTo>
                    <a:pt x="72" y="88"/>
                  </a:lnTo>
                  <a:lnTo>
                    <a:pt x="74" y="86"/>
                  </a:lnTo>
                  <a:lnTo>
                    <a:pt x="78" y="86"/>
                  </a:lnTo>
                  <a:lnTo>
                    <a:pt x="84" y="82"/>
                  </a:lnTo>
                  <a:lnTo>
                    <a:pt x="86" y="80"/>
                  </a:lnTo>
                  <a:lnTo>
                    <a:pt x="90" y="82"/>
                  </a:lnTo>
                  <a:lnTo>
                    <a:pt x="94" y="84"/>
                  </a:lnTo>
                  <a:lnTo>
                    <a:pt x="98" y="86"/>
                  </a:lnTo>
                  <a:lnTo>
                    <a:pt x="100" y="88"/>
                  </a:lnTo>
                  <a:lnTo>
                    <a:pt x="102" y="90"/>
                  </a:lnTo>
                  <a:lnTo>
                    <a:pt x="104" y="92"/>
                  </a:lnTo>
                  <a:lnTo>
                    <a:pt x="106" y="96"/>
                  </a:lnTo>
                  <a:lnTo>
                    <a:pt x="108" y="100"/>
                  </a:lnTo>
                  <a:lnTo>
                    <a:pt x="110" y="100"/>
                  </a:lnTo>
                  <a:lnTo>
                    <a:pt x="114" y="100"/>
                  </a:lnTo>
                  <a:lnTo>
                    <a:pt x="116" y="98"/>
                  </a:lnTo>
                  <a:lnTo>
                    <a:pt x="118" y="96"/>
                  </a:lnTo>
                  <a:lnTo>
                    <a:pt x="116" y="92"/>
                  </a:lnTo>
                  <a:lnTo>
                    <a:pt x="116" y="88"/>
                  </a:lnTo>
                  <a:lnTo>
                    <a:pt x="118" y="82"/>
                  </a:lnTo>
                  <a:lnTo>
                    <a:pt x="122" y="74"/>
                  </a:lnTo>
                  <a:lnTo>
                    <a:pt x="120" y="70"/>
                  </a:lnTo>
                  <a:lnTo>
                    <a:pt x="118" y="68"/>
                  </a:lnTo>
                  <a:lnTo>
                    <a:pt x="118" y="66"/>
                  </a:lnTo>
                  <a:lnTo>
                    <a:pt x="120" y="62"/>
                  </a:lnTo>
                  <a:lnTo>
                    <a:pt x="120" y="58"/>
                  </a:lnTo>
                  <a:lnTo>
                    <a:pt x="120" y="56"/>
                  </a:lnTo>
                  <a:lnTo>
                    <a:pt x="120" y="54"/>
                  </a:lnTo>
                  <a:lnTo>
                    <a:pt x="118" y="48"/>
                  </a:lnTo>
                  <a:lnTo>
                    <a:pt x="118" y="46"/>
                  </a:lnTo>
                  <a:lnTo>
                    <a:pt x="120" y="46"/>
                  </a:lnTo>
                  <a:lnTo>
                    <a:pt x="120" y="36"/>
                  </a:lnTo>
                  <a:lnTo>
                    <a:pt x="122" y="32"/>
                  </a:lnTo>
                  <a:lnTo>
                    <a:pt x="122" y="28"/>
                  </a:lnTo>
                  <a:lnTo>
                    <a:pt x="122" y="26"/>
                  </a:lnTo>
                  <a:lnTo>
                    <a:pt x="120" y="20"/>
                  </a:lnTo>
                  <a:lnTo>
                    <a:pt x="118" y="16"/>
                  </a:lnTo>
                  <a:lnTo>
                    <a:pt x="120" y="16"/>
                  </a:lnTo>
                  <a:lnTo>
                    <a:pt x="116" y="14"/>
                  </a:lnTo>
                  <a:lnTo>
                    <a:pt x="108" y="12"/>
                  </a:lnTo>
                  <a:lnTo>
                    <a:pt x="102" y="12"/>
                  </a:lnTo>
                  <a:lnTo>
                    <a:pt x="96" y="14"/>
                  </a:lnTo>
                  <a:lnTo>
                    <a:pt x="90" y="14"/>
                  </a:lnTo>
                  <a:lnTo>
                    <a:pt x="84" y="12"/>
                  </a:lnTo>
                  <a:lnTo>
                    <a:pt x="76" y="12"/>
                  </a:lnTo>
                  <a:lnTo>
                    <a:pt x="66" y="8"/>
                  </a:lnTo>
                  <a:lnTo>
                    <a:pt x="62" y="4"/>
                  </a:lnTo>
                  <a:lnTo>
                    <a:pt x="62" y="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79" name="Freeform 541">
              <a:extLst>
                <a:ext uri="{FF2B5EF4-FFF2-40B4-BE49-F238E27FC236}">
                  <a16:creationId xmlns:a16="http://schemas.microsoft.com/office/drawing/2014/main" id="{D9826C1A-BC0B-4488-B002-7C8B9E2919A8}"/>
                </a:ext>
              </a:extLst>
            </p:cNvPr>
            <p:cNvSpPr>
              <a:spLocks noEditPoints="1"/>
            </p:cNvSpPr>
            <p:nvPr/>
          </p:nvSpPr>
          <p:spPr bwMode="gray">
            <a:xfrm>
              <a:off x="6836859" y="3808586"/>
              <a:ext cx="195397" cy="348435"/>
            </a:xfrm>
            <a:custGeom>
              <a:avLst/>
              <a:gdLst>
                <a:gd name="T0" fmla="*/ 2147483647 w 106"/>
                <a:gd name="T1" fmla="*/ 2147483647 h 188"/>
                <a:gd name="T2" fmla="*/ 2147483647 w 106"/>
                <a:gd name="T3" fmla="*/ 2147483647 h 188"/>
                <a:gd name="T4" fmla="*/ 2147483647 w 106"/>
                <a:gd name="T5" fmla="*/ 2147483647 h 188"/>
                <a:gd name="T6" fmla="*/ 2147483647 w 106"/>
                <a:gd name="T7" fmla="*/ 2147483647 h 188"/>
                <a:gd name="T8" fmla="*/ 2147483647 w 106"/>
                <a:gd name="T9" fmla="*/ 2147483647 h 188"/>
                <a:gd name="T10" fmla="*/ 2147483647 w 106"/>
                <a:gd name="T11" fmla="*/ 2147483647 h 188"/>
                <a:gd name="T12" fmla="*/ 2147483647 w 106"/>
                <a:gd name="T13" fmla="*/ 2147483647 h 188"/>
                <a:gd name="T14" fmla="*/ 2147483647 w 106"/>
                <a:gd name="T15" fmla="*/ 2147483647 h 188"/>
                <a:gd name="T16" fmla="*/ 2147483647 w 106"/>
                <a:gd name="T17" fmla="*/ 2147483647 h 188"/>
                <a:gd name="T18" fmla="*/ 2147483647 w 106"/>
                <a:gd name="T19" fmla="*/ 2147483647 h 188"/>
                <a:gd name="T20" fmla="*/ 2147483647 w 106"/>
                <a:gd name="T21" fmla="*/ 2147483647 h 188"/>
                <a:gd name="T22" fmla="*/ 2147483647 w 106"/>
                <a:gd name="T23" fmla="*/ 2147483647 h 188"/>
                <a:gd name="T24" fmla="*/ 2147483647 w 106"/>
                <a:gd name="T25" fmla="*/ 2147483647 h 188"/>
                <a:gd name="T26" fmla="*/ 2147483647 w 106"/>
                <a:gd name="T27" fmla="*/ 2147483647 h 188"/>
                <a:gd name="T28" fmla="*/ 2147483647 w 106"/>
                <a:gd name="T29" fmla="*/ 2147483647 h 188"/>
                <a:gd name="T30" fmla="*/ 2147483647 w 106"/>
                <a:gd name="T31" fmla="*/ 2147483647 h 188"/>
                <a:gd name="T32" fmla="*/ 2147483647 w 106"/>
                <a:gd name="T33" fmla="*/ 2147483647 h 188"/>
                <a:gd name="T34" fmla="*/ 2147483647 w 106"/>
                <a:gd name="T35" fmla="*/ 2147483647 h 188"/>
                <a:gd name="T36" fmla="*/ 2147483647 w 106"/>
                <a:gd name="T37" fmla="*/ 2147483647 h 188"/>
                <a:gd name="T38" fmla="*/ 2147483647 w 106"/>
                <a:gd name="T39" fmla="*/ 2147483647 h 188"/>
                <a:gd name="T40" fmla="*/ 2147483647 w 106"/>
                <a:gd name="T41" fmla="*/ 2147483647 h 188"/>
                <a:gd name="T42" fmla="*/ 2147483647 w 106"/>
                <a:gd name="T43" fmla="*/ 2147483647 h 188"/>
                <a:gd name="T44" fmla="*/ 2147483647 w 106"/>
                <a:gd name="T45" fmla="*/ 2147483647 h 188"/>
                <a:gd name="T46" fmla="*/ 2147483647 w 106"/>
                <a:gd name="T47" fmla="*/ 2147483647 h 188"/>
                <a:gd name="T48" fmla="*/ 2147483647 w 106"/>
                <a:gd name="T49" fmla="*/ 2147483647 h 188"/>
                <a:gd name="T50" fmla="*/ 2147483647 w 106"/>
                <a:gd name="T51" fmla="*/ 2147483647 h 188"/>
                <a:gd name="T52" fmla="*/ 2147483647 w 106"/>
                <a:gd name="T53" fmla="*/ 2147483647 h 188"/>
                <a:gd name="T54" fmla="*/ 2147483647 w 106"/>
                <a:gd name="T55" fmla="*/ 2147483647 h 188"/>
                <a:gd name="T56" fmla="*/ 2147483647 w 106"/>
                <a:gd name="T57" fmla="*/ 2147483647 h 188"/>
                <a:gd name="T58" fmla="*/ 2147483647 w 106"/>
                <a:gd name="T59" fmla="*/ 2147483647 h 188"/>
                <a:gd name="T60" fmla="*/ 2147483647 w 106"/>
                <a:gd name="T61" fmla="*/ 2147483647 h 188"/>
                <a:gd name="T62" fmla="*/ 2147483647 w 106"/>
                <a:gd name="T63" fmla="*/ 2147483647 h 188"/>
                <a:gd name="T64" fmla="*/ 2147483647 w 106"/>
                <a:gd name="T65" fmla="*/ 2147483647 h 188"/>
                <a:gd name="T66" fmla="*/ 2147483647 w 106"/>
                <a:gd name="T67" fmla="*/ 2147483647 h 188"/>
                <a:gd name="T68" fmla="*/ 2147483647 w 106"/>
                <a:gd name="T69" fmla="*/ 2147483647 h 188"/>
                <a:gd name="T70" fmla="*/ 2147483647 w 106"/>
                <a:gd name="T71" fmla="*/ 2147483647 h 188"/>
                <a:gd name="T72" fmla="*/ 2147483647 w 106"/>
                <a:gd name="T73" fmla="*/ 2147483647 h 188"/>
                <a:gd name="T74" fmla="*/ 2147483647 w 106"/>
                <a:gd name="T75" fmla="*/ 2147483647 h 188"/>
                <a:gd name="T76" fmla="*/ 2147483647 w 106"/>
                <a:gd name="T77" fmla="*/ 2147483647 h 188"/>
                <a:gd name="T78" fmla="*/ 2147483647 w 106"/>
                <a:gd name="T79" fmla="*/ 2147483647 h 188"/>
                <a:gd name="T80" fmla="*/ 2147483647 w 106"/>
                <a:gd name="T81" fmla="*/ 2147483647 h 188"/>
                <a:gd name="T82" fmla="*/ 2147483647 w 106"/>
                <a:gd name="T83" fmla="*/ 2147483647 h 188"/>
                <a:gd name="T84" fmla="*/ 2147483647 w 106"/>
                <a:gd name="T85" fmla="*/ 2147483647 h 188"/>
                <a:gd name="T86" fmla="*/ 2147483647 w 106"/>
                <a:gd name="T87" fmla="*/ 2147483647 h 188"/>
                <a:gd name="T88" fmla="*/ 2147483647 w 106"/>
                <a:gd name="T89" fmla="*/ 2147483647 h 188"/>
                <a:gd name="T90" fmla="*/ 2147483647 w 106"/>
                <a:gd name="T91" fmla="*/ 2147483647 h 188"/>
                <a:gd name="T92" fmla="*/ 2147483647 w 106"/>
                <a:gd name="T93" fmla="*/ 2147483647 h 188"/>
                <a:gd name="T94" fmla="*/ 2147483647 w 106"/>
                <a:gd name="T95" fmla="*/ 2147483647 h 188"/>
                <a:gd name="T96" fmla="*/ 2147483647 w 106"/>
                <a:gd name="T97" fmla="*/ 2147483647 h 188"/>
                <a:gd name="T98" fmla="*/ 2147483647 w 106"/>
                <a:gd name="T99" fmla="*/ 2147483647 h 188"/>
                <a:gd name="T100" fmla="*/ 2147483647 w 106"/>
                <a:gd name="T101" fmla="*/ 2147483647 h 188"/>
                <a:gd name="T102" fmla="*/ 2147483647 w 106"/>
                <a:gd name="T103" fmla="*/ 2147483647 h 188"/>
                <a:gd name="T104" fmla="*/ 2147483647 w 106"/>
                <a:gd name="T105" fmla="*/ 2147483647 h 188"/>
                <a:gd name="T106" fmla="*/ 2147483647 w 106"/>
                <a:gd name="T107" fmla="*/ 2147483647 h 188"/>
                <a:gd name="T108" fmla="*/ 2147483647 w 106"/>
                <a:gd name="T109" fmla="*/ 2147483647 h 188"/>
                <a:gd name="T110" fmla="*/ 2147483647 w 106"/>
                <a:gd name="T111" fmla="*/ 2147483647 h 188"/>
                <a:gd name="T112" fmla="*/ 2147483647 w 106"/>
                <a:gd name="T113" fmla="*/ 2147483647 h 188"/>
                <a:gd name="T114" fmla="*/ 2147483647 w 106"/>
                <a:gd name="T115" fmla="*/ 0 h 188"/>
                <a:gd name="T116" fmla="*/ 2147483647 w 106"/>
                <a:gd name="T117" fmla="*/ 0 h 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6"/>
                <a:gd name="T178" fmla="*/ 0 h 188"/>
                <a:gd name="T179" fmla="*/ 106 w 106"/>
                <a:gd name="T180" fmla="*/ 188 h 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6" h="188">
                  <a:moveTo>
                    <a:pt x="94" y="134"/>
                  </a:moveTo>
                  <a:lnTo>
                    <a:pt x="94" y="134"/>
                  </a:lnTo>
                  <a:lnTo>
                    <a:pt x="94" y="138"/>
                  </a:lnTo>
                  <a:lnTo>
                    <a:pt x="94" y="142"/>
                  </a:lnTo>
                  <a:lnTo>
                    <a:pt x="90" y="142"/>
                  </a:lnTo>
                  <a:lnTo>
                    <a:pt x="86" y="142"/>
                  </a:lnTo>
                  <a:lnTo>
                    <a:pt x="86" y="148"/>
                  </a:lnTo>
                  <a:lnTo>
                    <a:pt x="82" y="148"/>
                  </a:lnTo>
                  <a:lnTo>
                    <a:pt x="74" y="148"/>
                  </a:lnTo>
                  <a:lnTo>
                    <a:pt x="74" y="150"/>
                  </a:lnTo>
                  <a:lnTo>
                    <a:pt x="72" y="150"/>
                  </a:lnTo>
                  <a:lnTo>
                    <a:pt x="72" y="148"/>
                  </a:lnTo>
                  <a:lnTo>
                    <a:pt x="70" y="146"/>
                  </a:lnTo>
                  <a:lnTo>
                    <a:pt x="66" y="146"/>
                  </a:lnTo>
                  <a:lnTo>
                    <a:pt x="64" y="148"/>
                  </a:lnTo>
                  <a:lnTo>
                    <a:pt x="62" y="150"/>
                  </a:lnTo>
                  <a:lnTo>
                    <a:pt x="58" y="150"/>
                  </a:lnTo>
                  <a:lnTo>
                    <a:pt x="56" y="152"/>
                  </a:lnTo>
                  <a:lnTo>
                    <a:pt x="54" y="156"/>
                  </a:lnTo>
                  <a:lnTo>
                    <a:pt x="56" y="162"/>
                  </a:lnTo>
                  <a:lnTo>
                    <a:pt x="52" y="162"/>
                  </a:lnTo>
                  <a:lnTo>
                    <a:pt x="52" y="164"/>
                  </a:lnTo>
                  <a:lnTo>
                    <a:pt x="54" y="166"/>
                  </a:lnTo>
                  <a:lnTo>
                    <a:pt x="56" y="166"/>
                  </a:lnTo>
                  <a:lnTo>
                    <a:pt x="60" y="160"/>
                  </a:lnTo>
                  <a:lnTo>
                    <a:pt x="60" y="158"/>
                  </a:lnTo>
                  <a:lnTo>
                    <a:pt x="62" y="158"/>
                  </a:lnTo>
                  <a:lnTo>
                    <a:pt x="64" y="160"/>
                  </a:lnTo>
                  <a:lnTo>
                    <a:pt x="62" y="162"/>
                  </a:lnTo>
                  <a:lnTo>
                    <a:pt x="78" y="162"/>
                  </a:lnTo>
                  <a:lnTo>
                    <a:pt x="78" y="164"/>
                  </a:lnTo>
                  <a:lnTo>
                    <a:pt x="74" y="166"/>
                  </a:lnTo>
                  <a:lnTo>
                    <a:pt x="76" y="174"/>
                  </a:lnTo>
                  <a:lnTo>
                    <a:pt x="76" y="176"/>
                  </a:lnTo>
                  <a:lnTo>
                    <a:pt x="80" y="178"/>
                  </a:lnTo>
                  <a:lnTo>
                    <a:pt x="84" y="180"/>
                  </a:lnTo>
                  <a:lnTo>
                    <a:pt x="90" y="182"/>
                  </a:lnTo>
                  <a:lnTo>
                    <a:pt x="90" y="188"/>
                  </a:lnTo>
                  <a:lnTo>
                    <a:pt x="92" y="186"/>
                  </a:lnTo>
                  <a:lnTo>
                    <a:pt x="96" y="184"/>
                  </a:lnTo>
                  <a:lnTo>
                    <a:pt x="94" y="172"/>
                  </a:lnTo>
                  <a:lnTo>
                    <a:pt x="98" y="174"/>
                  </a:lnTo>
                  <a:lnTo>
                    <a:pt x="98" y="172"/>
                  </a:lnTo>
                  <a:lnTo>
                    <a:pt x="96" y="168"/>
                  </a:lnTo>
                  <a:lnTo>
                    <a:pt x="96" y="164"/>
                  </a:lnTo>
                  <a:lnTo>
                    <a:pt x="98" y="164"/>
                  </a:lnTo>
                  <a:lnTo>
                    <a:pt x="102" y="158"/>
                  </a:lnTo>
                  <a:lnTo>
                    <a:pt x="106" y="154"/>
                  </a:lnTo>
                  <a:lnTo>
                    <a:pt x="106" y="152"/>
                  </a:lnTo>
                  <a:lnTo>
                    <a:pt x="106" y="148"/>
                  </a:lnTo>
                  <a:lnTo>
                    <a:pt x="102" y="146"/>
                  </a:lnTo>
                  <a:lnTo>
                    <a:pt x="102" y="142"/>
                  </a:lnTo>
                  <a:lnTo>
                    <a:pt x="100" y="134"/>
                  </a:lnTo>
                  <a:lnTo>
                    <a:pt x="94" y="134"/>
                  </a:lnTo>
                  <a:close/>
                  <a:moveTo>
                    <a:pt x="82" y="122"/>
                  </a:moveTo>
                  <a:lnTo>
                    <a:pt x="82" y="122"/>
                  </a:lnTo>
                  <a:lnTo>
                    <a:pt x="80" y="122"/>
                  </a:lnTo>
                  <a:lnTo>
                    <a:pt x="78" y="122"/>
                  </a:lnTo>
                  <a:lnTo>
                    <a:pt x="78" y="128"/>
                  </a:lnTo>
                  <a:lnTo>
                    <a:pt x="84" y="128"/>
                  </a:lnTo>
                  <a:lnTo>
                    <a:pt x="86" y="128"/>
                  </a:lnTo>
                  <a:lnTo>
                    <a:pt x="84" y="124"/>
                  </a:lnTo>
                  <a:lnTo>
                    <a:pt x="84" y="122"/>
                  </a:lnTo>
                  <a:lnTo>
                    <a:pt x="82" y="122"/>
                  </a:lnTo>
                  <a:close/>
                  <a:moveTo>
                    <a:pt x="70" y="122"/>
                  </a:moveTo>
                  <a:lnTo>
                    <a:pt x="70" y="122"/>
                  </a:lnTo>
                  <a:lnTo>
                    <a:pt x="70" y="126"/>
                  </a:lnTo>
                  <a:lnTo>
                    <a:pt x="68" y="126"/>
                  </a:lnTo>
                  <a:lnTo>
                    <a:pt x="68" y="124"/>
                  </a:lnTo>
                  <a:lnTo>
                    <a:pt x="70" y="122"/>
                  </a:lnTo>
                  <a:close/>
                  <a:moveTo>
                    <a:pt x="66" y="112"/>
                  </a:moveTo>
                  <a:lnTo>
                    <a:pt x="66" y="112"/>
                  </a:lnTo>
                  <a:lnTo>
                    <a:pt x="64" y="122"/>
                  </a:lnTo>
                  <a:lnTo>
                    <a:pt x="56" y="122"/>
                  </a:lnTo>
                  <a:lnTo>
                    <a:pt x="58" y="126"/>
                  </a:lnTo>
                  <a:lnTo>
                    <a:pt x="58" y="130"/>
                  </a:lnTo>
                  <a:lnTo>
                    <a:pt x="64" y="132"/>
                  </a:lnTo>
                  <a:lnTo>
                    <a:pt x="66" y="134"/>
                  </a:lnTo>
                  <a:lnTo>
                    <a:pt x="70" y="134"/>
                  </a:lnTo>
                  <a:lnTo>
                    <a:pt x="68" y="132"/>
                  </a:lnTo>
                  <a:lnTo>
                    <a:pt x="68" y="128"/>
                  </a:lnTo>
                  <a:lnTo>
                    <a:pt x="70" y="128"/>
                  </a:lnTo>
                  <a:lnTo>
                    <a:pt x="70" y="130"/>
                  </a:lnTo>
                  <a:lnTo>
                    <a:pt x="80" y="120"/>
                  </a:lnTo>
                  <a:lnTo>
                    <a:pt x="80" y="116"/>
                  </a:lnTo>
                  <a:lnTo>
                    <a:pt x="80" y="114"/>
                  </a:lnTo>
                  <a:lnTo>
                    <a:pt x="76" y="112"/>
                  </a:lnTo>
                  <a:lnTo>
                    <a:pt x="72" y="120"/>
                  </a:lnTo>
                  <a:lnTo>
                    <a:pt x="72" y="118"/>
                  </a:lnTo>
                  <a:lnTo>
                    <a:pt x="72" y="112"/>
                  </a:lnTo>
                  <a:lnTo>
                    <a:pt x="66" y="112"/>
                  </a:lnTo>
                  <a:close/>
                  <a:moveTo>
                    <a:pt x="84" y="106"/>
                  </a:moveTo>
                  <a:lnTo>
                    <a:pt x="84" y="106"/>
                  </a:lnTo>
                  <a:lnTo>
                    <a:pt x="86" y="108"/>
                  </a:lnTo>
                  <a:lnTo>
                    <a:pt x="88" y="108"/>
                  </a:lnTo>
                  <a:lnTo>
                    <a:pt x="88" y="114"/>
                  </a:lnTo>
                  <a:lnTo>
                    <a:pt x="88" y="118"/>
                  </a:lnTo>
                  <a:lnTo>
                    <a:pt x="96" y="122"/>
                  </a:lnTo>
                  <a:lnTo>
                    <a:pt x="96" y="120"/>
                  </a:lnTo>
                  <a:lnTo>
                    <a:pt x="94" y="120"/>
                  </a:lnTo>
                  <a:lnTo>
                    <a:pt x="94" y="108"/>
                  </a:lnTo>
                  <a:lnTo>
                    <a:pt x="90" y="106"/>
                  </a:lnTo>
                  <a:lnTo>
                    <a:pt x="84" y="106"/>
                  </a:lnTo>
                  <a:close/>
                  <a:moveTo>
                    <a:pt x="26" y="106"/>
                  </a:moveTo>
                  <a:lnTo>
                    <a:pt x="26" y="106"/>
                  </a:lnTo>
                  <a:lnTo>
                    <a:pt x="26" y="110"/>
                  </a:lnTo>
                  <a:lnTo>
                    <a:pt x="26" y="112"/>
                  </a:lnTo>
                  <a:lnTo>
                    <a:pt x="22" y="112"/>
                  </a:lnTo>
                  <a:lnTo>
                    <a:pt x="18" y="124"/>
                  </a:lnTo>
                  <a:lnTo>
                    <a:pt x="14" y="130"/>
                  </a:lnTo>
                  <a:lnTo>
                    <a:pt x="12" y="134"/>
                  </a:lnTo>
                  <a:lnTo>
                    <a:pt x="6" y="138"/>
                  </a:lnTo>
                  <a:lnTo>
                    <a:pt x="4" y="138"/>
                  </a:lnTo>
                  <a:lnTo>
                    <a:pt x="2" y="140"/>
                  </a:lnTo>
                  <a:lnTo>
                    <a:pt x="0" y="144"/>
                  </a:lnTo>
                  <a:lnTo>
                    <a:pt x="0" y="146"/>
                  </a:lnTo>
                  <a:lnTo>
                    <a:pt x="2" y="146"/>
                  </a:lnTo>
                  <a:lnTo>
                    <a:pt x="8" y="142"/>
                  </a:lnTo>
                  <a:lnTo>
                    <a:pt x="16" y="138"/>
                  </a:lnTo>
                  <a:lnTo>
                    <a:pt x="18" y="134"/>
                  </a:lnTo>
                  <a:lnTo>
                    <a:pt x="18" y="128"/>
                  </a:lnTo>
                  <a:lnTo>
                    <a:pt x="24" y="124"/>
                  </a:lnTo>
                  <a:lnTo>
                    <a:pt x="28" y="120"/>
                  </a:lnTo>
                  <a:lnTo>
                    <a:pt x="30" y="118"/>
                  </a:lnTo>
                  <a:lnTo>
                    <a:pt x="26" y="106"/>
                  </a:lnTo>
                  <a:close/>
                  <a:moveTo>
                    <a:pt x="56" y="102"/>
                  </a:moveTo>
                  <a:lnTo>
                    <a:pt x="56" y="102"/>
                  </a:lnTo>
                  <a:lnTo>
                    <a:pt x="54" y="112"/>
                  </a:lnTo>
                  <a:lnTo>
                    <a:pt x="54" y="116"/>
                  </a:lnTo>
                  <a:lnTo>
                    <a:pt x="56" y="116"/>
                  </a:lnTo>
                  <a:lnTo>
                    <a:pt x="64" y="114"/>
                  </a:lnTo>
                  <a:lnTo>
                    <a:pt x="64" y="110"/>
                  </a:lnTo>
                  <a:lnTo>
                    <a:pt x="66" y="106"/>
                  </a:lnTo>
                  <a:lnTo>
                    <a:pt x="56" y="102"/>
                  </a:lnTo>
                  <a:close/>
                  <a:moveTo>
                    <a:pt x="70" y="94"/>
                  </a:moveTo>
                  <a:lnTo>
                    <a:pt x="70" y="94"/>
                  </a:lnTo>
                  <a:lnTo>
                    <a:pt x="68" y="96"/>
                  </a:lnTo>
                  <a:lnTo>
                    <a:pt x="68" y="98"/>
                  </a:lnTo>
                  <a:lnTo>
                    <a:pt x="76" y="100"/>
                  </a:lnTo>
                  <a:lnTo>
                    <a:pt x="78" y="100"/>
                  </a:lnTo>
                  <a:lnTo>
                    <a:pt x="74" y="96"/>
                  </a:lnTo>
                  <a:lnTo>
                    <a:pt x="70" y="94"/>
                  </a:lnTo>
                  <a:close/>
                  <a:moveTo>
                    <a:pt x="30" y="94"/>
                  </a:moveTo>
                  <a:lnTo>
                    <a:pt x="30" y="94"/>
                  </a:lnTo>
                  <a:lnTo>
                    <a:pt x="32" y="98"/>
                  </a:lnTo>
                  <a:lnTo>
                    <a:pt x="34" y="98"/>
                  </a:lnTo>
                  <a:lnTo>
                    <a:pt x="34" y="96"/>
                  </a:lnTo>
                  <a:lnTo>
                    <a:pt x="30" y="94"/>
                  </a:lnTo>
                  <a:close/>
                  <a:moveTo>
                    <a:pt x="54" y="90"/>
                  </a:moveTo>
                  <a:lnTo>
                    <a:pt x="56" y="94"/>
                  </a:lnTo>
                  <a:lnTo>
                    <a:pt x="58" y="94"/>
                  </a:lnTo>
                  <a:lnTo>
                    <a:pt x="56" y="92"/>
                  </a:lnTo>
                  <a:lnTo>
                    <a:pt x="54" y="90"/>
                  </a:lnTo>
                  <a:close/>
                  <a:moveTo>
                    <a:pt x="84" y="86"/>
                  </a:moveTo>
                  <a:lnTo>
                    <a:pt x="84" y="86"/>
                  </a:lnTo>
                  <a:lnTo>
                    <a:pt x="86" y="90"/>
                  </a:lnTo>
                  <a:lnTo>
                    <a:pt x="84" y="92"/>
                  </a:lnTo>
                  <a:lnTo>
                    <a:pt x="88" y="98"/>
                  </a:lnTo>
                  <a:lnTo>
                    <a:pt x="90" y="100"/>
                  </a:lnTo>
                  <a:lnTo>
                    <a:pt x="88" y="102"/>
                  </a:lnTo>
                  <a:lnTo>
                    <a:pt x="92" y="104"/>
                  </a:lnTo>
                  <a:lnTo>
                    <a:pt x="94" y="104"/>
                  </a:lnTo>
                  <a:lnTo>
                    <a:pt x="92" y="100"/>
                  </a:lnTo>
                  <a:lnTo>
                    <a:pt x="94" y="94"/>
                  </a:lnTo>
                  <a:lnTo>
                    <a:pt x="94" y="90"/>
                  </a:lnTo>
                  <a:lnTo>
                    <a:pt x="92" y="86"/>
                  </a:lnTo>
                  <a:lnTo>
                    <a:pt x="88" y="86"/>
                  </a:lnTo>
                  <a:lnTo>
                    <a:pt x="84" y="86"/>
                  </a:lnTo>
                  <a:close/>
                  <a:moveTo>
                    <a:pt x="38" y="74"/>
                  </a:moveTo>
                  <a:lnTo>
                    <a:pt x="38" y="74"/>
                  </a:lnTo>
                  <a:lnTo>
                    <a:pt x="38" y="76"/>
                  </a:lnTo>
                  <a:lnTo>
                    <a:pt x="36" y="78"/>
                  </a:lnTo>
                  <a:lnTo>
                    <a:pt x="46" y="84"/>
                  </a:lnTo>
                  <a:lnTo>
                    <a:pt x="46" y="88"/>
                  </a:lnTo>
                  <a:lnTo>
                    <a:pt x="46" y="92"/>
                  </a:lnTo>
                  <a:lnTo>
                    <a:pt x="50" y="92"/>
                  </a:lnTo>
                  <a:lnTo>
                    <a:pt x="48" y="82"/>
                  </a:lnTo>
                  <a:lnTo>
                    <a:pt x="48" y="78"/>
                  </a:lnTo>
                  <a:lnTo>
                    <a:pt x="46" y="76"/>
                  </a:lnTo>
                  <a:lnTo>
                    <a:pt x="42" y="74"/>
                  </a:lnTo>
                  <a:lnTo>
                    <a:pt x="38" y="74"/>
                  </a:lnTo>
                  <a:close/>
                  <a:moveTo>
                    <a:pt x="82" y="68"/>
                  </a:moveTo>
                  <a:lnTo>
                    <a:pt x="84" y="72"/>
                  </a:lnTo>
                  <a:lnTo>
                    <a:pt x="84" y="70"/>
                  </a:lnTo>
                  <a:lnTo>
                    <a:pt x="82" y="68"/>
                  </a:lnTo>
                  <a:close/>
                  <a:moveTo>
                    <a:pt x="42" y="0"/>
                  </a:moveTo>
                  <a:lnTo>
                    <a:pt x="42" y="0"/>
                  </a:lnTo>
                  <a:lnTo>
                    <a:pt x="40" y="14"/>
                  </a:lnTo>
                  <a:lnTo>
                    <a:pt x="40" y="26"/>
                  </a:lnTo>
                  <a:lnTo>
                    <a:pt x="36" y="28"/>
                  </a:lnTo>
                  <a:lnTo>
                    <a:pt x="36" y="34"/>
                  </a:lnTo>
                  <a:lnTo>
                    <a:pt x="38" y="34"/>
                  </a:lnTo>
                  <a:lnTo>
                    <a:pt x="38" y="38"/>
                  </a:lnTo>
                  <a:lnTo>
                    <a:pt x="34" y="38"/>
                  </a:lnTo>
                  <a:lnTo>
                    <a:pt x="32" y="36"/>
                  </a:lnTo>
                  <a:lnTo>
                    <a:pt x="30" y="36"/>
                  </a:lnTo>
                  <a:lnTo>
                    <a:pt x="30" y="38"/>
                  </a:lnTo>
                  <a:lnTo>
                    <a:pt x="30" y="42"/>
                  </a:lnTo>
                  <a:lnTo>
                    <a:pt x="32" y="42"/>
                  </a:lnTo>
                  <a:lnTo>
                    <a:pt x="34" y="52"/>
                  </a:lnTo>
                  <a:lnTo>
                    <a:pt x="38" y="58"/>
                  </a:lnTo>
                  <a:lnTo>
                    <a:pt x="40" y="56"/>
                  </a:lnTo>
                  <a:lnTo>
                    <a:pt x="40" y="54"/>
                  </a:lnTo>
                  <a:lnTo>
                    <a:pt x="42" y="54"/>
                  </a:lnTo>
                  <a:lnTo>
                    <a:pt x="42" y="64"/>
                  </a:lnTo>
                  <a:lnTo>
                    <a:pt x="44" y="74"/>
                  </a:lnTo>
                  <a:lnTo>
                    <a:pt x="56" y="72"/>
                  </a:lnTo>
                  <a:lnTo>
                    <a:pt x="64" y="78"/>
                  </a:lnTo>
                  <a:lnTo>
                    <a:pt x="62" y="72"/>
                  </a:lnTo>
                  <a:lnTo>
                    <a:pt x="62" y="70"/>
                  </a:lnTo>
                  <a:lnTo>
                    <a:pt x="64" y="70"/>
                  </a:lnTo>
                  <a:lnTo>
                    <a:pt x="70" y="76"/>
                  </a:lnTo>
                  <a:lnTo>
                    <a:pt x="74" y="84"/>
                  </a:lnTo>
                  <a:lnTo>
                    <a:pt x="78" y="86"/>
                  </a:lnTo>
                  <a:lnTo>
                    <a:pt x="78" y="82"/>
                  </a:lnTo>
                  <a:lnTo>
                    <a:pt x="80" y="80"/>
                  </a:lnTo>
                  <a:lnTo>
                    <a:pt x="76" y="72"/>
                  </a:lnTo>
                  <a:lnTo>
                    <a:pt x="74" y="66"/>
                  </a:lnTo>
                  <a:lnTo>
                    <a:pt x="68" y="66"/>
                  </a:lnTo>
                  <a:lnTo>
                    <a:pt x="68" y="62"/>
                  </a:lnTo>
                  <a:lnTo>
                    <a:pt x="52" y="66"/>
                  </a:lnTo>
                  <a:lnTo>
                    <a:pt x="50" y="56"/>
                  </a:lnTo>
                  <a:lnTo>
                    <a:pt x="48" y="52"/>
                  </a:lnTo>
                  <a:lnTo>
                    <a:pt x="50" y="50"/>
                  </a:lnTo>
                  <a:lnTo>
                    <a:pt x="50" y="46"/>
                  </a:lnTo>
                  <a:lnTo>
                    <a:pt x="48" y="42"/>
                  </a:lnTo>
                  <a:lnTo>
                    <a:pt x="50" y="42"/>
                  </a:lnTo>
                  <a:lnTo>
                    <a:pt x="56" y="34"/>
                  </a:lnTo>
                  <a:lnTo>
                    <a:pt x="62" y="26"/>
                  </a:lnTo>
                  <a:lnTo>
                    <a:pt x="62" y="24"/>
                  </a:lnTo>
                  <a:lnTo>
                    <a:pt x="60" y="20"/>
                  </a:lnTo>
                  <a:lnTo>
                    <a:pt x="56" y="16"/>
                  </a:lnTo>
                  <a:lnTo>
                    <a:pt x="58" y="8"/>
                  </a:lnTo>
                  <a:lnTo>
                    <a:pt x="58" y="0"/>
                  </a:lnTo>
                  <a:lnTo>
                    <a:pt x="56" y="2"/>
                  </a:lnTo>
                  <a:lnTo>
                    <a:pt x="56" y="4"/>
                  </a:lnTo>
                  <a:lnTo>
                    <a:pt x="52" y="4"/>
                  </a:lnTo>
                  <a:lnTo>
                    <a:pt x="48" y="4"/>
                  </a:lnTo>
                  <a:lnTo>
                    <a:pt x="4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0" name="Freeform 542">
              <a:extLst>
                <a:ext uri="{FF2B5EF4-FFF2-40B4-BE49-F238E27FC236}">
                  <a16:creationId xmlns:a16="http://schemas.microsoft.com/office/drawing/2014/main" id="{FDFE3168-0DDF-4524-9549-DF77FFBF7D9F}"/>
                </a:ext>
              </a:extLst>
            </p:cNvPr>
            <p:cNvSpPr>
              <a:spLocks/>
            </p:cNvSpPr>
            <p:nvPr/>
          </p:nvSpPr>
          <p:spPr bwMode="gray">
            <a:xfrm>
              <a:off x="2679372" y="4298276"/>
              <a:ext cx="251898" cy="466149"/>
            </a:xfrm>
            <a:custGeom>
              <a:avLst/>
              <a:gdLst>
                <a:gd name="T0" fmla="*/ 2147483647 w 136"/>
                <a:gd name="T1" fmla="*/ 2147483647 h 252"/>
                <a:gd name="T2" fmla="*/ 2147483647 w 136"/>
                <a:gd name="T3" fmla="*/ 2147483647 h 252"/>
                <a:gd name="T4" fmla="*/ 2147483647 w 136"/>
                <a:gd name="T5" fmla="*/ 2147483647 h 252"/>
                <a:gd name="T6" fmla="*/ 2147483647 w 136"/>
                <a:gd name="T7" fmla="*/ 2147483647 h 252"/>
                <a:gd name="T8" fmla="*/ 2147483647 w 136"/>
                <a:gd name="T9" fmla="*/ 2147483647 h 252"/>
                <a:gd name="T10" fmla="*/ 2147483647 w 136"/>
                <a:gd name="T11" fmla="*/ 2147483647 h 252"/>
                <a:gd name="T12" fmla="*/ 2147483647 w 136"/>
                <a:gd name="T13" fmla="*/ 2147483647 h 252"/>
                <a:gd name="T14" fmla="*/ 2147483647 w 136"/>
                <a:gd name="T15" fmla="*/ 2147483647 h 252"/>
                <a:gd name="T16" fmla="*/ 2147483647 w 136"/>
                <a:gd name="T17" fmla="*/ 2147483647 h 252"/>
                <a:gd name="T18" fmla="*/ 2147483647 w 136"/>
                <a:gd name="T19" fmla="*/ 2147483647 h 252"/>
                <a:gd name="T20" fmla="*/ 2147483647 w 136"/>
                <a:gd name="T21" fmla="*/ 2147483647 h 252"/>
                <a:gd name="T22" fmla="*/ 2147483647 w 136"/>
                <a:gd name="T23" fmla="*/ 2147483647 h 252"/>
                <a:gd name="T24" fmla="*/ 2147483647 w 136"/>
                <a:gd name="T25" fmla="*/ 2147483647 h 252"/>
                <a:gd name="T26" fmla="*/ 2147483647 w 136"/>
                <a:gd name="T27" fmla="*/ 2147483647 h 252"/>
                <a:gd name="T28" fmla="*/ 2147483647 w 136"/>
                <a:gd name="T29" fmla="*/ 2147483647 h 252"/>
                <a:gd name="T30" fmla="*/ 2147483647 w 136"/>
                <a:gd name="T31" fmla="*/ 2147483647 h 252"/>
                <a:gd name="T32" fmla="*/ 2147483647 w 136"/>
                <a:gd name="T33" fmla="*/ 2147483647 h 252"/>
                <a:gd name="T34" fmla="*/ 2147483647 w 136"/>
                <a:gd name="T35" fmla="*/ 2147483647 h 252"/>
                <a:gd name="T36" fmla="*/ 2147483647 w 136"/>
                <a:gd name="T37" fmla="*/ 2147483647 h 252"/>
                <a:gd name="T38" fmla="*/ 2147483647 w 136"/>
                <a:gd name="T39" fmla="*/ 2147483647 h 252"/>
                <a:gd name="T40" fmla="*/ 2147483647 w 136"/>
                <a:gd name="T41" fmla="*/ 2147483647 h 252"/>
                <a:gd name="T42" fmla="*/ 2147483647 w 136"/>
                <a:gd name="T43" fmla="*/ 2147483647 h 252"/>
                <a:gd name="T44" fmla="*/ 2147483647 w 136"/>
                <a:gd name="T45" fmla="*/ 2147483647 h 252"/>
                <a:gd name="T46" fmla="*/ 2147483647 w 136"/>
                <a:gd name="T47" fmla="*/ 2147483647 h 252"/>
                <a:gd name="T48" fmla="*/ 2147483647 w 136"/>
                <a:gd name="T49" fmla="*/ 2147483647 h 252"/>
                <a:gd name="T50" fmla="*/ 2147483647 w 136"/>
                <a:gd name="T51" fmla="*/ 2147483647 h 252"/>
                <a:gd name="T52" fmla="*/ 2147483647 w 136"/>
                <a:gd name="T53" fmla="*/ 2147483647 h 252"/>
                <a:gd name="T54" fmla="*/ 2147483647 w 136"/>
                <a:gd name="T55" fmla="*/ 2147483647 h 252"/>
                <a:gd name="T56" fmla="*/ 2147483647 w 136"/>
                <a:gd name="T57" fmla="*/ 2147483647 h 252"/>
                <a:gd name="T58" fmla="*/ 2147483647 w 136"/>
                <a:gd name="T59" fmla="*/ 2147483647 h 252"/>
                <a:gd name="T60" fmla="*/ 2147483647 w 136"/>
                <a:gd name="T61" fmla="*/ 2147483647 h 252"/>
                <a:gd name="T62" fmla="*/ 2147483647 w 136"/>
                <a:gd name="T63" fmla="*/ 2147483647 h 252"/>
                <a:gd name="T64" fmla="*/ 2147483647 w 136"/>
                <a:gd name="T65" fmla="*/ 2147483647 h 252"/>
                <a:gd name="T66" fmla="*/ 2147483647 w 136"/>
                <a:gd name="T67" fmla="*/ 2147483647 h 252"/>
                <a:gd name="T68" fmla="*/ 2147483647 w 136"/>
                <a:gd name="T69" fmla="*/ 2147483647 h 252"/>
                <a:gd name="T70" fmla="*/ 2147483647 w 136"/>
                <a:gd name="T71" fmla="*/ 2147483647 h 252"/>
                <a:gd name="T72" fmla="*/ 2147483647 w 136"/>
                <a:gd name="T73" fmla="*/ 2147483647 h 252"/>
                <a:gd name="T74" fmla="*/ 2147483647 w 136"/>
                <a:gd name="T75" fmla="*/ 2147483647 h 252"/>
                <a:gd name="T76" fmla="*/ 2147483647 w 136"/>
                <a:gd name="T77" fmla="*/ 2147483647 h 252"/>
                <a:gd name="T78" fmla="*/ 2147483647 w 136"/>
                <a:gd name="T79" fmla="*/ 2147483647 h 252"/>
                <a:gd name="T80" fmla="*/ 2147483647 w 136"/>
                <a:gd name="T81" fmla="*/ 2147483647 h 252"/>
                <a:gd name="T82" fmla="*/ 2147483647 w 136"/>
                <a:gd name="T83" fmla="*/ 2147483647 h 252"/>
                <a:gd name="T84" fmla="*/ 2147483647 w 136"/>
                <a:gd name="T85" fmla="*/ 2147483647 h 252"/>
                <a:gd name="T86" fmla="*/ 2147483647 w 136"/>
                <a:gd name="T87" fmla="*/ 2147483647 h 252"/>
                <a:gd name="T88" fmla="*/ 2147483647 w 136"/>
                <a:gd name="T89" fmla="*/ 2147483647 h 252"/>
                <a:gd name="T90" fmla="*/ 2147483647 w 136"/>
                <a:gd name="T91" fmla="*/ 2147483647 h 252"/>
                <a:gd name="T92" fmla="*/ 2147483647 w 136"/>
                <a:gd name="T93" fmla="*/ 2147483647 h 252"/>
                <a:gd name="T94" fmla="*/ 2147483647 w 136"/>
                <a:gd name="T95" fmla="*/ 2147483647 h 252"/>
                <a:gd name="T96" fmla="*/ 2147483647 w 136"/>
                <a:gd name="T97" fmla="*/ 2147483647 h 252"/>
                <a:gd name="T98" fmla="*/ 2147483647 w 136"/>
                <a:gd name="T99" fmla="*/ 2147483647 h 252"/>
                <a:gd name="T100" fmla="*/ 2147483647 w 136"/>
                <a:gd name="T101" fmla="*/ 2147483647 h 252"/>
                <a:gd name="T102" fmla="*/ 2147483647 w 136"/>
                <a:gd name="T103" fmla="*/ 2147483647 h 2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6"/>
                <a:gd name="T157" fmla="*/ 0 h 252"/>
                <a:gd name="T158" fmla="*/ 136 w 136"/>
                <a:gd name="T159" fmla="*/ 252 h 2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6" h="252">
                  <a:moveTo>
                    <a:pt x="62" y="0"/>
                  </a:moveTo>
                  <a:lnTo>
                    <a:pt x="58" y="4"/>
                  </a:lnTo>
                  <a:lnTo>
                    <a:pt x="62" y="6"/>
                  </a:lnTo>
                  <a:lnTo>
                    <a:pt x="64" y="14"/>
                  </a:lnTo>
                  <a:lnTo>
                    <a:pt x="64" y="22"/>
                  </a:lnTo>
                  <a:lnTo>
                    <a:pt x="62" y="22"/>
                  </a:lnTo>
                  <a:lnTo>
                    <a:pt x="62" y="26"/>
                  </a:lnTo>
                  <a:lnTo>
                    <a:pt x="58" y="32"/>
                  </a:lnTo>
                  <a:lnTo>
                    <a:pt x="54" y="36"/>
                  </a:lnTo>
                  <a:lnTo>
                    <a:pt x="44" y="42"/>
                  </a:lnTo>
                  <a:lnTo>
                    <a:pt x="40" y="46"/>
                  </a:lnTo>
                  <a:lnTo>
                    <a:pt x="34" y="52"/>
                  </a:lnTo>
                  <a:lnTo>
                    <a:pt x="30" y="56"/>
                  </a:lnTo>
                  <a:lnTo>
                    <a:pt x="28" y="64"/>
                  </a:lnTo>
                  <a:lnTo>
                    <a:pt x="24" y="68"/>
                  </a:lnTo>
                  <a:lnTo>
                    <a:pt x="22" y="70"/>
                  </a:lnTo>
                  <a:lnTo>
                    <a:pt x="20" y="70"/>
                  </a:lnTo>
                  <a:lnTo>
                    <a:pt x="18" y="68"/>
                  </a:lnTo>
                  <a:lnTo>
                    <a:pt x="14" y="62"/>
                  </a:lnTo>
                  <a:lnTo>
                    <a:pt x="10" y="64"/>
                  </a:lnTo>
                  <a:lnTo>
                    <a:pt x="6" y="62"/>
                  </a:lnTo>
                  <a:lnTo>
                    <a:pt x="6" y="60"/>
                  </a:lnTo>
                  <a:lnTo>
                    <a:pt x="10" y="58"/>
                  </a:lnTo>
                  <a:lnTo>
                    <a:pt x="8" y="56"/>
                  </a:lnTo>
                  <a:lnTo>
                    <a:pt x="8" y="52"/>
                  </a:lnTo>
                  <a:lnTo>
                    <a:pt x="6" y="52"/>
                  </a:lnTo>
                  <a:lnTo>
                    <a:pt x="2" y="58"/>
                  </a:lnTo>
                  <a:lnTo>
                    <a:pt x="0" y="62"/>
                  </a:lnTo>
                  <a:lnTo>
                    <a:pt x="0" y="68"/>
                  </a:lnTo>
                  <a:lnTo>
                    <a:pt x="2" y="72"/>
                  </a:lnTo>
                  <a:lnTo>
                    <a:pt x="0" y="72"/>
                  </a:lnTo>
                  <a:lnTo>
                    <a:pt x="0" y="74"/>
                  </a:lnTo>
                  <a:lnTo>
                    <a:pt x="2" y="76"/>
                  </a:lnTo>
                  <a:lnTo>
                    <a:pt x="4" y="76"/>
                  </a:lnTo>
                  <a:lnTo>
                    <a:pt x="4" y="82"/>
                  </a:lnTo>
                  <a:lnTo>
                    <a:pt x="2" y="84"/>
                  </a:lnTo>
                  <a:lnTo>
                    <a:pt x="2" y="86"/>
                  </a:lnTo>
                  <a:lnTo>
                    <a:pt x="8" y="90"/>
                  </a:lnTo>
                  <a:lnTo>
                    <a:pt x="16" y="94"/>
                  </a:lnTo>
                  <a:lnTo>
                    <a:pt x="16" y="98"/>
                  </a:lnTo>
                  <a:lnTo>
                    <a:pt x="18" y="102"/>
                  </a:lnTo>
                  <a:lnTo>
                    <a:pt x="22" y="104"/>
                  </a:lnTo>
                  <a:lnTo>
                    <a:pt x="26" y="106"/>
                  </a:lnTo>
                  <a:lnTo>
                    <a:pt x="28" y="110"/>
                  </a:lnTo>
                  <a:lnTo>
                    <a:pt x="28" y="116"/>
                  </a:lnTo>
                  <a:lnTo>
                    <a:pt x="32" y="118"/>
                  </a:lnTo>
                  <a:lnTo>
                    <a:pt x="36" y="120"/>
                  </a:lnTo>
                  <a:lnTo>
                    <a:pt x="40" y="128"/>
                  </a:lnTo>
                  <a:lnTo>
                    <a:pt x="42" y="134"/>
                  </a:lnTo>
                  <a:lnTo>
                    <a:pt x="44" y="150"/>
                  </a:lnTo>
                  <a:lnTo>
                    <a:pt x="48" y="160"/>
                  </a:lnTo>
                  <a:lnTo>
                    <a:pt x="56" y="174"/>
                  </a:lnTo>
                  <a:lnTo>
                    <a:pt x="60" y="186"/>
                  </a:lnTo>
                  <a:lnTo>
                    <a:pt x="62" y="192"/>
                  </a:lnTo>
                  <a:lnTo>
                    <a:pt x="62" y="196"/>
                  </a:lnTo>
                  <a:lnTo>
                    <a:pt x="60" y="198"/>
                  </a:lnTo>
                  <a:lnTo>
                    <a:pt x="68" y="206"/>
                  </a:lnTo>
                  <a:lnTo>
                    <a:pt x="68" y="212"/>
                  </a:lnTo>
                  <a:lnTo>
                    <a:pt x="70" y="216"/>
                  </a:lnTo>
                  <a:lnTo>
                    <a:pt x="76" y="220"/>
                  </a:lnTo>
                  <a:lnTo>
                    <a:pt x="84" y="224"/>
                  </a:lnTo>
                  <a:lnTo>
                    <a:pt x="86" y="228"/>
                  </a:lnTo>
                  <a:lnTo>
                    <a:pt x="104" y="238"/>
                  </a:lnTo>
                  <a:lnTo>
                    <a:pt x="112" y="244"/>
                  </a:lnTo>
                  <a:lnTo>
                    <a:pt x="118" y="250"/>
                  </a:lnTo>
                  <a:lnTo>
                    <a:pt x="120" y="252"/>
                  </a:lnTo>
                  <a:lnTo>
                    <a:pt x="120" y="250"/>
                  </a:lnTo>
                  <a:lnTo>
                    <a:pt x="122" y="246"/>
                  </a:lnTo>
                  <a:lnTo>
                    <a:pt x="126" y="242"/>
                  </a:lnTo>
                  <a:lnTo>
                    <a:pt x="130" y="240"/>
                  </a:lnTo>
                  <a:lnTo>
                    <a:pt x="136" y="230"/>
                  </a:lnTo>
                  <a:lnTo>
                    <a:pt x="136" y="226"/>
                  </a:lnTo>
                  <a:lnTo>
                    <a:pt x="136" y="224"/>
                  </a:lnTo>
                  <a:lnTo>
                    <a:pt x="128" y="222"/>
                  </a:lnTo>
                  <a:lnTo>
                    <a:pt x="130" y="218"/>
                  </a:lnTo>
                  <a:lnTo>
                    <a:pt x="128" y="216"/>
                  </a:lnTo>
                  <a:lnTo>
                    <a:pt x="128" y="214"/>
                  </a:lnTo>
                  <a:lnTo>
                    <a:pt x="130" y="214"/>
                  </a:lnTo>
                  <a:lnTo>
                    <a:pt x="134" y="218"/>
                  </a:lnTo>
                  <a:lnTo>
                    <a:pt x="132" y="214"/>
                  </a:lnTo>
                  <a:lnTo>
                    <a:pt x="132" y="212"/>
                  </a:lnTo>
                  <a:lnTo>
                    <a:pt x="134" y="210"/>
                  </a:lnTo>
                  <a:lnTo>
                    <a:pt x="130" y="202"/>
                  </a:lnTo>
                  <a:lnTo>
                    <a:pt x="130" y="196"/>
                  </a:lnTo>
                  <a:lnTo>
                    <a:pt x="132" y="194"/>
                  </a:lnTo>
                  <a:lnTo>
                    <a:pt x="134" y="184"/>
                  </a:lnTo>
                  <a:lnTo>
                    <a:pt x="128" y="170"/>
                  </a:lnTo>
                  <a:lnTo>
                    <a:pt x="114" y="166"/>
                  </a:lnTo>
                  <a:lnTo>
                    <a:pt x="116" y="132"/>
                  </a:lnTo>
                  <a:lnTo>
                    <a:pt x="116" y="130"/>
                  </a:lnTo>
                  <a:lnTo>
                    <a:pt x="116" y="128"/>
                  </a:lnTo>
                  <a:lnTo>
                    <a:pt x="116" y="130"/>
                  </a:lnTo>
                  <a:lnTo>
                    <a:pt x="106" y="134"/>
                  </a:lnTo>
                  <a:lnTo>
                    <a:pt x="96" y="134"/>
                  </a:lnTo>
                  <a:lnTo>
                    <a:pt x="94" y="134"/>
                  </a:lnTo>
                  <a:lnTo>
                    <a:pt x="94" y="130"/>
                  </a:lnTo>
                  <a:lnTo>
                    <a:pt x="92" y="128"/>
                  </a:lnTo>
                  <a:lnTo>
                    <a:pt x="90" y="126"/>
                  </a:lnTo>
                  <a:lnTo>
                    <a:pt x="88" y="124"/>
                  </a:lnTo>
                  <a:lnTo>
                    <a:pt x="86" y="122"/>
                  </a:lnTo>
                  <a:lnTo>
                    <a:pt x="82" y="118"/>
                  </a:lnTo>
                  <a:lnTo>
                    <a:pt x="80" y="116"/>
                  </a:lnTo>
                  <a:lnTo>
                    <a:pt x="80" y="110"/>
                  </a:lnTo>
                  <a:lnTo>
                    <a:pt x="80" y="108"/>
                  </a:lnTo>
                  <a:lnTo>
                    <a:pt x="80" y="106"/>
                  </a:lnTo>
                  <a:lnTo>
                    <a:pt x="78" y="102"/>
                  </a:lnTo>
                  <a:lnTo>
                    <a:pt x="76" y="96"/>
                  </a:lnTo>
                  <a:lnTo>
                    <a:pt x="78" y="96"/>
                  </a:lnTo>
                  <a:lnTo>
                    <a:pt x="80" y="96"/>
                  </a:lnTo>
                  <a:lnTo>
                    <a:pt x="82" y="96"/>
                  </a:lnTo>
                  <a:lnTo>
                    <a:pt x="82" y="90"/>
                  </a:lnTo>
                  <a:lnTo>
                    <a:pt x="84" y="88"/>
                  </a:lnTo>
                  <a:lnTo>
                    <a:pt x="86" y="84"/>
                  </a:lnTo>
                  <a:lnTo>
                    <a:pt x="88" y="78"/>
                  </a:lnTo>
                  <a:lnTo>
                    <a:pt x="88" y="74"/>
                  </a:lnTo>
                  <a:lnTo>
                    <a:pt x="92" y="70"/>
                  </a:lnTo>
                  <a:lnTo>
                    <a:pt x="98" y="66"/>
                  </a:lnTo>
                  <a:lnTo>
                    <a:pt x="102" y="64"/>
                  </a:lnTo>
                  <a:lnTo>
                    <a:pt x="108" y="62"/>
                  </a:lnTo>
                  <a:lnTo>
                    <a:pt x="116" y="60"/>
                  </a:lnTo>
                  <a:lnTo>
                    <a:pt x="118" y="60"/>
                  </a:lnTo>
                  <a:lnTo>
                    <a:pt x="120" y="58"/>
                  </a:lnTo>
                  <a:lnTo>
                    <a:pt x="120" y="56"/>
                  </a:lnTo>
                  <a:lnTo>
                    <a:pt x="116" y="54"/>
                  </a:lnTo>
                  <a:lnTo>
                    <a:pt x="112" y="54"/>
                  </a:lnTo>
                  <a:lnTo>
                    <a:pt x="122" y="32"/>
                  </a:lnTo>
                  <a:lnTo>
                    <a:pt x="122" y="30"/>
                  </a:lnTo>
                  <a:lnTo>
                    <a:pt x="118" y="30"/>
                  </a:lnTo>
                  <a:lnTo>
                    <a:pt x="112" y="28"/>
                  </a:lnTo>
                  <a:lnTo>
                    <a:pt x="108" y="26"/>
                  </a:lnTo>
                  <a:lnTo>
                    <a:pt x="104" y="26"/>
                  </a:lnTo>
                  <a:lnTo>
                    <a:pt x="100" y="26"/>
                  </a:lnTo>
                  <a:lnTo>
                    <a:pt x="100" y="28"/>
                  </a:lnTo>
                  <a:lnTo>
                    <a:pt x="94" y="26"/>
                  </a:lnTo>
                  <a:lnTo>
                    <a:pt x="90" y="24"/>
                  </a:lnTo>
                  <a:lnTo>
                    <a:pt x="90" y="22"/>
                  </a:lnTo>
                  <a:lnTo>
                    <a:pt x="90" y="18"/>
                  </a:lnTo>
                  <a:lnTo>
                    <a:pt x="82" y="18"/>
                  </a:lnTo>
                  <a:lnTo>
                    <a:pt x="80" y="16"/>
                  </a:lnTo>
                  <a:lnTo>
                    <a:pt x="78" y="14"/>
                  </a:lnTo>
                  <a:lnTo>
                    <a:pt x="76" y="10"/>
                  </a:lnTo>
                  <a:lnTo>
                    <a:pt x="72" y="6"/>
                  </a:lnTo>
                  <a:lnTo>
                    <a:pt x="70" y="4"/>
                  </a:lnTo>
                  <a:lnTo>
                    <a:pt x="70" y="0"/>
                  </a:lnTo>
                  <a:lnTo>
                    <a:pt x="6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1" name="Freeform 543">
              <a:extLst>
                <a:ext uri="{FF2B5EF4-FFF2-40B4-BE49-F238E27FC236}">
                  <a16:creationId xmlns:a16="http://schemas.microsoft.com/office/drawing/2014/main" id="{8BBCAE11-9A4C-4397-B06F-F4B5438C898F}"/>
                </a:ext>
              </a:extLst>
            </p:cNvPr>
            <p:cNvSpPr>
              <a:spLocks/>
            </p:cNvSpPr>
            <p:nvPr/>
          </p:nvSpPr>
          <p:spPr bwMode="gray">
            <a:xfrm>
              <a:off x="3072520" y="4795032"/>
              <a:ext cx="167147" cy="221302"/>
            </a:xfrm>
            <a:custGeom>
              <a:avLst/>
              <a:gdLst>
                <a:gd name="T0" fmla="*/ 2147483647 w 90"/>
                <a:gd name="T1" fmla="*/ 2147483647 h 120"/>
                <a:gd name="T2" fmla="*/ 2147483647 w 90"/>
                <a:gd name="T3" fmla="*/ 2147483647 h 120"/>
                <a:gd name="T4" fmla="*/ 2147483647 w 90"/>
                <a:gd name="T5" fmla="*/ 2147483647 h 120"/>
                <a:gd name="T6" fmla="*/ 2147483647 w 90"/>
                <a:gd name="T7" fmla="*/ 2147483647 h 120"/>
                <a:gd name="T8" fmla="*/ 2147483647 w 90"/>
                <a:gd name="T9" fmla="*/ 2147483647 h 120"/>
                <a:gd name="T10" fmla="*/ 0 w 90"/>
                <a:gd name="T11" fmla="*/ 2147483647 h 120"/>
                <a:gd name="T12" fmla="*/ 2147483647 w 90"/>
                <a:gd name="T13" fmla="*/ 2147483647 h 120"/>
                <a:gd name="T14" fmla="*/ 2147483647 w 90"/>
                <a:gd name="T15" fmla="*/ 2147483647 h 120"/>
                <a:gd name="T16" fmla="*/ 2147483647 w 90"/>
                <a:gd name="T17" fmla="*/ 2147483647 h 120"/>
                <a:gd name="T18" fmla="*/ 2147483647 w 90"/>
                <a:gd name="T19" fmla="*/ 2147483647 h 120"/>
                <a:gd name="T20" fmla="*/ 2147483647 w 90"/>
                <a:gd name="T21" fmla="*/ 2147483647 h 120"/>
                <a:gd name="T22" fmla="*/ 2147483647 w 90"/>
                <a:gd name="T23" fmla="*/ 2147483647 h 120"/>
                <a:gd name="T24" fmla="*/ 2147483647 w 90"/>
                <a:gd name="T25" fmla="*/ 2147483647 h 120"/>
                <a:gd name="T26" fmla="*/ 2147483647 w 90"/>
                <a:gd name="T27" fmla="*/ 2147483647 h 120"/>
                <a:gd name="T28" fmla="*/ 2147483647 w 90"/>
                <a:gd name="T29" fmla="*/ 2147483647 h 120"/>
                <a:gd name="T30" fmla="*/ 2147483647 w 90"/>
                <a:gd name="T31" fmla="*/ 2147483647 h 120"/>
                <a:gd name="T32" fmla="*/ 2147483647 w 90"/>
                <a:gd name="T33" fmla="*/ 2147483647 h 120"/>
                <a:gd name="T34" fmla="*/ 2147483647 w 90"/>
                <a:gd name="T35" fmla="*/ 2147483647 h 120"/>
                <a:gd name="T36" fmla="*/ 2147483647 w 90"/>
                <a:gd name="T37" fmla="*/ 2147483647 h 120"/>
                <a:gd name="T38" fmla="*/ 2147483647 w 90"/>
                <a:gd name="T39" fmla="*/ 2147483647 h 120"/>
                <a:gd name="T40" fmla="*/ 2147483647 w 90"/>
                <a:gd name="T41" fmla="*/ 2147483647 h 120"/>
                <a:gd name="T42" fmla="*/ 2147483647 w 90"/>
                <a:gd name="T43" fmla="*/ 2147483647 h 120"/>
                <a:gd name="T44" fmla="*/ 2147483647 w 90"/>
                <a:gd name="T45" fmla="*/ 2147483647 h 120"/>
                <a:gd name="T46" fmla="*/ 2147483647 w 90"/>
                <a:gd name="T47" fmla="*/ 2147483647 h 120"/>
                <a:gd name="T48" fmla="*/ 2147483647 w 90"/>
                <a:gd name="T49" fmla="*/ 2147483647 h 120"/>
                <a:gd name="T50" fmla="*/ 2147483647 w 90"/>
                <a:gd name="T51" fmla="*/ 2147483647 h 120"/>
                <a:gd name="T52" fmla="*/ 2147483647 w 90"/>
                <a:gd name="T53" fmla="*/ 2147483647 h 120"/>
                <a:gd name="T54" fmla="*/ 2147483647 w 90"/>
                <a:gd name="T55" fmla="*/ 2147483647 h 120"/>
                <a:gd name="T56" fmla="*/ 2147483647 w 90"/>
                <a:gd name="T57" fmla="*/ 2147483647 h 120"/>
                <a:gd name="T58" fmla="*/ 2147483647 w 90"/>
                <a:gd name="T59" fmla="*/ 2147483647 h 120"/>
                <a:gd name="T60" fmla="*/ 2147483647 w 90"/>
                <a:gd name="T61" fmla="*/ 2147483647 h 120"/>
                <a:gd name="T62" fmla="*/ 2147483647 w 90"/>
                <a:gd name="T63" fmla="*/ 2147483647 h 120"/>
                <a:gd name="T64" fmla="*/ 2147483647 w 90"/>
                <a:gd name="T65" fmla="*/ 2147483647 h 120"/>
                <a:gd name="T66" fmla="*/ 2147483647 w 90"/>
                <a:gd name="T67" fmla="*/ 2147483647 h 120"/>
                <a:gd name="T68" fmla="*/ 2147483647 w 90"/>
                <a:gd name="T69" fmla="*/ 2147483647 h 120"/>
                <a:gd name="T70" fmla="*/ 2147483647 w 90"/>
                <a:gd name="T71" fmla="*/ 2147483647 h 120"/>
                <a:gd name="T72" fmla="*/ 2147483647 w 90"/>
                <a:gd name="T73" fmla="*/ 2147483647 h 120"/>
                <a:gd name="T74" fmla="*/ 2147483647 w 90"/>
                <a:gd name="T75" fmla="*/ 2147483647 h 120"/>
                <a:gd name="T76" fmla="*/ 2147483647 w 90"/>
                <a:gd name="T77" fmla="*/ 2147483647 h 120"/>
                <a:gd name="T78" fmla="*/ 2147483647 w 90"/>
                <a:gd name="T79" fmla="*/ 2147483647 h 120"/>
                <a:gd name="T80" fmla="*/ 2147483647 w 90"/>
                <a:gd name="T81" fmla="*/ 2147483647 h 120"/>
                <a:gd name="T82" fmla="*/ 2147483647 w 90"/>
                <a:gd name="T83" fmla="*/ 2147483647 h 120"/>
                <a:gd name="T84" fmla="*/ 2147483647 w 90"/>
                <a:gd name="T85" fmla="*/ 2147483647 h 120"/>
                <a:gd name="T86" fmla="*/ 2147483647 w 90"/>
                <a:gd name="T87" fmla="*/ 2147483647 h 120"/>
                <a:gd name="T88" fmla="*/ 2147483647 w 90"/>
                <a:gd name="T89" fmla="*/ 2147483647 h 120"/>
                <a:gd name="T90" fmla="*/ 2147483647 w 90"/>
                <a:gd name="T91" fmla="*/ 2147483647 h 120"/>
                <a:gd name="T92" fmla="*/ 2147483647 w 90"/>
                <a:gd name="T93" fmla="*/ 2147483647 h 120"/>
                <a:gd name="T94" fmla="*/ 2147483647 w 90"/>
                <a:gd name="T95" fmla="*/ 2147483647 h 120"/>
                <a:gd name="T96" fmla="*/ 2147483647 w 90"/>
                <a:gd name="T97" fmla="*/ 2147483647 h 120"/>
                <a:gd name="T98" fmla="*/ 2147483647 w 90"/>
                <a:gd name="T99" fmla="*/ 2147483647 h 120"/>
                <a:gd name="T100" fmla="*/ 2147483647 w 90"/>
                <a:gd name="T101" fmla="*/ 2147483647 h 120"/>
                <a:gd name="T102" fmla="*/ 2147483647 w 90"/>
                <a:gd name="T103" fmla="*/ 2147483647 h 120"/>
                <a:gd name="T104" fmla="*/ 2147483647 w 90"/>
                <a:gd name="T105" fmla="*/ 2147483647 h 120"/>
                <a:gd name="T106" fmla="*/ 2147483647 w 90"/>
                <a:gd name="T107" fmla="*/ 2147483647 h 120"/>
                <a:gd name="T108" fmla="*/ 2147483647 w 90"/>
                <a:gd name="T109" fmla="*/ 2147483647 h 1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
                <a:gd name="T166" fmla="*/ 0 h 120"/>
                <a:gd name="T167" fmla="*/ 90 w 90"/>
                <a:gd name="T168" fmla="*/ 120 h 1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 h="120">
                  <a:moveTo>
                    <a:pt x="46" y="8"/>
                  </a:moveTo>
                  <a:lnTo>
                    <a:pt x="42" y="2"/>
                  </a:lnTo>
                  <a:lnTo>
                    <a:pt x="32" y="0"/>
                  </a:lnTo>
                  <a:lnTo>
                    <a:pt x="18" y="2"/>
                  </a:lnTo>
                  <a:lnTo>
                    <a:pt x="14" y="6"/>
                  </a:lnTo>
                  <a:lnTo>
                    <a:pt x="12" y="12"/>
                  </a:lnTo>
                  <a:lnTo>
                    <a:pt x="10" y="16"/>
                  </a:lnTo>
                  <a:lnTo>
                    <a:pt x="8" y="20"/>
                  </a:lnTo>
                  <a:lnTo>
                    <a:pt x="8" y="24"/>
                  </a:lnTo>
                  <a:lnTo>
                    <a:pt x="0" y="40"/>
                  </a:lnTo>
                  <a:lnTo>
                    <a:pt x="8" y="44"/>
                  </a:lnTo>
                  <a:lnTo>
                    <a:pt x="10" y="50"/>
                  </a:lnTo>
                  <a:lnTo>
                    <a:pt x="12" y="52"/>
                  </a:lnTo>
                  <a:lnTo>
                    <a:pt x="14" y="54"/>
                  </a:lnTo>
                  <a:lnTo>
                    <a:pt x="18" y="56"/>
                  </a:lnTo>
                  <a:lnTo>
                    <a:pt x="20" y="60"/>
                  </a:lnTo>
                  <a:lnTo>
                    <a:pt x="22" y="64"/>
                  </a:lnTo>
                  <a:lnTo>
                    <a:pt x="22" y="66"/>
                  </a:lnTo>
                  <a:lnTo>
                    <a:pt x="24" y="68"/>
                  </a:lnTo>
                  <a:lnTo>
                    <a:pt x="28" y="70"/>
                  </a:lnTo>
                  <a:lnTo>
                    <a:pt x="32" y="74"/>
                  </a:lnTo>
                  <a:lnTo>
                    <a:pt x="34" y="76"/>
                  </a:lnTo>
                  <a:lnTo>
                    <a:pt x="36" y="76"/>
                  </a:lnTo>
                  <a:lnTo>
                    <a:pt x="38" y="76"/>
                  </a:lnTo>
                  <a:lnTo>
                    <a:pt x="44" y="80"/>
                  </a:lnTo>
                  <a:lnTo>
                    <a:pt x="46" y="84"/>
                  </a:lnTo>
                  <a:lnTo>
                    <a:pt x="50" y="88"/>
                  </a:lnTo>
                  <a:lnTo>
                    <a:pt x="52" y="90"/>
                  </a:lnTo>
                  <a:lnTo>
                    <a:pt x="52" y="92"/>
                  </a:lnTo>
                  <a:lnTo>
                    <a:pt x="52" y="98"/>
                  </a:lnTo>
                  <a:lnTo>
                    <a:pt x="50" y="104"/>
                  </a:lnTo>
                  <a:lnTo>
                    <a:pt x="46" y="108"/>
                  </a:lnTo>
                  <a:lnTo>
                    <a:pt x="42" y="116"/>
                  </a:lnTo>
                  <a:lnTo>
                    <a:pt x="42" y="118"/>
                  </a:lnTo>
                  <a:lnTo>
                    <a:pt x="46" y="118"/>
                  </a:lnTo>
                  <a:lnTo>
                    <a:pt x="50" y="118"/>
                  </a:lnTo>
                  <a:lnTo>
                    <a:pt x="54" y="118"/>
                  </a:lnTo>
                  <a:lnTo>
                    <a:pt x="58" y="120"/>
                  </a:lnTo>
                  <a:lnTo>
                    <a:pt x="62" y="120"/>
                  </a:lnTo>
                  <a:lnTo>
                    <a:pt x="72" y="120"/>
                  </a:lnTo>
                  <a:lnTo>
                    <a:pt x="76" y="120"/>
                  </a:lnTo>
                  <a:lnTo>
                    <a:pt x="78" y="120"/>
                  </a:lnTo>
                  <a:lnTo>
                    <a:pt x="80" y="118"/>
                  </a:lnTo>
                  <a:lnTo>
                    <a:pt x="82" y="114"/>
                  </a:lnTo>
                  <a:lnTo>
                    <a:pt x="84" y="110"/>
                  </a:lnTo>
                  <a:lnTo>
                    <a:pt x="86" y="106"/>
                  </a:lnTo>
                  <a:lnTo>
                    <a:pt x="86" y="100"/>
                  </a:lnTo>
                  <a:lnTo>
                    <a:pt x="86" y="96"/>
                  </a:lnTo>
                  <a:lnTo>
                    <a:pt x="88" y="94"/>
                  </a:lnTo>
                  <a:lnTo>
                    <a:pt x="88" y="88"/>
                  </a:lnTo>
                  <a:lnTo>
                    <a:pt x="88" y="80"/>
                  </a:lnTo>
                  <a:lnTo>
                    <a:pt x="90" y="74"/>
                  </a:lnTo>
                  <a:lnTo>
                    <a:pt x="90" y="68"/>
                  </a:lnTo>
                  <a:lnTo>
                    <a:pt x="88" y="68"/>
                  </a:lnTo>
                  <a:lnTo>
                    <a:pt x="84" y="70"/>
                  </a:lnTo>
                  <a:lnTo>
                    <a:pt x="82" y="70"/>
                  </a:lnTo>
                  <a:lnTo>
                    <a:pt x="82" y="68"/>
                  </a:lnTo>
                  <a:lnTo>
                    <a:pt x="82" y="64"/>
                  </a:lnTo>
                  <a:lnTo>
                    <a:pt x="82" y="50"/>
                  </a:lnTo>
                  <a:lnTo>
                    <a:pt x="80" y="46"/>
                  </a:lnTo>
                  <a:lnTo>
                    <a:pt x="76" y="44"/>
                  </a:lnTo>
                  <a:lnTo>
                    <a:pt x="74" y="44"/>
                  </a:lnTo>
                  <a:lnTo>
                    <a:pt x="72" y="42"/>
                  </a:lnTo>
                  <a:lnTo>
                    <a:pt x="72" y="40"/>
                  </a:lnTo>
                  <a:lnTo>
                    <a:pt x="70" y="38"/>
                  </a:lnTo>
                  <a:lnTo>
                    <a:pt x="68" y="40"/>
                  </a:lnTo>
                  <a:lnTo>
                    <a:pt x="60" y="40"/>
                  </a:lnTo>
                  <a:lnTo>
                    <a:pt x="56" y="38"/>
                  </a:lnTo>
                  <a:lnTo>
                    <a:pt x="54" y="36"/>
                  </a:lnTo>
                  <a:lnTo>
                    <a:pt x="54" y="32"/>
                  </a:lnTo>
                  <a:lnTo>
                    <a:pt x="52" y="26"/>
                  </a:lnTo>
                  <a:lnTo>
                    <a:pt x="54" y="20"/>
                  </a:lnTo>
                  <a:lnTo>
                    <a:pt x="52" y="16"/>
                  </a:lnTo>
                  <a:lnTo>
                    <a:pt x="50" y="12"/>
                  </a:lnTo>
                  <a:lnTo>
                    <a:pt x="46"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2" name="Freeform 544">
              <a:extLst>
                <a:ext uri="{FF2B5EF4-FFF2-40B4-BE49-F238E27FC236}">
                  <a16:creationId xmlns:a16="http://schemas.microsoft.com/office/drawing/2014/main" id="{9EA3E5E0-6870-4DE1-83F1-1C3E4E121C46}"/>
                </a:ext>
              </a:extLst>
            </p:cNvPr>
            <p:cNvSpPr>
              <a:spLocks noEditPoints="1"/>
            </p:cNvSpPr>
            <p:nvPr/>
          </p:nvSpPr>
          <p:spPr bwMode="gray">
            <a:xfrm>
              <a:off x="7321819" y="4357132"/>
              <a:ext cx="317815" cy="223656"/>
            </a:xfrm>
            <a:custGeom>
              <a:avLst/>
              <a:gdLst>
                <a:gd name="T0" fmla="*/ 2147483647 w 172"/>
                <a:gd name="T1" fmla="*/ 2147483647 h 120"/>
                <a:gd name="T2" fmla="*/ 2147483647 w 172"/>
                <a:gd name="T3" fmla="*/ 2147483647 h 120"/>
                <a:gd name="T4" fmla="*/ 2147483647 w 172"/>
                <a:gd name="T5" fmla="*/ 2147483647 h 120"/>
                <a:gd name="T6" fmla="*/ 2147483647 w 172"/>
                <a:gd name="T7" fmla="*/ 2147483647 h 120"/>
                <a:gd name="T8" fmla="*/ 2147483647 w 172"/>
                <a:gd name="T9" fmla="*/ 2147483647 h 120"/>
                <a:gd name="T10" fmla="*/ 2147483647 w 172"/>
                <a:gd name="T11" fmla="*/ 2147483647 h 120"/>
                <a:gd name="T12" fmla="*/ 2147483647 w 172"/>
                <a:gd name="T13" fmla="*/ 2147483647 h 120"/>
                <a:gd name="T14" fmla="*/ 2147483647 w 172"/>
                <a:gd name="T15" fmla="*/ 2147483647 h 120"/>
                <a:gd name="T16" fmla="*/ 2147483647 w 172"/>
                <a:gd name="T17" fmla="*/ 2147483647 h 120"/>
                <a:gd name="T18" fmla="*/ 2147483647 w 172"/>
                <a:gd name="T19" fmla="*/ 2147483647 h 120"/>
                <a:gd name="T20" fmla="*/ 2147483647 w 172"/>
                <a:gd name="T21" fmla="*/ 2147483647 h 120"/>
                <a:gd name="T22" fmla="*/ 2147483647 w 172"/>
                <a:gd name="T23" fmla="*/ 2147483647 h 120"/>
                <a:gd name="T24" fmla="*/ 2147483647 w 172"/>
                <a:gd name="T25" fmla="*/ 2147483647 h 120"/>
                <a:gd name="T26" fmla="*/ 2147483647 w 172"/>
                <a:gd name="T27" fmla="*/ 2147483647 h 120"/>
                <a:gd name="T28" fmla="*/ 2147483647 w 172"/>
                <a:gd name="T29" fmla="*/ 2147483647 h 120"/>
                <a:gd name="T30" fmla="*/ 2147483647 w 172"/>
                <a:gd name="T31" fmla="*/ 2147483647 h 120"/>
                <a:gd name="T32" fmla="*/ 2147483647 w 172"/>
                <a:gd name="T33" fmla="*/ 2147483647 h 120"/>
                <a:gd name="T34" fmla="*/ 2147483647 w 172"/>
                <a:gd name="T35" fmla="*/ 2147483647 h 120"/>
                <a:gd name="T36" fmla="*/ 2147483647 w 172"/>
                <a:gd name="T37" fmla="*/ 2147483647 h 120"/>
                <a:gd name="T38" fmla="*/ 2147483647 w 172"/>
                <a:gd name="T39" fmla="*/ 2147483647 h 120"/>
                <a:gd name="T40" fmla="*/ 2147483647 w 172"/>
                <a:gd name="T41" fmla="*/ 2147483647 h 120"/>
                <a:gd name="T42" fmla="*/ 0 w 172"/>
                <a:gd name="T43" fmla="*/ 2147483647 h 120"/>
                <a:gd name="T44" fmla="*/ 2147483647 w 172"/>
                <a:gd name="T45" fmla="*/ 2147483647 h 120"/>
                <a:gd name="T46" fmla="*/ 2147483647 w 172"/>
                <a:gd name="T47" fmla="*/ 2147483647 h 120"/>
                <a:gd name="T48" fmla="*/ 2147483647 w 172"/>
                <a:gd name="T49" fmla="*/ 2147483647 h 120"/>
                <a:gd name="T50" fmla="*/ 2147483647 w 172"/>
                <a:gd name="T51" fmla="*/ 2147483647 h 120"/>
                <a:gd name="T52" fmla="*/ 2147483647 w 172"/>
                <a:gd name="T53" fmla="*/ 2147483647 h 120"/>
                <a:gd name="T54" fmla="*/ 2147483647 w 172"/>
                <a:gd name="T55" fmla="*/ 2147483647 h 120"/>
                <a:gd name="T56" fmla="*/ 2147483647 w 172"/>
                <a:gd name="T57" fmla="*/ 2147483647 h 120"/>
                <a:gd name="T58" fmla="*/ 2147483647 w 172"/>
                <a:gd name="T59" fmla="*/ 2147483647 h 120"/>
                <a:gd name="T60" fmla="*/ 2147483647 w 172"/>
                <a:gd name="T61" fmla="*/ 2147483647 h 120"/>
                <a:gd name="T62" fmla="*/ 2147483647 w 172"/>
                <a:gd name="T63" fmla="*/ 2147483647 h 120"/>
                <a:gd name="T64" fmla="*/ 2147483647 w 172"/>
                <a:gd name="T65" fmla="*/ 2147483647 h 120"/>
                <a:gd name="T66" fmla="*/ 2147483647 w 172"/>
                <a:gd name="T67" fmla="*/ 2147483647 h 120"/>
                <a:gd name="T68" fmla="*/ 2147483647 w 172"/>
                <a:gd name="T69" fmla="*/ 2147483647 h 120"/>
                <a:gd name="T70" fmla="*/ 2147483647 w 172"/>
                <a:gd name="T71" fmla="*/ 2147483647 h 120"/>
                <a:gd name="T72" fmla="*/ 2147483647 w 172"/>
                <a:gd name="T73" fmla="*/ 2147483647 h 120"/>
                <a:gd name="T74" fmla="*/ 2147483647 w 172"/>
                <a:gd name="T75" fmla="*/ 2147483647 h 120"/>
                <a:gd name="T76" fmla="*/ 2147483647 w 172"/>
                <a:gd name="T77" fmla="*/ 2147483647 h 120"/>
                <a:gd name="T78" fmla="*/ 2147483647 w 172"/>
                <a:gd name="T79" fmla="*/ 2147483647 h 120"/>
                <a:gd name="T80" fmla="*/ 2147483647 w 172"/>
                <a:gd name="T81" fmla="*/ 2147483647 h 120"/>
                <a:gd name="T82" fmla="*/ 2147483647 w 172"/>
                <a:gd name="T83" fmla="*/ 2147483647 h 120"/>
                <a:gd name="T84" fmla="*/ 2147483647 w 172"/>
                <a:gd name="T85" fmla="*/ 2147483647 h 120"/>
                <a:gd name="T86" fmla="*/ 2147483647 w 172"/>
                <a:gd name="T87" fmla="*/ 2147483647 h 120"/>
                <a:gd name="T88" fmla="*/ 2147483647 w 172"/>
                <a:gd name="T89" fmla="*/ 2147483647 h 120"/>
                <a:gd name="T90" fmla="*/ 2147483647 w 172"/>
                <a:gd name="T91" fmla="*/ 2147483647 h 120"/>
                <a:gd name="T92" fmla="*/ 2147483647 w 172"/>
                <a:gd name="T93" fmla="*/ 2147483647 h 120"/>
                <a:gd name="T94" fmla="*/ 2147483647 w 172"/>
                <a:gd name="T95" fmla="*/ 0 h 120"/>
                <a:gd name="T96" fmla="*/ 2147483647 w 172"/>
                <a:gd name="T97" fmla="*/ 2147483647 h 120"/>
                <a:gd name="T98" fmla="*/ 2147483647 w 172"/>
                <a:gd name="T99" fmla="*/ 0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2"/>
                <a:gd name="T151" fmla="*/ 0 h 120"/>
                <a:gd name="T152" fmla="*/ 172 w 172"/>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2" h="120">
                  <a:moveTo>
                    <a:pt x="2" y="98"/>
                  </a:moveTo>
                  <a:lnTo>
                    <a:pt x="2" y="98"/>
                  </a:lnTo>
                  <a:lnTo>
                    <a:pt x="20" y="98"/>
                  </a:lnTo>
                  <a:lnTo>
                    <a:pt x="28" y="96"/>
                  </a:lnTo>
                  <a:lnTo>
                    <a:pt x="30" y="94"/>
                  </a:lnTo>
                  <a:lnTo>
                    <a:pt x="32" y="90"/>
                  </a:lnTo>
                  <a:lnTo>
                    <a:pt x="32" y="86"/>
                  </a:lnTo>
                  <a:lnTo>
                    <a:pt x="32" y="82"/>
                  </a:lnTo>
                  <a:lnTo>
                    <a:pt x="48" y="82"/>
                  </a:lnTo>
                  <a:lnTo>
                    <a:pt x="58" y="86"/>
                  </a:lnTo>
                  <a:lnTo>
                    <a:pt x="64" y="90"/>
                  </a:lnTo>
                  <a:lnTo>
                    <a:pt x="64" y="96"/>
                  </a:lnTo>
                  <a:lnTo>
                    <a:pt x="66" y="98"/>
                  </a:lnTo>
                  <a:lnTo>
                    <a:pt x="66" y="100"/>
                  </a:lnTo>
                  <a:lnTo>
                    <a:pt x="70" y="102"/>
                  </a:lnTo>
                  <a:lnTo>
                    <a:pt x="74" y="102"/>
                  </a:lnTo>
                  <a:lnTo>
                    <a:pt x="80" y="112"/>
                  </a:lnTo>
                  <a:lnTo>
                    <a:pt x="86" y="116"/>
                  </a:lnTo>
                  <a:lnTo>
                    <a:pt x="94" y="116"/>
                  </a:lnTo>
                  <a:lnTo>
                    <a:pt x="108" y="120"/>
                  </a:lnTo>
                  <a:lnTo>
                    <a:pt x="108" y="114"/>
                  </a:lnTo>
                  <a:lnTo>
                    <a:pt x="106" y="114"/>
                  </a:lnTo>
                  <a:lnTo>
                    <a:pt x="102" y="112"/>
                  </a:lnTo>
                  <a:lnTo>
                    <a:pt x="104" y="110"/>
                  </a:lnTo>
                  <a:lnTo>
                    <a:pt x="104" y="108"/>
                  </a:lnTo>
                  <a:lnTo>
                    <a:pt x="100" y="106"/>
                  </a:lnTo>
                  <a:lnTo>
                    <a:pt x="94" y="106"/>
                  </a:lnTo>
                  <a:lnTo>
                    <a:pt x="94" y="104"/>
                  </a:lnTo>
                  <a:lnTo>
                    <a:pt x="94" y="102"/>
                  </a:lnTo>
                  <a:lnTo>
                    <a:pt x="94" y="98"/>
                  </a:lnTo>
                  <a:lnTo>
                    <a:pt x="92" y="98"/>
                  </a:lnTo>
                  <a:lnTo>
                    <a:pt x="88" y="98"/>
                  </a:lnTo>
                  <a:lnTo>
                    <a:pt x="86" y="94"/>
                  </a:lnTo>
                  <a:lnTo>
                    <a:pt x="86" y="92"/>
                  </a:lnTo>
                  <a:lnTo>
                    <a:pt x="86" y="88"/>
                  </a:lnTo>
                  <a:lnTo>
                    <a:pt x="84" y="84"/>
                  </a:lnTo>
                  <a:lnTo>
                    <a:pt x="82" y="84"/>
                  </a:lnTo>
                  <a:lnTo>
                    <a:pt x="78" y="84"/>
                  </a:lnTo>
                  <a:lnTo>
                    <a:pt x="76" y="80"/>
                  </a:lnTo>
                  <a:lnTo>
                    <a:pt x="74" y="76"/>
                  </a:lnTo>
                  <a:lnTo>
                    <a:pt x="72" y="68"/>
                  </a:lnTo>
                  <a:lnTo>
                    <a:pt x="80" y="64"/>
                  </a:lnTo>
                  <a:lnTo>
                    <a:pt x="80" y="54"/>
                  </a:lnTo>
                  <a:lnTo>
                    <a:pt x="74" y="54"/>
                  </a:lnTo>
                  <a:lnTo>
                    <a:pt x="70" y="54"/>
                  </a:lnTo>
                  <a:lnTo>
                    <a:pt x="68" y="50"/>
                  </a:lnTo>
                  <a:lnTo>
                    <a:pt x="66" y="46"/>
                  </a:lnTo>
                  <a:lnTo>
                    <a:pt x="62" y="46"/>
                  </a:lnTo>
                  <a:lnTo>
                    <a:pt x="58" y="46"/>
                  </a:lnTo>
                  <a:lnTo>
                    <a:pt x="56" y="44"/>
                  </a:lnTo>
                  <a:lnTo>
                    <a:pt x="56" y="42"/>
                  </a:lnTo>
                  <a:lnTo>
                    <a:pt x="56" y="38"/>
                  </a:lnTo>
                  <a:lnTo>
                    <a:pt x="50" y="30"/>
                  </a:lnTo>
                  <a:lnTo>
                    <a:pt x="48" y="28"/>
                  </a:lnTo>
                  <a:lnTo>
                    <a:pt x="44" y="30"/>
                  </a:lnTo>
                  <a:lnTo>
                    <a:pt x="42" y="26"/>
                  </a:lnTo>
                  <a:lnTo>
                    <a:pt x="40" y="22"/>
                  </a:lnTo>
                  <a:lnTo>
                    <a:pt x="32" y="20"/>
                  </a:lnTo>
                  <a:lnTo>
                    <a:pt x="26" y="18"/>
                  </a:lnTo>
                  <a:lnTo>
                    <a:pt x="12" y="14"/>
                  </a:lnTo>
                  <a:lnTo>
                    <a:pt x="0" y="8"/>
                  </a:lnTo>
                  <a:lnTo>
                    <a:pt x="2" y="60"/>
                  </a:lnTo>
                  <a:lnTo>
                    <a:pt x="0" y="64"/>
                  </a:lnTo>
                  <a:lnTo>
                    <a:pt x="2" y="68"/>
                  </a:lnTo>
                  <a:lnTo>
                    <a:pt x="2" y="98"/>
                  </a:lnTo>
                  <a:close/>
                  <a:moveTo>
                    <a:pt x="110" y="104"/>
                  </a:moveTo>
                  <a:lnTo>
                    <a:pt x="112" y="108"/>
                  </a:lnTo>
                  <a:lnTo>
                    <a:pt x="114" y="108"/>
                  </a:lnTo>
                  <a:lnTo>
                    <a:pt x="114" y="106"/>
                  </a:lnTo>
                  <a:lnTo>
                    <a:pt x="110" y="104"/>
                  </a:lnTo>
                  <a:close/>
                  <a:moveTo>
                    <a:pt x="154" y="40"/>
                  </a:moveTo>
                  <a:lnTo>
                    <a:pt x="154" y="40"/>
                  </a:lnTo>
                  <a:lnTo>
                    <a:pt x="158" y="56"/>
                  </a:lnTo>
                  <a:lnTo>
                    <a:pt x="164" y="68"/>
                  </a:lnTo>
                  <a:lnTo>
                    <a:pt x="168" y="68"/>
                  </a:lnTo>
                  <a:lnTo>
                    <a:pt x="170" y="66"/>
                  </a:lnTo>
                  <a:lnTo>
                    <a:pt x="172" y="64"/>
                  </a:lnTo>
                  <a:lnTo>
                    <a:pt x="172" y="60"/>
                  </a:lnTo>
                  <a:lnTo>
                    <a:pt x="154" y="40"/>
                  </a:lnTo>
                  <a:close/>
                  <a:moveTo>
                    <a:pt x="126" y="30"/>
                  </a:moveTo>
                  <a:lnTo>
                    <a:pt x="126" y="30"/>
                  </a:lnTo>
                  <a:lnTo>
                    <a:pt x="126" y="32"/>
                  </a:lnTo>
                  <a:lnTo>
                    <a:pt x="122" y="32"/>
                  </a:lnTo>
                  <a:lnTo>
                    <a:pt x="124" y="34"/>
                  </a:lnTo>
                  <a:lnTo>
                    <a:pt x="124" y="38"/>
                  </a:lnTo>
                  <a:lnTo>
                    <a:pt x="122" y="38"/>
                  </a:lnTo>
                  <a:lnTo>
                    <a:pt x="120" y="44"/>
                  </a:lnTo>
                  <a:lnTo>
                    <a:pt x="118" y="44"/>
                  </a:lnTo>
                  <a:lnTo>
                    <a:pt x="118" y="46"/>
                  </a:lnTo>
                  <a:lnTo>
                    <a:pt x="114" y="46"/>
                  </a:lnTo>
                  <a:lnTo>
                    <a:pt x="108" y="46"/>
                  </a:lnTo>
                  <a:lnTo>
                    <a:pt x="108" y="44"/>
                  </a:lnTo>
                  <a:lnTo>
                    <a:pt x="106" y="46"/>
                  </a:lnTo>
                  <a:lnTo>
                    <a:pt x="106" y="48"/>
                  </a:lnTo>
                  <a:lnTo>
                    <a:pt x="90" y="48"/>
                  </a:lnTo>
                  <a:lnTo>
                    <a:pt x="92" y="52"/>
                  </a:lnTo>
                  <a:lnTo>
                    <a:pt x="96" y="56"/>
                  </a:lnTo>
                  <a:lnTo>
                    <a:pt x="98" y="58"/>
                  </a:lnTo>
                  <a:lnTo>
                    <a:pt x="104" y="58"/>
                  </a:lnTo>
                  <a:lnTo>
                    <a:pt x="112" y="56"/>
                  </a:lnTo>
                  <a:lnTo>
                    <a:pt x="118" y="54"/>
                  </a:lnTo>
                  <a:lnTo>
                    <a:pt x="122" y="50"/>
                  </a:lnTo>
                  <a:lnTo>
                    <a:pt x="124" y="48"/>
                  </a:lnTo>
                  <a:lnTo>
                    <a:pt x="124" y="44"/>
                  </a:lnTo>
                  <a:lnTo>
                    <a:pt x="130" y="44"/>
                  </a:lnTo>
                  <a:lnTo>
                    <a:pt x="130" y="40"/>
                  </a:lnTo>
                  <a:lnTo>
                    <a:pt x="132" y="32"/>
                  </a:lnTo>
                  <a:lnTo>
                    <a:pt x="126" y="30"/>
                  </a:lnTo>
                  <a:close/>
                  <a:moveTo>
                    <a:pt x="128" y="18"/>
                  </a:moveTo>
                  <a:lnTo>
                    <a:pt x="128" y="18"/>
                  </a:lnTo>
                  <a:lnTo>
                    <a:pt x="132" y="26"/>
                  </a:lnTo>
                  <a:lnTo>
                    <a:pt x="134" y="36"/>
                  </a:lnTo>
                  <a:lnTo>
                    <a:pt x="136" y="34"/>
                  </a:lnTo>
                  <a:lnTo>
                    <a:pt x="138" y="32"/>
                  </a:lnTo>
                  <a:lnTo>
                    <a:pt x="136" y="30"/>
                  </a:lnTo>
                  <a:lnTo>
                    <a:pt x="138" y="32"/>
                  </a:lnTo>
                  <a:lnTo>
                    <a:pt x="138" y="30"/>
                  </a:lnTo>
                  <a:lnTo>
                    <a:pt x="138" y="28"/>
                  </a:lnTo>
                  <a:lnTo>
                    <a:pt x="128" y="18"/>
                  </a:lnTo>
                  <a:close/>
                  <a:moveTo>
                    <a:pt x="114" y="10"/>
                  </a:moveTo>
                  <a:lnTo>
                    <a:pt x="114" y="14"/>
                  </a:lnTo>
                  <a:lnTo>
                    <a:pt x="122" y="18"/>
                  </a:lnTo>
                  <a:lnTo>
                    <a:pt x="126" y="20"/>
                  </a:lnTo>
                  <a:lnTo>
                    <a:pt x="126" y="18"/>
                  </a:lnTo>
                  <a:lnTo>
                    <a:pt x="126" y="16"/>
                  </a:lnTo>
                  <a:lnTo>
                    <a:pt x="114" y="10"/>
                  </a:lnTo>
                  <a:close/>
                  <a:moveTo>
                    <a:pt x="106" y="6"/>
                  </a:moveTo>
                  <a:lnTo>
                    <a:pt x="106" y="6"/>
                  </a:lnTo>
                  <a:lnTo>
                    <a:pt x="108" y="12"/>
                  </a:lnTo>
                  <a:lnTo>
                    <a:pt x="110" y="12"/>
                  </a:lnTo>
                  <a:lnTo>
                    <a:pt x="110" y="10"/>
                  </a:lnTo>
                  <a:lnTo>
                    <a:pt x="112" y="8"/>
                  </a:lnTo>
                  <a:lnTo>
                    <a:pt x="110" y="8"/>
                  </a:lnTo>
                  <a:lnTo>
                    <a:pt x="106" y="6"/>
                  </a:lnTo>
                  <a:close/>
                  <a:moveTo>
                    <a:pt x="66" y="0"/>
                  </a:moveTo>
                  <a:lnTo>
                    <a:pt x="66" y="2"/>
                  </a:lnTo>
                  <a:lnTo>
                    <a:pt x="72" y="2"/>
                  </a:lnTo>
                  <a:lnTo>
                    <a:pt x="74" y="2"/>
                  </a:lnTo>
                  <a:lnTo>
                    <a:pt x="70" y="2"/>
                  </a:lnTo>
                  <a:lnTo>
                    <a:pt x="66"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3" name="Freeform 545">
              <a:extLst>
                <a:ext uri="{FF2B5EF4-FFF2-40B4-BE49-F238E27FC236}">
                  <a16:creationId xmlns:a16="http://schemas.microsoft.com/office/drawing/2014/main" id="{0C89E46D-689D-48E8-9391-0FCD6CF0B368}"/>
                </a:ext>
              </a:extLst>
            </p:cNvPr>
            <p:cNvSpPr>
              <a:spLocks noEditPoints="1"/>
            </p:cNvSpPr>
            <p:nvPr/>
          </p:nvSpPr>
          <p:spPr bwMode="gray">
            <a:xfrm>
              <a:off x="2644060" y="4039304"/>
              <a:ext cx="124771" cy="70629"/>
            </a:xfrm>
            <a:custGeom>
              <a:avLst/>
              <a:gdLst>
                <a:gd name="T0" fmla="*/ 2147483647 w 68"/>
                <a:gd name="T1" fmla="*/ 0 h 38"/>
                <a:gd name="T2" fmla="*/ 2147483647 w 68"/>
                <a:gd name="T3" fmla="*/ 0 h 38"/>
                <a:gd name="T4" fmla="*/ 2147483647 w 68"/>
                <a:gd name="T5" fmla="*/ 2147483647 h 38"/>
                <a:gd name="T6" fmla="*/ 0 w 68"/>
                <a:gd name="T7" fmla="*/ 2147483647 h 38"/>
                <a:gd name="T8" fmla="*/ 2147483647 w 68"/>
                <a:gd name="T9" fmla="*/ 2147483647 h 38"/>
                <a:gd name="T10" fmla="*/ 2147483647 w 68"/>
                <a:gd name="T11" fmla="*/ 2147483647 h 38"/>
                <a:gd name="T12" fmla="*/ 2147483647 w 68"/>
                <a:gd name="T13" fmla="*/ 2147483647 h 38"/>
                <a:gd name="T14" fmla="*/ 2147483647 w 68"/>
                <a:gd name="T15" fmla="*/ 2147483647 h 38"/>
                <a:gd name="T16" fmla="*/ 2147483647 w 68"/>
                <a:gd name="T17" fmla="*/ 2147483647 h 38"/>
                <a:gd name="T18" fmla="*/ 2147483647 w 68"/>
                <a:gd name="T19" fmla="*/ 2147483647 h 38"/>
                <a:gd name="T20" fmla="*/ 2147483647 w 68"/>
                <a:gd name="T21" fmla="*/ 2147483647 h 38"/>
                <a:gd name="T22" fmla="*/ 2147483647 w 68"/>
                <a:gd name="T23" fmla="*/ 2147483647 h 38"/>
                <a:gd name="T24" fmla="*/ 2147483647 w 68"/>
                <a:gd name="T25" fmla="*/ 2147483647 h 38"/>
                <a:gd name="T26" fmla="*/ 2147483647 w 68"/>
                <a:gd name="T27" fmla="*/ 2147483647 h 38"/>
                <a:gd name="T28" fmla="*/ 2147483647 w 68"/>
                <a:gd name="T29" fmla="*/ 2147483647 h 38"/>
                <a:gd name="T30" fmla="*/ 2147483647 w 68"/>
                <a:gd name="T31" fmla="*/ 2147483647 h 38"/>
                <a:gd name="T32" fmla="*/ 2147483647 w 68"/>
                <a:gd name="T33" fmla="*/ 2147483647 h 38"/>
                <a:gd name="T34" fmla="*/ 2147483647 w 68"/>
                <a:gd name="T35" fmla="*/ 2147483647 h 38"/>
                <a:gd name="T36" fmla="*/ 2147483647 w 68"/>
                <a:gd name="T37" fmla="*/ 2147483647 h 38"/>
                <a:gd name="T38" fmla="*/ 2147483647 w 68"/>
                <a:gd name="T39" fmla="*/ 2147483647 h 38"/>
                <a:gd name="T40" fmla="*/ 2147483647 w 68"/>
                <a:gd name="T41" fmla="*/ 2147483647 h 38"/>
                <a:gd name="T42" fmla="*/ 2147483647 w 68"/>
                <a:gd name="T43" fmla="*/ 2147483647 h 38"/>
                <a:gd name="T44" fmla="*/ 2147483647 w 68"/>
                <a:gd name="T45" fmla="*/ 2147483647 h 38"/>
                <a:gd name="T46" fmla="*/ 2147483647 w 68"/>
                <a:gd name="T47" fmla="*/ 2147483647 h 38"/>
                <a:gd name="T48" fmla="*/ 2147483647 w 68"/>
                <a:gd name="T49" fmla="*/ 2147483647 h 38"/>
                <a:gd name="T50" fmla="*/ 2147483647 w 68"/>
                <a:gd name="T51" fmla="*/ 2147483647 h 38"/>
                <a:gd name="T52" fmla="*/ 2147483647 w 68"/>
                <a:gd name="T53" fmla="*/ 2147483647 h 38"/>
                <a:gd name="T54" fmla="*/ 2147483647 w 68"/>
                <a:gd name="T55" fmla="*/ 2147483647 h 38"/>
                <a:gd name="T56" fmla="*/ 2147483647 w 68"/>
                <a:gd name="T57" fmla="*/ 2147483647 h 38"/>
                <a:gd name="T58" fmla="*/ 2147483647 w 68"/>
                <a:gd name="T59" fmla="*/ 2147483647 h 38"/>
                <a:gd name="T60" fmla="*/ 2147483647 w 68"/>
                <a:gd name="T61" fmla="*/ 2147483647 h 38"/>
                <a:gd name="T62" fmla="*/ 2147483647 w 68"/>
                <a:gd name="T63" fmla="*/ 2147483647 h 38"/>
                <a:gd name="T64" fmla="*/ 2147483647 w 68"/>
                <a:gd name="T65" fmla="*/ 2147483647 h 38"/>
                <a:gd name="T66" fmla="*/ 2147483647 w 68"/>
                <a:gd name="T67" fmla="*/ 2147483647 h 38"/>
                <a:gd name="T68" fmla="*/ 2147483647 w 68"/>
                <a:gd name="T69" fmla="*/ 2147483647 h 38"/>
                <a:gd name="T70" fmla="*/ 2147483647 w 68"/>
                <a:gd name="T71" fmla="*/ 2147483647 h 38"/>
                <a:gd name="T72" fmla="*/ 2147483647 w 68"/>
                <a:gd name="T73" fmla="*/ 0 h 38"/>
                <a:gd name="T74" fmla="*/ 2147483647 w 68"/>
                <a:gd name="T75" fmla="*/ 2147483647 h 38"/>
                <a:gd name="T76" fmla="*/ 2147483647 w 68"/>
                <a:gd name="T77" fmla="*/ 2147483647 h 38"/>
                <a:gd name="T78" fmla="*/ 2147483647 w 68"/>
                <a:gd name="T79" fmla="*/ 2147483647 h 38"/>
                <a:gd name="T80" fmla="*/ 2147483647 w 68"/>
                <a:gd name="T81" fmla="*/ 2147483647 h 38"/>
                <a:gd name="T82" fmla="*/ 2147483647 w 68"/>
                <a:gd name="T83" fmla="*/ 2147483647 h 38"/>
                <a:gd name="T84" fmla="*/ 2147483647 w 68"/>
                <a:gd name="T85" fmla="*/ 2147483647 h 38"/>
                <a:gd name="T86" fmla="*/ 2147483647 w 68"/>
                <a:gd name="T87" fmla="*/ 0 h 38"/>
                <a:gd name="T88" fmla="*/ 2147483647 w 68"/>
                <a:gd name="T89" fmla="*/ 2147483647 h 38"/>
                <a:gd name="T90" fmla="*/ 2147483647 w 68"/>
                <a:gd name="T91" fmla="*/ 2147483647 h 38"/>
                <a:gd name="T92" fmla="*/ 2147483647 w 68"/>
                <a:gd name="T93" fmla="*/ 2147483647 h 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38"/>
                <a:gd name="T143" fmla="*/ 68 w 68"/>
                <a:gd name="T144" fmla="*/ 38 h 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38">
                  <a:moveTo>
                    <a:pt x="6" y="0"/>
                  </a:moveTo>
                  <a:lnTo>
                    <a:pt x="4" y="0"/>
                  </a:lnTo>
                  <a:lnTo>
                    <a:pt x="2" y="0"/>
                  </a:lnTo>
                  <a:lnTo>
                    <a:pt x="2" y="2"/>
                  </a:lnTo>
                  <a:lnTo>
                    <a:pt x="2" y="6"/>
                  </a:lnTo>
                  <a:lnTo>
                    <a:pt x="0" y="8"/>
                  </a:lnTo>
                  <a:lnTo>
                    <a:pt x="2" y="10"/>
                  </a:lnTo>
                  <a:lnTo>
                    <a:pt x="4" y="14"/>
                  </a:lnTo>
                  <a:lnTo>
                    <a:pt x="2" y="20"/>
                  </a:lnTo>
                  <a:lnTo>
                    <a:pt x="10" y="20"/>
                  </a:lnTo>
                  <a:lnTo>
                    <a:pt x="14" y="20"/>
                  </a:lnTo>
                  <a:lnTo>
                    <a:pt x="18" y="22"/>
                  </a:lnTo>
                  <a:lnTo>
                    <a:pt x="18" y="26"/>
                  </a:lnTo>
                  <a:lnTo>
                    <a:pt x="22" y="26"/>
                  </a:lnTo>
                  <a:lnTo>
                    <a:pt x="24" y="26"/>
                  </a:lnTo>
                  <a:lnTo>
                    <a:pt x="24" y="30"/>
                  </a:lnTo>
                  <a:lnTo>
                    <a:pt x="30" y="32"/>
                  </a:lnTo>
                  <a:lnTo>
                    <a:pt x="36" y="32"/>
                  </a:lnTo>
                  <a:lnTo>
                    <a:pt x="38" y="32"/>
                  </a:lnTo>
                  <a:lnTo>
                    <a:pt x="36" y="30"/>
                  </a:lnTo>
                  <a:lnTo>
                    <a:pt x="34" y="30"/>
                  </a:lnTo>
                  <a:lnTo>
                    <a:pt x="32" y="32"/>
                  </a:lnTo>
                  <a:lnTo>
                    <a:pt x="32" y="30"/>
                  </a:lnTo>
                  <a:lnTo>
                    <a:pt x="36" y="28"/>
                  </a:lnTo>
                  <a:lnTo>
                    <a:pt x="34" y="24"/>
                  </a:lnTo>
                  <a:lnTo>
                    <a:pt x="30" y="24"/>
                  </a:lnTo>
                  <a:lnTo>
                    <a:pt x="30" y="20"/>
                  </a:lnTo>
                  <a:lnTo>
                    <a:pt x="38" y="14"/>
                  </a:lnTo>
                  <a:lnTo>
                    <a:pt x="40" y="10"/>
                  </a:lnTo>
                  <a:lnTo>
                    <a:pt x="42" y="10"/>
                  </a:lnTo>
                  <a:lnTo>
                    <a:pt x="44" y="10"/>
                  </a:lnTo>
                  <a:lnTo>
                    <a:pt x="50" y="22"/>
                  </a:lnTo>
                  <a:lnTo>
                    <a:pt x="58" y="20"/>
                  </a:lnTo>
                  <a:lnTo>
                    <a:pt x="56" y="24"/>
                  </a:lnTo>
                  <a:lnTo>
                    <a:pt x="54" y="34"/>
                  </a:lnTo>
                  <a:lnTo>
                    <a:pt x="56" y="36"/>
                  </a:lnTo>
                  <a:lnTo>
                    <a:pt x="60" y="38"/>
                  </a:lnTo>
                  <a:lnTo>
                    <a:pt x="64" y="38"/>
                  </a:lnTo>
                  <a:lnTo>
                    <a:pt x="66" y="36"/>
                  </a:lnTo>
                  <a:lnTo>
                    <a:pt x="68" y="34"/>
                  </a:lnTo>
                  <a:lnTo>
                    <a:pt x="68" y="30"/>
                  </a:lnTo>
                  <a:lnTo>
                    <a:pt x="68" y="26"/>
                  </a:lnTo>
                  <a:lnTo>
                    <a:pt x="66" y="24"/>
                  </a:lnTo>
                  <a:lnTo>
                    <a:pt x="66" y="20"/>
                  </a:lnTo>
                  <a:lnTo>
                    <a:pt x="58" y="12"/>
                  </a:lnTo>
                  <a:lnTo>
                    <a:pt x="50" y="2"/>
                  </a:lnTo>
                  <a:lnTo>
                    <a:pt x="40" y="0"/>
                  </a:lnTo>
                  <a:lnTo>
                    <a:pt x="38" y="6"/>
                  </a:lnTo>
                  <a:lnTo>
                    <a:pt x="28" y="8"/>
                  </a:lnTo>
                  <a:lnTo>
                    <a:pt x="20" y="10"/>
                  </a:lnTo>
                  <a:lnTo>
                    <a:pt x="18" y="8"/>
                  </a:lnTo>
                  <a:lnTo>
                    <a:pt x="16" y="8"/>
                  </a:lnTo>
                  <a:lnTo>
                    <a:pt x="14" y="8"/>
                  </a:lnTo>
                  <a:lnTo>
                    <a:pt x="12" y="10"/>
                  </a:lnTo>
                  <a:lnTo>
                    <a:pt x="10" y="10"/>
                  </a:lnTo>
                  <a:lnTo>
                    <a:pt x="6" y="0"/>
                  </a:lnTo>
                  <a:close/>
                  <a:moveTo>
                    <a:pt x="16" y="30"/>
                  </a:moveTo>
                  <a:lnTo>
                    <a:pt x="18" y="34"/>
                  </a:lnTo>
                  <a:lnTo>
                    <a:pt x="18" y="32"/>
                  </a:lnTo>
                  <a:lnTo>
                    <a:pt x="16" y="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4" name="Freeform 546">
              <a:extLst>
                <a:ext uri="{FF2B5EF4-FFF2-40B4-BE49-F238E27FC236}">
                  <a16:creationId xmlns:a16="http://schemas.microsoft.com/office/drawing/2014/main" id="{A91B3E43-E61E-414F-9FE1-8319E2D5B237}"/>
                </a:ext>
              </a:extLst>
            </p:cNvPr>
            <p:cNvSpPr>
              <a:spLocks/>
            </p:cNvSpPr>
            <p:nvPr/>
          </p:nvSpPr>
          <p:spPr bwMode="gray">
            <a:xfrm>
              <a:off x="5671538" y="3309476"/>
              <a:ext cx="322522" cy="360205"/>
            </a:xfrm>
            <a:custGeom>
              <a:avLst/>
              <a:gdLst>
                <a:gd name="T0" fmla="*/ 2147483647 w 174"/>
                <a:gd name="T1" fmla="*/ 2147483647 h 194"/>
                <a:gd name="T2" fmla="*/ 2147483647 w 174"/>
                <a:gd name="T3" fmla="*/ 2147483647 h 194"/>
                <a:gd name="T4" fmla="*/ 2147483647 w 174"/>
                <a:gd name="T5" fmla="*/ 2147483647 h 194"/>
                <a:gd name="T6" fmla="*/ 2147483647 w 174"/>
                <a:gd name="T7" fmla="*/ 2147483647 h 194"/>
                <a:gd name="T8" fmla="*/ 2147483647 w 174"/>
                <a:gd name="T9" fmla="*/ 2147483647 h 194"/>
                <a:gd name="T10" fmla="*/ 2147483647 w 174"/>
                <a:gd name="T11" fmla="*/ 2147483647 h 194"/>
                <a:gd name="T12" fmla="*/ 2147483647 w 174"/>
                <a:gd name="T13" fmla="*/ 2147483647 h 194"/>
                <a:gd name="T14" fmla="*/ 2147483647 w 174"/>
                <a:gd name="T15" fmla="*/ 2147483647 h 194"/>
                <a:gd name="T16" fmla="*/ 2147483647 w 174"/>
                <a:gd name="T17" fmla="*/ 2147483647 h 194"/>
                <a:gd name="T18" fmla="*/ 2147483647 w 174"/>
                <a:gd name="T19" fmla="*/ 2147483647 h 194"/>
                <a:gd name="T20" fmla="*/ 2147483647 w 174"/>
                <a:gd name="T21" fmla="*/ 2147483647 h 194"/>
                <a:gd name="T22" fmla="*/ 2147483647 w 174"/>
                <a:gd name="T23" fmla="*/ 2147483647 h 194"/>
                <a:gd name="T24" fmla="*/ 2147483647 w 174"/>
                <a:gd name="T25" fmla="*/ 2147483647 h 194"/>
                <a:gd name="T26" fmla="*/ 2147483647 w 174"/>
                <a:gd name="T27" fmla="*/ 2147483647 h 194"/>
                <a:gd name="T28" fmla="*/ 2147483647 w 174"/>
                <a:gd name="T29" fmla="*/ 2147483647 h 194"/>
                <a:gd name="T30" fmla="*/ 2147483647 w 174"/>
                <a:gd name="T31" fmla="*/ 2147483647 h 194"/>
                <a:gd name="T32" fmla="*/ 2147483647 w 174"/>
                <a:gd name="T33" fmla="*/ 2147483647 h 194"/>
                <a:gd name="T34" fmla="*/ 2147483647 w 174"/>
                <a:gd name="T35" fmla="*/ 2147483647 h 194"/>
                <a:gd name="T36" fmla="*/ 2147483647 w 174"/>
                <a:gd name="T37" fmla="*/ 2147483647 h 194"/>
                <a:gd name="T38" fmla="*/ 2147483647 w 174"/>
                <a:gd name="T39" fmla="*/ 2147483647 h 194"/>
                <a:gd name="T40" fmla="*/ 2147483647 w 174"/>
                <a:gd name="T41" fmla="*/ 2147483647 h 194"/>
                <a:gd name="T42" fmla="*/ 2147483647 w 174"/>
                <a:gd name="T43" fmla="*/ 2147483647 h 194"/>
                <a:gd name="T44" fmla="*/ 2147483647 w 174"/>
                <a:gd name="T45" fmla="*/ 2147483647 h 194"/>
                <a:gd name="T46" fmla="*/ 2147483647 w 174"/>
                <a:gd name="T47" fmla="*/ 0 h 194"/>
                <a:gd name="T48" fmla="*/ 2147483647 w 174"/>
                <a:gd name="T49" fmla="*/ 2147483647 h 194"/>
                <a:gd name="T50" fmla="*/ 2147483647 w 174"/>
                <a:gd name="T51" fmla="*/ 2147483647 h 194"/>
                <a:gd name="T52" fmla="*/ 2147483647 w 174"/>
                <a:gd name="T53" fmla="*/ 2147483647 h 194"/>
                <a:gd name="T54" fmla="*/ 2147483647 w 174"/>
                <a:gd name="T55" fmla="*/ 2147483647 h 194"/>
                <a:gd name="T56" fmla="*/ 2147483647 w 174"/>
                <a:gd name="T57" fmla="*/ 2147483647 h 194"/>
                <a:gd name="T58" fmla="*/ 2147483647 w 174"/>
                <a:gd name="T59" fmla="*/ 2147483647 h 194"/>
                <a:gd name="T60" fmla="*/ 2147483647 w 174"/>
                <a:gd name="T61" fmla="*/ 2147483647 h 194"/>
                <a:gd name="T62" fmla="*/ 2147483647 w 174"/>
                <a:gd name="T63" fmla="*/ 2147483647 h 194"/>
                <a:gd name="T64" fmla="*/ 2147483647 w 174"/>
                <a:gd name="T65" fmla="*/ 2147483647 h 194"/>
                <a:gd name="T66" fmla="*/ 2147483647 w 174"/>
                <a:gd name="T67" fmla="*/ 2147483647 h 194"/>
                <a:gd name="T68" fmla="*/ 2147483647 w 174"/>
                <a:gd name="T69" fmla="*/ 2147483647 h 194"/>
                <a:gd name="T70" fmla="*/ 2147483647 w 174"/>
                <a:gd name="T71" fmla="*/ 2147483647 h 194"/>
                <a:gd name="T72" fmla="*/ 2147483647 w 174"/>
                <a:gd name="T73" fmla="*/ 2147483647 h 194"/>
                <a:gd name="T74" fmla="*/ 2147483647 w 174"/>
                <a:gd name="T75" fmla="*/ 2147483647 h 194"/>
                <a:gd name="T76" fmla="*/ 2147483647 w 174"/>
                <a:gd name="T77" fmla="*/ 2147483647 h 194"/>
                <a:gd name="T78" fmla="*/ 2147483647 w 174"/>
                <a:gd name="T79" fmla="*/ 2147483647 h 194"/>
                <a:gd name="T80" fmla="*/ 2147483647 w 174"/>
                <a:gd name="T81" fmla="*/ 2147483647 h 194"/>
                <a:gd name="T82" fmla="*/ 2147483647 w 174"/>
                <a:gd name="T83" fmla="*/ 2147483647 h 194"/>
                <a:gd name="T84" fmla="*/ 2147483647 w 174"/>
                <a:gd name="T85" fmla="*/ 2147483647 h 194"/>
                <a:gd name="T86" fmla="*/ 2147483647 w 174"/>
                <a:gd name="T87" fmla="*/ 2147483647 h 194"/>
                <a:gd name="T88" fmla="*/ 2147483647 w 174"/>
                <a:gd name="T89" fmla="*/ 2147483647 h 194"/>
                <a:gd name="T90" fmla="*/ 2147483647 w 174"/>
                <a:gd name="T91" fmla="*/ 2147483647 h 194"/>
                <a:gd name="T92" fmla="*/ 2147483647 w 174"/>
                <a:gd name="T93" fmla="*/ 2147483647 h 194"/>
                <a:gd name="T94" fmla="*/ 2147483647 w 174"/>
                <a:gd name="T95" fmla="*/ 2147483647 h 194"/>
                <a:gd name="T96" fmla="*/ 2147483647 w 174"/>
                <a:gd name="T97" fmla="*/ 2147483647 h 194"/>
                <a:gd name="T98" fmla="*/ 0 w 174"/>
                <a:gd name="T99" fmla="*/ 2147483647 h 194"/>
                <a:gd name="T100" fmla="*/ 2147483647 w 174"/>
                <a:gd name="T101" fmla="*/ 2147483647 h 194"/>
                <a:gd name="T102" fmla="*/ 2147483647 w 174"/>
                <a:gd name="T103" fmla="*/ 2147483647 h 194"/>
                <a:gd name="T104" fmla="*/ 2147483647 w 174"/>
                <a:gd name="T105" fmla="*/ 2147483647 h 194"/>
                <a:gd name="T106" fmla="*/ 2147483647 w 174"/>
                <a:gd name="T107" fmla="*/ 2147483647 h 194"/>
                <a:gd name="T108" fmla="*/ 2147483647 w 174"/>
                <a:gd name="T109" fmla="*/ 2147483647 h 194"/>
                <a:gd name="T110" fmla="*/ 2147483647 w 174"/>
                <a:gd name="T111" fmla="*/ 2147483647 h 194"/>
                <a:gd name="T112" fmla="*/ 2147483647 w 174"/>
                <a:gd name="T113" fmla="*/ 2147483647 h 194"/>
                <a:gd name="T114" fmla="*/ 2147483647 w 174"/>
                <a:gd name="T115" fmla="*/ 2147483647 h 194"/>
                <a:gd name="T116" fmla="*/ 2147483647 w 174"/>
                <a:gd name="T117" fmla="*/ 2147483647 h 194"/>
                <a:gd name="T118" fmla="*/ 2147483647 w 174"/>
                <a:gd name="T119" fmla="*/ 2147483647 h 194"/>
                <a:gd name="T120" fmla="*/ 2147483647 w 174"/>
                <a:gd name="T121" fmla="*/ 2147483647 h 1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4"/>
                <a:gd name="T184" fmla="*/ 0 h 194"/>
                <a:gd name="T185" fmla="*/ 174 w 174"/>
                <a:gd name="T186" fmla="*/ 194 h 1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4" h="194">
                  <a:moveTo>
                    <a:pt x="78" y="194"/>
                  </a:moveTo>
                  <a:lnTo>
                    <a:pt x="82" y="190"/>
                  </a:lnTo>
                  <a:lnTo>
                    <a:pt x="84" y="184"/>
                  </a:lnTo>
                  <a:lnTo>
                    <a:pt x="90" y="182"/>
                  </a:lnTo>
                  <a:lnTo>
                    <a:pt x="98" y="180"/>
                  </a:lnTo>
                  <a:lnTo>
                    <a:pt x="96" y="172"/>
                  </a:lnTo>
                  <a:lnTo>
                    <a:pt x="90" y="166"/>
                  </a:lnTo>
                  <a:lnTo>
                    <a:pt x="90" y="164"/>
                  </a:lnTo>
                  <a:lnTo>
                    <a:pt x="94" y="158"/>
                  </a:lnTo>
                  <a:lnTo>
                    <a:pt x="88" y="150"/>
                  </a:lnTo>
                  <a:lnTo>
                    <a:pt x="92" y="146"/>
                  </a:lnTo>
                  <a:lnTo>
                    <a:pt x="96" y="142"/>
                  </a:lnTo>
                  <a:lnTo>
                    <a:pt x="98" y="138"/>
                  </a:lnTo>
                  <a:lnTo>
                    <a:pt x="102" y="142"/>
                  </a:lnTo>
                  <a:lnTo>
                    <a:pt x="106" y="136"/>
                  </a:lnTo>
                  <a:lnTo>
                    <a:pt x="112" y="132"/>
                  </a:lnTo>
                  <a:lnTo>
                    <a:pt x="114" y="126"/>
                  </a:lnTo>
                  <a:lnTo>
                    <a:pt x="118" y="120"/>
                  </a:lnTo>
                  <a:lnTo>
                    <a:pt x="124" y="118"/>
                  </a:lnTo>
                  <a:lnTo>
                    <a:pt x="128" y="114"/>
                  </a:lnTo>
                  <a:lnTo>
                    <a:pt x="130" y="108"/>
                  </a:lnTo>
                  <a:lnTo>
                    <a:pt x="136" y="104"/>
                  </a:lnTo>
                  <a:lnTo>
                    <a:pt x="136" y="98"/>
                  </a:lnTo>
                  <a:lnTo>
                    <a:pt x="138" y="90"/>
                  </a:lnTo>
                  <a:lnTo>
                    <a:pt x="142" y="86"/>
                  </a:lnTo>
                  <a:lnTo>
                    <a:pt x="144" y="80"/>
                  </a:lnTo>
                  <a:lnTo>
                    <a:pt x="144" y="76"/>
                  </a:lnTo>
                  <a:lnTo>
                    <a:pt x="140" y="70"/>
                  </a:lnTo>
                  <a:lnTo>
                    <a:pt x="136" y="66"/>
                  </a:lnTo>
                  <a:lnTo>
                    <a:pt x="134" y="64"/>
                  </a:lnTo>
                  <a:lnTo>
                    <a:pt x="132" y="54"/>
                  </a:lnTo>
                  <a:lnTo>
                    <a:pt x="128" y="50"/>
                  </a:lnTo>
                  <a:lnTo>
                    <a:pt x="128" y="46"/>
                  </a:lnTo>
                  <a:lnTo>
                    <a:pt x="134" y="42"/>
                  </a:lnTo>
                  <a:lnTo>
                    <a:pt x="138" y="42"/>
                  </a:lnTo>
                  <a:lnTo>
                    <a:pt x="142" y="42"/>
                  </a:lnTo>
                  <a:lnTo>
                    <a:pt x="144" y="40"/>
                  </a:lnTo>
                  <a:lnTo>
                    <a:pt x="146" y="38"/>
                  </a:lnTo>
                  <a:lnTo>
                    <a:pt x="150" y="36"/>
                  </a:lnTo>
                  <a:lnTo>
                    <a:pt x="158" y="34"/>
                  </a:lnTo>
                  <a:lnTo>
                    <a:pt x="164" y="30"/>
                  </a:lnTo>
                  <a:lnTo>
                    <a:pt x="166" y="26"/>
                  </a:lnTo>
                  <a:lnTo>
                    <a:pt x="170" y="22"/>
                  </a:lnTo>
                  <a:lnTo>
                    <a:pt x="174" y="16"/>
                  </a:lnTo>
                  <a:lnTo>
                    <a:pt x="168" y="12"/>
                  </a:lnTo>
                  <a:lnTo>
                    <a:pt x="166" y="8"/>
                  </a:lnTo>
                  <a:lnTo>
                    <a:pt x="154" y="0"/>
                  </a:lnTo>
                  <a:lnTo>
                    <a:pt x="146" y="0"/>
                  </a:lnTo>
                  <a:lnTo>
                    <a:pt x="142" y="2"/>
                  </a:lnTo>
                  <a:lnTo>
                    <a:pt x="138" y="2"/>
                  </a:lnTo>
                  <a:lnTo>
                    <a:pt x="132" y="2"/>
                  </a:lnTo>
                  <a:lnTo>
                    <a:pt x="124" y="6"/>
                  </a:lnTo>
                  <a:lnTo>
                    <a:pt x="118" y="6"/>
                  </a:lnTo>
                  <a:lnTo>
                    <a:pt x="104" y="14"/>
                  </a:lnTo>
                  <a:lnTo>
                    <a:pt x="104" y="22"/>
                  </a:lnTo>
                  <a:lnTo>
                    <a:pt x="100" y="24"/>
                  </a:lnTo>
                  <a:lnTo>
                    <a:pt x="104" y="28"/>
                  </a:lnTo>
                  <a:lnTo>
                    <a:pt x="102" y="36"/>
                  </a:lnTo>
                  <a:lnTo>
                    <a:pt x="96" y="36"/>
                  </a:lnTo>
                  <a:lnTo>
                    <a:pt x="90" y="36"/>
                  </a:lnTo>
                  <a:lnTo>
                    <a:pt x="88" y="40"/>
                  </a:lnTo>
                  <a:lnTo>
                    <a:pt x="92" y="44"/>
                  </a:lnTo>
                  <a:lnTo>
                    <a:pt x="92" y="50"/>
                  </a:lnTo>
                  <a:lnTo>
                    <a:pt x="88" y="54"/>
                  </a:lnTo>
                  <a:lnTo>
                    <a:pt x="88" y="60"/>
                  </a:lnTo>
                  <a:lnTo>
                    <a:pt x="86" y="64"/>
                  </a:lnTo>
                  <a:lnTo>
                    <a:pt x="82" y="66"/>
                  </a:lnTo>
                  <a:lnTo>
                    <a:pt x="78" y="64"/>
                  </a:lnTo>
                  <a:lnTo>
                    <a:pt x="74" y="60"/>
                  </a:lnTo>
                  <a:lnTo>
                    <a:pt x="72" y="64"/>
                  </a:lnTo>
                  <a:lnTo>
                    <a:pt x="66" y="68"/>
                  </a:lnTo>
                  <a:lnTo>
                    <a:pt x="70" y="72"/>
                  </a:lnTo>
                  <a:lnTo>
                    <a:pt x="68" y="76"/>
                  </a:lnTo>
                  <a:lnTo>
                    <a:pt x="66" y="78"/>
                  </a:lnTo>
                  <a:lnTo>
                    <a:pt x="62" y="76"/>
                  </a:lnTo>
                  <a:lnTo>
                    <a:pt x="54" y="86"/>
                  </a:lnTo>
                  <a:lnTo>
                    <a:pt x="50" y="90"/>
                  </a:lnTo>
                  <a:lnTo>
                    <a:pt x="48" y="94"/>
                  </a:lnTo>
                  <a:lnTo>
                    <a:pt x="46" y="100"/>
                  </a:lnTo>
                  <a:lnTo>
                    <a:pt x="40" y="100"/>
                  </a:lnTo>
                  <a:lnTo>
                    <a:pt x="40" y="106"/>
                  </a:lnTo>
                  <a:lnTo>
                    <a:pt x="34" y="104"/>
                  </a:lnTo>
                  <a:lnTo>
                    <a:pt x="22" y="104"/>
                  </a:lnTo>
                  <a:lnTo>
                    <a:pt x="18" y="104"/>
                  </a:lnTo>
                  <a:lnTo>
                    <a:pt x="14" y="106"/>
                  </a:lnTo>
                  <a:lnTo>
                    <a:pt x="2" y="98"/>
                  </a:lnTo>
                  <a:lnTo>
                    <a:pt x="8" y="110"/>
                  </a:lnTo>
                  <a:lnTo>
                    <a:pt x="6" y="114"/>
                  </a:lnTo>
                  <a:lnTo>
                    <a:pt x="8" y="118"/>
                  </a:lnTo>
                  <a:lnTo>
                    <a:pt x="12" y="124"/>
                  </a:lnTo>
                  <a:lnTo>
                    <a:pt x="18" y="126"/>
                  </a:lnTo>
                  <a:lnTo>
                    <a:pt x="20" y="132"/>
                  </a:lnTo>
                  <a:lnTo>
                    <a:pt x="22" y="138"/>
                  </a:lnTo>
                  <a:lnTo>
                    <a:pt x="26" y="140"/>
                  </a:lnTo>
                  <a:lnTo>
                    <a:pt x="26" y="146"/>
                  </a:lnTo>
                  <a:lnTo>
                    <a:pt x="22" y="148"/>
                  </a:lnTo>
                  <a:lnTo>
                    <a:pt x="14" y="150"/>
                  </a:lnTo>
                  <a:lnTo>
                    <a:pt x="8" y="152"/>
                  </a:lnTo>
                  <a:lnTo>
                    <a:pt x="2" y="162"/>
                  </a:lnTo>
                  <a:lnTo>
                    <a:pt x="0" y="174"/>
                  </a:lnTo>
                  <a:lnTo>
                    <a:pt x="10" y="174"/>
                  </a:lnTo>
                  <a:lnTo>
                    <a:pt x="26" y="170"/>
                  </a:lnTo>
                  <a:lnTo>
                    <a:pt x="42" y="168"/>
                  </a:lnTo>
                  <a:lnTo>
                    <a:pt x="48" y="168"/>
                  </a:lnTo>
                  <a:lnTo>
                    <a:pt x="54" y="170"/>
                  </a:lnTo>
                  <a:lnTo>
                    <a:pt x="60" y="176"/>
                  </a:lnTo>
                  <a:lnTo>
                    <a:pt x="60" y="178"/>
                  </a:lnTo>
                  <a:lnTo>
                    <a:pt x="58" y="178"/>
                  </a:lnTo>
                  <a:lnTo>
                    <a:pt x="56" y="180"/>
                  </a:lnTo>
                  <a:lnTo>
                    <a:pt x="58" y="182"/>
                  </a:lnTo>
                  <a:lnTo>
                    <a:pt x="60" y="182"/>
                  </a:lnTo>
                  <a:lnTo>
                    <a:pt x="64" y="182"/>
                  </a:lnTo>
                  <a:lnTo>
                    <a:pt x="68" y="184"/>
                  </a:lnTo>
                  <a:lnTo>
                    <a:pt x="68" y="188"/>
                  </a:lnTo>
                  <a:lnTo>
                    <a:pt x="68" y="192"/>
                  </a:lnTo>
                  <a:lnTo>
                    <a:pt x="70" y="192"/>
                  </a:lnTo>
                  <a:lnTo>
                    <a:pt x="78" y="19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5" name="Freeform 547">
              <a:extLst>
                <a:ext uri="{FF2B5EF4-FFF2-40B4-BE49-F238E27FC236}">
                  <a16:creationId xmlns:a16="http://schemas.microsoft.com/office/drawing/2014/main" id="{B57CB0C6-E2D3-419D-833C-F9E388C5C443}"/>
                </a:ext>
              </a:extLst>
            </p:cNvPr>
            <p:cNvSpPr>
              <a:spLocks noEditPoints="1"/>
            </p:cNvSpPr>
            <p:nvPr/>
          </p:nvSpPr>
          <p:spPr bwMode="gray">
            <a:xfrm>
              <a:off x="5473788" y="3606116"/>
              <a:ext cx="160084" cy="247201"/>
            </a:xfrm>
            <a:custGeom>
              <a:avLst/>
              <a:gdLst>
                <a:gd name="T0" fmla="*/ 2147483647 w 86"/>
                <a:gd name="T1" fmla="*/ 2147483647 h 134"/>
                <a:gd name="T2" fmla="*/ 2147483647 w 86"/>
                <a:gd name="T3" fmla="*/ 2147483647 h 134"/>
                <a:gd name="T4" fmla="*/ 2147483647 w 86"/>
                <a:gd name="T5" fmla="*/ 0 h 134"/>
                <a:gd name="T6" fmla="*/ 2147483647 w 86"/>
                <a:gd name="T7" fmla="*/ 2147483647 h 134"/>
                <a:gd name="T8" fmla="*/ 2147483647 w 86"/>
                <a:gd name="T9" fmla="*/ 2147483647 h 134"/>
                <a:gd name="T10" fmla="*/ 2147483647 w 86"/>
                <a:gd name="T11" fmla="*/ 2147483647 h 134"/>
                <a:gd name="T12" fmla="*/ 2147483647 w 86"/>
                <a:gd name="T13" fmla="*/ 2147483647 h 134"/>
                <a:gd name="T14" fmla="*/ 2147483647 w 86"/>
                <a:gd name="T15" fmla="*/ 2147483647 h 134"/>
                <a:gd name="T16" fmla="*/ 2147483647 w 86"/>
                <a:gd name="T17" fmla="*/ 2147483647 h 134"/>
                <a:gd name="T18" fmla="*/ 2147483647 w 86"/>
                <a:gd name="T19" fmla="*/ 2147483647 h 134"/>
                <a:gd name="T20" fmla="*/ 2147483647 w 86"/>
                <a:gd name="T21" fmla="*/ 2147483647 h 134"/>
                <a:gd name="T22" fmla="*/ 2147483647 w 86"/>
                <a:gd name="T23" fmla="*/ 2147483647 h 134"/>
                <a:gd name="T24" fmla="*/ 2147483647 w 86"/>
                <a:gd name="T25" fmla="*/ 2147483647 h 134"/>
                <a:gd name="T26" fmla="*/ 2147483647 w 86"/>
                <a:gd name="T27" fmla="*/ 2147483647 h 134"/>
                <a:gd name="T28" fmla="*/ 2147483647 w 86"/>
                <a:gd name="T29" fmla="*/ 2147483647 h 134"/>
                <a:gd name="T30" fmla="*/ 2147483647 w 86"/>
                <a:gd name="T31" fmla="*/ 2147483647 h 134"/>
                <a:gd name="T32" fmla="*/ 2147483647 w 86"/>
                <a:gd name="T33" fmla="*/ 2147483647 h 134"/>
                <a:gd name="T34" fmla="*/ 2147483647 w 86"/>
                <a:gd name="T35" fmla="*/ 2147483647 h 134"/>
                <a:gd name="T36" fmla="*/ 2147483647 w 86"/>
                <a:gd name="T37" fmla="*/ 2147483647 h 134"/>
                <a:gd name="T38" fmla="*/ 2147483647 w 86"/>
                <a:gd name="T39" fmla="*/ 2147483647 h 134"/>
                <a:gd name="T40" fmla="*/ 2147483647 w 86"/>
                <a:gd name="T41" fmla="*/ 2147483647 h 134"/>
                <a:gd name="T42" fmla="*/ 2147483647 w 86"/>
                <a:gd name="T43" fmla="*/ 2147483647 h 134"/>
                <a:gd name="T44" fmla="*/ 2147483647 w 86"/>
                <a:gd name="T45" fmla="*/ 2147483647 h 134"/>
                <a:gd name="T46" fmla="*/ 2147483647 w 86"/>
                <a:gd name="T47" fmla="*/ 2147483647 h 134"/>
                <a:gd name="T48" fmla="*/ 2147483647 w 86"/>
                <a:gd name="T49" fmla="*/ 2147483647 h 134"/>
                <a:gd name="T50" fmla="*/ 2147483647 w 86"/>
                <a:gd name="T51" fmla="*/ 2147483647 h 134"/>
                <a:gd name="T52" fmla="*/ 2147483647 w 86"/>
                <a:gd name="T53" fmla="*/ 2147483647 h 134"/>
                <a:gd name="T54" fmla="*/ 2147483647 w 86"/>
                <a:gd name="T55" fmla="*/ 2147483647 h 134"/>
                <a:gd name="T56" fmla="*/ 2147483647 w 86"/>
                <a:gd name="T57" fmla="*/ 2147483647 h 134"/>
                <a:gd name="T58" fmla="*/ 2147483647 w 86"/>
                <a:gd name="T59" fmla="*/ 2147483647 h 134"/>
                <a:gd name="T60" fmla="*/ 2147483647 w 86"/>
                <a:gd name="T61" fmla="*/ 2147483647 h 134"/>
                <a:gd name="T62" fmla="*/ 2147483647 w 86"/>
                <a:gd name="T63" fmla="*/ 2147483647 h 134"/>
                <a:gd name="T64" fmla="*/ 2147483647 w 86"/>
                <a:gd name="T65" fmla="*/ 2147483647 h 134"/>
                <a:gd name="T66" fmla="*/ 2147483647 w 86"/>
                <a:gd name="T67" fmla="*/ 2147483647 h 134"/>
                <a:gd name="T68" fmla="*/ 2147483647 w 86"/>
                <a:gd name="T69" fmla="*/ 2147483647 h 134"/>
                <a:gd name="T70" fmla="*/ 2147483647 w 86"/>
                <a:gd name="T71" fmla="*/ 2147483647 h 134"/>
                <a:gd name="T72" fmla="*/ 2147483647 w 86"/>
                <a:gd name="T73" fmla="*/ 2147483647 h 134"/>
                <a:gd name="T74" fmla="*/ 2147483647 w 86"/>
                <a:gd name="T75" fmla="*/ 2147483647 h 134"/>
                <a:gd name="T76" fmla="*/ 2147483647 w 86"/>
                <a:gd name="T77" fmla="*/ 2147483647 h 134"/>
                <a:gd name="T78" fmla="*/ 2147483647 w 86"/>
                <a:gd name="T79" fmla="*/ 2147483647 h 134"/>
                <a:gd name="T80" fmla="*/ 2147483647 w 86"/>
                <a:gd name="T81" fmla="*/ 2147483647 h 134"/>
                <a:gd name="T82" fmla="*/ 2147483647 w 86"/>
                <a:gd name="T83" fmla="*/ 2147483647 h 134"/>
                <a:gd name="T84" fmla="*/ 0 w 86"/>
                <a:gd name="T85" fmla="*/ 2147483647 h 134"/>
                <a:gd name="T86" fmla="*/ 2147483647 w 86"/>
                <a:gd name="T87" fmla="*/ 2147483647 h 1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6"/>
                <a:gd name="T133" fmla="*/ 0 h 134"/>
                <a:gd name="T134" fmla="*/ 86 w 86"/>
                <a:gd name="T135" fmla="*/ 134 h 1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6" h="134">
                  <a:moveTo>
                    <a:pt x="50" y="12"/>
                  </a:moveTo>
                  <a:lnTo>
                    <a:pt x="44" y="8"/>
                  </a:lnTo>
                  <a:lnTo>
                    <a:pt x="46" y="4"/>
                  </a:lnTo>
                  <a:lnTo>
                    <a:pt x="42" y="4"/>
                  </a:lnTo>
                  <a:lnTo>
                    <a:pt x="46" y="0"/>
                  </a:lnTo>
                  <a:lnTo>
                    <a:pt x="50" y="12"/>
                  </a:lnTo>
                  <a:close/>
                  <a:moveTo>
                    <a:pt x="16" y="134"/>
                  </a:moveTo>
                  <a:lnTo>
                    <a:pt x="16" y="134"/>
                  </a:lnTo>
                  <a:lnTo>
                    <a:pt x="20" y="134"/>
                  </a:lnTo>
                  <a:lnTo>
                    <a:pt x="26" y="128"/>
                  </a:lnTo>
                  <a:lnTo>
                    <a:pt x="28" y="128"/>
                  </a:lnTo>
                  <a:lnTo>
                    <a:pt x="30" y="130"/>
                  </a:lnTo>
                  <a:lnTo>
                    <a:pt x="32" y="128"/>
                  </a:lnTo>
                  <a:lnTo>
                    <a:pt x="34" y="126"/>
                  </a:lnTo>
                  <a:lnTo>
                    <a:pt x="34" y="122"/>
                  </a:lnTo>
                  <a:lnTo>
                    <a:pt x="36" y="120"/>
                  </a:lnTo>
                  <a:lnTo>
                    <a:pt x="38" y="118"/>
                  </a:lnTo>
                  <a:lnTo>
                    <a:pt x="42" y="118"/>
                  </a:lnTo>
                  <a:lnTo>
                    <a:pt x="48" y="118"/>
                  </a:lnTo>
                  <a:lnTo>
                    <a:pt x="52" y="112"/>
                  </a:lnTo>
                  <a:lnTo>
                    <a:pt x="54" y="108"/>
                  </a:lnTo>
                  <a:lnTo>
                    <a:pt x="66" y="104"/>
                  </a:lnTo>
                  <a:lnTo>
                    <a:pt x="64" y="100"/>
                  </a:lnTo>
                  <a:lnTo>
                    <a:pt x="66" y="94"/>
                  </a:lnTo>
                  <a:lnTo>
                    <a:pt x="68" y="84"/>
                  </a:lnTo>
                  <a:lnTo>
                    <a:pt x="72" y="84"/>
                  </a:lnTo>
                  <a:lnTo>
                    <a:pt x="74" y="78"/>
                  </a:lnTo>
                  <a:lnTo>
                    <a:pt x="76" y="70"/>
                  </a:lnTo>
                  <a:lnTo>
                    <a:pt x="84" y="62"/>
                  </a:lnTo>
                  <a:lnTo>
                    <a:pt x="86" y="56"/>
                  </a:lnTo>
                  <a:lnTo>
                    <a:pt x="86" y="50"/>
                  </a:lnTo>
                  <a:lnTo>
                    <a:pt x="84" y="48"/>
                  </a:lnTo>
                  <a:lnTo>
                    <a:pt x="82" y="48"/>
                  </a:lnTo>
                  <a:lnTo>
                    <a:pt x="80" y="42"/>
                  </a:lnTo>
                  <a:lnTo>
                    <a:pt x="76" y="34"/>
                  </a:lnTo>
                  <a:lnTo>
                    <a:pt x="74" y="32"/>
                  </a:lnTo>
                  <a:lnTo>
                    <a:pt x="70" y="32"/>
                  </a:lnTo>
                  <a:lnTo>
                    <a:pt x="62" y="28"/>
                  </a:lnTo>
                  <a:lnTo>
                    <a:pt x="56" y="22"/>
                  </a:lnTo>
                  <a:lnTo>
                    <a:pt x="50" y="14"/>
                  </a:lnTo>
                  <a:lnTo>
                    <a:pt x="48" y="14"/>
                  </a:lnTo>
                  <a:lnTo>
                    <a:pt x="46" y="16"/>
                  </a:lnTo>
                  <a:lnTo>
                    <a:pt x="46" y="18"/>
                  </a:lnTo>
                  <a:lnTo>
                    <a:pt x="44" y="16"/>
                  </a:lnTo>
                  <a:lnTo>
                    <a:pt x="42" y="16"/>
                  </a:lnTo>
                  <a:lnTo>
                    <a:pt x="42" y="20"/>
                  </a:lnTo>
                  <a:lnTo>
                    <a:pt x="44" y="20"/>
                  </a:lnTo>
                  <a:lnTo>
                    <a:pt x="40" y="24"/>
                  </a:lnTo>
                  <a:lnTo>
                    <a:pt x="38" y="26"/>
                  </a:lnTo>
                  <a:lnTo>
                    <a:pt x="40" y="26"/>
                  </a:lnTo>
                  <a:lnTo>
                    <a:pt x="42" y="30"/>
                  </a:lnTo>
                  <a:lnTo>
                    <a:pt x="40" y="36"/>
                  </a:lnTo>
                  <a:lnTo>
                    <a:pt x="36" y="42"/>
                  </a:lnTo>
                  <a:lnTo>
                    <a:pt x="36" y="44"/>
                  </a:lnTo>
                  <a:lnTo>
                    <a:pt x="44" y="54"/>
                  </a:lnTo>
                  <a:lnTo>
                    <a:pt x="42" y="70"/>
                  </a:lnTo>
                  <a:lnTo>
                    <a:pt x="38" y="82"/>
                  </a:lnTo>
                  <a:lnTo>
                    <a:pt x="36" y="88"/>
                  </a:lnTo>
                  <a:lnTo>
                    <a:pt x="0" y="104"/>
                  </a:lnTo>
                  <a:lnTo>
                    <a:pt x="0" y="106"/>
                  </a:lnTo>
                  <a:lnTo>
                    <a:pt x="10" y="128"/>
                  </a:lnTo>
                  <a:lnTo>
                    <a:pt x="16" y="1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6" name="Freeform 548">
              <a:extLst>
                <a:ext uri="{FF2B5EF4-FFF2-40B4-BE49-F238E27FC236}">
                  <a16:creationId xmlns:a16="http://schemas.microsoft.com/office/drawing/2014/main" id="{B358AE50-3266-43E4-A33D-6F36D6BA4278}"/>
                </a:ext>
              </a:extLst>
            </p:cNvPr>
            <p:cNvSpPr>
              <a:spLocks/>
            </p:cNvSpPr>
            <p:nvPr/>
          </p:nvSpPr>
          <p:spPr bwMode="gray">
            <a:xfrm>
              <a:off x="4489739" y="2146459"/>
              <a:ext cx="553234" cy="503819"/>
            </a:xfrm>
            <a:custGeom>
              <a:avLst/>
              <a:gdLst>
                <a:gd name="T0" fmla="*/ 2147483647 w 298"/>
                <a:gd name="T1" fmla="*/ 2147483647 h 272"/>
                <a:gd name="T2" fmla="*/ 2147483647 w 298"/>
                <a:gd name="T3" fmla="*/ 2147483647 h 272"/>
                <a:gd name="T4" fmla="*/ 2147483647 w 298"/>
                <a:gd name="T5" fmla="*/ 2147483647 h 272"/>
                <a:gd name="T6" fmla="*/ 2147483647 w 298"/>
                <a:gd name="T7" fmla="*/ 2147483647 h 272"/>
                <a:gd name="T8" fmla="*/ 2147483647 w 298"/>
                <a:gd name="T9" fmla="*/ 2147483647 h 272"/>
                <a:gd name="T10" fmla="*/ 2147483647 w 298"/>
                <a:gd name="T11" fmla="*/ 2147483647 h 272"/>
                <a:gd name="T12" fmla="*/ 2147483647 w 298"/>
                <a:gd name="T13" fmla="*/ 2147483647 h 272"/>
                <a:gd name="T14" fmla="*/ 2147483647 w 298"/>
                <a:gd name="T15" fmla="*/ 2147483647 h 272"/>
                <a:gd name="T16" fmla="*/ 2147483647 w 298"/>
                <a:gd name="T17" fmla="*/ 2147483647 h 272"/>
                <a:gd name="T18" fmla="*/ 2147483647 w 298"/>
                <a:gd name="T19" fmla="*/ 2147483647 h 272"/>
                <a:gd name="T20" fmla="*/ 2147483647 w 298"/>
                <a:gd name="T21" fmla="*/ 2147483647 h 272"/>
                <a:gd name="T22" fmla="*/ 2147483647 w 298"/>
                <a:gd name="T23" fmla="*/ 2147483647 h 272"/>
                <a:gd name="T24" fmla="*/ 2147483647 w 298"/>
                <a:gd name="T25" fmla="*/ 2147483647 h 272"/>
                <a:gd name="T26" fmla="*/ 2147483647 w 298"/>
                <a:gd name="T27" fmla="*/ 2147483647 h 272"/>
                <a:gd name="T28" fmla="*/ 2147483647 w 298"/>
                <a:gd name="T29" fmla="*/ 2147483647 h 272"/>
                <a:gd name="T30" fmla="*/ 2147483647 w 298"/>
                <a:gd name="T31" fmla="*/ 2147483647 h 272"/>
                <a:gd name="T32" fmla="*/ 2147483647 w 298"/>
                <a:gd name="T33" fmla="*/ 2147483647 h 272"/>
                <a:gd name="T34" fmla="*/ 2147483647 w 298"/>
                <a:gd name="T35" fmla="*/ 2147483647 h 272"/>
                <a:gd name="T36" fmla="*/ 2147483647 w 298"/>
                <a:gd name="T37" fmla="*/ 2147483647 h 272"/>
                <a:gd name="T38" fmla="*/ 2147483647 w 298"/>
                <a:gd name="T39" fmla="*/ 2147483647 h 272"/>
                <a:gd name="T40" fmla="*/ 2147483647 w 298"/>
                <a:gd name="T41" fmla="*/ 2147483647 h 272"/>
                <a:gd name="T42" fmla="*/ 2147483647 w 298"/>
                <a:gd name="T43" fmla="*/ 2147483647 h 272"/>
                <a:gd name="T44" fmla="*/ 2147483647 w 298"/>
                <a:gd name="T45" fmla="*/ 2147483647 h 272"/>
                <a:gd name="T46" fmla="*/ 2147483647 w 298"/>
                <a:gd name="T47" fmla="*/ 2147483647 h 272"/>
                <a:gd name="T48" fmla="*/ 2147483647 w 298"/>
                <a:gd name="T49" fmla="*/ 2147483647 h 272"/>
                <a:gd name="T50" fmla="*/ 2147483647 w 298"/>
                <a:gd name="T51" fmla="*/ 2147483647 h 272"/>
                <a:gd name="T52" fmla="*/ 2147483647 w 298"/>
                <a:gd name="T53" fmla="*/ 2147483647 h 272"/>
                <a:gd name="T54" fmla="*/ 2147483647 w 298"/>
                <a:gd name="T55" fmla="*/ 2147483647 h 272"/>
                <a:gd name="T56" fmla="*/ 2147483647 w 298"/>
                <a:gd name="T57" fmla="*/ 2147483647 h 272"/>
                <a:gd name="T58" fmla="*/ 2147483647 w 298"/>
                <a:gd name="T59" fmla="*/ 2147483647 h 272"/>
                <a:gd name="T60" fmla="*/ 2147483647 w 298"/>
                <a:gd name="T61" fmla="*/ 2147483647 h 272"/>
                <a:gd name="T62" fmla="*/ 2147483647 w 298"/>
                <a:gd name="T63" fmla="*/ 2147483647 h 272"/>
                <a:gd name="T64" fmla="*/ 2147483647 w 298"/>
                <a:gd name="T65" fmla="*/ 2147483647 h 272"/>
                <a:gd name="T66" fmla="*/ 2147483647 w 298"/>
                <a:gd name="T67" fmla="*/ 2147483647 h 272"/>
                <a:gd name="T68" fmla="*/ 2147483647 w 298"/>
                <a:gd name="T69" fmla="*/ 2147483647 h 272"/>
                <a:gd name="T70" fmla="*/ 2147483647 w 298"/>
                <a:gd name="T71" fmla="*/ 2147483647 h 272"/>
                <a:gd name="T72" fmla="*/ 2147483647 w 298"/>
                <a:gd name="T73" fmla="*/ 2147483647 h 272"/>
                <a:gd name="T74" fmla="*/ 2147483647 w 298"/>
                <a:gd name="T75" fmla="*/ 2147483647 h 272"/>
                <a:gd name="T76" fmla="*/ 2147483647 w 298"/>
                <a:gd name="T77" fmla="*/ 2147483647 h 272"/>
                <a:gd name="T78" fmla="*/ 2147483647 w 298"/>
                <a:gd name="T79" fmla="*/ 2147483647 h 272"/>
                <a:gd name="T80" fmla="*/ 2147483647 w 298"/>
                <a:gd name="T81" fmla="*/ 2147483647 h 272"/>
                <a:gd name="T82" fmla="*/ 2147483647 w 298"/>
                <a:gd name="T83" fmla="*/ 2147483647 h 272"/>
                <a:gd name="T84" fmla="*/ 2147483647 w 298"/>
                <a:gd name="T85" fmla="*/ 2147483647 h 272"/>
                <a:gd name="T86" fmla="*/ 2147483647 w 298"/>
                <a:gd name="T87" fmla="*/ 2147483647 h 272"/>
                <a:gd name="T88" fmla="*/ 2147483647 w 298"/>
                <a:gd name="T89" fmla="*/ 2147483647 h 272"/>
                <a:gd name="T90" fmla="*/ 2147483647 w 298"/>
                <a:gd name="T91" fmla="*/ 2147483647 h 272"/>
                <a:gd name="T92" fmla="*/ 2147483647 w 298"/>
                <a:gd name="T93" fmla="*/ 2147483647 h 272"/>
                <a:gd name="T94" fmla="*/ 2147483647 w 298"/>
                <a:gd name="T95" fmla="*/ 2147483647 h 272"/>
                <a:gd name="T96" fmla="*/ 2147483647 w 298"/>
                <a:gd name="T97" fmla="*/ 2147483647 h 272"/>
                <a:gd name="T98" fmla="*/ 2147483647 w 298"/>
                <a:gd name="T99" fmla="*/ 2147483647 h 272"/>
                <a:gd name="T100" fmla="*/ 2147483647 w 298"/>
                <a:gd name="T101" fmla="*/ 2147483647 h 272"/>
                <a:gd name="T102" fmla="*/ 2147483647 w 298"/>
                <a:gd name="T103" fmla="*/ 2147483647 h 272"/>
                <a:gd name="T104" fmla="*/ 2147483647 w 298"/>
                <a:gd name="T105" fmla="*/ 2147483647 h 272"/>
                <a:gd name="T106" fmla="*/ 0 w 298"/>
                <a:gd name="T107" fmla="*/ 2147483647 h 272"/>
                <a:gd name="T108" fmla="*/ 2147483647 w 298"/>
                <a:gd name="T109" fmla="*/ 2147483647 h 272"/>
                <a:gd name="T110" fmla="*/ 2147483647 w 298"/>
                <a:gd name="T111" fmla="*/ 2147483647 h 272"/>
                <a:gd name="T112" fmla="*/ 2147483647 w 298"/>
                <a:gd name="T113" fmla="*/ 2147483647 h 272"/>
                <a:gd name="T114" fmla="*/ 2147483647 w 298"/>
                <a:gd name="T115" fmla="*/ 2147483647 h 272"/>
                <a:gd name="T116" fmla="*/ 2147483647 w 298"/>
                <a:gd name="T117" fmla="*/ 2147483647 h 272"/>
                <a:gd name="T118" fmla="*/ 2147483647 w 298"/>
                <a:gd name="T119" fmla="*/ 2147483647 h 272"/>
                <a:gd name="T120" fmla="*/ 2147483647 w 298"/>
                <a:gd name="T121" fmla="*/ 2147483647 h 272"/>
                <a:gd name="T122" fmla="*/ 2147483647 w 298"/>
                <a:gd name="T123" fmla="*/ 2147483647 h 2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98"/>
                <a:gd name="T187" fmla="*/ 0 h 272"/>
                <a:gd name="T188" fmla="*/ 298 w 298"/>
                <a:gd name="T189" fmla="*/ 272 h 2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98" h="272">
                  <a:moveTo>
                    <a:pt x="74" y="254"/>
                  </a:moveTo>
                  <a:lnTo>
                    <a:pt x="74" y="254"/>
                  </a:lnTo>
                  <a:lnTo>
                    <a:pt x="78" y="254"/>
                  </a:lnTo>
                  <a:lnTo>
                    <a:pt x="80" y="252"/>
                  </a:lnTo>
                  <a:lnTo>
                    <a:pt x="80" y="248"/>
                  </a:lnTo>
                  <a:lnTo>
                    <a:pt x="78" y="244"/>
                  </a:lnTo>
                  <a:lnTo>
                    <a:pt x="78" y="240"/>
                  </a:lnTo>
                  <a:lnTo>
                    <a:pt x="76" y="238"/>
                  </a:lnTo>
                  <a:lnTo>
                    <a:pt x="78" y="236"/>
                  </a:lnTo>
                  <a:lnTo>
                    <a:pt x="80" y="236"/>
                  </a:lnTo>
                  <a:lnTo>
                    <a:pt x="80" y="234"/>
                  </a:lnTo>
                  <a:lnTo>
                    <a:pt x="82" y="232"/>
                  </a:lnTo>
                  <a:lnTo>
                    <a:pt x="84" y="230"/>
                  </a:lnTo>
                  <a:lnTo>
                    <a:pt x="82" y="226"/>
                  </a:lnTo>
                  <a:lnTo>
                    <a:pt x="80" y="224"/>
                  </a:lnTo>
                  <a:lnTo>
                    <a:pt x="82" y="220"/>
                  </a:lnTo>
                  <a:lnTo>
                    <a:pt x="82" y="212"/>
                  </a:lnTo>
                  <a:lnTo>
                    <a:pt x="86" y="212"/>
                  </a:lnTo>
                  <a:lnTo>
                    <a:pt x="88" y="208"/>
                  </a:lnTo>
                  <a:lnTo>
                    <a:pt x="86" y="204"/>
                  </a:lnTo>
                  <a:lnTo>
                    <a:pt x="86" y="200"/>
                  </a:lnTo>
                  <a:lnTo>
                    <a:pt x="84" y="198"/>
                  </a:lnTo>
                  <a:lnTo>
                    <a:pt x="82" y="196"/>
                  </a:lnTo>
                  <a:lnTo>
                    <a:pt x="84" y="192"/>
                  </a:lnTo>
                  <a:lnTo>
                    <a:pt x="84" y="186"/>
                  </a:lnTo>
                  <a:lnTo>
                    <a:pt x="84" y="182"/>
                  </a:lnTo>
                  <a:lnTo>
                    <a:pt x="84" y="176"/>
                  </a:lnTo>
                  <a:lnTo>
                    <a:pt x="84" y="172"/>
                  </a:lnTo>
                  <a:lnTo>
                    <a:pt x="84" y="168"/>
                  </a:lnTo>
                  <a:lnTo>
                    <a:pt x="82" y="164"/>
                  </a:lnTo>
                  <a:lnTo>
                    <a:pt x="84" y="162"/>
                  </a:lnTo>
                  <a:lnTo>
                    <a:pt x="86" y="160"/>
                  </a:lnTo>
                  <a:lnTo>
                    <a:pt x="88" y="158"/>
                  </a:lnTo>
                  <a:lnTo>
                    <a:pt x="88" y="156"/>
                  </a:lnTo>
                  <a:lnTo>
                    <a:pt x="92" y="152"/>
                  </a:lnTo>
                  <a:lnTo>
                    <a:pt x="94" y="146"/>
                  </a:lnTo>
                  <a:lnTo>
                    <a:pt x="96" y="144"/>
                  </a:lnTo>
                  <a:lnTo>
                    <a:pt x="98" y="142"/>
                  </a:lnTo>
                  <a:lnTo>
                    <a:pt x="104" y="140"/>
                  </a:lnTo>
                  <a:lnTo>
                    <a:pt x="106" y="140"/>
                  </a:lnTo>
                  <a:lnTo>
                    <a:pt x="108" y="140"/>
                  </a:lnTo>
                  <a:lnTo>
                    <a:pt x="112" y="144"/>
                  </a:lnTo>
                  <a:lnTo>
                    <a:pt x="114" y="144"/>
                  </a:lnTo>
                  <a:lnTo>
                    <a:pt x="116" y="138"/>
                  </a:lnTo>
                  <a:lnTo>
                    <a:pt x="116" y="132"/>
                  </a:lnTo>
                  <a:lnTo>
                    <a:pt x="114" y="126"/>
                  </a:lnTo>
                  <a:lnTo>
                    <a:pt x="118" y="124"/>
                  </a:lnTo>
                  <a:lnTo>
                    <a:pt x="122" y="120"/>
                  </a:lnTo>
                  <a:lnTo>
                    <a:pt x="126" y="114"/>
                  </a:lnTo>
                  <a:lnTo>
                    <a:pt x="128" y="106"/>
                  </a:lnTo>
                  <a:lnTo>
                    <a:pt x="128" y="100"/>
                  </a:lnTo>
                  <a:lnTo>
                    <a:pt x="128" y="98"/>
                  </a:lnTo>
                  <a:lnTo>
                    <a:pt x="130" y="98"/>
                  </a:lnTo>
                  <a:lnTo>
                    <a:pt x="134" y="98"/>
                  </a:lnTo>
                  <a:lnTo>
                    <a:pt x="136" y="96"/>
                  </a:lnTo>
                  <a:lnTo>
                    <a:pt x="138" y="92"/>
                  </a:lnTo>
                  <a:lnTo>
                    <a:pt x="140" y="90"/>
                  </a:lnTo>
                  <a:lnTo>
                    <a:pt x="144" y="88"/>
                  </a:lnTo>
                  <a:lnTo>
                    <a:pt x="144" y="84"/>
                  </a:lnTo>
                  <a:lnTo>
                    <a:pt x="146" y="76"/>
                  </a:lnTo>
                  <a:lnTo>
                    <a:pt x="150" y="72"/>
                  </a:lnTo>
                  <a:lnTo>
                    <a:pt x="150" y="70"/>
                  </a:lnTo>
                  <a:lnTo>
                    <a:pt x="156" y="76"/>
                  </a:lnTo>
                  <a:lnTo>
                    <a:pt x="160" y="78"/>
                  </a:lnTo>
                  <a:lnTo>
                    <a:pt x="160" y="74"/>
                  </a:lnTo>
                  <a:lnTo>
                    <a:pt x="160" y="70"/>
                  </a:lnTo>
                  <a:lnTo>
                    <a:pt x="160" y="68"/>
                  </a:lnTo>
                  <a:lnTo>
                    <a:pt x="164" y="68"/>
                  </a:lnTo>
                  <a:lnTo>
                    <a:pt x="166" y="68"/>
                  </a:lnTo>
                  <a:lnTo>
                    <a:pt x="172" y="70"/>
                  </a:lnTo>
                  <a:lnTo>
                    <a:pt x="174" y="68"/>
                  </a:lnTo>
                  <a:lnTo>
                    <a:pt x="176" y="64"/>
                  </a:lnTo>
                  <a:lnTo>
                    <a:pt x="178" y="58"/>
                  </a:lnTo>
                  <a:lnTo>
                    <a:pt x="174" y="52"/>
                  </a:lnTo>
                  <a:lnTo>
                    <a:pt x="180" y="54"/>
                  </a:lnTo>
                  <a:lnTo>
                    <a:pt x="186" y="50"/>
                  </a:lnTo>
                  <a:lnTo>
                    <a:pt x="186" y="48"/>
                  </a:lnTo>
                  <a:lnTo>
                    <a:pt x="188" y="46"/>
                  </a:lnTo>
                  <a:lnTo>
                    <a:pt x="192" y="46"/>
                  </a:lnTo>
                  <a:lnTo>
                    <a:pt x="204" y="60"/>
                  </a:lnTo>
                  <a:lnTo>
                    <a:pt x="210" y="60"/>
                  </a:lnTo>
                  <a:lnTo>
                    <a:pt x="216" y="60"/>
                  </a:lnTo>
                  <a:lnTo>
                    <a:pt x="218" y="60"/>
                  </a:lnTo>
                  <a:lnTo>
                    <a:pt x="220" y="60"/>
                  </a:lnTo>
                  <a:lnTo>
                    <a:pt x="220" y="58"/>
                  </a:lnTo>
                  <a:lnTo>
                    <a:pt x="222" y="58"/>
                  </a:lnTo>
                  <a:lnTo>
                    <a:pt x="224" y="60"/>
                  </a:lnTo>
                  <a:lnTo>
                    <a:pt x="232" y="64"/>
                  </a:lnTo>
                  <a:lnTo>
                    <a:pt x="234" y="60"/>
                  </a:lnTo>
                  <a:lnTo>
                    <a:pt x="238" y="58"/>
                  </a:lnTo>
                  <a:lnTo>
                    <a:pt x="240" y="52"/>
                  </a:lnTo>
                  <a:lnTo>
                    <a:pt x="238" y="50"/>
                  </a:lnTo>
                  <a:lnTo>
                    <a:pt x="238" y="46"/>
                  </a:lnTo>
                  <a:lnTo>
                    <a:pt x="238" y="44"/>
                  </a:lnTo>
                  <a:lnTo>
                    <a:pt x="240" y="42"/>
                  </a:lnTo>
                  <a:lnTo>
                    <a:pt x="242" y="40"/>
                  </a:lnTo>
                  <a:lnTo>
                    <a:pt x="246" y="38"/>
                  </a:lnTo>
                  <a:lnTo>
                    <a:pt x="248" y="36"/>
                  </a:lnTo>
                  <a:lnTo>
                    <a:pt x="248" y="32"/>
                  </a:lnTo>
                  <a:lnTo>
                    <a:pt x="256" y="34"/>
                  </a:lnTo>
                  <a:lnTo>
                    <a:pt x="258" y="34"/>
                  </a:lnTo>
                  <a:lnTo>
                    <a:pt x="262" y="32"/>
                  </a:lnTo>
                  <a:lnTo>
                    <a:pt x="266" y="30"/>
                  </a:lnTo>
                  <a:lnTo>
                    <a:pt x="268" y="34"/>
                  </a:lnTo>
                  <a:lnTo>
                    <a:pt x="272" y="40"/>
                  </a:lnTo>
                  <a:lnTo>
                    <a:pt x="280" y="44"/>
                  </a:lnTo>
                  <a:lnTo>
                    <a:pt x="282" y="46"/>
                  </a:lnTo>
                  <a:lnTo>
                    <a:pt x="284" y="46"/>
                  </a:lnTo>
                  <a:lnTo>
                    <a:pt x="284" y="48"/>
                  </a:lnTo>
                  <a:lnTo>
                    <a:pt x="284" y="50"/>
                  </a:lnTo>
                  <a:lnTo>
                    <a:pt x="286" y="50"/>
                  </a:lnTo>
                  <a:lnTo>
                    <a:pt x="288" y="46"/>
                  </a:lnTo>
                  <a:lnTo>
                    <a:pt x="288" y="40"/>
                  </a:lnTo>
                  <a:lnTo>
                    <a:pt x="288" y="38"/>
                  </a:lnTo>
                  <a:lnTo>
                    <a:pt x="290" y="38"/>
                  </a:lnTo>
                  <a:lnTo>
                    <a:pt x="294" y="36"/>
                  </a:lnTo>
                  <a:lnTo>
                    <a:pt x="296" y="32"/>
                  </a:lnTo>
                  <a:lnTo>
                    <a:pt x="298" y="30"/>
                  </a:lnTo>
                  <a:lnTo>
                    <a:pt x="292" y="30"/>
                  </a:lnTo>
                  <a:lnTo>
                    <a:pt x="290" y="34"/>
                  </a:lnTo>
                  <a:lnTo>
                    <a:pt x="288" y="34"/>
                  </a:lnTo>
                  <a:lnTo>
                    <a:pt x="282" y="36"/>
                  </a:lnTo>
                  <a:lnTo>
                    <a:pt x="280" y="32"/>
                  </a:lnTo>
                  <a:lnTo>
                    <a:pt x="278" y="28"/>
                  </a:lnTo>
                  <a:lnTo>
                    <a:pt x="282" y="28"/>
                  </a:lnTo>
                  <a:lnTo>
                    <a:pt x="288" y="28"/>
                  </a:lnTo>
                  <a:lnTo>
                    <a:pt x="290" y="24"/>
                  </a:lnTo>
                  <a:lnTo>
                    <a:pt x="294" y="22"/>
                  </a:lnTo>
                  <a:lnTo>
                    <a:pt x="294" y="24"/>
                  </a:lnTo>
                  <a:lnTo>
                    <a:pt x="296" y="24"/>
                  </a:lnTo>
                  <a:lnTo>
                    <a:pt x="298" y="24"/>
                  </a:lnTo>
                  <a:lnTo>
                    <a:pt x="296" y="20"/>
                  </a:lnTo>
                  <a:lnTo>
                    <a:pt x="294" y="16"/>
                  </a:lnTo>
                  <a:lnTo>
                    <a:pt x="292" y="16"/>
                  </a:lnTo>
                  <a:lnTo>
                    <a:pt x="292" y="18"/>
                  </a:lnTo>
                  <a:lnTo>
                    <a:pt x="288" y="18"/>
                  </a:lnTo>
                  <a:lnTo>
                    <a:pt x="290" y="14"/>
                  </a:lnTo>
                  <a:lnTo>
                    <a:pt x="290" y="12"/>
                  </a:lnTo>
                  <a:lnTo>
                    <a:pt x="288" y="14"/>
                  </a:lnTo>
                  <a:lnTo>
                    <a:pt x="284" y="16"/>
                  </a:lnTo>
                  <a:lnTo>
                    <a:pt x="284" y="12"/>
                  </a:lnTo>
                  <a:lnTo>
                    <a:pt x="280" y="12"/>
                  </a:lnTo>
                  <a:lnTo>
                    <a:pt x="282" y="10"/>
                  </a:lnTo>
                  <a:lnTo>
                    <a:pt x="280" y="10"/>
                  </a:lnTo>
                  <a:lnTo>
                    <a:pt x="280" y="8"/>
                  </a:lnTo>
                  <a:lnTo>
                    <a:pt x="276" y="8"/>
                  </a:lnTo>
                  <a:lnTo>
                    <a:pt x="276" y="10"/>
                  </a:lnTo>
                  <a:lnTo>
                    <a:pt x="276" y="12"/>
                  </a:lnTo>
                  <a:lnTo>
                    <a:pt x="268" y="14"/>
                  </a:lnTo>
                  <a:lnTo>
                    <a:pt x="268" y="8"/>
                  </a:lnTo>
                  <a:lnTo>
                    <a:pt x="272" y="6"/>
                  </a:lnTo>
                  <a:lnTo>
                    <a:pt x="270" y="4"/>
                  </a:lnTo>
                  <a:lnTo>
                    <a:pt x="262" y="0"/>
                  </a:lnTo>
                  <a:lnTo>
                    <a:pt x="262" y="6"/>
                  </a:lnTo>
                  <a:lnTo>
                    <a:pt x="258" y="8"/>
                  </a:lnTo>
                  <a:lnTo>
                    <a:pt x="260" y="12"/>
                  </a:lnTo>
                  <a:lnTo>
                    <a:pt x="252" y="18"/>
                  </a:lnTo>
                  <a:lnTo>
                    <a:pt x="252" y="20"/>
                  </a:lnTo>
                  <a:lnTo>
                    <a:pt x="250" y="20"/>
                  </a:lnTo>
                  <a:lnTo>
                    <a:pt x="250" y="18"/>
                  </a:lnTo>
                  <a:lnTo>
                    <a:pt x="250" y="12"/>
                  </a:lnTo>
                  <a:lnTo>
                    <a:pt x="252" y="12"/>
                  </a:lnTo>
                  <a:lnTo>
                    <a:pt x="252" y="10"/>
                  </a:lnTo>
                  <a:lnTo>
                    <a:pt x="250" y="8"/>
                  </a:lnTo>
                  <a:lnTo>
                    <a:pt x="248" y="10"/>
                  </a:lnTo>
                  <a:lnTo>
                    <a:pt x="246" y="12"/>
                  </a:lnTo>
                  <a:lnTo>
                    <a:pt x="248" y="12"/>
                  </a:lnTo>
                  <a:lnTo>
                    <a:pt x="242" y="16"/>
                  </a:lnTo>
                  <a:lnTo>
                    <a:pt x="238" y="22"/>
                  </a:lnTo>
                  <a:lnTo>
                    <a:pt x="238" y="24"/>
                  </a:lnTo>
                  <a:lnTo>
                    <a:pt x="238" y="26"/>
                  </a:lnTo>
                  <a:lnTo>
                    <a:pt x="234" y="30"/>
                  </a:lnTo>
                  <a:lnTo>
                    <a:pt x="236" y="18"/>
                  </a:lnTo>
                  <a:lnTo>
                    <a:pt x="238" y="18"/>
                  </a:lnTo>
                  <a:lnTo>
                    <a:pt x="240" y="16"/>
                  </a:lnTo>
                  <a:lnTo>
                    <a:pt x="236" y="8"/>
                  </a:lnTo>
                  <a:lnTo>
                    <a:pt x="234" y="10"/>
                  </a:lnTo>
                  <a:lnTo>
                    <a:pt x="236" y="10"/>
                  </a:lnTo>
                  <a:lnTo>
                    <a:pt x="232" y="10"/>
                  </a:lnTo>
                  <a:lnTo>
                    <a:pt x="232" y="8"/>
                  </a:lnTo>
                  <a:lnTo>
                    <a:pt x="230" y="8"/>
                  </a:lnTo>
                  <a:lnTo>
                    <a:pt x="228" y="8"/>
                  </a:lnTo>
                  <a:lnTo>
                    <a:pt x="226" y="6"/>
                  </a:lnTo>
                  <a:lnTo>
                    <a:pt x="226" y="12"/>
                  </a:lnTo>
                  <a:lnTo>
                    <a:pt x="226" y="16"/>
                  </a:lnTo>
                  <a:lnTo>
                    <a:pt x="222" y="14"/>
                  </a:lnTo>
                  <a:lnTo>
                    <a:pt x="224" y="12"/>
                  </a:lnTo>
                  <a:lnTo>
                    <a:pt x="222" y="12"/>
                  </a:lnTo>
                  <a:lnTo>
                    <a:pt x="220" y="10"/>
                  </a:lnTo>
                  <a:lnTo>
                    <a:pt x="220" y="14"/>
                  </a:lnTo>
                  <a:lnTo>
                    <a:pt x="220" y="16"/>
                  </a:lnTo>
                  <a:lnTo>
                    <a:pt x="208" y="24"/>
                  </a:lnTo>
                  <a:lnTo>
                    <a:pt x="200" y="20"/>
                  </a:lnTo>
                  <a:lnTo>
                    <a:pt x="196" y="16"/>
                  </a:lnTo>
                  <a:lnTo>
                    <a:pt x="192" y="16"/>
                  </a:lnTo>
                  <a:lnTo>
                    <a:pt x="188" y="22"/>
                  </a:lnTo>
                  <a:lnTo>
                    <a:pt x="194" y="22"/>
                  </a:lnTo>
                  <a:lnTo>
                    <a:pt x="194" y="26"/>
                  </a:lnTo>
                  <a:lnTo>
                    <a:pt x="194" y="28"/>
                  </a:lnTo>
                  <a:lnTo>
                    <a:pt x="186" y="24"/>
                  </a:lnTo>
                  <a:lnTo>
                    <a:pt x="188" y="32"/>
                  </a:lnTo>
                  <a:lnTo>
                    <a:pt x="182" y="32"/>
                  </a:lnTo>
                  <a:lnTo>
                    <a:pt x="184" y="28"/>
                  </a:lnTo>
                  <a:lnTo>
                    <a:pt x="182" y="24"/>
                  </a:lnTo>
                  <a:lnTo>
                    <a:pt x="178" y="32"/>
                  </a:lnTo>
                  <a:lnTo>
                    <a:pt x="176" y="24"/>
                  </a:lnTo>
                  <a:lnTo>
                    <a:pt x="174" y="28"/>
                  </a:lnTo>
                  <a:lnTo>
                    <a:pt x="174" y="32"/>
                  </a:lnTo>
                  <a:lnTo>
                    <a:pt x="168" y="36"/>
                  </a:lnTo>
                  <a:lnTo>
                    <a:pt x="166" y="34"/>
                  </a:lnTo>
                  <a:lnTo>
                    <a:pt x="166" y="32"/>
                  </a:lnTo>
                  <a:lnTo>
                    <a:pt x="164" y="30"/>
                  </a:lnTo>
                  <a:lnTo>
                    <a:pt x="162" y="36"/>
                  </a:lnTo>
                  <a:lnTo>
                    <a:pt x="164" y="38"/>
                  </a:lnTo>
                  <a:lnTo>
                    <a:pt x="166" y="38"/>
                  </a:lnTo>
                  <a:lnTo>
                    <a:pt x="164" y="38"/>
                  </a:lnTo>
                  <a:lnTo>
                    <a:pt x="160" y="40"/>
                  </a:lnTo>
                  <a:lnTo>
                    <a:pt x="158" y="40"/>
                  </a:lnTo>
                  <a:lnTo>
                    <a:pt x="160" y="40"/>
                  </a:lnTo>
                  <a:lnTo>
                    <a:pt x="160" y="44"/>
                  </a:lnTo>
                  <a:lnTo>
                    <a:pt x="158" y="44"/>
                  </a:lnTo>
                  <a:lnTo>
                    <a:pt x="156" y="44"/>
                  </a:lnTo>
                  <a:lnTo>
                    <a:pt x="156" y="42"/>
                  </a:lnTo>
                  <a:lnTo>
                    <a:pt x="154" y="42"/>
                  </a:lnTo>
                  <a:lnTo>
                    <a:pt x="154" y="48"/>
                  </a:lnTo>
                  <a:lnTo>
                    <a:pt x="150" y="46"/>
                  </a:lnTo>
                  <a:lnTo>
                    <a:pt x="150" y="40"/>
                  </a:lnTo>
                  <a:lnTo>
                    <a:pt x="150" y="36"/>
                  </a:lnTo>
                  <a:lnTo>
                    <a:pt x="146" y="36"/>
                  </a:lnTo>
                  <a:lnTo>
                    <a:pt x="140" y="40"/>
                  </a:lnTo>
                  <a:lnTo>
                    <a:pt x="142" y="50"/>
                  </a:lnTo>
                  <a:lnTo>
                    <a:pt x="150" y="48"/>
                  </a:lnTo>
                  <a:lnTo>
                    <a:pt x="146" y="60"/>
                  </a:lnTo>
                  <a:lnTo>
                    <a:pt x="142" y="64"/>
                  </a:lnTo>
                  <a:lnTo>
                    <a:pt x="136" y="66"/>
                  </a:lnTo>
                  <a:lnTo>
                    <a:pt x="136" y="70"/>
                  </a:lnTo>
                  <a:lnTo>
                    <a:pt x="140" y="70"/>
                  </a:lnTo>
                  <a:lnTo>
                    <a:pt x="140" y="78"/>
                  </a:lnTo>
                  <a:lnTo>
                    <a:pt x="128" y="72"/>
                  </a:lnTo>
                  <a:lnTo>
                    <a:pt x="132" y="80"/>
                  </a:lnTo>
                  <a:lnTo>
                    <a:pt x="136" y="88"/>
                  </a:lnTo>
                  <a:lnTo>
                    <a:pt x="132" y="88"/>
                  </a:lnTo>
                  <a:lnTo>
                    <a:pt x="126" y="88"/>
                  </a:lnTo>
                  <a:lnTo>
                    <a:pt x="126" y="94"/>
                  </a:lnTo>
                  <a:lnTo>
                    <a:pt x="122" y="98"/>
                  </a:lnTo>
                  <a:lnTo>
                    <a:pt x="116" y="100"/>
                  </a:lnTo>
                  <a:lnTo>
                    <a:pt x="116" y="98"/>
                  </a:lnTo>
                  <a:lnTo>
                    <a:pt x="114" y="98"/>
                  </a:lnTo>
                  <a:lnTo>
                    <a:pt x="112" y="102"/>
                  </a:lnTo>
                  <a:lnTo>
                    <a:pt x="112" y="106"/>
                  </a:lnTo>
                  <a:lnTo>
                    <a:pt x="108" y="104"/>
                  </a:lnTo>
                  <a:lnTo>
                    <a:pt x="106" y="106"/>
                  </a:lnTo>
                  <a:lnTo>
                    <a:pt x="106" y="108"/>
                  </a:lnTo>
                  <a:lnTo>
                    <a:pt x="110" y="108"/>
                  </a:lnTo>
                  <a:lnTo>
                    <a:pt x="106" y="110"/>
                  </a:lnTo>
                  <a:lnTo>
                    <a:pt x="108" y="112"/>
                  </a:lnTo>
                  <a:lnTo>
                    <a:pt x="108" y="114"/>
                  </a:lnTo>
                  <a:lnTo>
                    <a:pt x="108" y="118"/>
                  </a:lnTo>
                  <a:lnTo>
                    <a:pt x="106" y="118"/>
                  </a:lnTo>
                  <a:lnTo>
                    <a:pt x="102" y="118"/>
                  </a:lnTo>
                  <a:lnTo>
                    <a:pt x="94" y="124"/>
                  </a:lnTo>
                  <a:lnTo>
                    <a:pt x="92" y="128"/>
                  </a:lnTo>
                  <a:lnTo>
                    <a:pt x="90" y="134"/>
                  </a:lnTo>
                  <a:lnTo>
                    <a:pt x="86" y="134"/>
                  </a:lnTo>
                  <a:lnTo>
                    <a:pt x="84" y="132"/>
                  </a:lnTo>
                  <a:lnTo>
                    <a:pt x="74" y="144"/>
                  </a:lnTo>
                  <a:lnTo>
                    <a:pt x="72" y="144"/>
                  </a:lnTo>
                  <a:lnTo>
                    <a:pt x="70" y="146"/>
                  </a:lnTo>
                  <a:lnTo>
                    <a:pt x="68" y="150"/>
                  </a:lnTo>
                  <a:lnTo>
                    <a:pt x="66" y="154"/>
                  </a:lnTo>
                  <a:lnTo>
                    <a:pt x="62" y="154"/>
                  </a:lnTo>
                  <a:lnTo>
                    <a:pt x="62" y="156"/>
                  </a:lnTo>
                  <a:lnTo>
                    <a:pt x="64" y="158"/>
                  </a:lnTo>
                  <a:lnTo>
                    <a:pt x="68" y="158"/>
                  </a:lnTo>
                  <a:lnTo>
                    <a:pt x="72" y="152"/>
                  </a:lnTo>
                  <a:lnTo>
                    <a:pt x="76" y="152"/>
                  </a:lnTo>
                  <a:lnTo>
                    <a:pt x="78" y="154"/>
                  </a:lnTo>
                  <a:lnTo>
                    <a:pt x="76" y="156"/>
                  </a:lnTo>
                  <a:lnTo>
                    <a:pt x="70" y="160"/>
                  </a:lnTo>
                  <a:lnTo>
                    <a:pt x="70" y="162"/>
                  </a:lnTo>
                  <a:lnTo>
                    <a:pt x="64" y="162"/>
                  </a:lnTo>
                  <a:lnTo>
                    <a:pt x="60" y="162"/>
                  </a:lnTo>
                  <a:lnTo>
                    <a:pt x="60" y="158"/>
                  </a:lnTo>
                  <a:lnTo>
                    <a:pt x="58" y="156"/>
                  </a:lnTo>
                  <a:lnTo>
                    <a:pt x="56" y="156"/>
                  </a:lnTo>
                  <a:lnTo>
                    <a:pt x="56" y="160"/>
                  </a:lnTo>
                  <a:lnTo>
                    <a:pt x="46" y="154"/>
                  </a:lnTo>
                  <a:lnTo>
                    <a:pt x="44" y="160"/>
                  </a:lnTo>
                  <a:lnTo>
                    <a:pt x="46" y="158"/>
                  </a:lnTo>
                  <a:lnTo>
                    <a:pt x="48" y="158"/>
                  </a:lnTo>
                  <a:lnTo>
                    <a:pt x="48" y="162"/>
                  </a:lnTo>
                  <a:lnTo>
                    <a:pt x="50" y="164"/>
                  </a:lnTo>
                  <a:lnTo>
                    <a:pt x="48" y="166"/>
                  </a:lnTo>
                  <a:lnTo>
                    <a:pt x="48" y="168"/>
                  </a:lnTo>
                  <a:lnTo>
                    <a:pt x="44" y="168"/>
                  </a:lnTo>
                  <a:lnTo>
                    <a:pt x="40" y="174"/>
                  </a:lnTo>
                  <a:lnTo>
                    <a:pt x="34" y="176"/>
                  </a:lnTo>
                  <a:lnTo>
                    <a:pt x="28" y="174"/>
                  </a:lnTo>
                  <a:lnTo>
                    <a:pt x="28" y="178"/>
                  </a:lnTo>
                  <a:lnTo>
                    <a:pt x="30" y="178"/>
                  </a:lnTo>
                  <a:lnTo>
                    <a:pt x="30" y="182"/>
                  </a:lnTo>
                  <a:lnTo>
                    <a:pt x="28" y="184"/>
                  </a:lnTo>
                  <a:lnTo>
                    <a:pt x="26" y="184"/>
                  </a:lnTo>
                  <a:lnTo>
                    <a:pt x="18" y="184"/>
                  </a:lnTo>
                  <a:lnTo>
                    <a:pt x="18" y="188"/>
                  </a:lnTo>
                  <a:lnTo>
                    <a:pt x="24" y="188"/>
                  </a:lnTo>
                  <a:lnTo>
                    <a:pt x="20" y="190"/>
                  </a:lnTo>
                  <a:lnTo>
                    <a:pt x="14" y="192"/>
                  </a:lnTo>
                  <a:lnTo>
                    <a:pt x="4" y="194"/>
                  </a:lnTo>
                  <a:lnTo>
                    <a:pt x="4" y="198"/>
                  </a:lnTo>
                  <a:lnTo>
                    <a:pt x="12" y="200"/>
                  </a:lnTo>
                  <a:lnTo>
                    <a:pt x="16" y="200"/>
                  </a:lnTo>
                  <a:lnTo>
                    <a:pt x="14" y="200"/>
                  </a:lnTo>
                  <a:lnTo>
                    <a:pt x="4" y="200"/>
                  </a:lnTo>
                  <a:lnTo>
                    <a:pt x="0" y="202"/>
                  </a:lnTo>
                  <a:lnTo>
                    <a:pt x="2" y="208"/>
                  </a:lnTo>
                  <a:lnTo>
                    <a:pt x="2" y="210"/>
                  </a:lnTo>
                  <a:lnTo>
                    <a:pt x="10" y="210"/>
                  </a:lnTo>
                  <a:lnTo>
                    <a:pt x="2" y="214"/>
                  </a:lnTo>
                  <a:lnTo>
                    <a:pt x="4" y="216"/>
                  </a:lnTo>
                  <a:lnTo>
                    <a:pt x="6" y="216"/>
                  </a:lnTo>
                  <a:lnTo>
                    <a:pt x="6" y="220"/>
                  </a:lnTo>
                  <a:lnTo>
                    <a:pt x="2" y="222"/>
                  </a:lnTo>
                  <a:lnTo>
                    <a:pt x="6" y="224"/>
                  </a:lnTo>
                  <a:lnTo>
                    <a:pt x="8" y="224"/>
                  </a:lnTo>
                  <a:lnTo>
                    <a:pt x="8" y="226"/>
                  </a:lnTo>
                  <a:lnTo>
                    <a:pt x="6" y="228"/>
                  </a:lnTo>
                  <a:lnTo>
                    <a:pt x="10" y="230"/>
                  </a:lnTo>
                  <a:lnTo>
                    <a:pt x="12" y="232"/>
                  </a:lnTo>
                  <a:lnTo>
                    <a:pt x="14" y="230"/>
                  </a:lnTo>
                  <a:lnTo>
                    <a:pt x="18" y="226"/>
                  </a:lnTo>
                  <a:lnTo>
                    <a:pt x="20" y="226"/>
                  </a:lnTo>
                  <a:lnTo>
                    <a:pt x="22" y="226"/>
                  </a:lnTo>
                  <a:lnTo>
                    <a:pt x="22" y="228"/>
                  </a:lnTo>
                  <a:lnTo>
                    <a:pt x="18" y="228"/>
                  </a:lnTo>
                  <a:lnTo>
                    <a:pt x="12" y="242"/>
                  </a:lnTo>
                  <a:lnTo>
                    <a:pt x="4" y="242"/>
                  </a:lnTo>
                  <a:lnTo>
                    <a:pt x="4" y="244"/>
                  </a:lnTo>
                  <a:lnTo>
                    <a:pt x="4" y="246"/>
                  </a:lnTo>
                  <a:lnTo>
                    <a:pt x="10" y="250"/>
                  </a:lnTo>
                  <a:lnTo>
                    <a:pt x="12" y="246"/>
                  </a:lnTo>
                  <a:lnTo>
                    <a:pt x="16" y="246"/>
                  </a:lnTo>
                  <a:lnTo>
                    <a:pt x="16" y="250"/>
                  </a:lnTo>
                  <a:lnTo>
                    <a:pt x="16" y="252"/>
                  </a:lnTo>
                  <a:lnTo>
                    <a:pt x="12" y="256"/>
                  </a:lnTo>
                  <a:lnTo>
                    <a:pt x="10" y="256"/>
                  </a:lnTo>
                  <a:lnTo>
                    <a:pt x="10" y="260"/>
                  </a:lnTo>
                  <a:lnTo>
                    <a:pt x="10" y="264"/>
                  </a:lnTo>
                  <a:lnTo>
                    <a:pt x="14" y="264"/>
                  </a:lnTo>
                  <a:lnTo>
                    <a:pt x="16" y="268"/>
                  </a:lnTo>
                  <a:lnTo>
                    <a:pt x="20" y="268"/>
                  </a:lnTo>
                  <a:lnTo>
                    <a:pt x="22" y="268"/>
                  </a:lnTo>
                  <a:lnTo>
                    <a:pt x="24" y="268"/>
                  </a:lnTo>
                  <a:lnTo>
                    <a:pt x="24" y="272"/>
                  </a:lnTo>
                  <a:lnTo>
                    <a:pt x="30" y="272"/>
                  </a:lnTo>
                  <a:lnTo>
                    <a:pt x="38" y="270"/>
                  </a:lnTo>
                  <a:lnTo>
                    <a:pt x="48" y="264"/>
                  </a:lnTo>
                  <a:lnTo>
                    <a:pt x="50" y="262"/>
                  </a:lnTo>
                  <a:lnTo>
                    <a:pt x="52" y="258"/>
                  </a:lnTo>
                  <a:lnTo>
                    <a:pt x="56" y="258"/>
                  </a:lnTo>
                  <a:lnTo>
                    <a:pt x="58" y="258"/>
                  </a:lnTo>
                  <a:lnTo>
                    <a:pt x="66" y="254"/>
                  </a:lnTo>
                  <a:lnTo>
                    <a:pt x="72" y="250"/>
                  </a:lnTo>
                  <a:lnTo>
                    <a:pt x="74" y="25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7" name="Freeform 549">
              <a:extLst>
                <a:ext uri="{FF2B5EF4-FFF2-40B4-BE49-F238E27FC236}">
                  <a16:creationId xmlns:a16="http://schemas.microsoft.com/office/drawing/2014/main" id="{DE3D1908-087D-40AB-890A-C1B2B4DD19A2}"/>
                </a:ext>
              </a:extLst>
            </p:cNvPr>
            <p:cNvSpPr>
              <a:spLocks/>
            </p:cNvSpPr>
            <p:nvPr/>
          </p:nvSpPr>
          <p:spPr bwMode="gray">
            <a:xfrm>
              <a:off x="4506217" y="2572585"/>
              <a:ext cx="2354" cy="7064"/>
            </a:xfrm>
            <a:custGeom>
              <a:avLst/>
              <a:gdLst>
                <a:gd name="T0" fmla="*/ 0 w 2"/>
                <a:gd name="T1" fmla="*/ 0 h 4"/>
                <a:gd name="T2" fmla="*/ 2147483647 w 2"/>
                <a:gd name="T3" fmla="*/ 2147483647 h 4"/>
                <a:gd name="T4" fmla="*/ 2147483647 w 2"/>
                <a:gd name="T5" fmla="*/ 2147483647 h 4"/>
                <a:gd name="T6" fmla="*/ 2147483647 w 2"/>
                <a:gd name="T7" fmla="*/ 2147483647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2" y="4"/>
                  </a:lnTo>
                  <a:lnTo>
                    <a:pt x="2"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8" name="Freeform 550">
              <a:extLst>
                <a:ext uri="{FF2B5EF4-FFF2-40B4-BE49-F238E27FC236}">
                  <a16:creationId xmlns:a16="http://schemas.microsoft.com/office/drawing/2014/main" id="{3FFBDCFF-27B9-4041-8F96-4CF807702F04}"/>
                </a:ext>
              </a:extLst>
            </p:cNvPr>
            <p:cNvSpPr>
              <a:spLocks/>
            </p:cNvSpPr>
            <p:nvPr/>
          </p:nvSpPr>
          <p:spPr bwMode="gray">
            <a:xfrm>
              <a:off x="4534468" y="2532563"/>
              <a:ext cx="4708" cy="7064"/>
            </a:xfrm>
            <a:custGeom>
              <a:avLst/>
              <a:gdLst>
                <a:gd name="T0" fmla="*/ 2147483647 w 2"/>
                <a:gd name="T1" fmla="*/ 0 h 4"/>
                <a:gd name="T2" fmla="*/ 2147483647 w 2"/>
                <a:gd name="T3" fmla="*/ 0 h 4"/>
                <a:gd name="T4" fmla="*/ 2147483647 w 2"/>
                <a:gd name="T5" fmla="*/ 2147483647 h 4"/>
                <a:gd name="T6" fmla="*/ 2147483647 w 2"/>
                <a:gd name="T7" fmla="*/ 2147483647 h 4"/>
                <a:gd name="T8" fmla="*/ 0 w 2"/>
                <a:gd name="T9" fmla="*/ 2147483647 h 4"/>
                <a:gd name="T10" fmla="*/ 0 w 2"/>
                <a:gd name="T11" fmla="*/ 2147483647 h 4"/>
                <a:gd name="T12" fmla="*/ 0 w 2"/>
                <a:gd name="T13" fmla="*/ 0 h 4"/>
                <a:gd name="T14" fmla="*/ 0 w 2"/>
                <a:gd name="T15" fmla="*/ 0 h 4"/>
                <a:gd name="T16" fmla="*/ 2147483647 w 2"/>
                <a:gd name="T17" fmla="*/ 0 h 4"/>
                <a:gd name="T18" fmla="*/ 2147483647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2" y="0"/>
                  </a:moveTo>
                  <a:lnTo>
                    <a:pt x="2" y="0"/>
                  </a:lnTo>
                  <a:lnTo>
                    <a:pt x="2" y="2"/>
                  </a:lnTo>
                  <a:lnTo>
                    <a:pt x="0" y="4"/>
                  </a:lnTo>
                  <a:lnTo>
                    <a:pt x="0"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89" name="Freeform 551">
              <a:extLst>
                <a:ext uri="{FF2B5EF4-FFF2-40B4-BE49-F238E27FC236}">
                  <a16:creationId xmlns:a16="http://schemas.microsoft.com/office/drawing/2014/main" id="{E0C75473-B299-46F2-9E0A-964A0079D8D1}"/>
                </a:ext>
              </a:extLst>
            </p:cNvPr>
            <p:cNvSpPr>
              <a:spLocks/>
            </p:cNvSpPr>
            <p:nvPr/>
          </p:nvSpPr>
          <p:spPr bwMode="gray">
            <a:xfrm>
              <a:off x="4508572" y="2532563"/>
              <a:ext cx="18833" cy="11771"/>
            </a:xfrm>
            <a:custGeom>
              <a:avLst/>
              <a:gdLst>
                <a:gd name="T0" fmla="*/ 2147483647 w 10"/>
                <a:gd name="T1" fmla="*/ 0 h 6"/>
                <a:gd name="T2" fmla="*/ 2147483647 w 10"/>
                <a:gd name="T3" fmla="*/ 0 h 6"/>
                <a:gd name="T4" fmla="*/ 2147483647 w 10"/>
                <a:gd name="T5" fmla="*/ 0 h 6"/>
                <a:gd name="T6" fmla="*/ 2147483647 w 10"/>
                <a:gd name="T7" fmla="*/ 2147483647 h 6"/>
                <a:gd name="T8" fmla="*/ 2147483647 w 10"/>
                <a:gd name="T9" fmla="*/ 2147483647 h 6"/>
                <a:gd name="T10" fmla="*/ 2147483647 w 10"/>
                <a:gd name="T11" fmla="*/ 2147483647 h 6"/>
                <a:gd name="T12" fmla="*/ 2147483647 w 10"/>
                <a:gd name="T13" fmla="*/ 2147483647 h 6"/>
                <a:gd name="T14" fmla="*/ 0 w 10"/>
                <a:gd name="T15" fmla="*/ 2147483647 h 6"/>
                <a:gd name="T16" fmla="*/ 2147483647 w 10"/>
                <a:gd name="T17" fmla="*/ 2147483647 h 6"/>
                <a:gd name="T18" fmla="*/ 2147483647 w 10"/>
                <a:gd name="T19" fmla="*/ 2147483647 h 6"/>
                <a:gd name="T20" fmla="*/ 2147483647 w 10"/>
                <a:gd name="T21" fmla="*/ 0 h 6"/>
                <a:gd name="T22" fmla="*/ 2147483647 w 10"/>
                <a:gd name="T23" fmla="*/ 0 h 6"/>
                <a:gd name="T24" fmla="*/ 2147483647 w 10"/>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8" y="0"/>
                  </a:moveTo>
                  <a:lnTo>
                    <a:pt x="8" y="0"/>
                  </a:lnTo>
                  <a:lnTo>
                    <a:pt x="10" y="0"/>
                  </a:lnTo>
                  <a:lnTo>
                    <a:pt x="10" y="4"/>
                  </a:lnTo>
                  <a:lnTo>
                    <a:pt x="10" y="6"/>
                  </a:lnTo>
                  <a:lnTo>
                    <a:pt x="2" y="4"/>
                  </a:lnTo>
                  <a:lnTo>
                    <a:pt x="0" y="2"/>
                  </a:lnTo>
                  <a:lnTo>
                    <a:pt x="6" y="4"/>
                  </a:lnTo>
                  <a:lnTo>
                    <a:pt x="6" y="0"/>
                  </a:lnTo>
                  <a:lnTo>
                    <a:pt x="8"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0" name="Freeform 552">
              <a:extLst>
                <a:ext uri="{FF2B5EF4-FFF2-40B4-BE49-F238E27FC236}">
                  <a16:creationId xmlns:a16="http://schemas.microsoft.com/office/drawing/2014/main" id="{4BCB368B-AC38-4E76-A096-C91F7C6B32C5}"/>
                </a:ext>
              </a:extLst>
            </p:cNvPr>
            <p:cNvSpPr>
              <a:spLocks/>
            </p:cNvSpPr>
            <p:nvPr/>
          </p:nvSpPr>
          <p:spPr bwMode="gray">
            <a:xfrm>
              <a:off x="4539177" y="2499603"/>
              <a:ext cx="2354" cy="7064"/>
            </a:xfrm>
            <a:custGeom>
              <a:avLst/>
              <a:gdLst>
                <a:gd name="T0" fmla="*/ 2147483647 w 2"/>
                <a:gd name="T1" fmla="*/ 0 h 4"/>
                <a:gd name="T2" fmla="*/ 2147483647 w 2"/>
                <a:gd name="T3" fmla="*/ 0 h 4"/>
                <a:gd name="T4" fmla="*/ 2147483647 w 2"/>
                <a:gd name="T5" fmla="*/ 2147483647 h 4"/>
                <a:gd name="T6" fmla="*/ 2147483647 w 2"/>
                <a:gd name="T7" fmla="*/ 2147483647 h 4"/>
                <a:gd name="T8" fmla="*/ 0 w 2"/>
                <a:gd name="T9" fmla="*/ 2147483647 h 4"/>
                <a:gd name="T10" fmla="*/ 0 w 2"/>
                <a:gd name="T11" fmla="*/ 2147483647 h 4"/>
                <a:gd name="T12" fmla="*/ 0 w 2"/>
                <a:gd name="T13" fmla="*/ 2147483647 h 4"/>
                <a:gd name="T14" fmla="*/ 0 w 2"/>
                <a:gd name="T15" fmla="*/ 0 h 4"/>
                <a:gd name="T16" fmla="*/ 2147483647 w 2"/>
                <a:gd name="T17" fmla="*/ 0 h 4"/>
                <a:gd name="T18" fmla="*/ 2147483647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2" y="0"/>
                  </a:moveTo>
                  <a:lnTo>
                    <a:pt x="2" y="0"/>
                  </a:lnTo>
                  <a:lnTo>
                    <a:pt x="2" y="2"/>
                  </a:lnTo>
                  <a:lnTo>
                    <a:pt x="0" y="4"/>
                  </a:lnTo>
                  <a:lnTo>
                    <a:pt x="0" y="2"/>
                  </a:lnTo>
                  <a:lnTo>
                    <a:pt x="0"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1" name="Freeform 553">
              <a:extLst>
                <a:ext uri="{FF2B5EF4-FFF2-40B4-BE49-F238E27FC236}">
                  <a16:creationId xmlns:a16="http://schemas.microsoft.com/office/drawing/2014/main" id="{BD899E7F-D406-4891-805B-7F552EDD9B90}"/>
                </a:ext>
              </a:extLst>
            </p:cNvPr>
            <p:cNvSpPr>
              <a:spLocks/>
            </p:cNvSpPr>
            <p:nvPr/>
          </p:nvSpPr>
          <p:spPr bwMode="gray">
            <a:xfrm>
              <a:off x="4678074" y="2273591"/>
              <a:ext cx="9417" cy="7064"/>
            </a:xfrm>
            <a:custGeom>
              <a:avLst/>
              <a:gdLst>
                <a:gd name="T0" fmla="*/ 0 w 4"/>
                <a:gd name="T1" fmla="*/ 0 h 4"/>
                <a:gd name="T2" fmla="*/ 0 w 4"/>
                <a:gd name="T3" fmla="*/ 2147483647 h 4"/>
                <a:gd name="T4" fmla="*/ 0 w 4"/>
                <a:gd name="T5" fmla="*/ 2147483647 h 4"/>
                <a:gd name="T6" fmla="*/ 2147483647 w 4"/>
                <a:gd name="T7" fmla="*/ 2147483647 h 4"/>
                <a:gd name="T8" fmla="*/ 2147483647 w 4"/>
                <a:gd name="T9" fmla="*/ 2147483647 h 4"/>
                <a:gd name="T10" fmla="*/ 0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0"/>
                  </a:moveTo>
                  <a:lnTo>
                    <a:pt x="0" y="4"/>
                  </a:lnTo>
                  <a:lnTo>
                    <a:pt x="4" y="4"/>
                  </a:lnTo>
                  <a:lnTo>
                    <a:pt x="4"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2" name="Freeform 554">
              <a:extLst>
                <a:ext uri="{FF2B5EF4-FFF2-40B4-BE49-F238E27FC236}">
                  <a16:creationId xmlns:a16="http://schemas.microsoft.com/office/drawing/2014/main" id="{38B4B4DE-493E-4D69-A2FE-D82B9E359A4E}"/>
                </a:ext>
              </a:extLst>
            </p:cNvPr>
            <p:cNvSpPr>
              <a:spLocks/>
            </p:cNvSpPr>
            <p:nvPr/>
          </p:nvSpPr>
          <p:spPr bwMode="gray">
            <a:xfrm>
              <a:off x="4748700" y="2268881"/>
              <a:ext cx="11771" cy="7064"/>
            </a:xfrm>
            <a:custGeom>
              <a:avLst/>
              <a:gdLst>
                <a:gd name="T0" fmla="*/ 2147483647 w 6"/>
                <a:gd name="T1" fmla="*/ 0 h 4"/>
                <a:gd name="T2" fmla="*/ 2147483647 w 6"/>
                <a:gd name="T3" fmla="*/ 0 h 4"/>
                <a:gd name="T4" fmla="*/ 2147483647 w 6"/>
                <a:gd name="T5" fmla="*/ 0 h 4"/>
                <a:gd name="T6" fmla="*/ 2147483647 w 6"/>
                <a:gd name="T7" fmla="*/ 2147483647 h 4"/>
                <a:gd name="T8" fmla="*/ 2147483647 w 6"/>
                <a:gd name="T9" fmla="*/ 2147483647 h 4"/>
                <a:gd name="T10" fmla="*/ 2147483647 w 6"/>
                <a:gd name="T11" fmla="*/ 2147483647 h 4"/>
                <a:gd name="T12" fmla="*/ 2147483647 w 6"/>
                <a:gd name="T13" fmla="*/ 2147483647 h 4"/>
                <a:gd name="T14" fmla="*/ 0 w 6"/>
                <a:gd name="T15" fmla="*/ 2147483647 h 4"/>
                <a:gd name="T16" fmla="*/ 0 w 6"/>
                <a:gd name="T17" fmla="*/ 2147483647 h 4"/>
                <a:gd name="T18" fmla="*/ 2147483647 w 6"/>
                <a:gd name="T19" fmla="*/ 0 h 4"/>
                <a:gd name="T20" fmla="*/ 2147483647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4" y="0"/>
                  </a:moveTo>
                  <a:lnTo>
                    <a:pt x="4" y="0"/>
                  </a:lnTo>
                  <a:lnTo>
                    <a:pt x="6" y="0"/>
                  </a:lnTo>
                  <a:lnTo>
                    <a:pt x="6" y="2"/>
                  </a:lnTo>
                  <a:lnTo>
                    <a:pt x="6" y="4"/>
                  </a:lnTo>
                  <a:lnTo>
                    <a:pt x="2" y="4"/>
                  </a:lnTo>
                  <a:lnTo>
                    <a:pt x="0" y="2"/>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3" name="Freeform 555">
              <a:extLst>
                <a:ext uri="{FF2B5EF4-FFF2-40B4-BE49-F238E27FC236}">
                  <a16:creationId xmlns:a16="http://schemas.microsoft.com/office/drawing/2014/main" id="{C4AC3AA0-06FA-4CFF-95CA-5AF966D5AEF4}"/>
                </a:ext>
              </a:extLst>
            </p:cNvPr>
            <p:cNvSpPr>
              <a:spLocks/>
            </p:cNvSpPr>
            <p:nvPr/>
          </p:nvSpPr>
          <p:spPr bwMode="gray">
            <a:xfrm>
              <a:off x="4694553" y="2261818"/>
              <a:ext cx="9417" cy="11771"/>
            </a:xfrm>
            <a:custGeom>
              <a:avLst/>
              <a:gdLst>
                <a:gd name="T0" fmla="*/ 2147483647 w 6"/>
                <a:gd name="T1" fmla="*/ 2147483647 h 6"/>
                <a:gd name="T2" fmla="*/ 2147483647 w 6"/>
                <a:gd name="T3" fmla="*/ 2147483647 h 6"/>
                <a:gd name="T4" fmla="*/ 0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2147483647 w 6"/>
                <a:gd name="T15" fmla="*/ 0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2"/>
                  </a:moveTo>
                  <a:lnTo>
                    <a:pt x="4" y="2"/>
                  </a:lnTo>
                  <a:lnTo>
                    <a:pt x="0" y="6"/>
                  </a:lnTo>
                  <a:lnTo>
                    <a:pt x="2" y="6"/>
                  </a:lnTo>
                  <a:lnTo>
                    <a:pt x="6" y="4"/>
                  </a:lnTo>
                  <a:lnTo>
                    <a:pt x="6" y="2"/>
                  </a:lnTo>
                  <a:lnTo>
                    <a:pt x="6" y="0"/>
                  </a:lnTo>
                  <a:lnTo>
                    <a:pt x="4"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4" name="Freeform 556">
              <a:extLst>
                <a:ext uri="{FF2B5EF4-FFF2-40B4-BE49-F238E27FC236}">
                  <a16:creationId xmlns:a16="http://schemas.microsoft.com/office/drawing/2014/main" id="{AE07D51F-1B0D-465F-B4CC-3735DBDDF147}"/>
                </a:ext>
              </a:extLst>
            </p:cNvPr>
            <p:cNvSpPr>
              <a:spLocks/>
            </p:cNvSpPr>
            <p:nvPr/>
          </p:nvSpPr>
          <p:spPr bwMode="gray">
            <a:xfrm>
              <a:off x="4703969" y="2242984"/>
              <a:ext cx="11771" cy="11771"/>
            </a:xfrm>
            <a:custGeom>
              <a:avLst/>
              <a:gdLst>
                <a:gd name="T0" fmla="*/ 2147483647 w 6"/>
                <a:gd name="T1" fmla="*/ 0 h 6"/>
                <a:gd name="T2" fmla="*/ 2147483647 w 6"/>
                <a:gd name="T3" fmla="*/ 0 h 6"/>
                <a:gd name="T4" fmla="*/ 0 w 6"/>
                <a:gd name="T5" fmla="*/ 2147483647 h 6"/>
                <a:gd name="T6" fmla="*/ 0 w 6"/>
                <a:gd name="T7" fmla="*/ 2147483647 h 6"/>
                <a:gd name="T8" fmla="*/ 2147483647 w 6"/>
                <a:gd name="T9" fmla="*/ 2147483647 h 6"/>
                <a:gd name="T10" fmla="*/ 2147483647 w 6"/>
                <a:gd name="T11" fmla="*/ 2147483647 h 6"/>
                <a:gd name="T12" fmla="*/ 2147483647 w 6"/>
                <a:gd name="T13" fmla="*/ 2147483647 h 6"/>
                <a:gd name="T14" fmla="*/ 2147483647 w 6"/>
                <a:gd name="T15" fmla="*/ 0 h 6"/>
                <a:gd name="T16" fmla="*/ 2147483647 w 6"/>
                <a:gd name="T17" fmla="*/ 0 h 6"/>
                <a:gd name="T18" fmla="*/ 2147483647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2" y="0"/>
                  </a:moveTo>
                  <a:lnTo>
                    <a:pt x="2" y="0"/>
                  </a:lnTo>
                  <a:lnTo>
                    <a:pt x="0" y="2"/>
                  </a:lnTo>
                  <a:lnTo>
                    <a:pt x="0" y="4"/>
                  </a:lnTo>
                  <a:lnTo>
                    <a:pt x="4" y="6"/>
                  </a:lnTo>
                  <a:lnTo>
                    <a:pt x="6" y="2"/>
                  </a:lnTo>
                  <a:lnTo>
                    <a:pt x="6"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5" name="Freeform 557">
              <a:extLst>
                <a:ext uri="{FF2B5EF4-FFF2-40B4-BE49-F238E27FC236}">
                  <a16:creationId xmlns:a16="http://schemas.microsoft.com/office/drawing/2014/main" id="{8570F555-941A-4B8A-A0B3-18D49730CB65}"/>
                </a:ext>
              </a:extLst>
            </p:cNvPr>
            <p:cNvSpPr>
              <a:spLocks/>
            </p:cNvSpPr>
            <p:nvPr/>
          </p:nvSpPr>
          <p:spPr bwMode="gray">
            <a:xfrm>
              <a:off x="4713386" y="2240632"/>
              <a:ext cx="32959" cy="32960"/>
            </a:xfrm>
            <a:custGeom>
              <a:avLst/>
              <a:gdLst>
                <a:gd name="T0" fmla="*/ 2147483647 w 18"/>
                <a:gd name="T1" fmla="*/ 0 h 18"/>
                <a:gd name="T2" fmla="*/ 2147483647 w 18"/>
                <a:gd name="T3" fmla="*/ 0 h 18"/>
                <a:gd name="T4" fmla="*/ 2147483647 w 18"/>
                <a:gd name="T5" fmla="*/ 2147483647 h 18"/>
                <a:gd name="T6" fmla="*/ 0 w 18"/>
                <a:gd name="T7" fmla="*/ 2147483647 h 18"/>
                <a:gd name="T8" fmla="*/ 0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0 h 18"/>
                <a:gd name="T36" fmla="*/ 2147483647 w 18"/>
                <a:gd name="T37" fmla="*/ 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18"/>
                <a:gd name="T59" fmla="*/ 18 w 18"/>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18">
                  <a:moveTo>
                    <a:pt x="6" y="0"/>
                  </a:moveTo>
                  <a:lnTo>
                    <a:pt x="6" y="0"/>
                  </a:lnTo>
                  <a:lnTo>
                    <a:pt x="4" y="10"/>
                  </a:lnTo>
                  <a:lnTo>
                    <a:pt x="0" y="10"/>
                  </a:lnTo>
                  <a:lnTo>
                    <a:pt x="4" y="18"/>
                  </a:lnTo>
                  <a:lnTo>
                    <a:pt x="10" y="14"/>
                  </a:lnTo>
                  <a:lnTo>
                    <a:pt x="16" y="10"/>
                  </a:lnTo>
                  <a:lnTo>
                    <a:pt x="16" y="6"/>
                  </a:lnTo>
                  <a:lnTo>
                    <a:pt x="18" y="4"/>
                  </a:lnTo>
                  <a:lnTo>
                    <a:pt x="16" y="4"/>
                  </a:lnTo>
                  <a:lnTo>
                    <a:pt x="8" y="6"/>
                  </a:lnTo>
                  <a:lnTo>
                    <a:pt x="8" y="2"/>
                  </a:lnTo>
                  <a:lnTo>
                    <a:pt x="6"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6" name="Freeform 558">
              <a:extLst>
                <a:ext uri="{FF2B5EF4-FFF2-40B4-BE49-F238E27FC236}">
                  <a16:creationId xmlns:a16="http://schemas.microsoft.com/office/drawing/2014/main" id="{361C7ED7-28F2-431A-8642-E041F91AC667}"/>
                </a:ext>
              </a:extLst>
            </p:cNvPr>
            <p:cNvSpPr>
              <a:spLocks/>
            </p:cNvSpPr>
            <p:nvPr/>
          </p:nvSpPr>
          <p:spPr bwMode="gray">
            <a:xfrm>
              <a:off x="4739284" y="2228859"/>
              <a:ext cx="7063" cy="7064"/>
            </a:xfrm>
            <a:custGeom>
              <a:avLst/>
              <a:gdLst>
                <a:gd name="T0" fmla="*/ 2147483647 w 4"/>
                <a:gd name="T1" fmla="*/ 0 h 4"/>
                <a:gd name="T2" fmla="*/ 2147483647 w 4"/>
                <a:gd name="T3" fmla="*/ 0 h 4"/>
                <a:gd name="T4" fmla="*/ 0 w 4"/>
                <a:gd name="T5" fmla="*/ 2147483647 h 4"/>
                <a:gd name="T6" fmla="*/ 0 w 4"/>
                <a:gd name="T7" fmla="*/ 2147483647 h 4"/>
                <a:gd name="T8" fmla="*/ 2147483647 w 4"/>
                <a:gd name="T9" fmla="*/ 2147483647 h 4"/>
                <a:gd name="T10" fmla="*/ 2147483647 w 4"/>
                <a:gd name="T11" fmla="*/ 2147483647 h 4"/>
                <a:gd name="T12" fmla="*/ 2147483647 w 4"/>
                <a:gd name="T13" fmla="*/ 0 h 4"/>
                <a:gd name="T14" fmla="*/ 2147483647 w 4"/>
                <a:gd name="T15" fmla="*/ 0 h 4"/>
                <a:gd name="T16" fmla="*/ 2147483647 w 4"/>
                <a:gd name="T17" fmla="*/ 0 h 4"/>
                <a:gd name="T18" fmla="*/ 2147483647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2" y="0"/>
                  </a:lnTo>
                  <a:lnTo>
                    <a:pt x="0" y="2"/>
                  </a:lnTo>
                  <a:lnTo>
                    <a:pt x="0" y="4"/>
                  </a:lnTo>
                  <a:lnTo>
                    <a:pt x="2" y="4"/>
                  </a:lnTo>
                  <a:lnTo>
                    <a:pt x="4"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7" name="Freeform 559">
              <a:extLst>
                <a:ext uri="{FF2B5EF4-FFF2-40B4-BE49-F238E27FC236}">
                  <a16:creationId xmlns:a16="http://schemas.microsoft.com/office/drawing/2014/main" id="{D1E8A671-5A77-4DD5-8B0E-E2B5C318B583}"/>
                </a:ext>
              </a:extLst>
            </p:cNvPr>
            <p:cNvSpPr>
              <a:spLocks/>
            </p:cNvSpPr>
            <p:nvPr/>
          </p:nvSpPr>
          <p:spPr bwMode="gray">
            <a:xfrm>
              <a:off x="4774595" y="2195900"/>
              <a:ext cx="11771" cy="14126"/>
            </a:xfrm>
            <a:custGeom>
              <a:avLst/>
              <a:gdLst>
                <a:gd name="T0" fmla="*/ 0 w 6"/>
                <a:gd name="T1" fmla="*/ 0 h 8"/>
                <a:gd name="T2" fmla="*/ 0 w 6"/>
                <a:gd name="T3" fmla="*/ 0 h 8"/>
                <a:gd name="T4" fmla="*/ 0 w 6"/>
                <a:gd name="T5" fmla="*/ 2147483647 h 8"/>
                <a:gd name="T6" fmla="*/ 0 w 6"/>
                <a:gd name="T7" fmla="*/ 2147483647 h 8"/>
                <a:gd name="T8" fmla="*/ 2147483647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0 h 8"/>
                <a:gd name="T20" fmla="*/ 0 w 6"/>
                <a:gd name="T21" fmla="*/ 0 h 8"/>
                <a:gd name="T22" fmla="*/ 0 w 6"/>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0"/>
                  </a:moveTo>
                  <a:lnTo>
                    <a:pt x="0" y="0"/>
                  </a:lnTo>
                  <a:lnTo>
                    <a:pt x="0" y="8"/>
                  </a:lnTo>
                  <a:lnTo>
                    <a:pt x="2" y="6"/>
                  </a:lnTo>
                  <a:lnTo>
                    <a:pt x="6" y="6"/>
                  </a:lnTo>
                  <a:lnTo>
                    <a:pt x="6" y="4"/>
                  </a:lnTo>
                  <a:lnTo>
                    <a:pt x="6" y="2"/>
                  </a:lnTo>
                  <a:lnTo>
                    <a:pt x="4" y="0"/>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8" name="Freeform 560">
              <a:extLst>
                <a:ext uri="{FF2B5EF4-FFF2-40B4-BE49-F238E27FC236}">
                  <a16:creationId xmlns:a16="http://schemas.microsoft.com/office/drawing/2014/main" id="{A0BD49D0-759D-4D56-9951-1BC3B3E0DC62}"/>
                </a:ext>
              </a:extLst>
            </p:cNvPr>
            <p:cNvSpPr>
              <a:spLocks/>
            </p:cNvSpPr>
            <p:nvPr/>
          </p:nvSpPr>
          <p:spPr bwMode="gray">
            <a:xfrm>
              <a:off x="4786366" y="2184127"/>
              <a:ext cx="11771" cy="11771"/>
            </a:xfrm>
            <a:custGeom>
              <a:avLst/>
              <a:gdLst>
                <a:gd name="T0" fmla="*/ 0 w 6"/>
                <a:gd name="T1" fmla="*/ 0 h 6"/>
                <a:gd name="T2" fmla="*/ 0 w 6"/>
                <a:gd name="T3" fmla="*/ 0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0 h 6"/>
                <a:gd name="T16" fmla="*/ 0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0" y="0"/>
                  </a:moveTo>
                  <a:lnTo>
                    <a:pt x="0" y="0"/>
                  </a:lnTo>
                  <a:lnTo>
                    <a:pt x="2" y="6"/>
                  </a:lnTo>
                  <a:lnTo>
                    <a:pt x="4" y="6"/>
                  </a:lnTo>
                  <a:lnTo>
                    <a:pt x="6" y="4"/>
                  </a:lnTo>
                  <a:lnTo>
                    <a:pt x="4"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799" name="Freeform 561">
              <a:extLst>
                <a:ext uri="{FF2B5EF4-FFF2-40B4-BE49-F238E27FC236}">
                  <a16:creationId xmlns:a16="http://schemas.microsoft.com/office/drawing/2014/main" id="{A18731A6-D858-4978-8C9A-B12073EC7AFB}"/>
                </a:ext>
              </a:extLst>
            </p:cNvPr>
            <p:cNvSpPr>
              <a:spLocks/>
            </p:cNvSpPr>
            <p:nvPr/>
          </p:nvSpPr>
          <p:spPr bwMode="gray">
            <a:xfrm>
              <a:off x="4819324" y="2177067"/>
              <a:ext cx="4708" cy="7064"/>
            </a:xfrm>
            <a:custGeom>
              <a:avLst/>
              <a:gdLst>
                <a:gd name="T0" fmla="*/ 0 w 2"/>
                <a:gd name="T1" fmla="*/ 0 h 4"/>
                <a:gd name="T2" fmla="*/ 2147483647 w 2"/>
                <a:gd name="T3" fmla="*/ 2147483647 h 4"/>
                <a:gd name="T4" fmla="*/ 2147483647 w 2"/>
                <a:gd name="T5" fmla="*/ 2147483647 h 4"/>
                <a:gd name="T6" fmla="*/ 2147483647 w 2"/>
                <a:gd name="T7" fmla="*/ 0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2" y="4"/>
                  </a:lnTo>
                  <a:lnTo>
                    <a:pt x="2" y="0"/>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0" name="Freeform 562">
              <a:extLst>
                <a:ext uri="{FF2B5EF4-FFF2-40B4-BE49-F238E27FC236}">
                  <a16:creationId xmlns:a16="http://schemas.microsoft.com/office/drawing/2014/main" id="{B4537BD1-07D9-4A98-A5ED-1109474DDF43}"/>
                </a:ext>
              </a:extLst>
            </p:cNvPr>
            <p:cNvSpPr>
              <a:spLocks/>
            </p:cNvSpPr>
            <p:nvPr/>
          </p:nvSpPr>
          <p:spPr bwMode="gray">
            <a:xfrm>
              <a:off x="4800491" y="2172356"/>
              <a:ext cx="7063" cy="11771"/>
            </a:xfrm>
            <a:custGeom>
              <a:avLst/>
              <a:gdLst>
                <a:gd name="T0" fmla="*/ 0 w 4"/>
                <a:gd name="T1" fmla="*/ 0 h 6"/>
                <a:gd name="T2" fmla="*/ 0 w 4"/>
                <a:gd name="T3" fmla="*/ 0 h 6"/>
                <a:gd name="T4" fmla="*/ 2147483647 w 4"/>
                <a:gd name="T5" fmla="*/ 2147483647 h 6"/>
                <a:gd name="T6" fmla="*/ 2147483647 w 4"/>
                <a:gd name="T7" fmla="*/ 2147483647 h 6"/>
                <a:gd name="T8" fmla="*/ 2147483647 w 4"/>
                <a:gd name="T9" fmla="*/ 2147483647 h 6"/>
                <a:gd name="T10" fmla="*/ 2147483647 w 4"/>
                <a:gd name="T11" fmla="*/ 2147483647 h 6"/>
                <a:gd name="T12" fmla="*/ 2147483647 w 4"/>
                <a:gd name="T13" fmla="*/ 2147483647 h 6"/>
                <a:gd name="T14" fmla="*/ 0 w 4"/>
                <a:gd name="T15" fmla="*/ 0 h 6"/>
                <a:gd name="T16" fmla="*/ 0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0" y="0"/>
                  </a:moveTo>
                  <a:lnTo>
                    <a:pt x="0" y="0"/>
                  </a:lnTo>
                  <a:lnTo>
                    <a:pt x="2" y="6"/>
                  </a:lnTo>
                  <a:lnTo>
                    <a:pt x="4" y="6"/>
                  </a:lnTo>
                  <a:lnTo>
                    <a:pt x="4" y="4"/>
                  </a:lnTo>
                  <a:lnTo>
                    <a:pt x="4"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1" name="Freeform 563">
              <a:extLst>
                <a:ext uri="{FF2B5EF4-FFF2-40B4-BE49-F238E27FC236}">
                  <a16:creationId xmlns:a16="http://schemas.microsoft.com/office/drawing/2014/main" id="{3BE22917-45EB-4C51-B154-F38020CECC8A}"/>
                </a:ext>
              </a:extLst>
            </p:cNvPr>
            <p:cNvSpPr>
              <a:spLocks/>
            </p:cNvSpPr>
            <p:nvPr/>
          </p:nvSpPr>
          <p:spPr bwMode="gray">
            <a:xfrm>
              <a:off x="4993534" y="2170001"/>
              <a:ext cx="7063" cy="14126"/>
            </a:xfrm>
            <a:custGeom>
              <a:avLst/>
              <a:gdLst>
                <a:gd name="T0" fmla="*/ 2147483647 w 4"/>
                <a:gd name="T1" fmla="*/ 0 h 8"/>
                <a:gd name="T2" fmla="*/ 2147483647 w 4"/>
                <a:gd name="T3" fmla="*/ 0 h 8"/>
                <a:gd name="T4" fmla="*/ 2147483647 w 4"/>
                <a:gd name="T5" fmla="*/ 2147483647 h 8"/>
                <a:gd name="T6" fmla="*/ 2147483647 w 4"/>
                <a:gd name="T7" fmla="*/ 2147483647 h 8"/>
                <a:gd name="T8" fmla="*/ 2147483647 w 4"/>
                <a:gd name="T9" fmla="*/ 2147483647 h 8"/>
                <a:gd name="T10" fmla="*/ 0 w 4"/>
                <a:gd name="T11" fmla="*/ 2147483647 h 8"/>
                <a:gd name="T12" fmla="*/ 0 w 4"/>
                <a:gd name="T13" fmla="*/ 2147483647 h 8"/>
                <a:gd name="T14" fmla="*/ 0 w 4"/>
                <a:gd name="T15" fmla="*/ 2147483647 h 8"/>
                <a:gd name="T16" fmla="*/ 0 w 4"/>
                <a:gd name="T17" fmla="*/ 2147483647 h 8"/>
                <a:gd name="T18" fmla="*/ 2147483647 w 4"/>
                <a:gd name="T19" fmla="*/ 0 h 8"/>
                <a:gd name="T20" fmla="*/ 2147483647 w 4"/>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8"/>
                <a:gd name="T35" fmla="*/ 4 w 4"/>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8">
                  <a:moveTo>
                    <a:pt x="2" y="0"/>
                  </a:moveTo>
                  <a:lnTo>
                    <a:pt x="2" y="0"/>
                  </a:lnTo>
                  <a:lnTo>
                    <a:pt x="4" y="6"/>
                  </a:lnTo>
                  <a:lnTo>
                    <a:pt x="2" y="6"/>
                  </a:lnTo>
                  <a:lnTo>
                    <a:pt x="0" y="8"/>
                  </a:lnTo>
                  <a:lnTo>
                    <a:pt x="0" y="4"/>
                  </a:lnTo>
                  <a:lnTo>
                    <a:pt x="0" y="2"/>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2" name="Freeform 564">
              <a:extLst>
                <a:ext uri="{FF2B5EF4-FFF2-40B4-BE49-F238E27FC236}">
                  <a16:creationId xmlns:a16="http://schemas.microsoft.com/office/drawing/2014/main" id="{518CBB57-45BA-44F6-8835-5DA80F336B73}"/>
                </a:ext>
              </a:extLst>
            </p:cNvPr>
            <p:cNvSpPr>
              <a:spLocks/>
            </p:cNvSpPr>
            <p:nvPr/>
          </p:nvSpPr>
          <p:spPr bwMode="gray">
            <a:xfrm>
              <a:off x="4856992" y="2170001"/>
              <a:ext cx="7063" cy="7064"/>
            </a:xfrm>
            <a:custGeom>
              <a:avLst/>
              <a:gdLst>
                <a:gd name="T0" fmla="*/ 0 w 4"/>
                <a:gd name="T1" fmla="*/ 0 h 4"/>
                <a:gd name="T2" fmla="*/ 0 w 4"/>
                <a:gd name="T3" fmla="*/ 2147483647 h 4"/>
                <a:gd name="T4" fmla="*/ 2147483647 w 4"/>
                <a:gd name="T5" fmla="*/ 2147483647 h 4"/>
                <a:gd name="T6" fmla="*/ 2147483647 w 4"/>
                <a:gd name="T7" fmla="*/ 2147483647 h 4"/>
                <a:gd name="T8" fmla="*/ 2147483647 w 4"/>
                <a:gd name="T9" fmla="*/ 2147483647 h 4"/>
                <a:gd name="T10" fmla="*/ 2147483647 w 4"/>
                <a:gd name="T11" fmla="*/ 2147483647 h 4"/>
                <a:gd name="T12" fmla="*/ 2147483647 w 4"/>
                <a:gd name="T13" fmla="*/ 0 h 4"/>
                <a:gd name="T14" fmla="*/ 0 w 4"/>
                <a:gd name="T15" fmla="*/ 0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0" y="4"/>
                  </a:lnTo>
                  <a:lnTo>
                    <a:pt x="4" y="4"/>
                  </a:lnTo>
                  <a:lnTo>
                    <a:pt x="4" y="2"/>
                  </a:lnTo>
                  <a:lnTo>
                    <a:pt x="2" y="0"/>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3" name="Freeform 565">
              <a:extLst>
                <a:ext uri="{FF2B5EF4-FFF2-40B4-BE49-F238E27FC236}">
                  <a16:creationId xmlns:a16="http://schemas.microsoft.com/office/drawing/2014/main" id="{15CC2983-DF31-4197-B7A5-8F3100E11070}"/>
                </a:ext>
              </a:extLst>
            </p:cNvPr>
            <p:cNvSpPr>
              <a:spLocks/>
            </p:cNvSpPr>
            <p:nvPr/>
          </p:nvSpPr>
          <p:spPr bwMode="gray">
            <a:xfrm>
              <a:off x="4871116" y="2165293"/>
              <a:ext cx="11771" cy="14126"/>
            </a:xfrm>
            <a:custGeom>
              <a:avLst/>
              <a:gdLst>
                <a:gd name="T0" fmla="*/ 2147483647 w 6"/>
                <a:gd name="T1" fmla="*/ 0 h 8"/>
                <a:gd name="T2" fmla="*/ 2147483647 w 6"/>
                <a:gd name="T3" fmla="*/ 0 h 8"/>
                <a:gd name="T4" fmla="*/ 2147483647 w 6"/>
                <a:gd name="T5" fmla="*/ 0 h 8"/>
                <a:gd name="T6" fmla="*/ 0 w 6"/>
                <a:gd name="T7" fmla="*/ 2147483647 h 8"/>
                <a:gd name="T8" fmla="*/ 0 w 6"/>
                <a:gd name="T9" fmla="*/ 2147483647 h 8"/>
                <a:gd name="T10" fmla="*/ 2147483647 w 6"/>
                <a:gd name="T11" fmla="*/ 2147483647 h 8"/>
                <a:gd name="T12" fmla="*/ 2147483647 w 6"/>
                <a:gd name="T13" fmla="*/ 2147483647 h 8"/>
                <a:gd name="T14" fmla="*/ 2147483647 w 6"/>
                <a:gd name="T15" fmla="*/ 2147483647 h 8"/>
                <a:gd name="T16" fmla="*/ 2147483647 w 6"/>
                <a:gd name="T17" fmla="*/ 0 h 8"/>
                <a:gd name="T18" fmla="*/ 2147483647 w 6"/>
                <a:gd name="T19" fmla="*/ 0 h 8"/>
                <a:gd name="T20" fmla="*/ 2147483647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4" y="0"/>
                  </a:moveTo>
                  <a:lnTo>
                    <a:pt x="4" y="0"/>
                  </a:lnTo>
                  <a:lnTo>
                    <a:pt x="2" y="0"/>
                  </a:lnTo>
                  <a:lnTo>
                    <a:pt x="0" y="4"/>
                  </a:lnTo>
                  <a:lnTo>
                    <a:pt x="0" y="6"/>
                  </a:lnTo>
                  <a:lnTo>
                    <a:pt x="4" y="8"/>
                  </a:lnTo>
                  <a:lnTo>
                    <a:pt x="6" y="2"/>
                  </a:lnTo>
                  <a:lnTo>
                    <a:pt x="6"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4" name="Freeform 566">
              <a:extLst>
                <a:ext uri="{FF2B5EF4-FFF2-40B4-BE49-F238E27FC236}">
                  <a16:creationId xmlns:a16="http://schemas.microsoft.com/office/drawing/2014/main" id="{543A85C4-9926-4AF9-8B27-704CCBF91E47}"/>
                </a:ext>
              </a:extLst>
            </p:cNvPr>
            <p:cNvSpPr>
              <a:spLocks/>
            </p:cNvSpPr>
            <p:nvPr/>
          </p:nvSpPr>
          <p:spPr bwMode="gray">
            <a:xfrm>
              <a:off x="4894656" y="2146459"/>
              <a:ext cx="2354" cy="7064"/>
            </a:xfrm>
            <a:custGeom>
              <a:avLst/>
              <a:gdLst>
                <a:gd name="T0" fmla="*/ 0 w 2"/>
                <a:gd name="T1" fmla="*/ 0 h 4"/>
                <a:gd name="T2" fmla="*/ 2147483647 w 2"/>
                <a:gd name="T3" fmla="*/ 2147483647 h 4"/>
                <a:gd name="T4" fmla="*/ 2147483647 w 2"/>
                <a:gd name="T5" fmla="*/ 2147483647 h 4"/>
                <a:gd name="T6" fmla="*/ 2147483647 w 2"/>
                <a:gd name="T7" fmla="*/ 2147483647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2" y="4"/>
                  </a:lnTo>
                  <a:lnTo>
                    <a:pt x="2"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5" name="Freeform 567">
              <a:extLst>
                <a:ext uri="{FF2B5EF4-FFF2-40B4-BE49-F238E27FC236}">
                  <a16:creationId xmlns:a16="http://schemas.microsoft.com/office/drawing/2014/main" id="{227F26AA-8C70-4CAE-9DE0-EBD3D3E0D3D1}"/>
                </a:ext>
              </a:extLst>
            </p:cNvPr>
            <p:cNvSpPr>
              <a:spLocks/>
            </p:cNvSpPr>
            <p:nvPr/>
          </p:nvSpPr>
          <p:spPr bwMode="gray">
            <a:xfrm>
              <a:off x="4845221" y="2146459"/>
              <a:ext cx="30604" cy="23543"/>
            </a:xfrm>
            <a:custGeom>
              <a:avLst/>
              <a:gdLst>
                <a:gd name="T0" fmla="*/ 2147483647 w 16"/>
                <a:gd name="T1" fmla="*/ 0 h 12"/>
                <a:gd name="T2" fmla="*/ 2147483647 w 16"/>
                <a:gd name="T3" fmla="*/ 0 h 12"/>
                <a:gd name="T4" fmla="*/ 2147483647 w 16"/>
                <a:gd name="T5" fmla="*/ 2147483647 h 12"/>
                <a:gd name="T6" fmla="*/ 2147483647 w 16"/>
                <a:gd name="T7" fmla="*/ 2147483647 h 12"/>
                <a:gd name="T8" fmla="*/ 0 w 16"/>
                <a:gd name="T9" fmla="*/ 2147483647 h 12"/>
                <a:gd name="T10" fmla="*/ 0 w 16"/>
                <a:gd name="T11" fmla="*/ 2147483647 h 12"/>
                <a:gd name="T12" fmla="*/ 0 w 16"/>
                <a:gd name="T13" fmla="*/ 2147483647 h 12"/>
                <a:gd name="T14" fmla="*/ 2147483647 w 16"/>
                <a:gd name="T15" fmla="*/ 2147483647 h 12"/>
                <a:gd name="T16" fmla="*/ 2147483647 w 16"/>
                <a:gd name="T17" fmla="*/ 2147483647 h 12"/>
                <a:gd name="T18" fmla="*/ 2147483647 w 16"/>
                <a:gd name="T19" fmla="*/ 2147483647 h 12"/>
                <a:gd name="T20" fmla="*/ 2147483647 w 16"/>
                <a:gd name="T21" fmla="*/ 2147483647 h 12"/>
                <a:gd name="T22" fmla="*/ 2147483647 w 16"/>
                <a:gd name="T23" fmla="*/ 0 h 12"/>
                <a:gd name="T24" fmla="*/ 2147483647 w 16"/>
                <a:gd name="T25" fmla="*/ 0 h 12"/>
                <a:gd name="T26" fmla="*/ 2147483647 w 16"/>
                <a:gd name="T27" fmla="*/ 0 h 12"/>
                <a:gd name="T28" fmla="*/ 2147483647 w 16"/>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2"/>
                <a:gd name="T47" fmla="*/ 16 w 1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2">
                  <a:moveTo>
                    <a:pt x="12" y="0"/>
                  </a:moveTo>
                  <a:lnTo>
                    <a:pt x="12" y="0"/>
                  </a:lnTo>
                  <a:lnTo>
                    <a:pt x="8" y="6"/>
                  </a:lnTo>
                  <a:lnTo>
                    <a:pt x="0" y="8"/>
                  </a:lnTo>
                  <a:lnTo>
                    <a:pt x="0" y="12"/>
                  </a:lnTo>
                  <a:lnTo>
                    <a:pt x="2" y="12"/>
                  </a:lnTo>
                  <a:lnTo>
                    <a:pt x="6" y="10"/>
                  </a:lnTo>
                  <a:lnTo>
                    <a:pt x="12" y="4"/>
                  </a:lnTo>
                  <a:lnTo>
                    <a:pt x="16" y="0"/>
                  </a:lnTo>
                  <a:lnTo>
                    <a:pt x="14" y="0"/>
                  </a:lnTo>
                  <a:lnTo>
                    <a:pt x="1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6" name="Freeform 568">
              <a:extLst>
                <a:ext uri="{FF2B5EF4-FFF2-40B4-BE49-F238E27FC236}">
                  <a16:creationId xmlns:a16="http://schemas.microsoft.com/office/drawing/2014/main" id="{703B3F23-34DF-4C5F-A11E-46C815D38E45}"/>
                </a:ext>
              </a:extLst>
            </p:cNvPr>
            <p:cNvSpPr>
              <a:spLocks/>
            </p:cNvSpPr>
            <p:nvPr/>
          </p:nvSpPr>
          <p:spPr bwMode="gray">
            <a:xfrm>
              <a:off x="4927619" y="2144104"/>
              <a:ext cx="11771" cy="14126"/>
            </a:xfrm>
            <a:custGeom>
              <a:avLst/>
              <a:gdLst>
                <a:gd name="T0" fmla="*/ 0 w 6"/>
                <a:gd name="T1" fmla="*/ 0 h 8"/>
                <a:gd name="T2" fmla="*/ 0 w 6"/>
                <a:gd name="T3" fmla="*/ 2147483647 h 8"/>
                <a:gd name="T4" fmla="*/ 0 w 6"/>
                <a:gd name="T5" fmla="*/ 2147483647 h 8"/>
                <a:gd name="T6" fmla="*/ 2147483647 w 6"/>
                <a:gd name="T7" fmla="*/ 2147483647 h 8"/>
                <a:gd name="T8" fmla="*/ 2147483647 w 6"/>
                <a:gd name="T9" fmla="*/ 2147483647 h 8"/>
                <a:gd name="T10" fmla="*/ 2147483647 w 6"/>
                <a:gd name="T11" fmla="*/ 2147483647 h 8"/>
                <a:gd name="T12" fmla="*/ 0 w 6"/>
                <a:gd name="T13" fmla="*/ 0 h 8"/>
                <a:gd name="T14" fmla="*/ 0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0" y="0"/>
                  </a:moveTo>
                  <a:lnTo>
                    <a:pt x="0" y="8"/>
                  </a:lnTo>
                  <a:lnTo>
                    <a:pt x="4" y="6"/>
                  </a:lnTo>
                  <a:lnTo>
                    <a:pt x="6" y="4"/>
                  </a:lnTo>
                  <a:lnTo>
                    <a:pt x="4"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7" name="Freeform 569">
              <a:extLst>
                <a:ext uri="{FF2B5EF4-FFF2-40B4-BE49-F238E27FC236}">
                  <a16:creationId xmlns:a16="http://schemas.microsoft.com/office/drawing/2014/main" id="{BEDF36D6-0366-45FF-B450-F9924ECB8332}"/>
                </a:ext>
              </a:extLst>
            </p:cNvPr>
            <p:cNvSpPr>
              <a:spLocks/>
            </p:cNvSpPr>
            <p:nvPr/>
          </p:nvSpPr>
          <p:spPr bwMode="gray">
            <a:xfrm>
              <a:off x="6996942" y="3109361"/>
              <a:ext cx="129480" cy="174216"/>
            </a:xfrm>
            <a:custGeom>
              <a:avLst/>
              <a:gdLst>
                <a:gd name="T0" fmla="*/ 2147483647 w 70"/>
                <a:gd name="T1" fmla="*/ 2147483647 h 94"/>
                <a:gd name="T2" fmla="*/ 2147483647 w 70"/>
                <a:gd name="T3" fmla="*/ 2147483647 h 94"/>
                <a:gd name="T4" fmla="*/ 2147483647 w 70"/>
                <a:gd name="T5" fmla="*/ 2147483647 h 94"/>
                <a:gd name="T6" fmla="*/ 2147483647 w 70"/>
                <a:gd name="T7" fmla="*/ 2147483647 h 94"/>
                <a:gd name="T8" fmla="*/ 2147483647 w 70"/>
                <a:gd name="T9" fmla="*/ 2147483647 h 94"/>
                <a:gd name="T10" fmla="*/ 2147483647 w 70"/>
                <a:gd name="T11" fmla="*/ 2147483647 h 94"/>
                <a:gd name="T12" fmla="*/ 2147483647 w 70"/>
                <a:gd name="T13" fmla="*/ 2147483647 h 94"/>
                <a:gd name="T14" fmla="*/ 2147483647 w 70"/>
                <a:gd name="T15" fmla="*/ 2147483647 h 94"/>
                <a:gd name="T16" fmla="*/ 2147483647 w 70"/>
                <a:gd name="T17" fmla="*/ 2147483647 h 94"/>
                <a:gd name="T18" fmla="*/ 2147483647 w 70"/>
                <a:gd name="T19" fmla="*/ 2147483647 h 94"/>
                <a:gd name="T20" fmla="*/ 2147483647 w 70"/>
                <a:gd name="T21" fmla="*/ 2147483647 h 94"/>
                <a:gd name="T22" fmla="*/ 2147483647 w 70"/>
                <a:gd name="T23" fmla="*/ 2147483647 h 94"/>
                <a:gd name="T24" fmla="*/ 2147483647 w 70"/>
                <a:gd name="T25" fmla="*/ 2147483647 h 94"/>
                <a:gd name="T26" fmla="*/ 2147483647 w 70"/>
                <a:gd name="T27" fmla="*/ 2147483647 h 94"/>
                <a:gd name="T28" fmla="*/ 2147483647 w 70"/>
                <a:gd name="T29" fmla="*/ 2147483647 h 94"/>
                <a:gd name="T30" fmla="*/ 2147483647 w 70"/>
                <a:gd name="T31" fmla="*/ 2147483647 h 94"/>
                <a:gd name="T32" fmla="*/ 2147483647 w 70"/>
                <a:gd name="T33" fmla="*/ 2147483647 h 94"/>
                <a:gd name="T34" fmla="*/ 2147483647 w 70"/>
                <a:gd name="T35" fmla="*/ 2147483647 h 94"/>
                <a:gd name="T36" fmla="*/ 2147483647 w 70"/>
                <a:gd name="T37" fmla="*/ 2147483647 h 94"/>
                <a:gd name="T38" fmla="*/ 2147483647 w 70"/>
                <a:gd name="T39" fmla="*/ 2147483647 h 94"/>
                <a:gd name="T40" fmla="*/ 2147483647 w 70"/>
                <a:gd name="T41" fmla="*/ 2147483647 h 94"/>
                <a:gd name="T42" fmla="*/ 2147483647 w 70"/>
                <a:gd name="T43" fmla="*/ 2147483647 h 94"/>
                <a:gd name="T44" fmla="*/ 2147483647 w 70"/>
                <a:gd name="T45" fmla="*/ 2147483647 h 94"/>
                <a:gd name="T46" fmla="*/ 2147483647 w 70"/>
                <a:gd name="T47" fmla="*/ 2147483647 h 94"/>
                <a:gd name="T48" fmla="*/ 0 w 70"/>
                <a:gd name="T49" fmla="*/ 2147483647 h 94"/>
                <a:gd name="T50" fmla="*/ 0 w 70"/>
                <a:gd name="T51" fmla="*/ 2147483647 h 94"/>
                <a:gd name="T52" fmla="*/ 2147483647 w 70"/>
                <a:gd name="T53" fmla="*/ 2147483647 h 94"/>
                <a:gd name="T54" fmla="*/ 2147483647 w 70"/>
                <a:gd name="T55" fmla="*/ 2147483647 h 94"/>
                <a:gd name="T56" fmla="*/ 2147483647 w 70"/>
                <a:gd name="T57" fmla="*/ 2147483647 h 94"/>
                <a:gd name="T58" fmla="*/ 2147483647 w 70"/>
                <a:gd name="T59" fmla="*/ 2147483647 h 94"/>
                <a:gd name="T60" fmla="*/ 2147483647 w 70"/>
                <a:gd name="T61" fmla="*/ 2147483647 h 94"/>
                <a:gd name="T62" fmla="*/ 2147483647 w 70"/>
                <a:gd name="T63" fmla="*/ 2147483647 h 94"/>
                <a:gd name="T64" fmla="*/ 2147483647 w 70"/>
                <a:gd name="T65" fmla="*/ 2147483647 h 94"/>
                <a:gd name="T66" fmla="*/ 2147483647 w 70"/>
                <a:gd name="T67" fmla="*/ 2147483647 h 94"/>
                <a:gd name="T68" fmla="*/ 2147483647 w 70"/>
                <a:gd name="T69" fmla="*/ 2147483647 h 94"/>
                <a:gd name="T70" fmla="*/ 2147483647 w 70"/>
                <a:gd name="T71" fmla="*/ 2147483647 h 94"/>
                <a:gd name="T72" fmla="*/ 2147483647 w 70"/>
                <a:gd name="T73" fmla="*/ 2147483647 h 94"/>
                <a:gd name="T74" fmla="*/ 2147483647 w 70"/>
                <a:gd name="T75" fmla="*/ 2147483647 h 94"/>
                <a:gd name="T76" fmla="*/ 2147483647 w 70"/>
                <a:gd name="T77" fmla="*/ 2147483647 h 94"/>
                <a:gd name="T78" fmla="*/ 2147483647 w 70"/>
                <a:gd name="T79" fmla="*/ 2147483647 h 94"/>
                <a:gd name="T80" fmla="*/ 2147483647 w 70"/>
                <a:gd name="T81" fmla="*/ 2147483647 h 94"/>
                <a:gd name="T82" fmla="*/ 2147483647 w 70"/>
                <a:gd name="T83" fmla="*/ 2147483647 h 94"/>
                <a:gd name="T84" fmla="*/ 2147483647 w 70"/>
                <a:gd name="T85" fmla="*/ 2147483647 h 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0"/>
                <a:gd name="T130" fmla="*/ 0 h 94"/>
                <a:gd name="T131" fmla="*/ 70 w 70"/>
                <a:gd name="T132" fmla="*/ 94 h 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0" h="94">
                  <a:moveTo>
                    <a:pt x="70" y="12"/>
                  </a:moveTo>
                  <a:lnTo>
                    <a:pt x="70" y="12"/>
                  </a:lnTo>
                  <a:lnTo>
                    <a:pt x="52" y="26"/>
                  </a:lnTo>
                  <a:lnTo>
                    <a:pt x="52" y="28"/>
                  </a:lnTo>
                  <a:lnTo>
                    <a:pt x="52" y="32"/>
                  </a:lnTo>
                  <a:lnTo>
                    <a:pt x="54" y="32"/>
                  </a:lnTo>
                  <a:lnTo>
                    <a:pt x="58" y="34"/>
                  </a:lnTo>
                  <a:lnTo>
                    <a:pt x="56" y="42"/>
                  </a:lnTo>
                  <a:lnTo>
                    <a:pt x="56" y="44"/>
                  </a:lnTo>
                  <a:lnTo>
                    <a:pt x="54" y="48"/>
                  </a:lnTo>
                  <a:lnTo>
                    <a:pt x="50" y="48"/>
                  </a:lnTo>
                  <a:lnTo>
                    <a:pt x="46" y="48"/>
                  </a:lnTo>
                  <a:lnTo>
                    <a:pt x="42" y="56"/>
                  </a:lnTo>
                  <a:lnTo>
                    <a:pt x="38" y="58"/>
                  </a:lnTo>
                  <a:lnTo>
                    <a:pt x="34" y="60"/>
                  </a:lnTo>
                  <a:lnTo>
                    <a:pt x="30" y="72"/>
                  </a:lnTo>
                  <a:lnTo>
                    <a:pt x="36" y="74"/>
                  </a:lnTo>
                  <a:lnTo>
                    <a:pt x="40" y="74"/>
                  </a:lnTo>
                  <a:lnTo>
                    <a:pt x="42" y="76"/>
                  </a:lnTo>
                  <a:lnTo>
                    <a:pt x="42" y="78"/>
                  </a:lnTo>
                  <a:lnTo>
                    <a:pt x="40" y="82"/>
                  </a:lnTo>
                  <a:lnTo>
                    <a:pt x="42" y="84"/>
                  </a:lnTo>
                  <a:lnTo>
                    <a:pt x="38" y="88"/>
                  </a:lnTo>
                  <a:lnTo>
                    <a:pt x="32" y="84"/>
                  </a:lnTo>
                  <a:lnTo>
                    <a:pt x="28" y="86"/>
                  </a:lnTo>
                  <a:lnTo>
                    <a:pt x="20" y="92"/>
                  </a:lnTo>
                  <a:lnTo>
                    <a:pt x="12" y="92"/>
                  </a:lnTo>
                  <a:lnTo>
                    <a:pt x="12" y="94"/>
                  </a:lnTo>
                  <a:lnTo>
                    <a:pt x="10" y="94"/>
                  </a:lnTo>
                  <a:lnTo>
                    <a:pt x="6" y="92"/>
                  </a:lnTo>
                  <a:lnTo>
                    <a:pt x="8" y="88"/>
                  </a:lnTo>
                  <a:lnTo>
                    <a:pt x="4" y="86"/>
                  </a:lnTo>
                  <a:lnTo>
                    <a:pt x="0" y="86"/>
                  </a:lnTo>
                  <a:lnTo>
                    <a:pt x="0" y="80"/>
                  </a:lnTo>
                  <a:lnTo>
                    <a:pt x="2" y="80"/>
                  </a:lnTo>
                  <a:lnTo>
                    <a:pt x="4" y="76"/>
                  </a:lnTo>
                  <a:lnTo>
                    <a:pt x="10" y="76"/>
                  </a:lnTo>
                  <a:lnTo>
                    <a:pt x="8" y="74"/>
                  </a:lnTo>
                  <a:lnTo>
                    <a:pt x="6" y="72"/>
                  </a:lnTo>
                  <a:lnTo>
                    <a:pt x="8" y="68"/>
                  </a:lnTo>
                  <a:lnTo>
                    <a:pt x="8" y="66"/>
                  </a:lnTo>
                  <a:lnTo>
                    <a:pt x="8" y="64"/>
                  </a:lnTo>
                  <a:lnTo>
                    <a:pt x="4" y="62"/>
                  </a:lnTo>
                  <a:lnTo>
                    <a:pt x="2" y="60"/>
                  </a:lnTo>
                  <a:lnTo>
                    <a:pt x="6" y="52"/>
                  </a:lnTo>
                  <a:lnTo>
                    <a:pt x="10" y="48"/>
                  </a:lnTo>
                  <a:lnTo>
                    <a:pt x="14" y="40"/>
                  </a:lnTo>
                  <a:lnTo>
                    <a:pt x="18" y="34"/>
                  </a:lnTo>
                  <a:lnTo>
                    <a:pt x="26" y="28"/>
                  </a:lnTo>
                  <a:lnTo>
                    <a:pt x="24" y="22"/>
                  </a:lnTo>
                  <a:lnTo>
                    <a:pt x="30" y="20"/>
                  </a:lnTo>
                  <a:lnTo>
                    <a:pt x="32" y="24"/>
                  </a:lnTo>
                  <a:lnTo>
                    <a:pt x="38" y="26"/>
                  </a:lnTo>
                  <a:lnTo>
                    <a:pt x="44" y="28"/>
                  </a:lnTo>
                  <a:lnTo>
                    <a:pt x="44" y="22"/>
                  </a:lnTo>
                  <a:lnTo>
                    <a:pt x="44" y="20"/>
                  </a:lnTo>
                  <a:lnTo>
                    <a:pt x="48" y="16"/>
                  </a:lnTo>
                  <a:lnTo>
                    <a:pt x="52" y="16"/>
                  </a:lnTo>
                  <a:lnTo>
                    <a:pt x="56" y="14"/>
                  </a:lnTo>
                  <a:lnTo>
                    <a:pt x="54" y="12"/>
                  </a:lnTo>
                  <a:lnTo>
                    <a:pt x="60" y="10"/>
                  </a:lnTo>
                  <a:lnTo>
                    <a:pt x="62" y="0"/>
                  </a:lnTo>
                  <a:lnTo>
                    <a:pt x="70"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8" name="Freeform 570">
              <a:extLst>
                <a:ext uri="{FF2B5EF4-FFF2-40B4-BE49-F238E27FC236}">
                  <a16:creationId xmlns:a16="http://schemas.microsoft.com/office/drawing/2014/main" id="{261E4486-0452-471B-8084-38499F17754A}"/>
                </a:ext>
              </a:extLst>
            </p:cNvPr>
            <p:cNvSpPr>
              <a:spLocks/>
            </p:cNvSpPr>
            <p:nvPr/>
          </p:nvSpPr>
          <p:spPr bwMode="gray">
            <a:xfrm>
              <a:off x="4437946" y="3921590"/>
              <a:ext cx="251898" cy="261326"/>
            </a:xfrm>
            <a:custGeom>
              <a:avLst/>
              <a:gdLst>
                <a:gd name="T0" fmla="*/ 2147483647 w 136"/>
                <a:gd name="T1" fmla="*/ 2147483647 h 142"/>
                <a:gd name="T2" fmla="*/ 2147483647 w 136"/>
                <a:gd name="T3" fmla="*/ 2147483647 h 142"/>
                <a:gd name="T4" fmla="*/ 2147483647 w 136"/>
                <a:gd name="T5" fmla="*/ 2147483647 h 142"/>
                <a:gd name="T6" fmla="*/ 2147483647 w 136"/>
                <a:gd name="T7" fmla="*/ 2147483647 h 142"/>
                <a:gd name="T8" fmla="*/ 2147483647 w 136"/>
                <a:gd name="T9" fmla="*/ 2147483647 h 142"/>
                <a:gd name="T10" fmla="*/ 2147483647 w 136"/>
                <a:gd name="T11" fmla="*/ 2147483647 h 142"/>
                <a:gd name="T12" fmla="*/ 2147483647 w 136"/>
                <a:gd name="T13" fmla="*/ 2147483647 h 142"/>
                <a:gd name="T14" fmla="*/ 2147483647 w 136"/>
                <a:gd name="T15" fmla="*/ 2147483647 h 142"/>
                <a:gd name="T16" fmla="*/ 2147483647 w 136"/>
                <a:gd name="T17" fmla="*/ 2147483647 h 142"/>
                <a:gd name="T18" fmla="*/ 2147483647 w 136"/>
                <a:gd name="T19" fmla="*/ 2147483647 h 142"/>
                <a:gd name="T20" fmla="*/ 2147483647 w 136"/>
                <a:gd name="T21" fmla="*/ 2147483647 h 142"/>
                <a:gd name="T22" fmla="*/ 2147483647 w 136"/>
                <a:gd name="T23" fmla="*/ 2147483647 h 142"/>
                <a:gd name="T24" fmla="*/ 2147483647 w 136"/>
                <a:gd name="T25" fmla="*/ 2147483647 h 142"/>
                <a:gd name="T26" fmla="*/ 2147483647 w 136"/>
                <a:gd name="T27" fmla="*/ 2147483647 h 142"/>
                <a:gd name="T28" fmla="*/ 2147483647 w 136"/>
                <a:gd name="T29" fmla="*/ 2147483647 h 142"/>
                <a:gd name="T30" fmla="*/ 2147483647 w 136"/>
                <a:gd name="T31" fmla="*/ 2147483647 h 142"/>
                <a:gd name="T32" fmla="*/ 2147483647 w 136"/>
                <a:gd name="T33" fmla="*/ 2147483647 h 142"/>
                <a:gd name="T34" fmla="*/ 2147483647 w 136"/>
                <a:gd name="T35" fmla="*/ 2147483647 h 142"/>
                <a:gd name="T36" fmla="*/ 2147483647 w 136"/>
                <a:gd name="T37" fmla="*/ 2147483647 h 142"/>
                <a:gd name="T38" fmla="*/ 2147483647 w 136"/>
                <a:gd name="T39" fmla="*/ 2147483647 h 142"/>
                <a:gd name="T40" fmla="*/ 2147483647 w 136"/>
                <a:gd name="T41" fmla="*/ 2147483647 h 142"/>
                <a:gd name="T42" fmla="*/ 2147483647 w 136"/>
                <a:gd name="T43" fmla="*/ 2147483647 h 142"/>
                <a:gd name="T44" fmla="*/ 2147483647 w 136"/>
                <a:gd name="T45" fmla="*/ 2147483647 h 142"/>
                <a:gd name="T46" fmla="*/ 2147483647 w 136"/>
                <a:gd name="T47" fmla="*/ 2147483647 h 142"/>
                <a:gd name="T48" fmla="*/ 2147483647 w 136"/>
                <a:gd name="T49" fmla="*/ 2147483647 h 142"/>
                <a:gd name="T50" fmla="*/ 2147483647 w 136"/>
                <a:gd name="T51" fmla="*/ 2147483647 h 142"/>
                <a:gd name="T52" fmla="*/ 2147483647 w 136"/>
                <a:gd name="T53" fmla="*/ 2147483647 h 142"/>
                <a:gd name="T54" fmla="*/ 2147483647 w 136"/>
                <a:gd name="T55" fmla="*/ 2147483647 h 142"/>
                <a:gd name="T56" fmla="*/ 2147483647 w 136"/>
                <a:gd name="T57" fmla="*/ 2147483647 h 142"/>
                <a:gd name="T58" fmla="*/ 2147483647 w 136"/>
                <a:gd name="T59" fmla="*/ 2147483647 h 142"/>
                <a:gd name="T60" fmla="*/ 2147483647 w 136"/>
                <a:gd name="T61" fmla="*/ 2147483647 h 142"/>
                <a:gd name="T62" fmla="*/ 2147483647 w 136"/>
                <a:gd name="T63" fmla="*/ 2147483647 h 142"/>
                <a:gd name="T64" fmla="*/ 2147483647 w 136"/>
                <a:gd name="T65" fmla="*/ 2147483647 h 142"/>
                <a:gd name="T66" fmla="*/ 2147483647 w 136"/>
                <a:gd name="T67" fmla="*/ 2147483647 h 142"/>
                <a:gd name="T68" fmla="*/ 2147483647 w 136"/>
                <a:gd name="T69" fmla="*/ 2147483647 h 142"/>
                <a:gd name="T70" fmla="*/ 0 w 136"/>
                <a:gd name="T71" fmla="*/ 2147483647 h 142"/>
                <a:gd name="T72" fmla="*/ 2147483647 w 136"/>
                <a:gd name="T73" fmla="*/ 2147483647 h 142"/>
                <a:gd name="T74" fmla="*/ 2147483647 w 136"/>
                <a:gd name="T75" fmla="*/ 2147483647 h 142"/>
                <a:gd name="T76" fmla="*/ 2147483647 w 136"/>
                <a:gd name="T77" fmla="*/ 2147483647 h 142"/>
                <a:gd name="T78" fmla="*/ 2147483647 w 136"/>
                <a:gd name="T79" fmla="*/ 2147483647 h 142"/>
                <a:gd name="T80" fmla="*/ 2147483647 w 136"/>
                <a:gd name="T81" fmla="*/ 2147483647 h 142"/>
                <a:gd name="T82" fmla="*/ 2147483647 w 136"/>
                <a:gd name="T83" fmla="*/ 2147483647 h 142"/>
                <a:gd name="T84" fmla="*/ 2147483647 w 136"/>
                <a:gd name="T85" fmla="*/ 2147483647 h 142"/>
                <a:gd name="T86" fmla="*/ 2147483647 w 136"/>
                <a:gd name="T87" fmla="*/ 2147483647 h 142"/>
                <a:gd name="T88" fmla="*/ 2147483647 w 136"/>
                <a:gd name="T89" fmla="*/ 2147483647 h 142"/>
                <a:gd name="T90" fmla="*/ 2147483647 w 136"/>
                <a:gd name="T91" fmla="*/ 2147483647 h 142"/>
                <a:gd name="T92" fmla="*/ 2147483647 w 136"/>
                <a:gd name="T93" fmla="*/ 2147483647 h 142"/>
                <a:gd name="T94" fmla="*/ 2147483647 w 136"/>
                <a:gd name="T95" fmla="*/ 2147483647 h 142"/>
                <a:gd name="T96" fmla="*/ 2147483647 w 136"/>
                <a:gd name="T97" fmla="*/ 2147483647 h 142"/>
                <a:gd name="T98" fmla="*/ 2147483647 w 136"/>
                <a:gd name="T99" fmla="*/ 0 h 142"/>
                <a:gd name="T100" fmla="*/ 2147483647 w 136"/>
                <a:gd name="T101" fmla="*/ 0 h 142"/>
                <a:gd name="T102" fmla="*/ 2147483647 w 136"/>
                <a:gd name="T103" fmla="*/ 2147483647 h 142"/>
                <a:gd name="T104" fmla="*/ 2147483647 w 136"/>
                <a:gd name="T105" fmla="*/ 2147483647 h 142"/>
                <a:gd name="T106" fmla="*/ 2147483647 w 136"/>
                <a:gd name="T107" fmla="*/ 2147483647 h 142"/>
                <a:gd name="T108" fmla="*/ 2147483647 w 136"/>
                <a:gd name="T109" fmla="*/ 2147483647 h 142"/>
                <a:gd name="T110" fmla="*/ 2147483647 w 136"/>
                <a:gd name="T111" fmla="*/ 2147483647 h 142"/>
                <a:gd name="T112" fmla="*/ 2147483647 w 136"/>
                <a:gd name="T113" fmla="*/ 2147483647 h 142"/>
                <a:gd name="T114" fmla="*/ 2147483647 w 136"/>
                <a:gd name="T115" fmla="*/ 2147483647 h 142"/>
                <a:gd name="T116" fmla="*/ 2147483647 w 136"/>
                <a:gd name="T117" fmla="*/ 2147483647 h 142"/>
                <a:gd name="T118" fmla="*/ 2147483647 w 136"/>
                <a:gd name="T119" fmla="*/ 2147483647 h 142"/>
                <a:gd name="T120" fmla="*/ 2147483647 w 136"/>
                <a:gd name="T121" fmla="*/ 2147483647 h 142"/>
                <a:gd name="T122" fmla="*/ 2147483647 w 136"/>
                <a:gd name="T123" fmla="*/ 0 h 142"/>
                <a:gd name="T124" fmla="*/ 2147483647 w 136"/>
                <a:gd name="T125" fmla="*/ 2147483647 h 1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6"/>
                <a:gd name="T190" fmla="*/ 0 h 142"/>
                <a:gd name="T191" fmla="*/ 136 w 136"/>
                <a:gd name="T192" fmla="*/ 142 h 1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6" h="142">
                  <a:moveTo>
                    <a:pt x="134" y="10"/>
                  </a:moveTo>
                  <a:lnTo>
                    <a:pt x="134" y="22"/>
                  </a:lnTo>
                  <a:lnTo>
                    <a:pt x="136" y="22"/>
                  </a:lnTo>
                  <a:lnTo>
                    <a:pt x="136" y="24"/>
                  </a:lnTo>
                  <a:lnTo>
                    <a:pt x="136" y="30"/>
                  </a:lnTo>
                  <a:lnTo>
                    <a:pt x="134" y="34"/>
                  </a:lnTo>
                  <a:lnTo>
                    <a:pt x="132" y="34"/>
                  </a:lnTo>
                  <a:lnTo>
                    <a:pt x="130" y="36"/>
                  </a:lnTo>
                  <a:lnTo>
                    <a:pt x="130" y="38"/>
                  </a:lnTo>
                  <a:lnTo>
                    <a:pt x="128" y="40"/>
                  </a:lnTo>
                  <a:lnTo>
                    <a:pt x="124" y="44"/>
                  </a:lnTo>
                  <a:lnTo>
                    <a:pt x="124" y="46"/>
                  </a:lnTo>
                  <a:lnTo>
                    <a:pt x="124" y="50"/>
                  </a:lnTo>
                  <a:lnTo>
                    <a:pt x="122" y="54"/>
                  </a:lnTo>
                  <a:lnTo>
                    <a:pt x="120" y="54"/>
                  </a:lnTo>
                  <a:lnTo>
                    <a:pt x="120" y="58"/>
                  </a:lnTo>
                  <a:lnTo>
                    <a:pt x="120" y="60"/>
                  </a:lnTo>
                  <a:lnTo>
                    <a:pt x="120" y="62"/>
                  </a:lnTo>
                  <a:lnTo>
                    <a:pt x="120" y="66"/>
                  </a:lnTo>
                  <a:lnTo>
                    <a:pt x="110" y="70"/>
                  </a:lnTo>
                  <a:lnTo>
                    <a:pt x="108" y="72"/>
                  </a:lnTo>
                  <a:lnTo>
                    <a:pt x="108" y="74"/>
                  </a:lnTo>
                  <a:lnTo>
                    <a:pt x="106" y="78"/>
                  </a:lnTo>
                  <a:lnTo>
                    <a:pt x="106" y="82"/>
                  </a:lnTo>
                  <a:lnTo>
                    <a:pt x="104" y="84"/>
                  </a:lnTo>
                  <a:lnTo>
                    <a:pt x="102" y="88"/>
                  </a:lnTo>
                  <a:lnTo>
                    <a:pt x="100" y="90"/>
                  </a:lnTo>
                  <a:lnTo>
                    <a:pt x="98" y="94"/>
                  </a:lnTo>
                  <a:lnTo>
                    <a:pt x="94" y="100"/>
                  </a:lnTo>
                  <a:lnTo>
                    <a:pt x="96" y="104"/>
                  </a:lnTo>
                  <a:lnTo>
                    <a:pt x="96" y="106"/>
                  </a:lnTo>
                  <a:lnTo>
                    <a:pt x="94" y="106"/>
                  </a:lnTo>
                  <a:lnTo>
                    <a:pt x="92" y="112"/>
                  </a:lnTo>
                  <a:lnTo>
                    <a:pt x="90" y="114"/>
                  </a:lnTo>
                  <a:lnTo>
                    <a:pt x="86" y="114"/>
                  </a:lnTo>
                  <a:lnTo>
                    <a:pt x="88" y="110"/>
                  </a:lnTo>
                  <a:lnTo>
                    <a:pt x="88" y="108"/>
                  </a:lnTo>
                  <a:lnTo>
                    <a:pt x="86" y="106"/>
                  </a:lnTo>
                  <a:lnTo>
                    <a:pt x="82" y="104"/>
                  </a:lnTo>
                  <a:lnTo>
                    <a:pt x="80" y="104"/>
                  </a:lnTo>
                  <a:lnTo>
                    <a:pt x="78" y="106"/>
                  </a:lnTo>
                  <a:lnTo>
                    <a:pt x="74" y="108"/>
                  </a:lnTo>
                  <a:lnTo>
                    <a:pt x="70" y="108"/>
                  </a:lnTo>
                  <a:lnTo>
                    <a:pt x="70" y="110"/>
                  </a:lnTo>
                  <a:lnTo>
                    <a:pt x="68" y="116"/>
                  </a:lnTo>
                  <a:lnTo>
                    <a:pt x="66" y="118"/>
                  </a:lnTo>
                  <a:lnTo>
                    <a:pt x="66" y="120"/>
                  </a:lnTo>
                  <a:lnTo>
                    <a:pt x="66" y="122"/>
                  </a:lnTo>
                  <a:lnTo>
                    <a:pt x="66" y="124"/>
                  </a:lnTo>
                  <a:lnTo>
                    <a:pt x="68" y="124"/>
                  </a:lnTo>
                  <a:lnTo>
                    <a:pt x="66" y="130"/>
                  </a:lnTo>
                  <a:lnTo>
                    <a:pt x="66" y="140"/>
                  </a:lnTo>
                  <a:lnTo>
                    <a:pt x="64" y="136"/>
                  </a:lnTo>
                  <a:lnTo>
                    <a:pt x="62" y="138"/>
                  </a:lnTo>
                  <a:lnTo>
                    <a:pt x="60" y="140"/>
                  </a:lnTo>
                  <a:lnTo>
                    <a:pt x="60" y="138"/>
                  </a:lnTo>
                  <a:lnTo>
                    <a:pt x="58" y="136"/>
                  </a:lnTo>
                  <a:lnTo>
                    <a:pt x="56" y="136"/>
                  </a:lnTo>
                  <a:lnTo>
                    <a:pt x="56" y="140"/>
                  </a:lnTo>
                  <a:lnTo>
                    <a:pt x="38" y="142"/>
                  </a:lnTo>
                  <a:lnTo>
                    <a:pt x="34" y="138"/>
                  </a:lnTo>
                  <a:lnTo>
                    <a:pt x="32" y="134"/>
                  </a:lnTo>
                  <a:lnTo>
                    <a:pt x="30" y="132"/>
                  </a:lnTo>
                  <a:lnTo>
                    <a:pt x="32" y="130"/>
                  </a:lnTo>
                  <a:lnTo>
                    <a:pt x="32" y="128"/>
                  </a:lnTo>
                  <a:lnTo>
                    <a:pt x="32" y="124"/>
                  </a:lnTo>
                  <a:lnTo>
                    <a:pt x="26" y="118"/>
                  </a:lnTo>
                  <a:lnTo>
                    <a:pt x="18" y="112"/>
                  </a:lnTo>
                  <a:lnTo>
                    <a:pt x="10" y="110"/>
                  </a:lnTo>
                  <a:lnTo>
                    <a:pt x="2" y="110"/>
                  </a:lnTo>
                  <a:lnTo>
                    <a:pt x="2" y="100"/>
                  </a:lnTo>
                  <a:lnTo>
                    <a:pt x="2" y="96"/>
                  </a:lnTo>
                  <a:lnTo>
                    <a:pt x="2" y="92"/>
                  </a:lnTo>
                  <a:lnTo>
                    <a:pt x="0" y="90"/>
                  </a:lnTo>
                  <a:lnTo>
                    <a:pt x="2" y="84"/>
                  </a:lnTo>
                  <a:lnTo>
                    <a:pt x="2" y="80"/>
                  </a:lnTo>
                  <a:lnTo>
                    <a:pt x="2" y="78"/>
                  </a:lnTo>
                  <a:lnTo>
                    <a:pt x="2" y="74"/>
                  </a:lnTo>
                  <a:lnTo>
                    <a:pt x="2" y="72"/>
                  </a:lnTo>
                  <a:lnTo>
                    <a:pt x="4" y="74"/>
                  </a:lnTo>
                  <a:lnTo>
                    <a:pt x="6" y="72"/>
                  </a:lnTo>
                  <a:lnTo>
                    <a:pt x="6" y="70"/>
                  </a:lnTo>
                  <a:lnTo>
                    <a:pt x="4" y="66"/>
                  </a:lnTo>
                  <a:lnTo>
                    <a:pt x="6" y="64"/>
                  </a:lnTo>
                  <a:lnTo>
                    <a:pt x="8" y="60"/>
                  </a:lnTo>
                  <a:lnTo>
                    <a:pt x="8" y="56"/>
                  </a:lnTo>
                  <a:lnTo>
                    <a:pt x="8" y="54"/>
                  </a:lnTo>
                  <a:lnTo>
                    <a:pt x="10" y="52"/>
                  </a:lnTo>
                  <a:lnTo>
                    <a:pt x="12" y="52"/>
                  </a:lnTo>
                  <a:lnTo>
                    <a:pt x="10" y="50"/>
                  </a:lnTo>
                  <a:lnTo>
                    <a:pt x="10" y="48"/>
                  </a:lnTo>
                  <a:lnTo>
                    <a:pt x="10" y="46"/>
                  </a:lnTo>
                  <a:lnTo>
                    <a:pt x="12" y="42"/>
                  </a:lnTo>
                  <a:lnTo>
                    <a:pt x="10" y="40"/>
                  </a:lnTo>
                  <a:lnTo>
                    <a:pt x="8" y="38"/>
                  </a:lnTo>
                  <a:lnTo>
                    <a:pt x="8" y="34"/>
                  </a:lnTo>
                  <a:lnTo>
                    <a:pt x="8" y="30"/>
                  </a:lnTo>
                  <a:lnTo>
                    <a:pt x="8" y="28"/>
                  </a:lnTo>
                  <a:lnTo>
                    <a:pt x="12" y="20"/>
                  </a:lnTo>
                  <a:lnTo>
                    <a:pt x="14" y="16"/>
                  </a:lnTo>
                  <a:lnTo>
                    <a:pt x="16" y="12"/>
                  </a:lnTo>
                  <a:lnTo>
                    <a:pt x="18" y="6"/>
                  </a:lnTo>
                  <a:lnTo>
                    <a:pt x="30" y="0"/>
                  </a:lnTo>
                  <a:lnTo>
                    <a:pt x="34" y="0"/>
                  </a:lnTo>
                  <a:lnTo>
                    <a:pt x="38" y="0"/>
                  </a:lnTo>
                  <a:lnTo>
                    <a:pt x="42" y="0"/>
                  </a:lnTo>
                  <a:lnTo>
                    <a:pt x="44" y="2"/>
                  </a:lnTo>
                  <a:lnTo>
                    <a:pt x="48" y="6"/>
                  </a:lnTo>
                  <a:lnTo>
                    <a:pt x="50" y="8"/>
                  </a:lnTo>
                  <a:lnTo>
                    <a:pt x="52" y="8"/>
                  </a:lnTo>
                  <a:lnTo>
                    <a:pt x="56" y="8"/>
                  </a:lnTo>
                  <a:lnTo>
                    <a:pt x="62" y="6"/>
                  </a:lnTo>
                  <a:lnTo>
                    <a:pt x="64" y="6"/>
                  </a:lnTo>
                  <a:lnTo>
                    <a:pt x="66" y="6"/>
                  </a:lnTo>
                  <a:lnTo>
                    <a:pt x="66" y="10"/>
                  </a:lnTo>
                  <a:lnTo>
                    <a:pt x="72" y="10"/>
                  </a:lnTo>
                  <a:lnTo>
                    <a:pt x="78" y="10"/>
                  </a:lnTo>
                  <a:lnTo>
                    <a:pt x="82" y="10"/>
                  </a:lnTo>
                  <a:lnTo>
                    <a:pt x="86" y="6"/>
                  </a:lnTo>
                  <a:lnTo>
                    <a:pt x="90" y="6"/>
                  </a:lnTo>
                  <a:lnTo>
                    <a:pt x="94" y="6"/>
                  </a:lnTo>
                  <a:lnTo>
                    <a:pt x="102" y="6"/>
                  </a:lnTo>
                  <a:lnTo>
                    <a:pt x="108" y="6"/>
                  </a:lnTo>
                  <a:lnTo>
                    <a:pt x="114" y="6"/>
                  </a:lnTo>
                  <a:lnTo>
                    <a:pt x="118" y="6"/>
                  </a:lnTo>
                  <a:lnTo>
                    <a:pt x="118" y="4"/>
                  </a:lnTo>
                  <a:lnTo>
                    <a:pt x="120" y="2"/>
                  </a:lnTo>
                  <a:lnTo>
                    <a:pt x="128" y="0"/>
                  </a:lnTo>
                  <a:lnTo>
                    <a:pt x="132" y="8"/>
                  </a:lnTo>
                  <a:lnTo>
                    <a:pt x="134" y="8"/>
                  </a:lnTo>
                  <a:lnTo>
                    <a:pt x="134"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09" name="Freeform 571">
              <a:extLst>
                <a:ext uri="{FF2B5EF4-FFF2-40B4-BE49-F238E27FC236}">
                  <a16:creationId xmlns:a16="http://schemas.microsoft.com/office/drawing/2014/main" id="{B89DE56B-54C2-4284-89E3-35A16A2A683D}"/>
                </a:ext>
              </a:extLst>
            </p:cNvPr>
            <p:cNvSpPr>
              <a:spLocks/>
            </p:cNvSpPr>
            <p:nvPr/>
          </p:nvSpPr>
          <p:spPr bwMode="gray">
            <a:xfrm>
              <a:off x="4379093" y="3669683"/>
              <a:ext cx="334293" cy="303702"/>
            </a:xfrm>
            <a:custGeom>
              <a:avLst/>
              <a:gdLst>
                <a:gd name="T0" fmla="*/ 2147483647 w 180"/>
                <a:gd name="T1" fmla="*/ 2147483647 h 164"/>
                <a:gd name="T2" fmla="*/ 2147483647 w 180"/>
                <a:gd name="T3" fmla="*/ 2147483647 h 164"/>
                <a:gd name="T4" fmla="*/ 2147483647 w 180"/>
                <a:gd name="T5" fmla="*/ 2147483647 h 164"/>
                <a:gd name="T6" fmla="*/ 2147483647 w 180"/>
                <a:gd name="T7" fmla="*/ 2147483647 h 164"/>
                <a:gd name="T8" fmla="*/ 2147483647 w 180"/>
                <a:gd name="T9" fmla="*/ 2147483647 h 164"/>
                <a:gd name="T10" fmla="*/ 2147483647 w 180"/>
                <a:gd name="T11" fmla="*/ 2147483647 h 164"/>
                <a:gd name="T12" fmla="*/ 2147483647 w 180"/>
                <a:gd name="T13" fmla="*/ 2147483647 h 164"/>
                <a:gd name="T14" fmla="*/ 2147483647 w 180"/>
                <a:gd name="T15" fmla="*/ 2147483647 h 164"/>
                <a:gd name="T16" fmla="*/ 2147483647 w 180"/>
                <a:gd name="T17" fmla="*/ 2147483647 h 164"/>
                <a:gd name="T18" fmla="*/ 2147483647 w 180"/>
                <a:gd name="T19" fmla="*/ 2147483647 h 164"/>
                <a:gd name="T20" fmla="*/ 2147483647 w 180"/>
                <a:gd name="T21" fmla="*/ 2147483647 h 164"/>
                <a:gd name="T22" fmla="*/ 2147483647 w 180"/>
                <a:gd name="T23" fmla="*/ 2147483647 h 164"/>
                <a:gd name="T24" fmla="*/ 2147483647 w 180"/>
                <a:gd name="T25" fmla="*/ 2147483647 h 164"/>
                <a:gd name="T26" fmla="*/ 2147483647 w 180"/>
                <a:gd name="T27" fmla="*/ 2147483647 h 164"/>
                <a:gd name="T28" fmla="*/ 2147483647 w 180"/>
                <a:gd name="T29" fmla="*/ 2147483647 h 164"/>
                <a:gd name="T30" fmla="*/ 2147483647 w 180"/>
                <a:gd name="T31" fmla="*/ 2147483647 h 164"/>
                <a:gd name="T32" fmla="*/ 2147483647 w 180"/>
                <a:gd name="T33" fmla="*/ 2147483647 h 164"/>
                <a:gd name="T34" fmla="*/ 2147483647 w 180"/>
                <a:gd name="T35" fmla="*/ 2147483647 h 164"/>
                <a:gd name="T36" fmla="*/ 2147483647 w 180"/>
                <a:gd name="T37" fmla="*/ 2147483647 h 164"/>
                <a:gd name="T38" fmla="*/ 2147483647 w 180"/>
                <a:gd name="T39" fmla="*/ 2147483647 h 164"/>
                <a:gd name="T40" fmla="*/ 2147483647 w 180"/>
                <a:gd name="T41" fmla="*/ 2147483647 h 164"/>
                <a:gd name="T42" fmla="*/ 2147483647 w 180"/>
                <a:gd name="T43" fmla="*/ 2147483647 h 164"/>
                <a:gd name="T44" fmla="*/ 2147483647 w 180"/>
                <a:gd name="T45" fmla="*/ 2147483647 h 164"/>
                <a:gd name="T46" fmla="*/ 2147483647 w 180"/>
                <a:gd name="T47" fmla="*/ 2147483647 h 164"/>
                <a:gd name="T48" fmla="*/ 2147483647 w 180"/>
                <a:gd name="T49" fmla="*/ 2147483647 h 164"/>
                <a:gd name="T50" fmla="*/ 2147483647 w 180"/>
                <a:gd name="T51" fmla="*/ 2147483647 h 164"/>
                <a:gd name="T52" fmla="*/ 2147483647 w 180"/>
                <a:gd name="T53" fmla="*/ 2147483647 h 164"/>
                <a:gd name="T54" fmla="*/ 2147483647 w 180"/>
                <a:gd name="T55" fmla="*/ 2147483647 h 164"/>
                <a:gd name="T56" fmla="*/ 2147483647 w 180"/>
                <a:gd name="T57" fmla="*/ 2147483647 h 164"/>
                <a:gd name="T58" fmla="*/ 2147483647 w 180"/>
                <a:gd name="T59" fmla="*/ 2147483647 h 164"/>
                <a:gd name="T60" fmla="*/ 2147483647 w 180"/>
                <a:gd name="T61" fmla="*/ 2147483647 h 164"/>
                <a:gd name="T62" fmla="*/ 2147483647 w 180"/>
                <a:gd name="T63" fmla="*/ 2147483647 h 164"/>
                <a:gd name="T64" fmla="*/ 2147483647 w 180"/>
                <a:gd name="T65" fmla="*/ 2147483647 h 164"/>
                <a:gd name="T66" fmla="*/ 2147483647 w 180"/>
                <a:gd name="T67" fmla="*/ 2147483647 h 164"/>
                <a:gd name="T68" fmla="*/ 2147483647 w 180"/>
                <a:gd name="T69" fmla="*/ 2147483647 h 164"/>
                <a:gd name="T70" fmla="*/ 2147483647 w 180"/>
                <a:gd name="T71" fmla="*/ 2147483647 h 164"/>
                <a:gd name="T72" fmla="*/ 2147483647 w 180"/>
                <a:gd name="T73" fmla="*/ 2147483647 h 164"/>
                <a:gd name="T74" fmla="*/ 2147483647 w 180"/>
                <a:gd name="T75" fmla="*/ 2147483647 h 164"/>
                <a:gd name="T76" fmla="*/ 2147483647 w 180"/>
                <a:gd name="T77" fmla="*/ 2147483647 h 164"/>
                <a:gd name="T78" fmla="*/ 2147483647 w 180"/>
                <a:gd name="T79" fmla="*/ 2147483647 h 164"/>
                <a:gd name="T80" fmla="*/ 2147483647 w 180"/>
                <a:gd name="T81" fmla="*/ 2147483647 h 164"/>
                <a:gd name="T82" fmla="*/ 2147483647 w 180"/>
                <a:gd name="T83" fmla="*/ 2147483647 h 164"/>
                <a:gd name="T84" fmla="*/ 2147483647 w 180"/>
                <a:gd name="T85" fmla="*/ 2147483647 h 164"/>
                <a:gd name="T86" fmla="*/ 2147483647 w 180"/>
                <a:gd name="T87" fmla="*/ 2147483647 h 164"/>
                <a:gd name="T88" fmla="*/ 2147483647 w 180"/>
                <a:gd name="T89" fmla="*/ 2147483647 h 164"/>
                <a:gd name="T90" fmla="*/ 2147483647 w 180"/>
                <a:gd name="T91" fmla="*/ 2147483647 h 164"/>
                <a:gd name="T92" fmla="*/ 2147483647 w 180"/>
                <a:gd name="T93" fmla="*/ 2147483647 h 164"/>
                <a:gd name="T94" fmla="*/ 2147483647 w 180"/>
                <a:gd name="T95" fmla="*/ 2147483647 h 164"/>
                <a:gd name="T96" fmla="*/ 2147483647 w 180"/>
                <a:gd name="T97" fmla="*/ 2147483647 h 164"/>
                <a:gd name="T98" fmla="*/ 2147483647 w 180"/>
                <a:gd name="T99" fmla="*/ 2147483647 h 164"/>
                <a:gd name="T100" fmla="*/ 2147483647 w 180"/>
                <a:gd name="T101" fmla="*/ 2147483647 h 164"/>
                <a:gd name="T102" fmla="*/ 2147483647 w 180"/>
                <a:gd name="T103" fmla="*/ 2147483647 h 164"/>
                <a:gd name="T104" fmla="*/ 2147483647 w 180"/>
                <a:gd name="T105" fmla="*/ 2147483647 h 164"/>
                <a:gd name="T106" fmla="*/ 2147483647 w 180"/>
                <a:gd name="T107" fmla="*/ 2147483647 h 1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0"/>
                <a:gd name="T163" fmla="*/ 0 h 164"/>
                <a:gd name="T164" fmla="*/ 180 w 180"/>
                <a:gd name="T165" fmla="*/ 164 h 1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0" h="164">
                  <a:moveTo>
                    <a:pt x="160" y="136"/>
                  </a:moveTo>
                  <a:lnTo>
                    <a:pt x="152" y="138"/>
                  </a:lnTo>
                  <a:lnTo>
                    <a:pt x="150" y="140"/>
                  </a:lnTo>
                  <a:lnTo>
                    <a:pt x="150" y="142"/>
                  </a:lnTo>
                  <a:lnTo>
                    <a:pt x="146" y="142"/>
                  </a:lnTo>
                  <a:lnTo>
                    <a:pt x="140" y="142"/>
                  </a:lnTo>
                  <a:lnTo>
                    <a:pt x="134" y="142"/>
                  </a:lnTo>
                  <a:lnTo>
                    <a:pt x="126" y="142"/>
                  </a:lnTo>
                  <a:lnTo>
                    <a:pt x="122" y="142"/>
                  </a:lnTo>
                  <a:lnTo>
                    <a:pt x="118" y="142"/>
                  </a:lnTo>
                  <a:lnTo>
                    <a:pt x="114" y="146"/>
                  </a:lnTo>
                  <a:lnTo>
                    <a:pt x="110" y="146"/>
                  </a:lnTo>
                  <a:lnTo>
                    <a:pt x="104" y="146"/>
                  </a:lnTo>
                  <a:lnTo>
                    <a:pt x="98" y="146"/>
                  </a:lnTo>
                  <a:lnTo>
                    <a:pt x="98" y="142"/>
                  </a:lnTo>
                  <a:lnTo>
                    <a:pt x="96" y="142"/>
                  </a:lnTo>
                  <a:lnTo>
                    <a:pt x="94" y="142"/>
                  </a:lnTo>
                  <a:lnTo>
                    <a:pt x="88" y="144"/>
                  </a:lnTo>
                  <a:lnTo>
                    <a:pt x="84" y="144"/>
                  </a:lnTo>
                  <a:lnTo>
                    <a:pt x="82" y="144"/>
                  </a:lnTo>
                  <a:lnTo>
                    <a:pt x="80" y="142"/>
                  </a:lnTo>
                  <a:lnTo>
                    <a:pt x="76" y="138"/>
                  </a:lnTo>
                  <a:lnTo>
                    <a:pt x="74" y="136"/>
                  </a:lnTo>
                  <a:lnTo>
                    <a:pt x="70" y="136"/>
                  </a:lnTo>
                  <a:lnTo>
                    <a:pt x="66" y="136"/>
                  </a:lnTo>
                  <a:lnTo>
                    <a:pt x="62" y="136"/>
                  </a:lnTo>
                  <a:lnTo>
                    <a:pt x="50" y="142"/>
                  </a:lnTo>
                  <a:lnTo>
                    <a:pt x="48" y="148"/>
                  </a:lnTo>
                  <a:lnTo>
                    <a:pt x="46" y="152"/>
                  </a:lnTo>
                  <a:lnTo>
                    <a:pt x="44" y="156"/>
                  </a:lnTo>
                  <a:lnTo>
                    <a:pt x="40" y="164"/>
                  </a:lnTo>
                  <a:lnTo>
                    <a:pt x="34" y="162"/>
                  </a:lnTo>
                  <a:lnTo>
                    <a:pt x="34" y="160"/>
                  </a:lnTo>
                  <a:lnTo>
                    <a:pt x="32" y="158"/>
                  </a:lnTo>
                  <a:lnTo>
                    <a:pt x="28" y="156"/>
                  </a:lnTo>
                  <a:lnTo>
                    <a:pt x="22" y="162"/>
                  </a:lnTo>
                  <a:lnTo>
                    <a:pt x="20" y="152"/>
                  </a:lnTo>
                  <a:lnTo>
                    <a:pt x="20" y="150"/>
                  </a:lnTo>
                  <a:lnTo>
                    <a:pt x="20" y="146"/>
                  </a:lnTo>
                  <a:lnTo>
                    <a:pt x="18" y="146"/>
                  </a:lnTo>
                  <a:lnTo>
                    <a:pt x="16" y="146"/>
                  </a:lnTo>
                  <a:lnTo>
                    <a:pt x="12" y="136"/>
                  </a:lnTo>
                  <a:lnTo>
                    <a:pt x="12" y="132"/>
                  </a:lnTo>
                  <a:lnTo>
                    <a:pt x="4" y="126"/>
                  </a:lnTo>
                  <a:lnTo>
                    <a:pt x="0" y="120"/>
                  </a:lnTo>
                  <a:lnTo>
                    <a:pt x="2" y="116"/>
                  </a:lnTo>
                  <a:lnTo>
                    <a:pt x="4" y="116"/>
                  </a:lnTo>
                  <a:lnTo>
                    <a:pt x="6" y="114"/>
                  </a:lnTo>
                  <a:lnTo>
                    <a:pt x="8" y="114"/>
                  </a:lnTo>
                  <a:lnTo>
                    <a:pt x="12" y="114"/>
                  </a:lnTo>
                  <a:lnTo>
                    <a:pt x="18" y="112"/>
                  </a:lnTo>
                  <a:lnTo>
                    <a:pt x="24" y="112"/>
                  </a:lnTo>
                  <a:lnTo>
                    <a:pt x="32" y="108"/>
                  </a:lnTo>
                  <a:lnTo>
                    <a:pt x="38" y="106"/>
                  </a:lnTo>
                  <a:lnTo>
                    <a:pt x="46" y="106"/>
                  </a:lnTo>
                  <a:lnTo>
                    <a:pt x="46" y="102"/>
                  </a:lnTo>
                  <a:lnTo>
                    <a:pt x="48" y="96"/>
                  </a:lnTo>
                  <a:lnTo>
                    <a:pt x="52" y="94"/>
                  </a:lnTo>
                  <a:lnTo>
                    <a:pt x="50" y="62"/>
                  </a:lnTo>
                  <a:lnTo>
                    <a:pt x="66" y="58"/>
                  </a:lnTo>
                  <a:lnTo>
                    <a:pt x="72" y="46"/>
                  </a:lnTo>
                  <a:lnTo>
                    <a:pt x="132" y="0"/>
                  </a:lnTo>
                  <a:lnTo>
                    <a:pt x="160" y="16"/>
                  </a:lnTo>
                  <a:lnTo>
                    <a:pt x="162" y="14"/>
                  </a:lnTo>
                  <a:lnTo>
                    <a:pt x="170" y="8"/>
                  </a:lnTo>
                  <a:lnTo>
                    <a:pt x="176" y="36"/>
                  </a:lnTo>
                  <a:lnTo>
                    <a:pt x="180" y="40"/>
                  </a:lnTo>
                  <a:lnTo>
                    <a:pt x="180" y="46"/>
                  </a:lnTo>
                  <a:lnTo>
                    <a:pt x="180" y="48"/>
                  </a:lnTo>
                  <a:lnTo>
                    <a:pt x="178" y="54"/>
                  </a:lnTo>
                  <a:lnTo>
                    <a:pt x="176" y="60"/>
                  </a:lnTo>
                  <a:lnTo>
                    <a:pt x="176" y="86"/>
                  </a:lnTo>
                  <a:lnTo>
                    <a:pt x="176" y="106"/>
                  </a:lnTo>
                  <a:lnTo>
                    <a:pt x="160" y="122"/>
                  </a:lnTo>
                  <a:lnTo>
                    <a:pt x="160" y="132"/>
                  </a:lnTo>
                  <a:lnTo>
                    <a:pt x="158" y="132"/>
                  </a:lnTo>
                  <a:lnTo>
                    <a:pt x="160" y="13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0" name="Freeform 572">
              <a:extLst>
                <a:ext uri="{FF2B5EF4-FFF2-40B4-BE49-F238E27FC236}">
                  <a16:creationId xmlns:a16="http://schemas.microsoft.com/office/drawing/2014/main" id="{64169F0A-8245-483E-A5FA-1748B033A45D}"/>
                </a:ext>
              </a:extLst>
            </p:cNvPr>
            <p:cNvSpPr>
              <a:spLocks noEditPoints="1"/>
            </p:cNvSpPr>
            <p:nvPr/>
          </p:nvSpPr>
          <p:spPr bwMode="gray">
            <a:xfrm>
              <a:off x="2559309" y="3902756"/>
              <a:ext cx="84751" cy="98881"/>
            </a:xfrm>
            <a:custGeom>
              <a:avLst/>
              <a:gdLst>
                <a:gd name="T0" fmla="*/ 2147483647 w 46"/>
                <a:gd name="T1" fmla="*/ 2147483647 h 54"/>
                <a:gd name="T2" fmla="*/ 2147483647 w 46"/>
                <a:gd name="T3" fmla="*/ 2147483647 h 54"/>
                <a:gd name="T4" fmla="*/ 2147483647 w 46"/>
                <a:gd name="T5" fmla="*/ 2147483647 h 54"/>
                <a:gd name="T6" fmla="*/ 2147483647 w 46"/>
                <a:gd name="T7" fmla="*/ 2147483647 h 54"/>
                <a:gd name="T8" fmla="*/ 2147483647 w 46"/>
                <a:gd name="T9" fmla="*/ 2147483647 h 54"/>
                <a:gd name="T10" fmla="*/ 2147483647 w 46"/>
                <a:gd name="T11" fmla="*/ 2147483647 h 54"/>
                <a:gd name="T12" fmla="*/ 2147483647 w 46"/>
                <a:gd name="T13" fmla="*/ 2147483647 h 54"/>
                <a:gd name="T14" fmla="*/ 2147483647 w 46"/>
                <a:gd name="T15" fmla="*/ 2147483647 h 54"/>
                <a:gd name="T16" fmla="*/ 2147483647 w 46"/>
                <a:gd name="T17" fmla="*/ 2147483647 h 54"/>
                <a:gd name="T18" fmla="*/ 2147483647 w 46"/>
                <a:gd name="T19" fmla="*/ 2147483647 h 54"/>
                <a:gd name="T20" fmla="*/ 2147483647 w 46"/>
                <a:gd name="T21" fmla="*/ 2147483647 h 54"/>
                <a:gd name="T22" fmla="*/ 2147483647 w 46"/>
                <a:gd name="T23" fmla="*/ 2147483647 h 54"/>
                <a:gd name="T24" fmla="*/ 2147483647 w 46"/>
                <a:gd name="T25" fmla="*/ 2147483647 h 54"/>
                <a:gd name="T26" fmla="*/ 2147483647 w 46"/>
                <a:gd name="T27" fmla="*/ 2147483647 h 54"/>
                <a:gd name="T28" fmla="*/ 2147483647 w 46"/>
                <a:gd name="T29" fmla="*/ 2147483647 h 54"/>
                <a:gd name="T30" fmla="*/ 2147483647 w 46"/>
                <a:gd name="T31" fmla="*/ 2147483647 h 54"/>
                <a:gd name="T32" fmla="*/ 2147483647 w 46"/>
                <a:gd name="T33" fmla="*/ 2147483647 h 54"/>
                <a:gd name="T34" fmla="*/ 2147483647 w 46"/>
                <a:gd name="T35" fmla="*/ 2147483647 h 54"/>
                <a:gd name="T36" fmla="*/ 2147483647 w 46"/>
                <a:gd name="T37" fmla="*/ 2147483647 h 54"/>
                <a:gd name="T38" fmla="*/ 0 w 46"/>
                <a:gd name="T39" fmla="*/ 2147483647 h 54"/>
                <a:gd name="T40" fmla="*/ 0 w 46"/>
                <a:gd name="T41" fmla="*/ 2147483647 h 54"/>
                <a:gd name="T42" fmla="*/ 0 w 46"/>
                <a:gd name="T43" fmla="*/ 2147483647 h 54"/>
                <a:gd name="T44" fmla="*/ 2147483647 w 46"/>
                <a:gd name="T45" fmla="*/ 2147483647 h 54"/>
                <a:gd name="T46" fmla="*/ 2147483647 w 46"/>
                <a:gd name="T47" fmla="*/ 2147483647 h 54"/>
                <a:gd name="T48" fmla="*/ 2147483647 w 46"/>
                <a:gd name="T49" fmla="*/ 2147483647 h 54"/>
                <a:gd name="T50" fmla="*/ 2147483647 w 46"/>
                <a:gd name="T51" fmla="*/ 2147483647 h 54"/>
                <a:gd name="T52" fmla="*/ 2147483647 w 46"/>
                <a:gd name="T53" fmla="*/ 2147483647 h 54"/>
                <a:gd name="T54" fmla="*/ 2147483647 w 46"/>
                <a:gd name="T55" fmla="*/ 2147483647 h 54"/>
                <a:gd name="T56" fmla="*/ 2147483647 w 46"/>
                <a:gd name="T57" fmla="*/ 2147483647 h 54"/>
                <a:gd name="T58" fmla="*/ 2147483647 w 46"/>
                <a:gd name="T59" fmla="*/ 2147483647 h 54"/>
                <a:gd name="T60" fmla="*/ 2147483647 w 46"/>
                <a:gd name="T61" fmla="*/ 2147483647 h 54"/>
                <a:gd name="T62" fmla="*/ 2147483647 w 46"/>
                <a:gd name="T63" fmla="*/ 2147483647 h 54"/>
                <a:gd name="T64" fmla="*/ 2147483647 w 46"/>
                <a:gd name="T65" fmla="*/ 2147483647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54"/>
                <a:gd name="T101" fmla="*/ 46 w 46"/>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54">
                  <a:moveTo>
                    <a:pt x="18" y="48"/>
                  </a:moveTo>
                  <a:lnTo>
                    <a:pt x="18" y="48"/>
                  </a:lnTo>
                  <a:lnTo>
                    <a:pt x="16" y="42"/>
                  </a:lnTo>
                  <a:lnTo>
                    <a:pt x="16" y="40"/>
                  </a:lnTo>
                  <a:lnTo>
                    <a:pt x="18" y="40"/>
                  </a:lnTo>
                  <a:lnTo>
                    <a:pt x="22" y="42"/>
                  </a:lnTo>
                  <a:lnTo>
                    <a:pt x="24" y="44"/>
                  </a:lnTo>
                  <a:lnTo>
                    <a:pt x="28" y="52"/>
                  </a:lnTo>
                  <a:lnTo>
                    <a:pt x="32" y="52"/>
                  </a:lnTo>
                  <a:lnTo>
                    <a:pt x="34" y="54"/>
                  </a:lnTo>
                  <a:lnTo>
                    <a:pt x="36" y="54"/>
                  </a:lnTo>
                  <a:lnTo>
                    <a:pt x="38" y="54"/>
                  </a:lnTo>
                  <a:lnTo>
                    <a:pt x="38" y="52"/>
                  </a:lnTo>
                  <a:lnTo>
                    <a:pt x="46" y="0"/>
                  </a:lnTo>
                  <a:lnTo>
                    <a:pt x="38" y="2"/>
                  </a:lnTo>
                  <a:lnTo>
                    <a:pt x="34" y="4"/>
                  </a:lnTo>
                  <a:lnTo>
                    <a:pt x="32" y="6"/>
                  </a:lnTo>
                  <a:lnTo>
                    <a:pt x="30" y="8"/>
                  </a:lnTo>
                  <a:lnTo>
                    <a:pt x="24" y="10"/>
                  </a:lnTo>
                  <a:lnTo>
                    <a:pt x="22" y="10"/>
                  </a:lnTo>
                  <a:lnTo>
                    <a:pt x="18" y="10"/>
                  </a:lnTo>
                  <a:lnTo>
                    <a:pt x="16" y="8"/>
                  </a:lnTo>
                  <a:lnTo>
                    <a:pt x="12" y="8"/>
                  </a:lnTo>
                  <a:lnTo>
                    <a:pt x="4" y="12"/>
                  </a:lnTo>
                  <a:lnTo>
                    <a:pt x="4" y="16"/>
                  </a:lnTo>
                  <a:lnTo>
                    <a:pt x="4" y="22"/>
                  </a:lnTo>
                  <a:lnTo>
                    <a:pt x="2" y="24"/>
                  </a:lnTo>
                  <a:lnTo>
                    <a:pt x="0" y="24"/>
                  </a:lnTo>
                  <a:lnTo>
                    <a:pt x="0" y="26"/>
                  </a:lnTo>
                  <a:lnTo>
                    <a:pt x="0" y="30"/>
                  </a:lnTo>
                  <a:lnTo>
                    <a:pt x="2" y="32"/>
                  </a:lnTo>
                  <a:lnTo>
                    <a:pt x="6" y="34"/>
                  </a:lnTo>
                  <a:lnTo>
                    <a:pt x="8" y="40"/>
                  </a:lnTo>
                  <a:lnTo>
                    <a:pt x="10" y="44"/>
                  </a:lnTo>
                  <a:lnTo>
                    <a:pt x="12" y="46"/>
                  </a:lnTo>
                  <a:lnTo>
                    <a:pt x="14" y="48"/>
                  </a:lnTo>
                  <a:lnTo>
                    <a:pt x="18" y="48"/>
                  </a:lnTo>
                  <a:close/>
                  <a:moveTo>
                    <a:pt x="10" y="32"/>
                  </a:moveTo>
                  <a:lnTo>
                    <a:pt x="10" y="32"/>
                  </a:lnTo>
                  <a:lnTo>
                    <a:pt x="12" y="34"/>
                  </a:lnTo>
                  <a:lnTo>
                    <a:pt x="14" y="34"/>
                  </a:lnTo>
                  <a:lnTo>
                    <a:pt x="12" y="36"/>
                  </a:lnTo>
                  <a:lnTo>
                    <a:pt x="10" y="36"/>
                  </a:lnTo>
                  <a:lnTo>
                    <a:pt x="8" y="34"/>
                  </a:lnTo>
                  <a:lnTo>
                    <a:pt x="10" y="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1" name="Freeform 573">
              <a:extLst>
                <a:ext uri="{FF2B5EF4-FFF2-40B4-BE49-F238E27FC236}">
                  <a16:creationId xmlns:a16="http://schemas.microsoft.com/office/drawing/2014/main" id="{64A81827-B2FE-44AF-A8FB-3C590B19FBCE}"/>
                </a:ext>
              </a:extLst>
            </p:cNvPr>
            <p:cNvSpPr>
              <a:spLocks noEditPoints="1"/>
            </p:cNvSpPr>
            <p:nvPr/>
          </p:nvSpPr>
          <p:spPr bwMode="gray">
            <a:xfrm>
              <a:off x="7853865" y="5228220"/>
              <a:ext cx="256607" cy="381394"/>
            </a:xfrm>
            <a:custGeom>
              <a:avLst/>
              <a:gdLst>
                <a:gd name="T0" fmla="*/ 2147483647 w 138"/>
                <a:gd name="T1" fmla="*/ 2147483647 h 206"/>
                <a:gd name="T2" fmla="*/ 2147483647 w 138"/>
                <a:gd name="T3" fmla="*/ 2147483647 h 206"/>
                <a:gd name="T4" fmla="*/ 2147483647 w 138"/>
                <a:gd name="T5" fmla="*/ 2147483647 h 206"/>
                <a:gd name="T6" fmla="*/ 2147483647 w 138"/>
                <a:gd name="T7" fmla="*/ 2147483647 h 206"/>
                <a:gd name="T8" fmla="*/ 2147483647 w 138"/>
                <a:gd name="T9" fmla="*/ 2147483647 h 206"/>
                <a:gd name="T10" fmla="*/ 2147483647 w 138"/>
                <a:gd name="T11" fmla="*/ 2147483647 h 206"/>
                <a:gd name="T12" fmla="*/ 2147483647 w 138"/>
                <a:gd name="T13" fmla="*/ 2147483647 h 206"/>
                <a:gd name="T14" fmla="*/ 2147483647 w 138"/>
                <a:gd name="T15" fmla="*/ 2147483647 h 206"/>
                <a:gd name="T16" fmla="*/ 2147483647 w 138"/>
                <a:gd name="T17" fmla="*/ 2147483647 h 206"/>
                <a:gd name="T18" fmla="*/ 2147483647 w 138"/>
                <a:gd name="T19" fmla="*/ 2147483647 h 206"/>
                <a:gd name="T20" fmla="*/ 2147483647 w 138"/>
                <a:gd name="T21" fmla="*/ 2147483647 h 206"/>
                <a:gd name="T22" fmla="*/ 2147483647 w 138"/>
                <a:gd name="T23" fmla="*/ 2147483647 h 206"/>
                <a:gd name="T24" fmla="*/ 2147483647 w 138"/>
                <a:gd name="T25" fmla="*/ 2147483647 h 206"/>
                <a:gd name="T26" fmla="*/ 2147483647 w 138"/>
                <a:gd name="T27" fmla="*/ 2147483647 h 206"/>
                <a:gd name="T28" fmla="*/ 2147483647 w 138"/>
                <a:gd name="T29" fmla="*/ 2147483647 h 206"/>
                <a:gd name="T30" fmla="*/ 2147483647 w 138"/>
                <a:gd name="T31" fmla="*/ 2147483647 h 206"/>
                <a:gd name="T32" fmla="*/ 2147483647 w 138"/>
                <a:gd name="T33" fmla="*/ 2147483647 h 206"/>
                <a:gd name="T34" fmla="*/ 2147483647 w 138"/>
                <a:gd name="T35" fmla="*/ 2147483647 h 206"/>
                <a:gd name="T36" fmla="*/ 2147483647 w 138"/>
                <a:gd name="T37" fmla="*/ 2147483647 h 206"/>
                <a:gd name="T38" fmla="*/ 2147483647 w 138"/>
                <a:gd name="T39" fmla="*/ 2147483647 h 206"/>
                <a:gd name="T40" fmla="*/ 2147483647 w 138"/>
                <a:gd name="T41" fmla="*/ 2147483647 h 206"/>
                <a:gd name="T42" fmla="*/ 2147483647 w 138"/>
                <a:gd name="T43" fmla="*/ 2147483647 h 206"/>
                <a:gd name="T44" fmla="*/ 2147483647 w 138"/>
                <a:gd name="T45" fmla="*/ 2147483647 h 206"/>
                <a:gd name="T46" fmla="*/ 2147483647 w 138"/>
                <a:gd name="T47" fmla="*/ 2147483647 h 206"/>
                <a:gd name="T48" fmla="*/ 2147483647 w 138"/>
                <a:gd name="T49" fmla="*/ 2147483647 h 206"/>
                <a:gd name="T50" fmla="*/ 2147483647 w 138"/>
                <a:gd name="T51" fmla="*/ 2147483647 h 206"/>
                <a:gd name="T52" fmla="*/ 2147483647 w 138"/>
                <a:gd name="T53" fmla="*/ 2147483647 h 206"/>
                <a:gd name="T54" fmla="*/ 2147483647 w 138"/>
                <a:gd name="T55" fmla="*/ 2147483647 h 206"/>
                <a:gd name="T56" fmla="*/ 2147483647 w 138"/>
                <a:gd name="T57" fmla="*/ 2147483647 h 206"/>
                <a:gd name="T58" fmla="*/ 2147483647 w 138"/>
                <a:gd name="T59" fmla="*/ 2147483647 h 206"/>
                <a:gd name="T60" fmla="*/ 2147483647 w 138"/>
                <a:gd name="T61" fmla="*/ 2147483647 h 206"/>
                <a:gd name="T62" fmla="*/ 2147483647 w 138"/>
                <a:gd name="T63" fmla="*/ 2147483647 h 206"/>
                <a:gd name="T64" fmla="*/ 2147483647 w 138"/>
                <a:gd name="T65" fmla="*/ 2147483647 h 206"/>
                <a:gd name="T66" fmla="*/ 2147483647 w 138"/>
                <a:gd name="T67" fmla="*/ 2147483647 h 206"/>
                <a:gd name="T68" fmla="*/ 2147483647 w 138"/>
                <a:gd name="T69" fmla="*/ 2147483647 h 206"/>
                <a:gd name="T70" fmla="*/ 2147483647 w 138"/>
                <a:gd name="T71" fmla="*/ 2147483647 h 206"/>
                <a:gd name="T72" fmla="*/ 2147483647 w 138"/>
                <a:gd name="T73" fmla="*/ 2147483647 h 206"/>
                <a:gd name="T74" fmla="*/ 2147483647 w 138"/>
                <a:gd name="T75" fmla="*/ 2147483647 h 206"/>
                <a:gd name="T76" fmla="*/ 2147483647 w 138"/>
                <a:gd name="T77" fmla="*/ 2147483647 h 206"/>
                <a:gd name="T78" fmla="*/ 2147483647 w 138"/>
                <a:gd name="T79" fmla="*/ 2147483647 h 206"/>
                <a:gd name="T80" fmla="*/ 2147483647 w 138"/>
                <a:gd name="T81" fmla="*/ 2147483647 h 206"/>
                <a:gd name="T82" fmla="*/ 2147483647 w 138"/>
                <a:gd name="T83" fmla="*/ 2147483647 h 206"/>
                <a:gd name="T84" fmla="*/ 2147483647 w 138"/>
                <a:gd name="T85" fmla="*/ 2147483647 h 206"/>
                <a:gd name="T86" fmla="*/ 2147483647 w 138"/>
                <a:gd name="T87" fmla="*/ 2147483647 h 206"/>
                <a:gd name="T88" fmla="*/ 2147483647 w 138"/>
                <a:gd name="T89" fmla="*/ 2147483647 h 206"/>
                <a:gd name="T90" fmla="*/ 2147483647 w 138"/>
                <a:gd name="T91" fmla="*/ 2147483647 h 206"/>
                <a:gd name="T92" fmla="*/ 2147483647 w 138"/>
                <a:gd name="T93" fmla="*/ 2147483647 h 206"/>
                <a:gd name="T94" fmla="*/ 2147483647 w 138"/>
                <a:gd name="T95" fmla="*/ 2147483647 h 206"/>
                <a:gd name="T96" fmla="*/ 2147483647 w 138"/>
                <a:gd name="T97" fmla="*/ 2147483647 h 206"/>
                <a:gd name="T98" fmla="*/ 2147483647 w 138"/>
                <a:gd name="T99" fmla="*/ 2147483647 h 206"/>
                <a:gd name="T100" fmla="*/ 2147483647 w 138"/>
                <a:gd name="T101" fmla="*/ 0 h 2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8"/>
                <a:gd name="T154" fmla="*/ 0 h 206"/>
                <a:gd name="T155" fmla="*/ 138 w 138"/>
                <a:gd name="T156" fmla="*/ 206 h 2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8" h="206">
                  <a:moveTo>
                    <a:pt x="12" y="196"/>
                  </a:moveTo>
                  <a:lnTo>
                    <a:pt x="12" y="196"/>
                  </a:lnTo>
                  <a:lnTo>
                    <a:pt x="10" y="206"/>
                  </a:lnTo>
                  <a:lnTo>
                    <a:pt x="18" y="206"/>
                  </a:lnTo>
                  <a:lnTo>
                    <a:pt x="22" y="206"/>
                  </a:lnTo>
                  <a:lnTo>
                    <a:pt x="20" y="202"/>
                  </a:lnTo>
                  <a:lnTo>
                    <a:pt x="18" y="198"/>
                  </a:lnTo>
                  <a:lnTo>
                    <a:pt x="12" y="196"/>
                  </a:lnTo>
                  <a:close/>
                  <a:moveTo>
                    <a:pt x="68" y="96"/>
                  </a:moveTo>
                  <a:lnTo>
                    <a:pt x="68" y="96"/>
                  </a:lnTo>
                  <a:lnTo>
                    <a:pt x="64" y="102"/>
                  </a:lnTo>
                  <a:lnTo>
                    <a:pt x="64" y="108"/>
                  </a:lnTo>
                  <a:lnTo>
                    <a:pt x="64" y="114"/>
                  </a:lnTo>
                  <a:lnTo>
                    <a:pt x="58" y="118"/>
                  </a:lnTo>
                  <a:lnTo>
                    <a:pt x="58" y="120"/>
                  </a:lnTo>
                  <a:lnTo>
                    <a:pt x="58" y="122"/>
                  </a:lnTo>
                  <a:lnTo>
                    <a:pt x="54" y="124"/>
                  </a:lnTo>
                  <a:lnTo>
                    <a:pt x="48" y="138"/>
                  </a:lnTo>
                  <a:lnTo>
                    <a:pt x="44" y="144"/>
                  </a:lnTo>
                  <a:lnTo>
                    <a:pt x="38" y="148"/>
                  </a:lnTo>
                  <a:lnTo>
                    <a:pt x="30" y="152"/>
                  </a:lnTo>
                  <a:lnTo>
                    <a:pt x="24" y="154"/>
                  </a:lnTo>
                  <a:lnTo>
                    <a:pt x="22" y="156"/>
                  </a:lnTo>
                  <a:lnTo>
                    <a:pt x="22" y="160"/>
                  </a:lnTo>
                  <a:lnTo>
                    <a:pt x="18" y="160"/>
                  </a:lnTo>
                  <a:lnTo>
                    <a:pt x="18" y="162"/>
                  </a:lnTo>
                  <a:lnTo>
                    <a:pt x="16" y="162"/>
                  </a:lnTo>
                  <a:lnTo>
                    <a:pt x="12" y="162"/>
                  </a:lnTo>
                  <a:lnTo>
                    <a:pt x="10" y="164"/>
                  </a:lnTo>
                  <a:lnTo>
                    <a:pt x="10" y="166"/>
                  </a:lnTo>
                  <a:lnTo>
                    <a:pt x="8" y="172"/>
                  </a:lnTo>
                  <a:lnTo>
                    <a:pt x="4" y="172"/>
                  </a:lnTo>
                  <a:lnTo>
                    <a:pt x="2" y="182"/>
                  </a:lnTo>
                  <a:lnTo>
                    <a:pt x="0" y="184"/>
                  </a:lnTo>
                  <a:lnTo>
                    <a:pt x="2" y="188"/>
                  </a:lnTo>
                  <a:lnTo>
                    <a:pt x="6" y="190"/>
                  </a:lnTo>
                  <a:lnTo>
                    <a:pt x="8" y="190"/>
                  </a:lnTo>
                  <a:lnTo>
                    <a:pt x="12" y="188"/>
                  </a:lnTo>
                  <a:lnTo>
                    <a:pt x="14" y="188"/>
                  </a:lnTo>
                  <a:lnTo>
                    <a:pt x="16" y="194"/>
                  </a:lnTo>
                  <a:lnTo>
                    <a:pt x="22" y="196"/>
                  </a:lnTo>
                  <a:lnTo>
                    <a:pt x="34" y="196"/>
                  </a:lnTo>
                  <a:lnTo>
                    <a:pt x="38" y="192"/>
                  </a:lnTo>
                  <a:lnTo>
                    <a:pt x="44" y="184"/>
                  </a:lnTo>
                  <a:lnTo>
                    <a:pt x="52" y="168"/>
                  </a:lnTo>
                  <a:lnTo>
                    <a:pt x="52" y="164"/>
                  </a:lnTo>
                  <a:lnTo>
                    <a:pt x="52" y="160"/>
                  </a:lnTo>
                  <a:lnTo>
                    <a:pt x="56" y="158"/>
                  </a:lnTo>
                  <a:lnTo>
                    <a:pt x="62" y="156"/>
                  </a:lnTo>
                  <a:lnTo>
                    <a:pt x="72" y="152"/>
                  </a:lnTo>
                  <a:lnTo>
                    <a:pt x="72" y="146"/>
                  </a:lnTo>
                  <a:lnTo>
                    <a:pt x="70" y="144"/>
                  </a:lnTo>
                  <a:lnTo>
                    <a:pt x="80" y="132"/>
                  </a:lnTo>
                  <a:lnTo>
                    <a:pt x="90" y="120"/>
                  </a:lnTo>
                  <a:lnTo>
                    <a:pt x="90" y="106"/>
                  </a:lnTo>
                  <a:lnTo>
                    <a:pt x="88" y="104"/>
                  </a:lnTo>
                  <a:lnTo>
                    <a:pt x="88" y="106"/>
                  </a:lnTo>
                  <a:lnTo>
                    <a:pt x="88" y="108"/>
                  </a:lnTo>
                  <a:lnTo>
                    <a:pt x="84" y="106"/>
                  </a:lnTo>
                  <a:lnTo>
                    <a:pt x="82" y="104"/>
                  </a:lnTo>
                  <a:lnTo>
                    <a:pt x="80" y="106"/>
                  </a:lnTo>
                  <a:lnTo>
                    <a:pt x="80" y="108"/>
                  </a:lnTo>
                  <a:lnTo>
                    <a:pt x="76" y="108"/>
                  </a:lnTo>
                  <a:lnTo>
                    <a:pt x="74" y="96"/>
                  </a:lnTo>
                  <a:lnTo>
                    <a:pt x="68" y="96"/>
                  </a:lnTo>
                  <a:close/>
                  <a:moveTo>
                    <a:pt x="72" y="0"/>
                  </a:moveTo>
                  <a:lnTo>
                    <a:pt x="72" y="0"/>
                  </a:lnTo>
                  <a:lnTo>
                    <a:pt x="72" y="2"/>
                  </a:lnTo>
                  <a:lnTo>
                    <a:pt x="70" y="2"/>
                  </a:lnTo>
                  <a:lnTo>
                    <a:pt x="70" y="4"/>
                  </a:lnTo>
                  <a:lnTo>
                    <a:pt x="74" y="8"/>
                  </a:lnTo>
                  <a:lnTo>
                    <a:pt x="76" y="12"/>
                  </a:lnTo>
                  <a:lnTo>
                    <a:pt x="80" y="22"/>
                  </a:lnTo>
                  <a:lnTo>
                    <a:pt x="84" y="26"/>
                  </a:lnTo>
                  <a:lnTo>
                    <a:pt x="86" y="28"/>
                  </a:lnTo>
                  <a:lnTo>
                    <a:pt x="88" y="30"/>
                  </a:lnTo>
                  <a:lnTo>
                    <a:pt x="88" y="32"/>
                  </a:lnTo>
                  <a:lnTo>
                    <a:pt x="92" y="32"/>
                  </a:lnTo>
                  <a:lnTo>
                    <a:pt x="92" y="34"/>
                  </a:lnTo>
                  <a:lnTo>
                    <a:pt x="90" y="36"/>
                  </a:lnTo>
                  <a:lnTo>
                    <a:pt x="90" y="38"/>
                  </a:lnTo>
                  <a:lnTo>
                    <a:pt x="90" y="40"/>
                  </a:lnTo>
                  <a:lnTo>
                    <a:pt x="92" y="42"/>
                  </a:lnTo>
                  <a:lnTo>
                    <a:pt x="94" y="44"/>
                  </a:lnTo>
                  <a:lnTo>
                    <a:pt x="94" y="48"/>
                  </a:lnTo>
                  <a:lnTo>
                    <a:pt x="92" y="50"/>
                  </a:lnTo>
                  <a:lnTo>
                    <a:pt x="94" y="54"/>
                  </a:lnTo>
                  <a:lnTo>
                    <a:pt x="94" y="60"/>
                  </a:lnTo>
                  <a:lnTo>
                    <a:pt x="94" y="68"/>
                  </a:lnTo>
                  <a:lnTo>
                    <a:pt x="92" y="74"/>
                  </a:lnTo>
                  <a:lnTo>
                    <a:pt x="82" y="78"/>
                  </a:lnTo>
                  <a:lnTo>
                    <a:pt x="94" y="86"/>
                  </a:lnTo>
                  <a:lnTo>
                    <a:pt x="100" y="92"/>
                  </a:lnTo>
                  <a:lnTo>
                    <a:pt x="100" y="96"/>
                  </a:lnTo>
                  <a:lnTo>
                    <a:pt x="100" y="100"/>
                  </a:lnTo>
                  <a:lnTo>
                    <a:pt x="96" y="104"/>
                  </a:lnTo>
                  <a:lnTo>
                    <a:pt x="96" y="110"/>
                  </a:lnTo>
                  <a:lnTo>
                    <a:pt x="106" y="112"/>
                  </a:lnTo>
                  <a:lnTo>
                    <a:pt x="108" y="112"/>
                  </a:lnTo>
                  <a:lnTo>
                    <a:pt x="110" y="110"/>
                  </a:lnTo>
                  <a:lnTo>
                    <a:pt x="112" y="106"/>
                  </a:lnTo>
                  <a:lnTo>
                    <a:pt x="116" y="96"/>
                  </a:lnTo>
                  <a:lnTo>
                    <a:pt x="120" y="94"/>
                  </a:lnTo>
                  <a:lnTo>
                    <a:pt x="122" y="92"/>
                  </a:lnTo>
                  <a:lnTo>
                    <a:pt x="122" y="88"/>
                  </a:lnTo>
                  <a:lnTo>
                    <a:pt x="122" y="84"/>
                  </a:lnTo>
                  <a:lnTo>
                    <a:pt x="120" y="82"/>
                  </a:lnTo>
                  <a:lnTo>
                    <a:pt x="124" y="80"/>
                  </a:lnTo>
                  <a:lnTo>
                    <a:pt x="130" y="78"/>
                  </a:lnTo>
                  <a:lnTo>
                    <a:pt x="132" y="80"/>
                  </a:lnTo>
                  <a:lnTo>
                    <a:pt x="132" y="76"/>
                  </a:lnTo>
                  <a:lnTo>
                    <a:pt x="132" y="74"/>
                  </a:lnTo>
                  <a:lnTo>
                    <a:pt x="138" y="64"/>
                  </a:lnTo>
                  <a:lnTo>
                    <a:pt x="138" y="56"/>
                  </a:lnTo>
                  <a:lnTo>
                    <a:pt x="136" y="56"/>
                  </a:lnTo>
                  <a:lnTo>
                    <a:pt x="134" y="54"/>
                  </a:lnTo>
                  <a:lnTo>
                    <a:pt x="132" y="54"/>
                  </a:lnTo>
                  <a:lnTo>
                    <a:pt x="130" y="56"/>
                  </a:lnTo>
                  <a:lnTo>
                    <a:pt x="128" y="60"/>
                  </a:lnTo>
                  <a:lnTo>
                    <a:pt x="124" y="60"/>
                  </a:lnTo>
                  <a:lnTo>
                    <a:pt x="118" y="60"/>
                  </a:lnTo>
                  <a:lnTo>
                    <a:pt x="110" y="54"/>
                  </a:lnTo>
                  <a:lnTo>
                    <a:pt x="110" y="42"/>
                  </a:lnTo>
                  <a:lnTo>
                    <a:pt x="108" y="42"/>
                  </a:lnTo>
                  <a:lnTo>
                    <a:pt x="108" y="40"/>
                  </a:lnTo>
                  <a:lnTo>
                    <a:pt x="108" y="38"/>
                  </a:lnTo>
                  <a:lnTo>
                    <a:pt x="106" y="38"/>
                  </a:lnTo>
                  <a:lnTo>
                    <a:pt x="104" y="42"/>
                  </a:lnTo>
                  <a:lnTo>
                    <a:pt x="102" y="44"/>
                  </a:lnTo>
                  <a:lnTo>
                    <a:pt x="98" y="44"/>
                  </a:lnTo>
                  <a:lnTo>
                    <a:pt x="98" y="42"/>
                  </a:lnTo>
                  <a:lnTo>
                    <a:pt x="96" y="34"/>
                  </a:lnTo>
                  <a:lnTo>
                    <a:pt x="96" y="26"/>
                  </a:lnTo>
                  <a:lnTo>
                    <a:pt x="94" y="18"/>
                  </a:lnTo>
                  <a:lnTo>
                    <a:pt x="90" y="18"/>
                  </a:lnTo>
                  <a:lnTo>
                    <a:pt x="92" y="14"/>
                  </a:lnTo>
                  <a:lnTo>
                    <a:pt x="82" y="8"/>
                  </a:lnTo>
                  <a:lnTo>
                    <a:pt x="80" y="10"/>
                  </a:lnTo>
                  <a:lnTo>
                    <a:pt x="78" y="10"/>
                  </a:lnTo>
                  <a:lnTo>
                    <a:pt x="74" y="4"/>
                  </a:lnTo>
                  <a:lnTo>
                    <a:pt x="74" y="2"/>
                  </a:lnTo>
                  <a:lnTo>
                    <a:pt x="76" y="0"/>
                  </a:lnTo>
                  <a:lnTo>
                    <a:pt x="7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2" name="Freeform 574">
              <a:extLst>
                <a:ext uri="{FF2B5EF4-FFF2-40B4-BE49-F238E27FC236}">
                  <a16:creationId xmlns:a16="http://schemas.microsoft.com/office/drawing/2014/main" id="{DDCCBF61-494B-495A-8D8E-1BA763358001}"/>
                </a:ext>
              </a:extLst>
            </p:cNvPr>
            <p:cNvSpPr>
              <a:spLocks/>
            </p:cNvSpPr>
            <p:nvPr/>
          </p:nvSpPr>
          <p:spPr bwMode="gray">
            <a:xfrm>
              <a:off x="4461488" y="2810368"/>
              <a:ext cx="84751" cy="70629"/>
            </a:xfrm>
            <a:custGeom>
              <a:avLst/>
              <a:gdLst>
                <a:gd name="T0" fmla="*/ 2147483647 w 46"/>
                <a:gd name="T1" fmla="*/ 2147483647 h 38"/>
                <a:gd name="T2" fmla="*/ 2147483647 w 46"/>
                <a:gd name="T3" fmla="*/ 2147483647 h 38"/>
                <a:gd name="T4" fmla="*/ 2147483647 w 46"/>
                <a:gd name="T5" fmla="*/ 2147483647 h 38"/>
                <a:gd name="T6" fmla="*/ 2147483647 w 46"/>
                <a:gd name="T7" fmla="*/ 2147483647 h 38"/>
                <a:gd name="T8" fmla="*/ 2147483647 w 46"/>
                <a:gd name="T9" fmla="*/ 2147483647 h 38"/>
                <a:gd name="T10" fmla="*/ 2147483647 w 46"/>
                <a:gd name="T11" fmla="*/ 2147483647 h 38"/>
                <a:gd name="T12" fmla="*/ 2147483647 w 46"/>
                <a:gd name="T13" fmla="*/ 0 h 38"/>
                <a:gd name="T14" fmla="*/ 2147483647 w 46"/>
                <a:gd name="T15" fmla="*/ 0 h 38"/>
                <a:gd name="T16" fmla="*/ 2147483647 w 46"/>
                <a:gd name="T17" fmla="*/ 0 h 38"/>
                <a:gd name="T18" fmla="*/ 2147483647 w 46"/>
                <a:gd name="T19" fmla="*/ 0 h 38"/>
                <a:gd name="T20" fmla="*/ 2147483647 w 46"/>
                <a:gd name="T21" fmla="*/ 2147483647 h 38"/>
                <a:gd name="T22" fmla="*/ 2147483647 w 46"/>
                <a:gd name="T23" fmla="*/ 2147483647 h 38"/>
                <a:gd name="T24" fmla="*/ 2147483647 w 46"/>
                <a:gd name="T25" fmla="*/ 2147483647 h 38"/>
                <a:gd name="T26" fmla="*/ 2147483647 w 46"/>
                <a:gd name="T27" fmla="*/ 2147483647 h 38"/>
                <a:gd name="T28" fmla="*/ 2147483647 w 46"/>
                <a:gd name="T29" fmla="*/ 2147483647 h 38"/>
                <a:gd name="T30" fmla="*/ 2147483647 w 46"/>
                <a:gd name="T31" fmla="*/ 2147483647 h 38"/>
                <a:gd name="T32" fmla="*/ 2147483647 w 46"/>
                <a:gd name="T33" fmla="*/ 2147483647 h 38"/>
                <a:gd name="T34" fmla="*/ 2147483647 w 46"/>
                <a:gd name="T35" fmla="*/ 2147483647 h 38"/>
                <a:gd name="T36" fmla="*/ 2147483647 w 46"/>
                <a:gd name="T37" fmla="*/ 2147483647 h 38"/>
                <a:gd name="T38" fmla="*/ 0 w 46"/>
                <a:gd name="T39" fmla="*/ 2147483647 h 38"/>
                <a:gd name="T40" fmla="*/ 0 w 46"/>
                <a:gd name="T41" fmla="*/ 2147483647 h 38"/>
                <a:gd name="T42" fmla="*/ 0 w 46"/>
                <a:gd name="T43" fmla="*/ 2147483647 h 38"/>
                <a:gd name="T44" fmla="*/ 2147483647 w 46"/>
                <a:gd name="T45" fmla="*/ 2147483647 h 38"/>
                <a:gd name="T46" fmla="*/ 2147483647 w 46"/>
                <a:gd name="T47" fmla="*/ 2147483647 h 38"/>
                <a:gd name="T48" fmla="*/ 2147483647 w 46"/>
                <a:gd name="T49" fmla="*/ 2147483647 h 38"/>
                <a:gd name="T50" fmla="*/ 2147483647 w 46"/>
                <a:gd name="T51" fmla="*/ 2147483647 h 38"/>
                <a:gd name="T52" fmla="*/ 2147483647 w 46"/>
                <a:gd name="T53" fmla="*/ 2147483647 h 38"/>
                <a:gd name="T54" fmla="*/ 2147483647 w 46"/>
                <a:gd name="T55" fmla="*/ 2147483647 h 38"/>
                <a:gd name="T56" fmla="*/ 2147483647 w 46"/>
                <a:gd name="T57" fmla="*/ 2147483647 h 38"/>
                <a:gd name="T58" fmla="*/ 2147483647 w 46"/>
                <a:gd name="T59" fmla="*/ 2147483647 h 38"/>
                <a:gd name="T60" fmla="*/ 2147483647 w 46"/>
                <a:gd name="T61" fmla="*/ 2147483647 h 38"/>
                <a:gd name="T62" fmla="*/ 2147483647 w 46"/>
                <a:gd name="T63" fmla="*/ 2147483647 h 38"/>
                <a:gd name="T64" fmla="*/ 2147483647 w 46"/>
                <a:gd name="T65" fmla="*/ 2147483647 h 38"/>
                <a:gd name="T66" fmla="*/ 2147483647 w 46"/>
                <a:gd name="T67" fmla="*/ 2147483647 h 38"/>
                <a:gd name="T68" fmla="*/ 2147483647 w 46"/>
                <a:gd name="T69" fmla="*/ 2147483647 h 38"/>
                <a:gd name="T70" fmla="*/ 2147483647 w 46"/>
                <a:gd name="T71" fmla="*/ 2147483647 h 38"/>
                <a:gd name="T72" fmla="*/ 2147483647 w 46"/>
                <a:gd name="T73" fmla="*/ 2147483647 h 38"/>
                <a:gd name="T74" fmla="*/ 2147483647 w 46"/>
                <a:gd name="T75" fmla="*/ 2147483647 h 38"/>
                <a:gd name="T76" fmla="*/ 2147483647 w 46"/>
                <a:gd name="T77" fmla="*/ 2147483647 h 38"/>
                <a:gd name="T78" fmla="*/ 2147483647 w 46"/>
                <a:gd name="T79" fmla="*/ 2147483647 h 38"/>
                <a:gd name="T80" fmla="*/ 2147483647 w 46"/>
                <a:gd name="T81" fmla="*/ 2147483647 h 38"/>
                <a:gd name="T82" fmla="*/ 2147483647 w 46"/>
                <a:gd name="T83" fmla="*/ 2147483647 h 38"/>
                <a:gd name="T84" fmla="*/ 2147483647 w 46"/>
                <a:gd name="T85" fmla="*/ 2147483647 h 38"/>
                <a:gd name="T86" fmla="*/ 2147483647 w 46"/>
                <a:gd name="T87" fmla="*/ 2147483647 h 38"/>
                <a:gd name="T88" fmla="*/ 2147483647 w 46"/>
                <a:gd name="T89" fmla="*/ 2147483647 h 38"/>
                <a:gd name="T90" fmla="*/ 2147483647 w 46"/>
                <a:gd name="T91" fmla="*/ 2147483647 h 38"/>
                <a:gd name="T92" fmla="*/ 2147483647 w 46"/>
                <a:gd name="T93" fmla="*/ 2147483647 h 38"/>
                <a:gd name="T94" fmla="*/ 2147483647 w 46"/>
                <a:gd name="T95" fmla="*/ 2147483647 h 38"/>
                <a:gd name="T96" fmla="*/ 2147483647 w 46"/>
                <a:gd name="T97" fmla="*/ 2147483647 h 38"/>
                <a:gd name="T98" fmla="*/ 2147483647 w 46"/>
                <a:gd name="T99" fmla="*/ 2147483647 h 38"/>
                <a:gd name="T100" fmla="*/ 2147483647 w 46"/>
                <a:gd name="T101" fmla="*/ 2147483647 h 38"/>
                <a:gd name="T102" fmla="*/ 2147483647 w 46"/>
                <a:gd name="T103" fmla="*/ 2147483647 h 38"/>
                <a:gd name="T104" fmla="*/ 2147483647 w 46"/>
                <a:gd name="T105" fmla="*/ 2147483647 h 38"/>
                <a:gd name="T106" fmla="*/ 2147483647 w 46"/>
                <a:gd name="T107" fmla="*/ 2147483647 h 38"/>
                <a:gd name="T108" fmla="*/ 2147483647 w 46"/>
                <a:gd name="T109" fmla="*/ 2147483647 h 38"/>
                <a:gd name="T110" fmla="*/ 2147483647 w 46"/>
                <a:gd name="T111" fmla="*/ 2147483647 h 38"/>
                <a:gd name="T112" fmla="*/ 2147483647 w 46"/>
                <a:gd name="T113" fmla="*/ 2147483647 h 38"/>
                <a:gd name="T114" fmla="*/ 2147483647 w 46"/>
                <a:gd name="T115" fmla="*/ 2147483647 h 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6"/>
                <a:gd name="T175" fmla="*/ 0 h 38"/>
                <a:gd name="T176" fmla="*/ 46 w 46"/>
                <a:gd name="T177" fmla="*/ 38 h 3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6" h="38">
                  <a:moveTo>
                    <a:pt x="44" y="4"/>
                  </a:moveTo>
                  <a:lnTo>
                    <a:pt x="44" y="4"/>
                  </a:lnTo>
                  <a:lnTo>
                    <a:pt x="44" y="6"/>
                  </a:lnTo>
                  <a:lnTo>
                    <a:pt x="44" y="2"/>
                  </a:lnTo>
                  <a:lnTo>
                    <a:pt x="34" y="0"/>
                  </a:lnTo>
                  <a:lnTo>
                    <a:pt x="30" y="0"/>
                  </a:lnTo>
                  <a:lnTo>
                    <a:pt x="24" y="0"/>
                  </a:lnTo>
                  <a:lnTo>
                    <a:pt x="22" y="6"/>
                  </a:lnTo>
                  <a:lnTo>
                    <a:pt x="20" y="6"/>
                  </a:lnTo>
                  <a:lnTo>
                    <a:pt x="16" y="6"/>
                  </a:lnTo>
                  <a:lnTo>
                    <a:pt x="12" y="10"/>
                  </a:lnTo>
                  <a:lnTo>
                    <a:pt x="12" y="18"/>
                  </a:lnTo>
                  <a:lnTo>
                    <a:pt x="10" y="30"/>
                  </a:lnTo>
                  <a:lnTo>
                    <a:pt x="0" y="30"/>
                  </a:lnTo>
                  <a:lnTo>
                    <a:pt x="0" y="32"/>
                  </a:lnTo>
                  <a:lnTo>
                    <a:pt x="2" y="34"/>
                  </a:lnTo>
                  <a:lnTo>
                    <a:pt x="6" y="36"/>
                  </a:lnTo>
                  <a:lnTo>
                    <a:pt x="10" y="34"/>
                  </a:lnTo>
                  <a:lnTo>
                    <a:pt x="14" y="34"/>
                  </a:lnTo>
                  <a:lnTo>
                    <a:pt x="18" y="34"/>
                  </a:lnTo>
                  <a:lnTo>
                    <a:pt x="20" y="36"/>
                  </a:lnTo>
                  <a:lnTo>
                    <a:pt x="22" y="38"/>
                  </a:lnTo>
                  <a:lnTo>
                    <a:pt x="24" y="38"/>
                  </a:lnTo>
                  <a:lnTo>
                    <a:pt x="28" y="26"/>
                  </a:lnTo>
                  <a:lnTo>
                    <a:pt x="30" y="22"/>
                  </a:lnTo>
                  <a:lnTo>
                    <a:pt x="34" y="24"/>
                  </a:lnTo>
                  <a:lnTo>
                    <a:pt x="36" y="24"/>
                  </a:lnTo>
                  <a:lnTo>
                    <a:pt x="38" y="22"/>
                  </a:lnTo>
                  <a:lnTo>
                    <a:pt x="40" y="20"/>
                  </a:lnTo>
                  <a:lnTo>
                    <a:pt x="42" y="20"/>
                  </a:lnTo>
                  <a:lnTo>
                    <a:pt x="44" y="18"/>
                  </a:lnTo>
                  <a:lnTo>
                    <a:pt x="42" y="14"/>
                  </a:lnTo>
                  <a:lnTo>
                    <a:pt x="44" y="14"/>
                  </a:lnTo>
                  <a:lnTo>
                    <a:pt x="46" y="12"/>
                  </a:lnTo>
                  <a:lnTo>
                    <a:pt x="46" y="10"/>
                  </a:lnTo>
                  <a:lnTo>
                    <a:pt x="44"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3" name="Freeform 575">
              <a:extLst>
                <a:ext uri="{FF2B5EF4-FFF2-40B4-BE49-F238E27FC236}">
                  <a16:creationId xmlns:a16="http://schemas.microsoft.com/office/drawing/2014/main" id="{8B1C6198-B3BE-40B7-B3F6-607F512E62DA}"/>
                </a:ext>
              </a:extLst>
            </p:cNvPr>
            <p:cNvSpPr>
              <a:spLocks/>
            </p:cNvSpPr>
            <p:nvPr/>
          </p:nvSpPr>
          <p:spPr bwMode="gray">
            <a:xfrm>
              <a:off x="6062333" y="3497818"/>
              <a:ext cx="174209" cy="103588"/>
            </a:xfrm>
            <a:custGeom>
              <a:avLst/>
              <a:gdLst>
                <a:gd name="T0" fmla="*/ 2147483647 w 94"/>
                <a:gd name="T1" fmla="*/ 2147483647 h 56"/>
                <a:gd name="T2" fmla="*/ 2147483647 w 94"/>
                <a:gd name="T3" fmla="*/ 2147483647 h 56"/>
                <a:gd name="T4" fmla="*/ 2147483647 w 94"/>
                <a:gd name="T5" fmla="*/ 2147483647 h 56"/>
                <a:gd name="T6" fmla="*/ 2147483647 w 94"/>
                <a:gd name="T7" fmla="*/ 2147483647 h 56"/>
                <a:gd name="T8" fmla="*/ 2147483647 w 94"/>
                <a:gd name="T9" fmla="*/ 2147483647 h 56"/>
                <a:gd name="T10" fmla="*/ 2147483647 w 94"/>
                <a:gd name="T11" fmla="*/ 2147483647 h 56"/>
                <a:gd name="T12" fmla="*/ 2147483647 w 94"/>
                <a:gd name="T13" fmla="*/ 2147483647 h 56"/>
                <a:gd name="T14" fmla="*/ 2147483647 w 94"/>
                <a:gd name="T15" fmla="*/ 2147483647 h 56"/>
                <a:gd name="T16" fmla="*/ 2147483647 w 94"/>
                <a:gd name="T17" fmla="*/ 2147483647 h 56"/>
                <a:gd name="T18" fmla="*/ 2147483647 w 94"/>
                <a:gd name="T19" fmla="*/ 2147483647 h 56"/>
                <a:gd name="T20" fmla="*/ 2147483647 w 94"/>
                <a:gd name="T21" fmla="*/ 2147483647 h 56"/>
                <a:gd name="T22" fmla="*/ 2147483647 w 94"/>
                <a:gd name="T23" fmla="*/ 2147483647 h 56"/>
                <a:gd name="T24" fmla="*/ 2147483647 w 94"/>
                <a:gd name="T25" fmla="*/ 2147483647 h 56"/>
                <a:gd name="T26" fmla="*/ 2147483647 w 94"/>
                <a:gd name="T27" fmla="*/ 2147483647 h 56"/>
                <a:gd name="T28" fmla="*/ 2147483647 w 94"/>
                <a:gd name="T29" fmla="*/ 2147483647 h 56"/>
                <a:gd name="T30" fmla="*/ 2147483647 w 94"/>
                <a:gd name="T31" fmla="*/ 0 h 56"/>
                <a:gd name="T32" fmla="*/ 2147483647 w 94"/>
                <a:gd name="T33" fmla="*/ 2147483647 h 56"/>
                <a:gd name="T34" fmla="*/ 2147483647 w 94"/>
                <a:gd name="T35" fmla="*/ 2147483647 h 56"/>
                <a:gd name="T36" fmla="*/ 0 w 94"/>
                <a:gd name="T37" fmla="*/ 2147483647 h 56"/>
                <a:gd name="T38" fmla="*/ 2147483647 w 94"/>
                <a:gd name="T39" fmla="*/ 2147483647 h 56"/>
                <a:gd name="T40" fmla="*/ 2147483647 w 94"/>
                <a:gd name="T41" fmla="*/ 2147483647 h 56"/>
                <a:gd name="T42" fmla="*/ 2147483647 w 94"/>
                <a:gd name="T43" fmla="*/ 2147483647 h 56"/>
                <a:gd name="T44" fmla="*/ 2147483647 w 94"/>
                <a:gd name="T45" fmla="*/ 2147483647 h 56"/>
                <a:gd name="T46" fmla="*/ 2147483647 w 94"/>
                <a:gd name="T47" fmla="*/ 2147483647 h 56"/>
                <a:gd name="T48" fmla="*/ 2147483647 w 94"/>
                <a:gd name="T49" fmla="*/ 2147483647 h 56"/>
                <a:gd name="T50" fmla="*/ 2147483647 w 94"/>
                <a:gd name="T51" fmla="*/ 2147483647 h 56"/>
                <a:gd name="T52" fmla="*/ 2147483647 w 94"/>
                <a:gd name="T53" fmla="*/ 2147483647 h 56"/>
                <a:gd name="T54" fmla="*/ 2147483647 w 94"/>
                <a:gd name="T55" fmla="*/ 2147483647 h 56"/>
                <a:gd name="T56" fmla="*/ 2147483647 w 94"/>
                <a:gd name="T57" fmla="*/ 2147483647 h 56"/>
                <a:gd name="T58" fmla="*/ 2147483647 w 94"/>
                <a:gd name="T59" fmla="*/ 2147483647 h 56"/>
                <a:gd name="T60" fmla="*/ 2147483647 w 94"/>
                <a:gd name="T61" fmla="*/ 2147483647 h 56"/>
                <a:gd name="T62" fmla="*/ 2147483647 w 94"/>
                <a:gd name="T63" fmla="*/ 2147483647 h 56"/>
                <a:gd name="T64" fmla="*/ 2147483647 w 94"/>
                <a:gd name="T65" fmla="*/ 2147483647 h 56"/>
                <a:gd name="T66" fmla="*/ 2147483647 w 94"/>
                <a:gd name="T67" fmla="*/ 2147483647 h 56"/>
                <a:gd name="T68" fmla="*/ 2147483647 w 94"/>
                <a:gd name="T69" fmla="*/ 2147483647 h 56"/>
                <a:gd name="T70" fmla="*/ 2147483647 w 94"/>
                <a:gd name="T71" fmla="*/ 2147483647 h 56"/>
                <a:gd name="T72" fmla="*/ 2147483647 w 94"/>
                <a:gd name="T73" fmla="*/ 2147483647 h 56"/>
                <a:gd name="T74" fmla="*/ 2147483647 w 94"/>
                <a:gd name="T75" fmla="*/ 2147483647 h 56"/>
                <a:gd name="T76" fmla="*/ 2147483647 w 94"/>
                <a:gd name="T77" fmla="*/ 2147483647 h 56"/>
                <a:gd name="T78" fmla="*/ 2147483647 w 94"/>
                <a:gd name="T79" fmla="*/ 2147483647 h 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4"/>
                <a:gd name="T121" fmla="*/ 0 h 56"/>
                <a:gd name="T122" fmla="*/ 94 w 94"/>
                <a:gd name="T123" fmla="*/ 56 h 5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4" h="56">
                  <a:moveTo>
                    <a:pt x="92" y="36"/>
                  </a:moveTo>
                  <a:lnTo>
                    <a:pt x="84" y="34"/>
                  </a:lnTo>
                  <a:lnTo>
                    <a:pt x="74" y="34"/>
                  </a:lnTo>
                  <a:lnTo>
                    <a:pt x="68" y="30"/>
                  </a:lnTo>
                  <a:lnTo>
                    <a:pt x="64" y="30"/>
                  </a:lnTo>
                  <a:lnTo>
                    <a:pt x="60" y="26"/>
                  </a:lnTo>
                  <a:lnTo>
                    <a:pt x="56" y="20"/>
                  </a:lnTo>
                  <a:lnTo>
                    <a:pt x="50" y="18"/>
                  </a:lnTo>
                  <a:lnTo>
                    <a:pt x="50" y="12"/>
                  </a:lnTo>
                  <a:lnTo>
                    <a:pt x="46" y="10"/>
                  </a:lnTo>
                  <a:lnTo>
                    <a:pt x="40" y="10"/>
                  </a:lnTo>
                  <a:lnTo>
                    <a:pt x="34" y="10"/>
                  </a:lnTo>
                  <a:lnTo>
                    <a:pt x="30" y="2"/>
                  </a:lnTo>
                  <a:lnTo>
                    <a:pt x="26" y="2"/>
                  </a:lnTo>
                  <a:lnTo>
                    <a:pt x="18" y="2"/>
                  </a:lnTo>
                  <a:lnTo>
                    <a:pt x="14" y="0"/>
                  </a:lnTo>
                  <a:lnTo>
                    <a:pt x="12" y="2"/>
                  </a:lnTo>
                  <a:lnTo>
                    <a:pt x="4" y="6"/>
                  </a:lnTo>
                  <a:lnTo>
                    <a:pt x="0" y="14"/>
                  </a:lnTo>
                  <a:lnTo>
                    <a:pt x="2" y="20"/>
                  </a:lnTo>
                  <a:lnTo>
                    <a:pt x="8" y="22"/>
                  </a:lnTo>
                  <a:lnTo>
                    <a:pt x="10" y="28"/>
                  </a:lnTo>
                  <a:lnTo>
                    <a:pt x="16" y="30"/>
                  </a:lnTo>
                  <a:lnTo>
                    <a:pt x="22" y="32"/>
                  </a:lnTo>
                  <a:lnTo>
                    <a:pt x="30" y="36"/>
                  </a:lnTo>
                  <a:lnTo>
                    <a:pt x="36" y="36"/>
                  </a:lnTo>
                  <a:lnTo>
                    <a:pt x="42" y="40"/>
                  </a:lnTo>
                  <a:lnTo>
                    <a:pt x="44" y="44"/>
                  </a:lnTo>
                  <a:lnTo>
                    <a:pt x="50" y="44"/>
                  </a:lnTo>
                  <a:lnTo>
                    <a:pt x="54" y="50"/>
                  </a:lnTo>
                  <a:lnTo>
                    <a:pt x="64" y="50"/>
                  </a:lnTo>
                  <a:lnTo>
                    <a:pt x="74" y="54"/>
                  </a:lnTo>
                  <a:lnTo>
                    <a:pt x="80" y="56"/>
                  </a:lnTo>
                  <a:lnTo>
                    <a:pt x="86" y="56"/>
                  </a:lnTo>
                  <a:lnTo>
                    <a:pt x="90" y="56"/>
                  </a:lnTo>
                  <a:lnTo>
                    <a:pt x="92" y="52"/>
                  </a:lnTo>
                  <a:lnTo>
                    <a:pt x="94" y="50"/>
                  </a:lnTo>
                  <a:lnTo>
                    <a:pt x="90" y="46"/>
                  </a:lnTo>
                  <a:lnTo>
                    <a:pt x="92" y="42"/>
                  </a:lnTo>
                  <a:lnTo>
                    <a:pt x="92" y="3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4" name="Freeform 576">
              <a:extLst>
                <a:ext uri="{FF2B5EF4-FFF2-40B4-BE49-F238E27FC236}">
                  <a16:creationId xmlns:a16="http://schemas.microsoft.com/office/drawing/2014/main" id="{FD2F7AF1-82EA-4DE0-B6B6-C3810E493C58}"/>
                </a:ext>
              </a:extLst>
            </p:cNvPr>
            <p:cNvSpPr>
              <a:spLocks noEditPoints="1"/>
            </p:cNvSpPr>
            <p:nvPr/>
          </p:nvSpPr>
          <p:spPr bwMode="gray">
            <a:xfrm>
              <a:off x="4623927" y="4736174"/>
              <a:ext cx="289563" cy="322537"/>
            </a:xfrm>
            <a:custGeom>
              <a:avLst/>
              <a:gdLst>
                <a:gd name="T0" fmla="*/ 2147483647 w 156"/>
                <a:gd name="T1" fmla="*/ 2147483647 h 174"/>
                <a:gd name="T2" fmla="*/ 2147483647 w 156"/>
                <a:gd name="T3" fmla="*/ 2147483647 h 174"/>
                <a:gd name="T4" fmla="*/ 2147483647 w 156"/>
                <a:gd name="T5" fmla="*/ 2147483647 h 174"/>
                <a:gd name="T6" fmla="*/ 2147483647 w 156"/>
                <a:gd name="T7" fmla="*/ 2147483647 h 174"/>
                <a:gd name="T8" fmla="*/ 2147483647 w 156"/>
                <a:gd name="T9" fmla="*/ 2147483647 h 174"/>
                <a:gd name="T10" fmla="*/ 2147483647 w 156"/>
                <a:gd name="T11" fmla="*/ 2147483647 h 174"/>
                <a:gd name="T12" fmla="*/ 2147483647 w 156"/>
                <a:gd name="T13" fmla="*/ 2147483647 h 174"/>
                <a:gd name="T14" fmla="*/ 2147483647 w 156"/>
                <a:gd name="T15" fmla="*/ 2147483647 h 174"/>
                <a:gd name="T16" fmla="*/ 2147483647 w 156"/>
                <a:gd name="T17" fmla="*/ 2147483647 h 174"/>
                <a:gd name="T18" fmla="*/ 2147483647 w 156"/>
                <a:gd name="T19" fmla="*/ 2147483647 h 174"/>
                <a:gd name="T20" fmla="*/ 2147483647 w 156"/>
                <a:gd name="T21" fmla="*/ 2147483647 h 174"/>
                <a:gd name="T22" fmla="*/ 2147483647 w 156"/>
                <a:gd name="T23" fmla="*/ 2147483647 h 174"/>
                <a:gd name="T24" fmla="*/ 2147483647 w 156"/>
                <a:gd name="T25" fmla="*/ 2147483647 h 174"/>
                <a:gd name="T26" fmla="*/ 2147483647 w 156"/>
                <a:gd name="T27" fmla="*/ 2147483647 h 174"/>
                <a:gd name="T28" fmla="*/ 2147483647 w 156"/>
                <a:gd name="T29" fmla="*/ 2147483647 h 174"/>
                <a:gd name="T30" fmla="*/ 2147483647 w 156"/>
                <a:gd name="T31" fmla="*/ 2147483647 h 174"/>
                <a:gd name="T32" fmla="*/ 2147483647 w 156"/>
                <a:gd name="T33" fmla="*/ 2147483647 h 174"/>
                <a:gd name="T34" fmla="*/ 2147483647 w 156"/>
                <a:gd name="T35" fmla="*/ 2147483647 h 174"/>
                <a:gd name="T36" fmla="*/ 2147483647 w 156"/>
                <a:gd name="T37" fmla="*/ 2147483647 h 174"/>
                <a:gd name="T38" fmla="*/ 2147483647 w 156"/>
                <a:gd name="T39" fmla="*/ 2147483647 h 174"/>
                <a:gd name="T40" fmla="*/ 2147483647 w 156"/>
                <a:gd name="T41" fmla="*/ 2147483647 h 174"/>
                <a:gd name="T42" fmla="*/ 2147483647 w 156"/>
                <a:gd name="T43" fmla="*/ 2147483647 h 174"/>
                <a:gd name="T44" fmla="*/ 2147483647 w 156"/>
                <a:gd name="T45" fmla="*/ 2147483647 h 174"/>
                <a:gd name="T46" fmla="*/ 2147483647 w 156"/>
                <a:gd name="T47" fmla="*/ 2147483647 h 174"/>
                <a:gd name="T48" fmla="*/ 2147483647 w 156"/>
                <a:gd name="T49" fmla="*/ 2147483647 h 174"/>
                <a:gd name="T50" fmla="*/ 2147483647 w 156"/>
                <a:gd name="T51" fmla="*/ 2147483647 h 174"/>
                <a:gd name="T52" fmla="*/ 0 w 156"/>
                <a:gd name="T53" fmla="*/ 2147483647 h 174"/>
                <a:gd name="T54" fmla="*/ 2147483647 w 156"/>
                <a:gd name="T55" fmla="*/ 2147483647 h 174"/>
                <a:gd name="T56" fmla="*/ 2147483647 w 156"/>
                <a:gd name="T57" fmla="*/ 2147483647 h 174"/>
                <a:gd name="T58" fmla="*/ 2147483647 w 156"/>
                <a:gd name="T59" fmla="*/ 2147483647 h 174"/>
                <a:gd name="T60" fmla="*/ 2147483647 w 156"/>
                <a:gd name="T61" fmla="*/ 2147483647 h 174"/>
                <a:gd name="T62" fmla="*/ 2147483647 w 156"/>
                <a:gd name="T63" fmla="*/ 2147483647 h 174"/>
                <a:gd name="T64" fmla="*/ 2147483647 w 156"/>
                <a:gd name="T65" fmla="*/ 2147483647 h 174"/>
                <a:gd name="T66" fmla="*/ 2147483647 w 156"/>
                <a:gd name="T67" fmla="*/ 2147483647 h 174"/>
                <a:gd name="T68" fmla="*/ 2147483647 w 156"/>
                <a:gd name="T69" fmla="*/ 2147483647 h 174"/>
                <a:gd name="T70" fmla="*/ 2147483647 w 156"/>
                <a:gd name="T71" fmla="*/ 2147483647 h 174"/>
                <a:gd name="T72" fmla="*/ 2147483647 w 156"/>
                <a:gd name="T73" fmla="*/ 2147483647 h 174"/>
                <a:gd name="T74" fmla="*/ 2147483647 w 156"/>
                <a:gd name="T75" fmla="*/ 2147483647 h 174"/>
                <a:gd name="T76" fmla="*/ 2147483647 w 156"/>
                <a:gd name="T77" fmla="*/ 2147483647 h 174"/>
                <a:gd name="T78" fmla="*/ 2147483647 w 156"/>
                <a:gd name="T79" fmla="*/ 2147483647 h 174"/>
                <a:gd name="T80" fmla="*/ 2147483647 w 156"/>
                <a:gd name="T81" fmla="*/ 2147483647 h 174"/>
                <a:gd name="T82" fmla="*/ 2147483647 w 156"/>
                <a:gd name="T83" fmla="*/ 2147483647 h 174"/>
                <a:gd name="T84" fmla="*/ 2147483647 w 156"/>
                <a:gd name="T85" fmla="*/ 2147483647 h 1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6"/>
                <a:gd name="T130" fmla="*/ 0 h 174"/>
                <a:gd name="T131" fmla="*/ 156 w 156"/>
                <a:gd name="T132" fmla="*/ 174 h 1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6" h="174">
                  <a:moveTo>
                    <a:pt x="56" y="174"/>
                  </a:moveTo>
                  <a:lnTo>
                    <a:pt x="56" y="174"/>
                  </a:lnTo>
                  <a:lnTo>
                    <a:pt x="62" y="166"/>
                  </a:lnTo>
                  <a:lnTo>
                    <a:pt x="64" y="166"/>
                  </a:lnTo>
                  <a:lnTo>
                    <a:pt x="68" y="166"/>
                  </a:lnTo>
                  <a:lnTo>
                    <a:pt x="68" y="170"/>
                  </a:lnTo>
                  <a:lnTo>
                    <a:pt x="70" y="172"/>
                  </a:lnTo>
                  <a:lnTo>
                    <a:pt x="74" y="174"/>
                  </a:lnTo>
                  <a:lnTo>
                    <a:pt x="78" y="174"/>
                  </a:lnTo>
                  <a:lnTo>
                    <a:pt x="80" y="174"/>
                  </a:lnTo>
                  <a:lnTo>
                    <a:pt x="84" y="172"/>
                  </a:lnTo>
                  <a:lnTo>
                    <a:pt x="86" y="168"/>
                  </a:lnTo>
                  <a:lnTo>
                    <a:pt x="86" y="166"/>
                  </a:lnTo>
                  <a:lnTo>
                    <a:pt x="90" y="166"/>
                  </a:lnTo>
                  <a:lnTo>
                    <a:pt x="92" y="166"/>
                  </a:lnTo>
                  <a:lnTo>
                    <a:pt x="92" y="122"/>
                  </a:lnTo>
                  <a:lnTo>
                    <a:pt x="94" y="70"/>
                  </a:lnTo>
                  <a:lnTo>
                    <a:pt x="106" y="70"/>
                  </a:lnTo>
                  <a:lnTo>
                    <a:pt x="106" y="24"/>
                  </a:lnTo>
                  <a:lnTo>
                    <a:pt x="114" y="24"/>
                  </a:lnTo>
                  <a:lnTo>
                    <a:pt x="140" y="20"/>
                  </a:lnTo>
                  <a:lnTo>
                    <a:pt x="142" y="22"/>
                  </a:lnTo>
                  <a:lnTo>
                    <a:pt x="144" y="20"/>
                  </a:lnTo>
                  <a:lnTo>
                    <a:pt x="144" y="18"/>
                  </a:lnTo>
                  <a:lnTo>
                    <a:pt x="146" y="18"/>
                  </a:lnTo>
                  <a:lnTo>
                    <a:pt x="148" y="18"/>
                  </a:lnTo>
                  <a:lnTo>
                    <a:pt x="150" y="20"/>
                  </a:lnTo>
                  <a:lnTo>
                    <a:pt x="150" y="18"/>
                  </a:lnTo>
                  <a:lnTo>
                    <a:pt x="152" y="16"/>
                  </a:lnTo>
                  <a:lnTo>
                    <a:pt x="154" y="14"/>
                  </a:lnTo>
                  <a:lnTo>
                    <a:pt x="156" y="14"/>
                  </a:lnTo>
                  <a:lnTo>
                    <a:pt x="154" y="14"/>
                  </a:lnTo>
                  <a:lnTo>
                    <a:pt x="152" y="12"/>
                  </a:lnTo>
                  <a:lnTo>
                    <a:pt x="150" y="10"/>
                  </a:lnTo>
                  <a:lnTo>
                    <a:pt x="148" y="10"/>
                  </a:lnTo>
                  <a:lnTo>
                    <a:pt x="134" y="12"/>
                  </a:lnTo>
                  <a:lnTo>
                    <a:pt x="108" y="16"/>
                  </a:lnTo>
                  <a:lnTo>
                    <a:pt x="106" y="16"/>
                  </a:lnTo>
                  <a:lnTo>
                    <a:pt x="100" y="14"/>
                  </a:lnTo>
                  <a:lnTo>
                    <a:pt x="98" y="14"/>
                  </a:lnTo>
                  <a:lnTo>
                    <a:pt x="96" y="14"/>
                  </a:lnTo>
                  <a:lnTo>
                    <a:pt x="94" y="14"/>
                  </a:lnTo>
                  <a:lnTo>
                    <a:pt x="92" y="14"/>
                  </a:lnTo>
                  <a:lnTo>
                    <a:pt x="90" y="12"/>
                  </a:lnTo>
                  <a:lnTo>
                    <a:pt x="86" y="12"/>
                  </a:lnTo>
                  <a:lnTo>
                    <a:pt x="84" y="12"/>
                  </a:lnTo>
                  <a:lnTo>
                    <a:pt x="82" y="10"/>
                  </a:lnTo>
                  <a:lnTo>
                    <a:pt x="78" y="8"/>
                  </a:lnTo>
                  <a:lnTo>
                    <a:pt x="76" y="6"/>
                  </a:lnTo>
                  <a:lnTo>
                    <a:pt x="26" y="4"/>
                  </a:lnTo>
                  <a:lnTo>
                    <a:pt x="24" y="2"/>
                  </a:lnTo>
                  <a:lnTo>
                    <a:pt x="20" y="0"/>
                  </a:lnTo>
                  <a:lnTo>
                    <a:pt x="18" y="2"/>
                  </a:lnTo>
                  <a:lnTo>
                    <a:pt x="16" y="4"/>
                  </a:lnTo>
                  <a:lnTo>
                    <a:pt x="14" y="4"/>
                  </a:lnTo>
                  <a:lnTo>
                    <a:pt x="6" y="4"/>
                  </a:lnTo>
                  <a:lnTo>
                    <a:pt x="0" y="6"/>
                  </a:lnTo>
                  <a:lnTo>
                    <a:pt x="2" y="22"/>
                  </a:lnTo>
                  <a:lnTo>
                    <a:pt x="6" y="22"/>
                  </a:lnTo>
                  <a:lnTo>
                    <a:pt x="16" y="34"/>
                  </a:lnTo>
                  <a:lnTo>
                    <a:pt x="18" y="40"/>
                  </a:lnTo>
                  <a:lnTo>
                    <a:pt x="18" y="44"/>
                  </a:lnTo>
                  <a:lnTo>
                    <a:pt x="18" y="48"/>
                  </a:lnTo>
                  <a:lnTo>
                    <a:pt x="18" y="54"/>
                  </a:lnTo>
                  <a:lnTo>
                    <a:pt x="22" y="58"/>
                  </a:lnTo>
                  <a:lnTo>
                    <a:pt x="28" y="64"/>
                  </a:lnTo>
                  <a:lnTo>
                    <a:pt x="26" y="68"/>
                  </a:lnTo>
                  <a:lnTo>
                    <a:pt x="28" y="72"/>
                  </a:lnTo>
                  <a:lnTo>
                    <a:pt x="30" y="76"/>
                  </a:lnTo>
                  <a:lnTo>
                    <a:pt x="34" y="80"/>
                  </a:lnTo>
                  <a:lnTo>
                    <a:pt x="34" y="84"/>
                  </a:lnTo>
                  <a:lnTo>
                    <a:pt x="34" y="90"/>
                  </a:lnTo>
                  <a:lnTo>
                    <a:pt x="32" y="100"/>
                  </a:lnTo>
                  <a:lnTo>
                    <a:pt x="38" y="114"/>
                  </a:lnTo>
                  <a:lnTo>
                    <a:pt x="38" y="126"/>
                  </a:lnTo>
                  <a:lnTo>
                    <a:pt x="38" y="134"/>
                  </a:lnTo>
                  <a:lnTo>
                    <a:pt x="38" y="144"/>
                  </a:lnTo>
                  <a:lnTo>
                    <a:pt x="40" y="154"/>
                  </a:lnTo>
                  <a:lnTo>
                    <a:pt x="44" y="160"/>
                  </a:lnTo>
                  <a:lnTo>
                    <a:pt x="48" y="166"/>
                  </a:lnTo>
                  <a:lnTo>
                    <a:pt x="50" y="166"/>
                  </a:lnTo>
                  <a:lnTo>
                    <a:pt x="54" y="166"/>
                  </a:lnTo>
                  <a:lnTo>
                    <a:pt x="54" y="170"/>
                  </a:lnTo>
                  <a:lnTo>
                    <a:pt x="54" y="174"/>
                  </a:lnTo>
                  <a:lnTo>
                    <a:pt x="56" y="174"/>
                  </a:lnTo>
                  <a:close/>
                  <a:moveTo>
                    <a:pt x="36" y="42"/>
                  </a:moveTo>
                  <a:lnTo>
                    <a:pt x="36" y="42"/>
                  </a:lnTo>
                  <a:lnTo>
                    <a:pt x="36" y="44"/>
                  </a:lnTo>
                  <a:lnTo>
                    <a:pt x="34" y="44"/>
                  </a:lnTo>
                  <a:lnTo>
                    <a:pt x="34" y="42"/>
                  </a:lnTo>
                  <a:lnTo>
                    <a:pt x="36" y="4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5" name="Freeform 577">
              <a:extLst>
                <a:ext uri="{FF2B5EF4-FFF2-40B4-BE49-F238E27FC236}">
                  <a16:creationId xmlns:a16="http://schemas.microsoft.com/office/drawing/2014/main" id="{AD46F532-F33C-478F-8A0F-1F120A208A41}"/>
                </a:ext>
              </a:extLst>
            </p:cNvPr>
            <p:cNvSpPr>
              <a:spLocks/>
            </p:cNvSpPr>
            <p:nvPr/>
          </p:nvSpPr>
          <p:spPr bwMode="gray">
            <a:xfrm>
              <a:off x="5367850" y="3191763"/>
              <a:ext cx="21188" cy="25897"/>
            </a:xfrm>
            <a:custGeom>
              <a:avLst/>
              <a:gdLst>
                <a:gd name="T0" fmla="*/ 2147483647 w 12"/>
                <a:gd name="T1" fmla="*/ 2147483647 h 14"/>
                <a:gd name="T2" fmla="*/ 2147483647 w 12"/>
                <a:gd name="T3" fmla="*/ 2147483647 h 14"/>
                <a:gd name="T4" fmla="*/ 2147483647 w 12"/>
                <a:gd name="T5" fmla="*/ 2147483647 h 14"/>
                <a:gd name="T6" fmla="*/ 0 w 12"/>
                <a:gd name="T7" fmla="*/ 2147483647 h 14"/>
                <a:gd name="T8" fmla="*/ 0 w 12"/>
                <a:gd name="T9" fmla="*/ 2147483647 h 14"/>
                <a:gd name="T10" fmla="*/ 2147483647 w 12"/>
                <a:gd name="T11" fmla="*/ 0 h 14"/>
                <a:gd name="T12" fmla="*/ 2147483647 w 12"/>
                <a:gd name="T13" fmla="*/ 2147483647 h 14"/>
                <a:gd name="T14" fmla="*/ 2147483647 w 12"/>
                <a:gd name="T15" fmla="*/ 2147483647 h 14"/>
                <a:gd name="T16" fmla="*/ 2147483647 w 12"/>
                <a:gd name="T17" fmla="*/ 2147483647 h 14"/>
                <a:gd name="T18" fmla="*/ 2147483647 w 12"/>
                <a:gd name="T19" fmla="*/ 2147483647 h 14"/>
                <a:gd name="T20" fmla="*/ 2147483647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4"/>
                <a:gd name="T50" fmla="*/ 12 w 12"/>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4">
                  <a:moveTo>
                    <a:pt x="8" y="14"/>
                  </a:moveTo>
                  <a:lnTo>
                    <a:pt x="8" y="14"/>
                  </a:lnTo>
                  <a:lnTo>
                    <a:pt x="4" y="8"/>
                  </a:lnTo>
                  <a:lnTo>
                    <a:pt x="0" y="4"/>
                  </a:lnTo>
                  <a:lnTo>
                    <a:pt x="0" y="2"/>
                  </a:lnTo>
                  <a:lnTo>
                    <a:pt x="6" y="0"/>
                  </a:lnTo>
                  <a:lnTo>
                    <a:pt x="8" y="4"/>
                  </a:lnTo>
                  <a:lnTo>
                    <a:pt x="6" y="4"/>
                  </a:lnTo>
                  <a:lnTo>
                    <a:pt x="6" y="8"/>
                  </a:lnTo>
                  <a:lnTo>
                    <a:pt x="10" y="8"/>
                  </a:lnTo>
                  <a:lnTo>
                    <a:pt x="12" y="12"/>
                  </a:lnTo>
                  <a:lnTo>
                    <a:pt x="10" y="14"/>
                  </a:lnTo>
                  <a:lnTo>
                    <a:pt x="8" y="1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6" name="Freeform 578">
              <a:extLst>
                <a:ext uri="{FF2B5EF4-FFF2-40B4-BE49-F238E27FC236}">
                  <a16:creationId xmlns:a16="http://schemas.microsoft.com/office/drawing/2014/main" id="{3FC40452-3D6A-4BB2-A7DE-39C0300DA21B}"/>
                </a:ext>
              </a:extLst>
            </p:cNvPr>
            <p:cNvSpPr>
              <a:spLocks/>
            </p:cNvSpPr>
            <p:nvPr/>
          </p:nvSpPr>
          <p:spPr bwMode="gray">
            <a:xfrm>
              <a:off x="5012366" y="4583145"/>
              <a:ext cx="214231" cy="411999"/>
            </a:xfrm>
            <a:custGeom>
              <a:avLst/>
              <a:gdLst>
                <a:gd name="T0" fmla="*/ 2147483647 w 116"/>
                <a:gd name="T1" fmla="*/ 2147483647 h 222"/>
                <a:gd name="T2" fmla="*/ 2147483647 w 116"/>
                <a:gd name="T3" fmla="*/ 2147483647 h 222"/>
                <a:gd name="T4" fmla="*/ 2147483647 w 116"/>
                <a:gd name="T5" fmla="*/ 2147483647 h 222"/>
                <a:gd name="T6" fmla="*/ 2147483647 w 116"/>
                <a:gd name="T7" fmla="*/ 2147483647 h 222"/>
                <a:gd name="T8" fmla="*/ 2147483647 w 116"/>
                <a:gd name="T9" fmla="*/ 2147483647 h 222"/>
                <a:gd name="T10" fmla="*/ 2147483647 w 116"/>
                <a:gd name="T11" fmla="*/ 2147483647 h 222"/>
                <a:gd name="T12" fmla="*/ 2147483647 w 116"/>
                <a:gd name="T13" fmla="*/ 2147483647 h 222"/>
                <a:gd name="T14" fmla="*/ 2147483647 w 116"/>
                <a:gd name="T15" fmla="*/ 2147483647 h 222"/>
                <a:gd name="T16" fmla="*/ 2147483647 w 116"/>
                <a:gd name="T17" fmla="*/ 2147483647 h 222"/>
                <a:gd name="T18" fmla="*/ 2147483647 w 116"/>
                <a:gd name="T19" fmla="*/ 2147483647 h 222"/>
                <a:gd name="T20" fmla="*/ 2147483647 w 116"/>
                <a:gd name="T21" fmla="*/ 2147483647 h 222"/>
                <a:gd name="T22" fmla="*/ 2147483647 w 116"/>
                <a:gd name="T23" fmla="*/ 2147483647 h 222"/>
                <a:gd name="T24" fmla="*/ 0 w 116"/>
                <a:gd name="T25" fmla="*/ 2147483647 h 222"/>
                <a:gd name="T26" fmla="*/ 2147483647 w 116"/>
                <a:gd name="T27" fmla="*/ 2147483647 h 222"/>
                <a:gd name="T28" fmla="*/ 2147483647 w 116"/>
                <a:gd name="T29" fmla="*/ 2147483647 h 222"/>
                <a:gd name="T30" fmla="*/ 2147483647 w 116"/>
                <a:gd name="T31" fmla="*/ 2147483647 h 222"/>
                <a:gd name="T32" fmla="*/ 2147483647 w 116"/>
                <a:gd name="T33" fmla="*/ 2147483647 h 222"/>
                <a:gd name="T34" fmla="*/ 2147483647 w 116"/>
                <a:gd name="T35" fmla="*/ 2147483647 h 222"/>
                <a:gd name="T36" fmla="*/ 2147483647 w 116"/>
                <a:gd name="T37" fmla="*/ 2147483647 h 222"/>
                <a:gd name="T38" fmla="*/ 2147483647 w 116"/>
                <a:gd name="T39" fmla="*/ 2147483647 h 222"/>
                <a:gd name="T40" fmla="*/ 2147483647 w 116"/>
                <a:gd name="T41" fmla="*/ 2147483647 h 222"/>
                <a:gd name="T42" fmla="*/ 2147483647 w 116"/>
                <a:gd name="T43" fmla="*/ 2147483647 h 222"/>
                <a:gd name="T44" fmla="*/ 2147483647 w 116"/>
                <a:gd name="T45" fmla="*/ 2147483647 h 222"/>
                <a:gd name="T46" fmla="*/ 2147483647 w 116"/>
                <a:gd name="T47" fmla="*/ 2147483647 h 222"/>
                <a:gd name="T48" fmla="*/ 2147483647 w 116"/>
                <a:gd name="T49" fmla="*/ 2147483647 h 222"/>
                <a:gd name="T50" fmla="*/ 2147483647 w 116"/>
                <a:gd name="T51" fmla="*/ 2147483647 h 222"/>
                <a:gd name="T52" fmla="*/ 2147483647 w 116"/>
                <a:gd name="T53" fmla="*/ 2147483647 h 222"/>
                <a:gd name="T54" fmla="*/ 2147483647 w 116"/>
                <a:gd name="T55" fmla="*/ 2147483647 h 222"/>
                <a:gd name="T56" fmla="*/ 2147483647 w 116"/>
                <a:gd name="T57" fmla="*/ 2147483647 h 222"/>
                <a:gd name="T58" fmla="*/ 2147483647 w 116"/>
                <a:gd name="T59" fmla="*/ 2147483647 h 222"/>
                <a:gd name="T60" fmla="*/ 2147483647 w 116"/>
                <a:gd name="T61" fmla="*/ 2147483647 h 222"/>
                <a:gd name="T62" fmla="*/ 2147483647 w 116"/>
                <a:gd name="T63" fmla="*/ 2147483647 h 222"/>
                <a:gd name="T64" fmla="*/ 2147483647 w 116"/>
                <a:gd name="T65" fmla="*/ 2147483647 h 222"/>
                <a:gd name="T66" fmla="*/ 2147483647 w 116"/>
                <a:gd name="T67" fmla="*/ 2147483647 h 222"/>
                <a:gd name="T68" fmla="*/ 2147483647 w 116"/>
                <a:gd name="T69" fmla="*/ 2147483647 h 222"/>
                <a:gd name="T70" fmla="*/ 2147483647 w 116"/>
                <a:gd name="T71" fmla="*/ 2147483647 h 222"/>
                <a:gd name="T72" fmla="*/ 2147483647 w 116"/>
                <a:gd name="T73" fmla="*/ 2147483647 h 222"/>
                <a:gd name="T74" fmla="*/ 2147483647 w 116"/>
                <a:gd name="T75" fmla="*/ 2147483647 h 222"/>
                <a:gd name="T76" fmla="*/ 2147483647 w 116"/>
                <a:gd name="T77" fmla="*/ 2147483647 h 222"/>
                <a:gd name="T78" fmla="*/ 2147483647 w 116"/>
                <a:gd name="T79" fmla="*/ 2147483647 h 222"/>
                <a:gd name="T80" fmla="*/ 2147483647 w 116"/>
                <a:gd name="T81" fmla="*/ 2147483647 h 222"/>
                <a:gd name="T82" fmla="*/ 2147483647 w 116"/>
                <a:gd name="T83" fmla="*/ 2147483647 h 222"/>
                <a:gd name="T84" fmla="*/ 2147483647 w 116"/>
                <a:gd name="T85" fmla="*/ 2147483647 h 222"/>
                <a:gd name="T86" fmla="*/ 2147483647 w 116"/>
                <a:gd name="T87" fmla="*/ 0 h 222"/>
                <a:gd name="T88" fmla="*/ 2147483647 w 116"/>
                <a:gd name="T89" fmla="*/ 2147483647 h 222"/>
                <a:gd name="T90" fmla="*/ 2147483647 w 116"/>
                <a:gd name="T91" fmla="*/ 2147483647 h 222"/>
                <a:gd name="T92" fmla="*/ 2147483647 w 116"/>
                <a:gd name="T93" fmla="*/ 2147483647 h 222"/>
                <a:gd name="T94" fmla="*/ 2147483647 w 116"/>
                <a:gd name="T95" fmla="*/ 2147483647 h 222"/>
                <a:gd name="T96" fmla="*/ 2147483647 w 116"/>
                <a:gd name="T97" fmla="*/ 2147483647 h 222"/>
                <a:gd name="T98" fmla="*/ 2147483647 w 116"/>
                <a:gd name="T99" fmla="*/ 2147483647 h 222"/>
                <a:gd name="T100" fmla="*/ 2147483647 w 116"/>
                <a:gd name="T101" fmla="*/ 2147483647 h 222"/>
                <a:gd name="T102" fmla="*/ 2147483647 w 116"/>
                <a:gd name="T103" fmla="*/ 2147483647 h 222"/>
                <a:gd name="T104" fmla="*/ 2147483647 w 116"/>
                <a:gd name="T105" fmla="*/ 2147483647 h 2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6"/>
                <a:gd name="T160" fmla="*/ 0 h 222"/>
                <a:gd name="T161" fmla="*/ 116 w 116"/>
                <a:gd name="T162" fmla="*/ 222 h 2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6" h="222">
                  <a:moveTo>
                    <a:pt x="52" y="44"/>
                  </a:moveTo>
                  <a:lnTo>
                    <a:pt x="52" y="44"/>
                  </a:lnTo>
                  <a:lnTo>
                    <a:pt x="54" y="46"/>
                  </a:lnTo>
                  <a:lnTo>
                    <a:pt x="56" y="48"/>
                  </a:lnTo>
                  <a:lnTo>
                    <a:pt x="60" y="50"/>
                  </a:lnTo>
                  <a:lnTo>
                    <a:pt x="62" y="52"/>
                  </a:lnTo>
                  <a:lnTo>
                    <a:pt x="62" y="58"/>
                  </a:lnTo>
                  <a:lnTo>
                    <a:pt x="62" y="62"/>
                  </a:lnTo>
                  <a:lnTo>
                    <a:pt x="64" y="66"/>
                  </a:lnTo>
                  <a:lnTo>
                    <a:pt x="62" y="68"/>
                  </a:lnTo>
                  <a:lnTo>
                    <a:pt x="60" y="68"/>
                  </a:lnTo>
                  <a:lnTo>
                    <a:pt x="56" y="68"/>
                  </a:lnTo>
                  <a:lnTo>
                    <a:pt x="56" y="72"/>
                  </a:lnTo>
                  <a:lnTo>
                    <a:pt x="58" y="78"/>
                  </a:lnTo>
                  <a:lnTo>
                    <a:pt x="58" y="80"/>
                  </a:lnTo>
                  <a:lnTo>
                    <a:pt x="58" y="82"/>
                  </a:lnTo>
                  <a:lnTo>
                    <a:pt x="54" y="84"/>
                  </a:lnTo>
                  <a:lnTo>
                    <a:pt x="52" y="84"/>
                  </a:lnTo>
                  <a:lnTo>
                    <a:pt x="52" y="82"/>
                  </a:lnTo>
                  <a:lnTo>
                    <a:pt x="52" y="80"/>
                  </a:lnTo>
                  <a:lnTo>
                    <a:pt x="48" y="78"/>
                  </a:lnTo>
                  <a:lnTo>
                    <a:pt x="42" y="70"/>
                  </a:lnTo>
                  <a:lnTo>
                    <a:pt x="40" y="68"/>
                  </a:lnTo>
                  <a:lnTo>
                    <a:pt x="42" y="66"/>
                  </a:lnTo>
                  <a:lnTo>
                    <a:pt x="44" y="60"/>
                  </a:lnTo>
                  <a:lnTo>
                    <a:pt x="44" y="56"/>
                  </a:lnTo>
                  <a:lnTo>
                    <a:pt x="42" y="52"/>
                  </a:lnTo>
                  <a:lnTo>
                    <a:pt x="34" y="54"/>
                  </a:lnTo>
                  <a:lnTo>
                    <a:pt x="32" y="54"/>
                  </a:lnTo>
                  <a:lnTo>
                    <a:pt x="32" y="50"/>
                  </a:lnTo>
                  <a:lnTo>
                    <a:pt x="30" y="46"/>
                  </a:lnTo>
                  <a:lnTo>
                    <a:pt x="26" y="46"/>
                  </a:lnTo>
                  <a:lnTo>
                    <a:pt x="0" y="54"/>
                  </a:lnTo>
                  <a:lnTo>
                    <a:pt x="4" y="56"/>
                  </a:lnTo>
                  <a:lnTo>
                    <a:pt x="4" y="58"/>
                  </a:lnTo>
                  <a:lnTo>
                    <a:pt x="4" y="60"/>
                  </a:lnTo>
                  <a:lnTo>
                    <a:pt x="2" y="68"/>
                  </a:lnTo>
                  <a:lnTo>
                    <a:pt x="8" y="70"/>
                  </a:lnTo>
                  <a:lnTo>
                    <a:pt x="14" y="72"/>
                  </a:lnTo>
                  <a:lnTo>
                    <a:pt x="20" y="76"/>
                  </a:lnTo>
                  <a:lnTo>
                    <a:pt x="28" y="80"/>
                  </a:lnTo>
                  <a:lnTo>
                    <a:pt x="30" y="84"/>
                  </a:lnTo>
                  <a:lnTo>
                    <a:pt x="30" y="86"/>
                  </a:lnTo>
                  <a:lnTo>
                    <a:pt x="28" y="88"/>
                  </a:lnTo>
                  <a:lnTo>
                    <a:pt x="28" y="92"/>
                  </a:lnTo>
                  <a:lnTo>
                    <a:pt x="26" y="96"/>
                  </a:lnTo>
                  <a:lnTo>
                    <a:pt x="28" y="100"/>
                  </a:lnTo>
                  <a:lnTo>
                    <a:pt x="32" y="106"/>
                  </a:lnTo>
                  <a:lnTo>
                    <a:pt x="28" y="110"/>
                  </a:lnTo>
                  <a:lnTo>
                    <a:pt x="26" y="112"/>
                  </a:lnTo>
                  <a:lnTo>
                    <a:pt x="26" y="114"/>
                  </a:lnTo>
                  <a:lnTo>
                    <a:pt x="26" y="116"/>
                  </a:lnTo>
                  <a:lnTo>
                    <a:pt x="28" y="118"/>
                  </a:lnTo>
                  <a:lnTo>
                    <a:pt x="28" y="120"/>
                  </a:lnTo>
                  <a:lnTo>
                    <a:pt x="28" y="124"/>
                  </a:lnTo>
                  <a:lnTo>
                    <a:pt x="28" y="128"/>
                  </a:lnTo>
                  <a:lnTo>
                    <a:pt x="26" y="130"/>
                  </a:lnTo>
                  <a:lnTo>
                    <a:pt x="28" y="132"/>
                  </a:lnTo>
                  <a:lnTo>
                    <a:pt x="28" y="136"/>
                  </a:lnTo>
                  <a:lnTo>
                    <a:pt x="26" y="140"/>
                  </a:lnTo>
                  <a:lnTo>
                    <a:pt x="28" y="142"/>
                  </a:lnTo>
                  <a:lnTo>
                    <a:pt x="30" y="142"/>
                  </a:lnTo>
                  <a:lnTo>
                    <a:pt x="30" y="144"/>
                  </a:lnTo>
                  <a:lnTo>
                    <a:pt x="24" y="152"/>
                  </a:lnTo>
                  <a:lnTo>
                    <a:pt x="16" y="162"/>
                  </a:lnTo>
                  <a:lnTo>
                    <a:pt x="16" y="166"/>
                  </a:lnTo>
                  <a:lnTo>
                    <a:pt x="16" y="174"/>
                  </a:lnTo>
                  <a:lnTo>
                    <a:pt x="14" y="180"/>
                  </a:lnTo>
                  <a:lnTo>
                    <a:pt x="16" y="186"/>
                  </a:lnTo>
                  <a:lnTo>
                    <a:pt x="16" y="192"/>
                  </a:lnTo>
                  <a:lnTo>
                    <a:pt x="16" y="198"/>
                  </a:lnTo>
                  <a:lnTo>
                    <a:pt x="14" y="202"/>
                  </a:lnTo>
                  <a:lnTo>
                    <a:pt x="16" y="204"/>
                  </a:lnTo>
                  <a:lnTo>
                    <a:pt x="16" y="208"/>
                  </a:lnTo>
                  <a:lnTo>
                    <a:pt x="20" y="210"/>
                  </a:lnTo>
                  <a:lnTo>
                    <a:pt x="22" y="214"/>
                  </a:lnTo>
                  <a:lnTo>
                    <a:pt x="20" y="222"/>
                  </a:lnTo>
                  <a:lnTo>
                    <a:pt x="28" y="222"/>
                  </a:lnTo>
                  <a:lnTo>
                    <a:pt x="28" y="220"/>
                  </a:lnTo>
                  <a:lnTo>
                    <a:pt x="22" y="214"/>
                  </a:lnTo>
                  <a:lnTo>
                    <a:pt x="32" y="208"/>
                  </a:lnTo>
                  <a:lnTo>
                    <a:pt x="42" y="202"/>
                  </a:lnTo>
                  <a:lnTo>
                    <a:pt x="48" y="200"/>
                  </a:lnTo>
                  <a:lnTo>
                    <a:pt x="54" y="198"/>
                  </a:lnTo>
                  <a:lnTo>
                    <a:pt x="56" y="194"/>
                  </a:lnTo>
                  <a:lnTo>
                    <a:pt x="58" y="188"/>
                  </a:lnTo>
                  <a:lnTo>
                    <a:pt x="56" y="170"/>
                  </a:lnTo>
                  <a:lnTo>
                    <a:pt x="52" y="140"/>
                  </a:lnTo>
                  <a:lnTo>
                    <a:pt x="48" y="140"/>
                  </a:lnTo>
                  <a:lnTo>
                    <a:pt x="48" y="134"/>
                  </a:lnTo>
                  <a:lnTo>
                    <a:pt x="48" y="128"/>
                  </a:lnTo>
                  <a:lnTo>
                    <a:pt x="48" y="126"/>
                  </a:lnTo>
                  <a:lnTo>
                    <a:pt x="54" y="124"/>
                  </a:lnTo>
                  <a:lnTo>
                    <a:pt x="56" y="118"/>
                  </a:lnTo>
                  <a:lnTo>
                    <a:pt x="58" y="114"/>
                  </a:lnTo>
                  <a:lnTo>
                    <a:pt x="60" y="114"/>
                  </a:lnTo>
                  <a:lnTo>
                    <a:pt x="64" y="100"/>
                  </a:lnTo>
                  <a:lnTo>
                    <a:pt x="66" y="100"/>
                  </a:lnTo>
                  <a:lnTo>
                    <a:pt x="70" y="100"/>
                  </a:lnTo>
                  <a:lnTo>
                    <a:pt x="76" y="98"/>
                  </a:lnTo>
                  <a:lnTo>
                    <a:pt x="80" y="96"/>
                  </a:lnTo>
                  <a:lnTo>
                    <a:pt x="84" y="92"/>
                  </a:lnTo>
                  <a:lnTo>
                    <a:pt x="88" y="92"/>
                  </a:lnTo>
                  <a:lnTo>
                    <a:pt x="94" y="90"/>
                  </a:lnTo>
                  <a:lnTo>
                    <a:pt x="100" y="86"/>
                  </a:lnTo>
                  <a:lnTo>
                    <a:pt x="106" y="78"/>
                  </a:lnTo>
                  <a:lnTo>
                    <a:pt x="112" y="70"/>
                  </a:lnTo>
                  <a:lnTo>
                    <a:pt x="114" y="62"/>
                  </a:lnTo>
                  <a:lnTo>
                    <a:pt x="114" y="56"/>
                  </a:lnTo>
                  <a:lnTo>
                    <a:pt x="114" y="50"/>
                  </a:lnTo>
                  <a:lnTo>
                    <a:pt x="116" y="40"/>
                  </a:lnTo>
                  <a:lnTo>
                    <a:pt x="116" y="30"/>
                  </a:lnTo>
                  <a:lnTo>
                    <a:pt x="114" y="8"/>
                  </a:lnTo>
                  <a:lnTo>
                    <a:pt x="114" y="0"/>
                  </a:lnTo>
                  <a:lnTo>
                    <a:pt x="110" y="0"/>
                  </a:lnTo>
                  <a:lnTo>
                    <a:pt x="106" y="2"/>
                  </a:lnTo>
                  <a:lnTo>
                    <a:pt x="102" y="4"/>
                  </a:lnTo>
                  <a:lnTo>
                    <a:pt x="98" y="4"/>
                  </a:lnTo>
                  <a:lnTo>
                    <a:pt x="94" y="6"/>
                  </a:lnTo>
                  <a:lnTo>
                    <a:pt x="92" y="8"/>
                  </a:lnTo>
                  <a:lnTo>
                    <a:pt x="90" y="10"/>
                  </a:lnTo>
                  <a:lnTo>
                    <a:pt x="88" y="8"/>
                  </a:lnTo>
                  <a:lnTo>
                    <a:pt x="86" y="8"/>
                  </a:lnTo>
                  <a:lnTo>
                    <a:pt x="86" y="10"/>
                  </a:lnTo>
                  <a:lnTo>
                    <a:pt x="82" y="12"/>
                  </a:lnTo>
                  <a:lnTo>
                    <a:pt x="74" y="14"/>
                  </a:lnTo>
                  <a:lnTo>
                    <a:pt x="66" y="14"/>
                  </a:lnTo>
                  <a:lnTo>
                    <a:pt x="64" y="14"/>
                  </a:lnTo>
                  <a:lnTo>
                    <a:pt x="62" y="12"/>
                  </a:lnTo>
                  <a:lnTo>
                    <a:pt x="62" y="10"/>
                  </a:lnTo>
                  <a:lnTo>
                    <a:pt x="60" y="10"/>
                  </a:lnTo>
                  <a:lnTo>
                    <a:pt x="56" y="12"/>
                  </a:lnTo>
                  <a:lnTo>
                    <a:pt x="48" y="14"/>
                  </a:lnTo>
                  <a:lnTo>
                    <a:pt x="46" y="20"/>
                  </a:lnTo>
                  <a:lnTo>
                    <a:pt x="50" y="24"/>
                  </a:lnTo>
                  <a:lnTo>
                    <a:pt x="50" y="32"/>
                  </a:lnTo>
                  <a:lnTo>
                    <a:pt x="52" y="4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7" name="Freeform 579">
              <a:extLst>
                <a:ext uri="{FF2B5EF4-FFF2-40B4-BE49-F238E27FC236}">
                  <a16:creationId xmlns:a16="http://schemas.microsoft.com/office/drawing/2014/main" id="{4DC375B5-C4CA-4DF4-85AF-74157515CA71}"/>
                </a:ext>
              </a:extLst>
            </p:cNvPr>
            <p:cNvSpPr>
              <a:spLocks/>
            </p:cNvSpPr>
            <p:nvPr/>
          </p:nvSpPr>
          <p:spPr bwMode="gray">
            <a:xfrm>
              <a:off x="4127194" y="3333019"/>
              <a:ext cx="233064" cy="228367"/>
            </a:xfrm>
            <a:custGeom>
              <a:avLst/>
              <a:gdLst>
                <a:gd name="T0" fmla="*/ 2147483647 w 126"/>
                <a:gd name="T1" fmla="*/ 2147483647 h 124"/>
                <a:gd name="T2" fmla="*/ 2147483647 w 126"/>
                <a:gd name="T3" fmla="*/ 2147483647 h 124"/>
                <a:gd name="T4" fmla="*/ 2147483647 w 126"/>
                <a:gd name="T5" fmla="*/ 2147483647 h 124"/>
                <a:gd name="T6" fmla="*/ 2147483647 w 126"/>
                <a:gd name="T7" fmla="*/ 2147483647 h 124"/>
                <a:gd name="T8" fmla="*/ 2147483647 w 126"/>
                <a:gd name="T9" fmla="*/ 2147483647 h 124"/>
                <a:gd name="T10" fmla="*/ 2147483647 w 126"/>
                <a:gd name="T11" fmla="*/ 2147483647 h 124"/>
                <a:gd name="T12" fmla="*/ 2147483647 w 126"/>
                <a:gd name="T13" fmla="*/ 2147483647 h 124"/>
                <a:gd name="T14" fmla="*/ 2147483647 w 126"/>
                <a:gd name="T15" fmla="*/ 2147483647 h 124"/>
                <a:gd name="T16" fmla="*/ 2147483647 w 126"/>
                <a:gd name="T17" fmla="*/ 2147483647 h 124"/>
                <a:gd name="T18" fmla="*/ 2147483647 w 126"/>
                <a:gd name="T19" fmla="*/ 2147483647 h 124"/>
                <a:gd name="T20" fmla="*/ 2147483647 w 126"/>
                <a:gd name="T21" fmla="*/ 2147483647 h 124"/>
                <a:gd name="T22" fmla="*/ 2147483647 w 126"/>
                <a:gd name="T23" fmla="*/ 2147483647 h 124"/>
                <a:gd name="T24" fmla="*/ 2147483647 w 126"/>
                <a:gd name="T25" fmla="*/ 2147483647 h 124"/>
                <a:gd name="T26" fmla="*/ 2147483647 w 126"/>
                <a:gd name="T27" fmla="*/ 2147483647 h 124"/>
                <a:gd name="T28" fmla="*/ 2147483647 w 126"/>
                <a:gd name="T29" fmla="*/ 2147483647 h 124"/>
                <a:gd name="T30" fmla="*/ 2147483647 w 126"/>
                <a:gd name="T31" fmla="*/ 2147483647 h 124"/>
                <a:gd name="T32" fmla="*/ 2147483647 w 126"/>
                <a:gd name="T33" fmla="*/ 2147483647 h 124"/>
                <a:gd name="T34" fmla="*/ 2147483647 w 126"/>
                <a:gd name="T35" fmla="*/ 2147483647 h 124"/>
                <a:gd name="T36" fmla="*/ 2147483647 w 126"/>
                <a:gd name="T37" fmla="*/ 2147483647 h 124"/>
                <a:gd name="T38" fmla="*/ 2147483647 w 126"/>
                <a:gd name="T39" fmla="*/ 2147483647 h 124"/>
                <a:gd name="T40" fmla="*/ 2147483647 w 126"/>
                <a:gd name="T41" fmla="*/ 2147483647 h 124"/>
                <a:gd name="T42" fmla="*/ 2147483647 w 126"/>
                <a:gd name="T43" fmla="*/ 2147483647 h 124"/>
                <a:gd name="T44" fmla="*/ 2147483647 w 126"/>
                <a:gd name="T45" fmla="*/ 2147483647 h 124"/>
                <a:gd name="T46" fmla="*/ 2147483647 w 126"/>
                <a:gd name="T47" fmla="*/ 2147483647 h 124"/>
                <a:gd name="T48" fmla="*/ 2147483647 w 126"/>
                <a:gd name="T49" fmla="*/ 2147483647 h 124"/>
                <a:gd name="T50" fmla="*/ 2147483647 w 126"/>
                <a:gd name="T51" fmla="*/ 2147483647 h 124"/>
                <a:gd name="T52" fmla="*/ 2147483647 w 126"/>
                <a:gd name="T53" fmla="*/ 2147483647 h 124"/>
                <a:gd name="T54" fmla="*/ 2147483647 w 126"/>
                <a:gd name="T55" fmla="*/ 2147483647 h 124"/>
                <a:gd name="T56" fmla="*/ 2147483647 w 126"/>
                <a:gd name="T57" fmla="*/ 2147483647 h 124"/>
                <a:gd name="T58" fmla="*/ 2147483647 w 126"/>
                <a:gd name="T59" fmla="*/ 2147483647 h 124"/>
                <a:gd name="T60" fmla="*/ 2147483647 w 126"/>
                <a:gd name="T61" fmla="*/ 2147483647 h 124"/>
                <a:gd name="T62" fmla="*/ 2147483647 w 126"/>
                <a:gd name="T63" fmla="*/ 2147483647 h 124"/>
                <a:gd name="T64" fmla="*/ 2147483647 w 126"/>
                <a:gd name="T65" fmla="*/ 2147483647 h 124"/>
                <a:gd name="T66" fmla="*/ 2147483647 w 126"/>
                <a:gd name="T67" fmla="*/ 0 h 124"/>
                <a:gd name="T68" fmla="*/ 2147483647 w 126"/>
                <a:gd name="T69" fmla="*/ 2147483647 h 124"/>
                <a:gd name="T70" fmla="*/ 2147483647 w 126"/>
                <a:gd name="T71" fmla="*/ 2147483647 h 124"/>
                <a:gd name="T72" fmla="*/ 2147483647 w 126"/>
                <a:gd name="T73" fmla="*/ 2147483647 h 124"/>
                <a:gd name="T74" fmla="*/ 2147483647 w 126"/>
                <a:gd name="T75" fmla="*/ 2147483647 h 124"/>
                <a:gd name="T76" fmla="*/ 2147483647 w 126"/>
                <a:gd name="T77" fmla="*/ 2147483647 h 124"/>
                <a:gd name="T78" fmla="*/ 2147483647 w 126"/>
                <a:gd name="T79" fmla="*/ 2147483647 h 124"/>
                <a:gd name="T80" fmla="*/ 2147483647 w 126"/>
                <a:gd name="T81" fmla="*/ 2147483647 h 124"/>
                <a:gd name="T82" fmla="*/ 2147483647 w 126"/>
                <a:gd name="T83" fmla="*/ 2147483647 h 124"/>
                <a:gd name="T84" fmla="*/ 2147483647 w 126"/>
                <a:gd name="T85" fmla="*/ 2147483647 h 124"/>
                <a:gd name="T86" fmla="*/ 2147483647 w 126"/>
                <a:gd name="T87" fmla="*/ 2147483647 h 124"/>
                <a:gd name="T88" fmla="*/ 2147483647 w 126"/>
                <a:gd name="T89" fmla="*/ 2147483647 h 124"/>
                <a:gd name="T90" fmla="*/ 2147483647 w 126"/>
                <a:gd name="T91" fmla="*/ 2147483647 h 124"/>
                <a:gd name="T92" fmla="*/ 2147483647 w 126"/>
                <a:gd name="T93" fmla="*/ 2147483647 h 124"/>
                <a:gd name="T94" fmla="*/ 2147483647 w 126"/>
                <a:gd name="T95" fmla="*/ 2147483647 h 124"/>
                <a:gd name="T96" fmla="*/ 2147483647 w 126"/>
                <a:gd name="T97" fmla="*/ 2147483647 h 124"/>
                <a:gd name="T98" fmla="*/ 2147483647 w 126"/>
                <a:gd name="T99" fmla="*/ 2147483647 h 124"/>
                <a:gd name="T100" fmla="*/ 2147483647 w 126"/>
                <a:gd name="T101" fmla="*/ 2147483647 h 124"/>
                <a:gd name="T102" fmla="*/ 2147483647 w 126"/>
                <a:gd name="T103" fmla="*/ 2147483647 h 124"/>
                <a:gd name="T104" fmla="*/ 0 w 126"/>
                <a:gd name="T105" fmla="*/ 2147483647 h 1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6"/>
                <a:gd name="T160" fmla="*/ 0 h 124"/>
                <a:gd name="T161" fmla="*/ 126 w 126"/>
                <a:gd name="T162" fmla="*/ 124 h 1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6" h="124">
                  <a:moveTo>
                    <a:pt x="0" y="124"/>
                  </a:moveTo>
                  <a:lnTo>
                    <a:pt x="48" y="124"/>
                  </a:lnTo>
                  <a:lnTo>
                    <a:pt x="48" y="112"/>
                  </a:lnTo>
                  <a:lnTo>
                    <a:pt x="50" y="108"/>
                  </a:lnTo>
                  <a:lnTo>
                    <a:pt x="56" y="102"/>
                  </a:lnTo>
                  <a:lnTo>
                    <a:pt x="60" y="100"/>
                  </a:lnTo>
                  <a:lnTo>
                    <a:pt x="66" y="98"/>
                  </a:lnTo>
                  <a:lnTo>
                    <a:pt x="72" y="96"/>
                  </a:lnTo>
                  <a:lnTo>
                    <a:pt x="74" y="96"/>
                  </a:lnTo>
                  <a:lnTo>
                    <a:pt x="78" y="92"/>
                  </a:lnTo>
                  <a:lnTo>
                    <a:pt x="80" y="90"/>
                  </a:lnTo>
                  <a:lnTo>
                    <a:pt x="84" y="90"/>
                  </a:lnTo>
                  <a:lnTo>
                    <a:pt x="88" y="88"/>
                  </a:lnTo>
                  <a:lnTo>
                    <a:pt x="92" y="86"/>
                  </a:lnTo>
                  <a:lnTo>
                    <a:pt x="98" y="78"/>
                  </a:lnTo>
                  <a:lnTo>
                    <a:pt x="100" y="72"/>
                  </a:lnTo>
                  <a:lnTo>
                    <a:pt x="102" y="72"/>
                  </a:lnTo>
                  <a:lnTo>
                    <a:pt x="108" y="70"/>
                  </a:lnTo>
                  <a:lnTo>
                    <a:pt x="110" y="66"/>
                  </a:lnTo>
                  <a:lnTo>
                    <a:pt x="110" y="62"/>
                  </a:lnTo>
                  <a:lnTo>
                    <a:pt x="110" y="60"/>
                  </a:lnTo>
                  <a:lnTo>
                    <a:pt x="112" y="60"/>
                  </a:lnTo>
                  <a:lnTo>
                    <a:pt x="114" y="58"/>
                  </a:lnTo>
                  <a:lnTo>
                    <a:pt x="116" y="56"/>
                  </a:lnTo>
                  <a:lnTo>
                    <a:pt x="118" y="54"/>
                  </a:lnTo>
                  <a:lnTo>
                    <a:pt x="120" y="52"/>
                  </a:lnTo>
                  <a:lnTo>
                    <a:pt x="124" y="48"/>
                  </a:lnTo>
                  <a:lnTo>
                    <a:pt x="126" y="48"/>
                  </a:lnTo>
                  <a:lnTo>
                    <a:pt x="124" y="46"/>
                  </a:lnTo>
                  <a:lnTo>
                    <a:pt x="122" y="42"/>
                  </a:lnTo>
                  <a:lnTo>
                    <a:pt x="120" y="38"/>
                  </a:lnTo>
                  <a:lnTo>
                    <a:pt x="120" y="34"/>
                  </a:lnTo>
                  <a:lnTo>
                    <a:pt x="120" y="32"/>
                  </a:lnTo>
                  <a:lnTo>
                    <a:pt x="118" y="30"/>
                  </a:lnTo>
                  <a:lnTo>
                    <a:pt x="116" y="30"/>
                  </a:lnTo>
                  <a:lnTo>
                    <a:pt x="116" y="28"/>
                  </a:lnTo>
                  <a:lnTo>
                    <a:pt x="118" y="18"/>
                  </a:lnTo>
                  <a:lnTo>
                    <a:pt x="116" y="14"/>
                  </a:lnTo>
                  <a:lnTo>
                    <a:pt x="116" y="10"/>
                  </a:lnTo>
                  <a:lnTo>
                    <a:pt x="112" y="10"/>
                  </a:lnTo>
                  <a:lnTo>
                    <a:pt x="110" y="8"/>
                  </a:lnTo>
                  <a:lnTo>
                    <a:pt x="108" y="6"/>
                  </a:lnTo>
                  <a:lnTo>
                    <a:pt x="106" y="6"/>
                  </a:lnTo>
                  <a:lnTo>
                    <a:pt x="106" y="8"/>
                  </a:lnTo>
                  <a:lnTo>
                    <a:pt x="104" y="10"/>
                  </a:lnTo>
                  <a:lnTo>
                    <a:pt x="94" y="10"/>
                  </a:lnTo>
                  <a:lnTo>
                    <a:pt x="86" y="10"/>
                  </a:lnTo>
                  <a:lnTo>
                    <a:pt x="78" y="0"/>
                  </a:lnTo>
                  <a:lnTo>
                    <a:pt x="72" y="2"/>
                  </a:lnTo>
                  <a:lnTo>
                    <a:pt x="68" y="16"/>
                  </a:lnTo>
                  <a:lnTo>
                    <a:pt x="66" y="24"/>
                  </a:lnTo>
                  <a:lnTo>
                    <a:pt x="62" y="30"/>
                  </a:lnTo>
                  <a:lnTo>
                    <a:pt x="50" y="38"/>
                  </a:lnTo>
                  <a:lnTo>
                    <a:pt x="46" y="38"/>
                  </a:lnTo>
                  <a:lnTo>
                    <a:pt x="42" y="38"/>
                  </a:lnTo>
                  <a:lnTo>
                    <a:pt x="36" y="46"/>
                  </a:lnTo>
                  <a:lnTo>
                    <a:pt x="32" y="52"/>
                  </a:lnTo>
                  <a:lnTo>
                    <a:pt x="32" y="54"/>
                  </a:lnTo>
                  <a:lnTo>
                    <a:pt x="34" y="56"/>
                  </a:lnTo>
                  <a:lnTo>
                    <a:pt x="34" y="58"/>
                  </a:lnTo>
                  <a:lnTo>
                    <a:pt x="30" y="64"/>
                  </a:lnTo>
                  <a:lnTo>
                    <a:pt x="28" y="66"/>
                  </a:lnTo>
                  <a:lnTo>
                    <a:pt x="26" y="70"/>
                  </a:lnTo>
                  <a:lnTo>
                    <a:pt x="28" y="76"/>
                  </a:lnTo>
                  <a:lnTo>
                    <a:pt x="30" y="80"/>
                  </a:lnTo>
                  <a:lnTo>
                    <a:pt x="30" y="90"/>
                  </a:lnTo>
                  <a:lnTo>
                    <a:pt x="28" y="96"/>
                  </a:lnTo>
                  <a:lnTo>
                    <a:pt x="24" y="104"/>
                  </a:lnTo>
                  <a:lnTo>
                    <a:pt x="22" y="108"/>
                  </a:lnTo>
                  <a:lnTo>
                    <a:pt x="12" y="116"/>
                  </a:lnTo>
                  <a:lnTo>
                    <a:pt x="2" y="122"/>
                  </a:lnTo>
                  <a:lnTo>
                    <a:pt x="2" y="124"/>
                  </a:lnTo>
                  <a:lnTo>
                    <a:pt x="0" y="12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8" name="Freeform 580">
              <a:extLst>
                <a:ext uri="{FF2B5EF4-FFF2-40B4-BE49-F238E27FC236}">
                  <a16:creationId xmlns:a16="http://schemas.microsoft.com/office/drawing/2014/main" id="{4A4C49F4-1BFA-4216-9783-6694084015CB}"/>
                </a:ext>
              </a:extLst>
            </p:cNvPr>
            <p:cNvSpPr>
              <a:spLocks noEditPoints="1"/>
            </p:cNvSpPr>
            <p:nvPr/>
          </p:nvSpPr>
          <p:spPr bwMode="gray">
            <a:xfrm>
              <a:off x="6236543" y="2843328"/>
              <a:ext cx="659172" cy="322537"/>
            </a:xfrm>
            <a:custGeom>
              <a:avLst/>
              <a:gdLst>
                <a:gd name="T0" fmla="*/ 2147483647 w 356"/>
                <a:gd name="T1" fmla="*/ 2147483647 h 174"/>
                <a:gd name="T2" fmla="*/ 2147483647 w 356"/>
                <a:gd name="T3" fmla="*/ 2147483647 h 174"/>
                <a:gd name="T4" fmla="*/ 2147483647 w 356"/>
                <a:gd name="T5" fmla="*/ 2147483647 h 174"/>
                <a:gd name="T6" fmla="*/ 2147483647 w 356"/>
                <a:gd name="T7" fmla="*/ 2147483647 h 174"/>
                <a:gd name="T8" fmla="*/ 2147483647 w 356"/>
                <a:gd name="T9" fmla="*/ 2147483647 h 174"/>
                <a:gd name="T10" fmla="*/ 2147483647 w 356"/>
                <a:gd name="T11" fmla="*/ 2147483647 h 174"/>
                <a:gd name="T12" fmla="*/ 2147483647 w 356"/>
                <a:gd name="T13" fmla="*/ 2147483647 h 174"/>
                <a:gd name="T14" fmla="*/ 2147483647 w 356"/>
                <a:gd name="T15" fmla="*/ 2147483647 h 174"/>
                <a:gd name="T16" fmla="*/ 2147483647 w 356"/>
                <a:gd name="T17" fmla="*/ 2147483647 h 174"/>
                <a:gd name="T18" fmla="*/ 2147483647 w 356"/>
                <a:gd name="T19" fmla="*/ 2147483647 h 174"/>
                <a:gd name="T20" fmla="*/ 2147483647 w 356"/>
                <a:gd name="T21" fmla="*/ 2147483647 h 174"/>
                <a:gd name="T22" fmla="*/ 2147483647 w 356"/>
                <a:gd name="T23" fmla="*/ 2147483647 h 174"/>
                <a:gd name="T24" fmla="*/ 2147483647 w 356"/>
                <a:gd name="T25" fmla="*/ 2147483647 h 174"/>
                <a:gd name="T26" fmla="*/ 2147483647 w 356"/>
                <a:gd name="T27" fmla="*/ 2147483647 h 174"/>
                <a:gd name="T28" fmla="*/ 2147483647 w 356"/>
                <a:gd name="T29" fmla="*/ 2147483647 h 174"/>
                <a:gd name="T30" fmla="*/ 2147483647 w 356"/>
                <a:gd name="T31" fmla="*/ 2147483647 h 174"/>
                <a:gd name="T32" fmla="*/ 2147483647 w 356"/>
                <a:gd name="T33" fmla="*/ 2147483647 h 174"/>
                <a:gd name="T34" fmla="*/ 2147483647 w 356"/>
                <a:gd name="T35" fmla="*/ 2147483647 h 174"/>
                <a:gd name="T36" fmla="*/ 2147483647 w 356"/>
                <a:gd name="T37" fmla="*/ 2147483647 h 174"/>
                <a:gd name="T38" fmla="*/ 2147483647 w 356"/>
                <a:gd name="T39" fmla="*/ 2147483647 h 174"/>
                <a:gd name="T40" fmla="*/ 2147483647 w 356"/>
                <a:gd name="T41" fmla="*/ 2147483647 h 174"/>
                <a:gd name="T42" fmla="*/ 2147483647 w 356"/>
                <a:gd name="T43" fmla="*/ 2147483647 h 174"/>
                <a:gd name="T44" fmla="*/ 2147483647 w 356"/>
                <a:gd name="T45" fmla="*/ 2147483647 h 174"/>
                <a:gd name="T46" fmla="*/ 2147483647 w 356"/>
                <a:gd name="T47" fmla="*/ 2147483647 h 174"/>
                <a:gd name="T48" fmla="*/ 2147483647 w 356"/>
                <a:gd name="T49" fmla="*/ 2147483647 h 174"/>
                <a:gd name="T50" fmla="*/ 2147483647 w 356"/>
                <a:gd name="T51" fmla="*/ 2147483647 h 174"/>
                <a:gd name="T52" fmla="*/ 2147483647 w 356"/>
                <a:gd name="T53" fmla="*/ 2147483647 h 174"/>
                <a:gd name="T54" fmla="*/ 2147483647 w 356"/>
                <a:gd name="T55" fmla="*/ 2147483647 h 174"/>
                <a:gd name="T56" fmla="*/ 2147483647 w 356"/>
                <a:gd name="T57" fmla="*/ 2147483647 h 174"/>
                <a:gd name="T58" fmla="*/ 2147483647 w 356"/>
                <a:gd name="T59" fmla="*/ 2147483647 h 174"/>
                <a:gd name="T60" fmla="*/ 2147483647 w 356"/>
                <a:gd name="T61" fmla="*/ 2147483647 h 174"/>
                <a:gd name="T62" fmla="*/ 2147483647 w 356"/>
                <a:gd name="T63" fmla="*/ 2147483647 h 174"/>
                <a:gd name="T64" fmla="*/ 2147483647 w 356"/>
                <a:gd name="T65" fmla="*/ 2147483647 h 174"/>
                <a:gd name="T66" fmla="*/ 2147483647 w 356"/>
                <a:gd name="T67" fmla="*/ 2147483647 h 174"/>
                <a:gd name="T68" fmla="*/ 2147483647 w 356"/>
                <a:gd name="T69" fmla="*/ 2147483647 h 174"/>
                <a:gd name="T70" fmla="*/ 2147483647 w 356"/>
                <a:gd name="T71" fmla="*/ 2147483647 h 174"/>
                <a:gd name="T72" fmla="*/ 2147483647 w 356"/>
                <a:gd name="T73" fmla="*/ 2147483647 h 174"/>
                <a:gd name="T74" fmla="*/ 2147483647 w 356"/>
                <a:gd name="T75" fmla="*/ 2147483647 h 174"/>
                <a:gd name="T76" fmla="*/ 2147483647 w 356"/>
                <a:gd name="T77" fmla="*/ 2147483647 h 174"/>
                <a:gd name="T78" fmla="*/ 2147483647 w 356"/>
                <a:gd name="T79" fmla="*/ 2147483647 h 174"/>
                <a:gd name="T80" fmla="*/ 2147483647 w 356"/>
                <a:gd name="T81" fmla="*/ 2147483647 h 174"/>
                <a:gd name="T82" fmla="*/ 2147483647 w 356"/>
                <a:gd name="T83" fmla="*/ 2147483647 h 174"/>
                <a:gd name="T84" fmla="*/ 2147483647 w 356"/>
                <a:gd name="T85" fmla="*/ 2147483647 h 174"/>
                <a:gd name="T86" fmla="*/ 2147483647 w 356"/>
                <a:gd name="T87" fmla="*/ 2147483647 h 174"/>
                <a:gd name="T88" fmla="*/ 0 w 356"/>
                <a:gd name="T89" fmla="*/ 2147483647 h 174"/>
                <a:gd name="T90" fmla="*/ 2147483647 w 356"/>
                <a:gd name="T91" fmla="*/ 2147483647 h 174"/>
                <a:gd name="T92" fmla="*/ 2147483647 w 356"/>
                <a:gd name="T93" fmla="*/ 2147483647 h 174"/>
                <a:gd name="T94" fmla="*/ 2147483647 w 356"/>
                <a:gd name="T95" fmla="*/ 2147483647 h 174"/>
                <a:gd name="T96" fmla="*/ 2147483647 w 356"/>
                <a:gd name="T97" fmla="*/ 2147483647 h 174"/>
                <a:gd name="T98" fmla="*/ 2147483647 w 356"/>
                <a:gd name="T99" fmla="*/ 2147483647 h 174"/>
                <a:gd name="T100" fmla="*/ 2147483647 w 356"/>
                <a:gd name="T101" fmla="*/ 2147483647 h 174"/>
                <a:gd name="T102" fmla="*/ 2147483647 w 356"/>
                <a:gd name="T103" fmla="*/ 2147483647 h 174"/>
                <a:gd name="T104" fmla="*/ 2147483647 w 356"/>
                <a:gd name="T105" fmla="*/ 2147483647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56"/>
                <a:gd name="T160" fmla="*/ 0 h 174"/>
                <a:gd name="T161" fmla="*/ 356 w 356"/>
                <a:gd name="T162" fmla="*/ 174 h 1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56" h="174">
                  <a:moveTo>
                    <a:pt x="54" y="26"/>
                  </a:moveTo>
                  <a:lnTo>
                    <a:pt x="54" y="26"/>
                  </a:lnTo>
                  <a:lnTo>
                    <a:pt x="56" y="26"/>
                  </a:lnTo>
                  <a:lnTo>
                    <a:pt x="60" y="24"/>
                  </a:lnTo>
                  <a:lnTo>
                    <a:pt x="70" y="28"/>
                  </a:lnTo>
                  <a:lnTo>
                    <a:pt x="76" y="32"/>
                  </a:lnTo>
                  <a:lnTo>
                    <a:pt x="82" y="34"/>
                  </a:lnTo>
                  <a:lnTo>
                    <a:pt x="90" y="34"/>
                  </a:lnTo>
                  <a:lnTo>
                    <a:pt x="100" y="32"/>
                  </a:lnTo>
                  <a:lnTo>
                    <a:pt x="110" y="34"/>
                  </a:lnTo>
                  <a:lnTo>
                    <a:pt x="112" y="30"/>
                  </a:lnTo>
                  <a:lnTo>
                    <a:pt x="112" y="22"/>
                  </a:lnTo>
                  <a:lnTo>
                    <a:pt x="108" y="18"/>
                  </a:lnTo>
                  <a:lnTo>
                    <a:pt x="104" y="14"/>
                  </a:lnTo>
                  <a:lnTo>
                    <a:pt x="106" y="8"/>
                  </a:lnTo>
                  <a:lnTo>
                    <a:pt x="108" y="4"/>
                  </a:lnTo>
                  <a:lnTo>
                    <a:pt x="110" y="0"/>
                  </a:lnTo>
                  <a:lnTo>
                    <a:pt x="118" y="2"/>
                  </a:lnTo>
                  <a:lnTo>
                    <a:pt x="124" y="2"/>
                  </a:lnTo>
                  <a:lnTo>
                    <a:pt x="132" y="2"/>
                  </a:lnTo>
                  <a:lnTo>
                    <a:pt x="136" y="6"/>
                  </a:lnTo>
                  <a:lnTo>
                    <a:pt x="144" y="8"/>
                  </a:lnTo>
                  <a:lnTo>
                    <a:pt x="154" y="16"/>
                  </a:lnTo>
                  <a:lnTo>
                    <a:pt x="160" y="22"/>
                  </a:lnTo>
                  <a:lnTo>
                    <a:pt x="164" y="28"/>
                  </a:lnTo>
                  <a:lnTo>
                    <a:pt x="168" y="32"/>
                  </a:lnTo>
                  <a:lnTo>
                    <a:pt x="176" y="38"/>
                  </a:lnTo>
                  <a:lnTo>
                    <a:pt x="182" y="36"/>
                  </a:lnTo>
                  <a:lnTo>
                    <a:pt x="186" y="36"/>
                  </a:lnTo>
                  <a:lnTo>
                    <a:pt x="192" y="34"/>
                  </a:lnTo>
                  <a:lnTo>
                    <a:pt x="196" y="30"/>
                  </a:lnTo>
                  <a:lnTo>
                    <a:pt x="204" y="34"/>
                  </a:lnTo>
                  <a:lnTo>
                    <a:pt x="214" y="36"/>
                  </a:lnTo>
                  <a:lnTo>
                    <a:pt x="218" y="38"/>
                  </a:lnTo>
                  <a:lnTo>
                    <a:pt x="218" y="42"/>
                  </a:lnTo>
                  <a:lnTo>
                    <a:pt x="222" y="44"/>
                  </a:lnTo>
                  <a:lnTo>
                    <a:pt x="228" y="44"/>
                  </a:lnTo>
                  <a:lnTo>
                    <a:pt x="234" y="48"/>
                  </a:lnTo>
                  <a:lnTo>
                    <a:pt x="238" y="48"/>
                  </a:lnTo>
                  <a:lnTo>
                    <a:pt x="244" y="46"/>
                  </a:lnTo>
                  <a:lnTo>
                    <a:pt x="250" y="48"/>
                  </a:lnTo>
                  <a:lnTo>
                    <a:pt x="256" y="50"/>
                  </a:lnTo>
                  <a:lnTo>
                    <a:pt x="266" y="48"/>
                  </a:lnTo>
                  <a:lnTo>
                    <a:pt x="270" y="44"/>
                  </a:lnTo>
                  <a:lnTo>
                    <a:pt x="280" y="44"/>
                  </a:lnTo>
                  <a:lnTo>
                    <a:pt x="292" y="36"/>
                  </a:lnTo>
                  <a:lnTo>
                    <a:pt x="294" y="34"/>
                  </a:lnTo>
                  <a:lnTo>
                    <a:pt x="302" y="40"/>
                  </a:lnTo>
                  <a:lnTo>
                    <a:pt x="308" y="40"/>
                  </a:lnTo>
                  <a:lnTo>
                    <a:pt x="316" y="42"/>
                  </a:lnTo>
                  <a:lnTo>
                    <a:pt x="312" y="54"/>
                  </a:lnTo>
                  <a:lnTo>
                    <a:pt x="314" y="60"/>
                  </a:lnTo>
                  <a:lnTo>
                    <a:pt x="312" y="66"/>
                  </a:lnTo>
                  <a:lnTo>
                    <a:pt x="310" y="68"/>
                  </a:lnTo>
                  <a:lnTo>
                    <a:pt x="310" y="74"/>
                  </a:lnTo>
                  <a:lnTo>
                    <a:pt x="318" y="78"/>
                  </a:lnTo>
                  <a:lnTo>
                    <a:pt x="326" y="76"/>
                  </a:lnTo>
                  <a:lnTo>
                    <a:pt x="332" y="70"/>
                  </a:lnTo>
                  <a:lnTo>
                    <a:pt x="336" y="70"/>
                  </a:lnTo>
                  <a:lnTo>
                    <a:pt x="338" y="74"/>
                  </a:lnTo>
                  <a:lnTo>
                    <a:pt x="344" y="80"/>
                  </a:lnTo>
                  <a:lnTo>
                    <a:pt x="352" y="82"/>
                  </a:lnTo>
                  <a:lnTo>
                    <a:pt x="356" y="86"/>
                  </a:lnTo>
                  <a:lnTo>
                    <a:pt x="354" y="92"/>
                  </a:lnTo>
                  <a:lnTo>
                    <a:pt x="350" y="92"/>
                  </a:lnTo>
                  <a:lnTo>
                    <a:pt x="344" y="92"/>
                  </a:lnTo>
                  <a:lnTo>
                    <a:pt x="342" y="94"/>
                  </a:lnTo>
                  <a:lnTo>
                    <a:pt x="340" y="96"/>
                  </a:lnTo>
                  <a:lnTo>
                    <a:pt x="336" y="98"/>
                  </a:lnTo>
                  <a:lnTo>
                    <a:pt x="330" y="98"/>
                  </a:lnTo>
                  <a:lnTo>
                    <a:pt x="320" y="104"/>
                  </a:lnTo>
                  <a:lnTo>
                    <a:pt x="318" y="100"/>
                  </a:lnTo>
                  <a:lnTo>
                    <a:pt x="314" y="102"/>
                  </a:lnTo>
                  <a:lnTo>
                    <a:pt x="312" y="108"/>
                  </a:lnTo>
                  <a:lnTo>
                    <a:pt x="308" y="110"/>
                  </a:lnTo>
                  <a:lnTo>
                    <a:pt x="292" y="114"/>
                  </a:lnTo>
                  <a:lnTo>
                    <a:pt x="290" y="122"/>
                  </a:lnTo>
                  <a:lnTo>
                    <a:pt x="282" y="128"/>
                  </a:lnTo>
                  <a:lnTo>
                    <a:pt x="274" y="126"/>
                  </a:lnTo>
                  <a:lnTo>
                    <a:pt x="270" y="118"/>
                  </a:lnTo>
                  <a:lnTo>
                    <a:pt x="264" y="118"/>
                  </a:lnTo>
                  <a:lnTo>
                    <a:pt x="260" y="122"/>
                  </a:lnTo>
                  <a:lnTo>
                    <a:pt x="256" y="128"/>
                  </a:lnTo>
                  <a:lnTo>
                    <a:pt x="256" y="134"/>
                  </a:lnTo>
                  <a:lnTo>
                    <a:pt x="258" y="140"/>
                  </a:lnTo>
                  <a:lnTo>
                    <a:pt x="260" y="146"/>
                  </a:lnTo>
                  <a:lnTo>
                    <a:pt x="256" y="152"/>
                  </a:lnTo>
                  <a:lnTo>
                    <a:pt x="250" y="154"/>
                  </a:lnTo>
                  <a:lnTo>
                    <a:pt x="242" y="158"/>
                  </a:lnTo>
                  <a:lnTo>
                    <a:pt x="230" y="160"/>
                  </a:lnTo>
                  <a:lnTo>
                    <a:pt x="220" y="160"/>
                  </a:lnTo>
                  <a:lnTo>
                    <a:pt x="214" y="162"/>
                  </a:lnTo>
                  <a:lnTo>
                    <a:pt x="210" y="162"/>
                  </a:lnTo>
                  <a:lnTo>
                    <a:pt x="204" y="168"/>
                  </a:lnTo>
                  <a:lnTo>
                    <a:pt x="196" y="172"/>
                  </a:lnTo>
                  <a:lnTo>
                    <a:pt x="188" y="172"/>
                  </a:lnTo>
                  <a:lnTo>
                    <a:pt x="180" y="174"/>
                  </a:lnTo>
                  <a:lnTo>
                    <a:pt x="168" y="174"/>
                  </a:lnTo>
                  <a:lnTo>
                    <a:pt x="162" y="170"/>
                  </a:lnTo>
                  <a:lnTo>
                    <a:pt x="156" y="164"/>
                  </a:lnTo>
                  <a:lnTo>
                    <a:pt x="154" y="162"/>
                  </a:lnTo>
                  <a:lnTo>
                    <a:pt x="136" y="162"/>
                  </a:lnTo>
                  <a:lnTo>
                    <a:pt x="126" y="160"/>
                  </a:lnTo>
                  <a:lnTo>
                    <a:pt x="118" y="160"/>
                  </a:lnTo>
                  <a:lnTo>
                    <a:pt x="108" y="160"/>
                  </a:lnTo>
                  <a:lnTo>
                    <a:pt x="102" y="160"/>
                  </a:lnTo>
                  <a:lnTo>
                    <a:pt x="96" y="156"/>
                  </a:lnTo>
                  <a:lnTo>
                    <a:pt x="90" y="150"/>
                  </a:lnTo>
                  <a:lnTo>
                    <a:pt x="84" y="144"/>
                  </a:lnTo>
                  <a:lnTo>
                    <a:pt x="80" y="142"/>
                  </a:lnTo>
                  <a:lnTo>
                    <a:pt x="76" y="134"/>
                  </a:lnTo>
                  <a:lnTo>
                    <a:pt x="72" y="130"/>
                  </a:lnTo>
                  <a:lnTo>
                    <a:pt x="66" y="128"/>
                  </a:lnTo>
                  <a:lnTo>
                    <a:pt x="62" y="124"/>
                  </a:lnTo>
                  <a:lnTo>
                    <a:pt x="56" y="120"/>
                  </a:lnTo>
                  <a:lnTo>
                    <a:pt x="48" y="120"/>
                  </a:lnTo>
                  <a:lnTo>
                    <a:pt x="42" y="118"/>
                  </a:lnTo>
                  <a:lnTo>
                    <a:pt x="40" y="114"/>
                  </a:lnTo>
                  <a:lnTo>
                    <a:pt x="42" y="106"/>
                  </a:lnTo>
                  <a:lnTo>
                    <a:pt x="44" y="102"/>
                  </a:lnTo>
                  <a:lnTo>
                    <a:pt x="40" y="94"/>
                  </a:lnTo>
                  <a:lnTo>
                    <a:pt x="34" y="92"/>
                  </a:lnTo>
                  <a:lnTo>
                    <a:pt x="34" y="88"/>
                  </a:lnTo>
                  <a:lnTo>
                    <a:pt x="26" y="80"/>
                  </a:lnTo>
                  <a:lnTo>
                    <a:pt x="20" y="76"/>
                  </a:lnTo>
                  <a:lnTo>
                    <a:pt x="12" y="78"/>
                  </a:lnTo>
                  <a:lnTo>
                    <a:pt x="6" y="76"/>
                  </a:lnTo>
                  <a:lnTo>
                    <a:pt x="2" y="72"/>
                  </a:lnTo>
                  <a:lnTo>
                    <a:pt x="2" y="68"/>
                  </a:lnTo>
                  <a:lnTo>
                    <a:pt x="0" y="60"/>
                  </a:lnTo>
                  <a:lnTo>
                    <a:pt x="0" y="48"/>
                  </a:lnTo>
                  <a:lnTo>
                    <a:pt x="6" y="48"/>
                  </a:lnTo>
                  <a:lnTo>
                    <a:pt x="10" y="44"/>
                  </a:lnTo>
                  <a:lnTo>
                    <a:pt x="14" y="42"/>
                  </a:lnTo>
                  <a:lnTo>
                    <a:pt x="14" y="38"/>
                  </a:lnTo>
                  <a:lnTo>
                    <a:pt x="16" y="34"/>
                  </a:lnTo>
                  <a:lnTo>
                    <a:pt x="20" y="32"/>
                  </a:lnTo>
                  <a:lnTo>
                    <a:pt x="26" y="28"/>
                  </a:lnTo>
                  <a:lnTo>
                    <a:pt x="34" y="26"/>
                  </a:lnTo>
                  <a:lnTo>
                    <a:pt x="38" y="24"/>
                  </a:lnTo>
                  <a:lnTo>
                    <a:pt x="46" y="22"/>
                  </a:lnTo>
                  <a:lnTo>
                    <a:pt x="52" y="24"/>
                  </a:lnTo>
                  <a:lnTo>
                    <a:pt x="54" y="26"/>
                  </a:lnTo>
                  <a:close/>
                  <a:moveTo>
                    <a:pt x="140" y="16"/>
                  </a:moveTo>
                  <a:lnTo>
                    <a:pt x="140" y="16"/>
                  </a:lnTo>
                  <a:lnTo>
                    <a:pt x="140" y="18"/>
                  </a:lnTo>
                  <a:lnTo>
                    <a:pt x="142" y="18"/>
                  </a:lnTo>
                  <a:lnTo>
                    <a:pt x="140" y="22"/>
                  </a:lnTo>
                  <a:lnTo>
                    <a:pt x="138" y="24"/>
                  </a:lnTo>
                  <a:lnTo>
                    <a:pt x="138" y="18"/>
                  </a:lnTo>
                  <a:lnTo>
                    <a:pt x="138" y="16"/>
                  </a:lnTo>
                  <a:lnTo>
                    <a:pt x="140" y="1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19" name="Freeform 581">
              <a:extLst>
                <a:ext uri="{FF2B5EF4-FFF2-40B4-BE49-F238E27FC236}">
                  <a16:creationId xmlns:a16="http://schemas.microsoft.com/office/drawing/2014/main" id="{531D919F-85AC-48BA-8C2D-2F103BA6F3B4}"/>
                </a:ext>
              </a:extLst>
            </p:cNvPr>
            <p:cNvSpPr>
              <a:spLocks/>
            </p:cNvSpPr>
            <p:nvPr/>
          </p:nvSpPr>
          <p:spPr bwMode="gray">
            <a:xfrm>
              <a:off x="4522696" y="3102299"/>
              <a:ext cx="16481" cy="14126"/>
            </a:xfrm>
            <a:custGeom>
              <a:avLst/>
              <a:gdLst>
                <a:gd name="T0" fmla="*/ 2147483647 w 8"/>
                <a:gd name="T1" fmla="*/ 2147483647 h 8"/>
                <a:gd name="T2" fmla="*/ 2147483647 w 8"/>
                <a:gd name="T3" fmla="*/ 0 h 8"/>
                <a:gd name="T4" fmla="*/ 0 w 8"/>
                <a:gd name="T5" fmla="*/ 2147483647 h 8"/>
                <a:gd name="T6" fmla="*/ 2147483647 w 8"/>
                <a:gd name="T7" fmla="*/ 2147483647 h 8"/>
                <a:gd name="T8" fmla="*/ 2147483647 w 8"/>
                <a:gd name="T9" fmla="*/ 2147483647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8"/>
                <a:gd name="T32" fmla="*/ 8 w 8"/>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8">
                  <a:moveTo>
                    <a:pt x="8" y="2"/>
                  </a:moveTo>
                  <a:lnTo>
                    <a:pt x="2" y="0"/>
                  </a:lnTo>
                  <a:lnTo>
                    <a:pt x="0" y="2"/>
                  </a:lnTo>
                  <a:lnTo>
                    <a:pt x="2" y="8"/>
                  </a:lnTo>
                  <a:lnTo>
                    <a:pt x="4" y="6"/>
                  </a:lnTo>
                  <a:lnTo>
                    <a:pt x="6" y="2"/>
                  </a:lnTo>
                  <a:lnTo>
                    <a:pt x="8"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0" name="Freeform 582">
              <a:extLst>
                <a:ext uri="{FF2B5EF4-FFF2-40B4-BE49-F238E27FC236}">
                  <a16:creationId xmlns:a16="http://schemas.microsoft.com/office/drawing/2014/main" id="{BADEBE67-05B8-4A6F-9893-3283437461E3}"/>
                </a:ext>
              </a:extLst>
            </p:cNvPr>
            <p:cNvSpPr>
              <a:spLocks/>
            </p:cNvSpPr>
            <p:nvPr/>
          </p:nvSpPr>
          <p:spPr bwMode="gray">
            <a:xfrm>
              <a:off x="4948804" y="2951624"/>
              <a:ext cx="77688" cy="98881"/>
            </a:xfrm>
            <a:custGeom>
              <a:avLst/>
              <a:gdLst>
                <a:gd name="T0" fmla="*/ 2147483647 w 42"/>
                <a:gd name="T1" fmla="*/ 2147483647 h 54"/>
                <a:gd name="T2" fmla="*/ 2147483647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2147483647 h 54"/>
                <a:gd name="T12" fmla="*/ 2147483647 w 42"/>
                <a:gd name="T13" fmla="*/ 2147483647 h 54"/>
                <a:gd name="T14" fmla="*/ 2147483647 w 42"/>
                <a:gd name="T15" fmla="*/ 2147483647 h 54"/>
                <a:gd name="T16" fmla="*/ 2147483647 w 42"/>
                <a:gd name="T17" fmla="*/ 2147483647 h 54"/>
                <a:gd name="T18" fmla="*/ 2147483647 w 42"/>
                <a:gd name="T19" fmla="*/ 2147483647 h 54"/>
                <a:gd name="T20" fmla="*/ 2147483647 w 42"/>
                <a:gd name="T21" fmla="*/ 2147483647 h 54"/>
                <a:gd name="T22" fmla="*/ 2147483647 w 42"/>
                <a:gd name="T23" fmla="*/ 2147483647 h 54"/>
                <a:gd name="T24" fmla="*/ 2147483647 w 42"/>
                <a:gd name="T25" fmla="*/ 2147483647 h 54"/>
                <a:gd name="T26" fmla="*/ 2147483647 w 42"/>
                <a:gd name="T27" fmla="*/ 2147483647 h 54"/>
                <a:gd name="T28" fmla="*/ 2147483647 w 42"/>
                <a:gd name="T29" fmla="*/ 2147483647 h 54"/>
                <a:gd name="T30" fmla="*/ 2147483647 w 42"/>
                <a:gd name="T31" fmla="*/ 2147483647 h 54"/>
                <a:gd name="T32" fmla="*/ 2147483647 w 42"/>
                <a:gd name="T33" fmla="*/ 0 h 54"/>
                <a:gd name="T34" fmla="*/ 2147483647 w 42"/>
                <a:gd name="T35" fmla="*/ 0 h 54"/>
                <a:gd name="T36" fmla="*/ 2147483647 w 42"/>
                <a:gd name="T37" fmla="*/ 0 h 54"/>
                <a:gd name="T38" fmla="*/ 0 w 42"/>
                <a:gd name="T39" fmla="*/ 2147483647 h 54"/>
                <a:gd name="T40" fmla="*/ 2147483647 w 42"/>
                <a:gd name="T41" fmla="*/ 2147483647 h 54"/>
                <a:gd name="T42" fmla="*/ 2147483647 w 42"/>
                <a:gd name="T43" fmla="*/ 2147483647 h 54"/>
                <a:gd name="T44" fmla="*/ 2147483647 w 42"/>
                <a:gd name="T45" fmla="*/ 2147483647 h 54"/>
                <a:gd name="T46" fmla="*/ 2147483647 w 42"/>
                <a:gd name="T47" fmla="*/ 2147483647 h 54"/>
                <a:gd name="T48" fmla="*/ 2147483647 w 42"/>
                <a:gd name="T49" fmla="*/ 2147483647 h 54"/>
                <a:gd name="T50" fmla="*/ 2147483647 w 42"/>
                <a:gd name="T51" fmla="*/ 2147483647 h 54"/>
                <a:gd name="T52" fmla="*/ 2147483647 w 42"/>
                <a:gd name="T53" fmla="*/ 2147483647 h 54"/>
                <a:gd name="T54" fmla="*/ 2147483647 w 42"/>
                <a:gd name="T55" fmla="*/ 2147483647 h 54"/>
                <a:gd name="T56" fmla="*/ 2147483647 w 42"/>
                <a:gd name="T57" fmla="*/ 2147483647 h 54"/>
                <a:gd name="T58" fmla="*/ 2147483647 w 42"/>
                <a:gd name="T59" fmla="*/ 2147483647 h 54"/>
                <a:gd name="T60" fmla="*/ 2147483647 w 42"/>
                <a:gd name="T61" fmla="*/ 2147483647 h 54"/>
                <a:gd name="T62" fmla="*/ 2147483647 w 42"/>
                <a:gd name="T63" fmla="*/ 2147483647 h 54"/>
                <a:gd name="T64" fmla="*/ 2147483647 w 42"/>
                <a:gd name="T65" fmla="*/ 2147483647 h 54"/>
                <a:gd name="T66" fmla="*/ 2147483647 w 42"/>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54"/>
                <a:gd name="T104" fmla="*/ 42 w 42"/>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54">
                  <a:moveTo>
                    <a:pt x="22" y="54"/>
                  </a:moveTo>
                  <a:lnTo>
                    <a:pt x="22" y="54"/>
                  </a:lnTo>
                  <a:lnTo>
                    <a:pt x="24" y="50"/>
                  </a:lnTo>
                  <a:lnTo>
                    <a:pt x="24" y="46"/>
                  </a:lnTo>
                  <a:lnTo>
                    <a:pt x="28" y="44"/>
                  </a:lnTo>
                  <a:lnTo>
                    <a:pt x="30" y="42"/>
                  </a:lnTo>
                  <a:lnTo>
                    <a:pt x="30" y="40"/>
                  </a:lnTo>
                  <a:lnTo>
                    <a:pt x="30" y="38"/>
                  </a:lnTo>
                  <a:lnTo>
                    <a:pt x="32" y="40"/>
                  </a:lnTo>
                  <a:lnTo>
                    <a:pt x="36" y="40"/>
                  </a:lnTo>
                  <a:lnTo>
                    <a:pt x="40" y="42"/>
                  </a:lnTo>
                  <a:lnTo>
                    <a:pt x="42" y="44"/>
                  </a:lnTo>
                  <a:lnTo>
                    <a:pt x="36" y="36"/>
                  </a:lnTo>
                  <a:lnTo>
                    <a:pt x="34" y="34"/>
                  </a:lnTo>
                  <a:lnTo>
                    <a:pt x="32" y="30"/>
                  </a:lnTo>
                  <a:lnTo>
                    <a:pt x="32" y="28"/>
                  </a:lnTo>
                  <a:lnTo>
                    <a:pt x="32" y="24"/>
                  </a:lnTo>
                  <a:lnTo>
                    <a:pt x="30" y="22"/>
                  </a:lnTo>
                  <a:lnTo>
                    <a:pt x="28" y="18"/>
                  </a:lnTo>
                  <a:lnTo>
                    <a:pt x="28" y="16"/>
                  </a:lnTo>
                  <a:lnTo>
                    <a:pt x="28" y="10"/>
                  </a:lnTo>
                  <a:lnTo>
                    <a:pt x="24" y="8"/>
                  </a:lnTo>
                  <a:lnTo>
                    <a:pt x="18" y="4"/>
                  </a:lnTo>
                  <a:lnTo>
                    <a:pt x="14" y="0"/>
                  </a:lnTo>
                  <a:lnTo>
                    <a:pt x="10" y="0"/>
                  </a:lnTo>
                  <a:lnTo>
                    <a:pt x="6" y="0"/>
                  </a:lnTo>
                  <a:lnTo>
                    <a:pt x="2" y="0"/>
                  </a:lnTo>
                  <a:lnTo>
                    <a:pt x="0" y="2"/>
                  </a:lnTo>
                  <a:lnTo>
                    <a:pt x="0" y="4"/>
                  </a:lnTo>
                  <a:lnTo>
                    <a:pt x="4" y="6"/>
                  </a:lnTo>
                  <a:lnTo>
                    <a:pt x="8" y="12"/>
                  </a:lnTo>
                  <a:lnTo>
                    <a:pt x="10" y="16"/>
                  </a:lnTo>
                  <a:lnTo>
                    <a:pt x="12" y="20"/>
                  </a:lnTo>
                  <a:lnTo>
                    <a:pt x="16" y="24"/>
                  </a:lnTo>
                  <a:lnTo>
                    <a:pt x="18" y="28"/>
                  </a:lnTo>
                  <a:lnTo>
                    <a:pt x="16" y="32"/>
                  </a:lnTo>
                  <a:lnTo>
                    <a:pt x="18" y="34"/>
                  </a:lnTo>
                  <a:lnTo>
                    <a:pt x="18" y="36"/>
                  </a:lnTo>
                  <a:lnTo>
                    <a:pt x="18" y="40"/>
                  </a:lnTo>
                  <a:lnTo>
                    <a:pt x="18" y="44"/>
                  </a:lnTo>
                  <a:lnTo>
                    <a:pt x="16" y="46"/>
                  </a:lnTo>
                  <a:lnTo>
                    <a:pt x="18" y="46"/>
                  </a:lnTo>
                  <a:lnTo>
                    <a:pt x="18" y="48"/>
                  </a:lnTo>
                  <a:lnTo>
                    <a:pt x="18" y="50"/>
                  </a:lnTo>
                  <a:lnTo>
                    <a:pt x="18" y="52"/>
                  </a:lnTo>
                  <a:lnTo>
                    <a:pt x="22" y="5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1" name="Freeform 583">
              <a:extLst>
                <a:ext uri="{FF2B5EF4-FFF2-40B4-BE49-F238E27FC236}">
                  <a16:creationId xmlns:a16="http://schemas.microsoft.com/office/drawing/2014/main" id="{0CF089F6-CB47-4E3C-9195-340CFC5EEF5F}"/>
                </a:ext>
              </a:extLst>
            </p:cNvPr>
            <p:cNvSpPr>
              <a:spLocks/>
            </p:cNvSpPr>
            <p:nvPr/>
          </p:nvSpPr>
          <p:spPr bwMode="gray">
            <a:xfrm>
              <a:off x="1935450" y="3413065"/>
              <a:ext cx="626212" cy="477921"/>
            </a:xfrm>
            <a:custGeom>
              <a:avLst/>
              <a:gdLst>
                <a:gd name="T0" fmla="*/ 2147483647 w 338"/>
                <a:gd name="T1" fmla="*/ 2147483647 h 258"/>
                <a:gd name="T2" fmla="*/ 2147483647 w 338"/>
                <a:gd name="T3" fmla="*/ 2147483647 h 258"/>
                <a:gd name="T4" fmla="*/ 2147483647 w 338"/>
                <a:gd name="T5" fmla="*/ 2147483647 h 258"/>
                <a:gd name="T6" fmla="*/ 2147483647 w 338"/>
                <a:gd name="T7" fmla="*/ 2147483647 h 258"/>
                <a:gd name="T8" fmla="*/ 2147483647 w 338"/>
                <a:gd name="T9" fmla="*/ 2147483647 h 258"/>
                <a:gd name="T10" fmla="*/ 2147483647 w 338"/>
                <a:gd name="T11" fmla="*/ 2147483647 h 258"/>
                <a:gd name="T12" fmla="*/ 2147483647 w 338"/>
                <a:gd name="T13" fmla="*/ 2147483647 h 258"/>
                <a:gd name="T14" fmla="*/ 2147483647 w 338"/>
                <a:gd name="T15" fmla="*/ 2147483647 h 258"/>
                <a:gd name="T16" fmla="*/ 2147483647 w 338"/>
                <a:gd name="T17" fmla="*/ 2147483647 h 258"/>
                <a:gd name="T18" fmla="*/ 2147483647 w 338"/>
                <a:gd name="T19" fmla="*/ 2147483647 h 258"/>
                <a:gd name="T20" fmla="*/ 2147483647 w 338"/>
                <a:gd name="T21" fmla="*/ 2147483647 h 258"/>
                <a:gd name="T22" fmla="*/ 2147483647 w 338"/>
                <a:gd name="T23" fmla="*/ 2147483647 h 258"/>
                <a:gd name="T24" fmla="*/ 2147483647 w 338"/>
                <a:gd name="T25" fmla="*/ 2147483647 h 258"/>
                <a:gd name="T26" fmla="*/ 2147483647 w 338"/>
                <a:gd name="T27" fmla="*/ 2147483647 h 258"/>
                <a:gd name="T28" fmla="*/ 2147483647 w 338"/>
                <a:gd name="T29" fmla="*/ 2147483647 h 258"/>
                <a:gd name="T30" fmla="*/ 2147483647 w 338"/>
                <a:gd name="T31" fmla="*/ 2147483647 h 258"/>
                <a:gd name="T32" fmla="*/ 2147483647 w 338"/>
                <a:gd name="T33" fmla="*/ 2147483647 h 258"/>
                <a:gd name="T34" fmla="*/ 2147483647 w 338"/>
                <a:gd name="T35" fmla="*/ 2147483647 h 258"/>
                <a:gd name="T36" fmla="*/ 2147483647 w 338"/>
                <a:gd name="T37" fmla="*/ 2147483647 h 258"/>
                <a:gd name="T38" fmla="*/ 2147483647 w 338"/>
                <a:gd name="T39" fmla="*/ 2147483647 h 258"/>
                <a:gd name="T40" fmla="*/ 2147483647 w 338"/>
                <a:gd name="T41" fmla="*/ 2147483647 h 258"/>
                <a:gd name="T42" fmla="*/ 2147483647 w 338"/>
                <a:gd name="T43" fmla="*/ 2147483647 h 258"/>
                <a:gd name="T44" fmla="*/ 2147483647 w 338"/>
                <a:gd name="T45" fmla="*/ 2147483647 h 258"/>
                <a:gd name="T46" fmla="*/ 2147483647 w 338"/>
                <a:gd name="T47" fmla="*/ 2147483647 h 258"/>
                <a:gd name="T48" fmla="*/ 2147483647 w 338"/>
                <a:gd name="T49" fmla="*/ 2147483647 h 258"/>
                <a:gd name="T50" fmla="*/ 2147483647 w 338"/>
                <a:gd name="T51" fmla="*/ 2147483647 h 258"/>
                <a:gd name="T52" fmla="*/ 2147483647 w 338"/>
                <a:gd name="T53" fmla="*/ 2147483647 h 258"/>
                <a:gd name="T54" fmla="*/ 2147483647 w 338"/>
                <a:gd name="T55" fmla="*/ 2147483647 h 258"/>
                <a:gd name="T56" fmla="*/ 2147483647 w 338"/>
                <a:gd name="T57" fmla="*/ 2147483647 h 258"/>
                <a:gd name="T58" fmla="*/ 2147483647 w 338"/>
                <a:gd name="T59" fmla="*/ 2147483647 h 258"/>
                <a:gd name="T60" fmla="*/ 2147483647 w 338"/>
                <a:gd name="T61" fmla="*/ 2147483647 h 258"/>
                <a:gd name="T62" fmla="*/ 2147483647 w 338"/>
                <a:gd name="T63" fmla="*/ 2147483647 h 258"/>
                <a:gd name="T64" fmla="*/ 2147483647 w 338"/>
                <a:gd name="T65" fmla="*/ 2147483647 h 258"/>
                <a:gd name="T66" fmla="*/ 2147483647 w 338"/>
                <a:gd name="T67" fmla="*/ 2147483647 h 258"/>
                <a:gd name="T68" fmla="*/ 2147483647 w 338"/>
                <a:gd name="T69" fmla="*/ 2147483647 h 258"/>
                <a:gd name="T70" fmla="*/ 2147483647 w 338"/>
                <a:gd name="T71" fmla="*/ 2147483647 h 258"/>
                <a:gd name="T72" fmla="*/ 2147483647 w 338"/>
                <a:gd name="T73" fmla="*/ 2147483647 h 258"/>
                <a:gd name="T74" fmla="*/ 2147483647 w 338"/>
                <a:gd name="T75" fmla="*/ 2147483647 h 258"/>
                <a:gd name="T76" fmla="*/ 2147483647 w 338"/>
                <a:gd name="T77" fmla="*/ 2147483647 h 258"/>
                <a:gd name="T78" fmla="*/ 2147483647 w 338"/>
                <a:gd name="T79" fmla="*/ 2147483647 h 258"/>
                <a:gd name="T80" fmla="*/ 2147483647 w 338"/>
                <a:gd name="T81" fmla="*/ 2147483647 h 258"/>
                <a:gd name="T82" fmla="*/ 2147483647 w 338"/>
                <a:gd name="T83" fmla="*/ 2147483647 h 258"/>
                <a:gd name="T84" fmla="*/ 2147483647 w 338"/>
                <a:gd name="T85" fmla="*/ 2147483647 h 258"/>
                <a:gd name="T86" fmla="*/ 2147483647 w 338"/>
                <a:gd name="T87" fmla="*/ 2147483647 h 258"/>
                <a:gd name="T88" fmla="*/ 2147483647 w 338"/>
                <a:gd name="T89" fmla="*/ 2147483647 h 258"/>
                <a:gd name="T90" fmla="*/ 2147483647 w 338"/>
                <a:gd name="T91" fmla="*/ 2147483647 h 258"/>
                <a:gd name="T92" fmla="*/ 2147483647 w 338"/>
                <a:gd name="T93" fmla="*/ 2147483647 h 258"/>
                <a:gd name="T94" fmla="*/ 2147483647 w 338"/>
                <a:gd name="T95" fmla="*/ 2147483647 h 258"/>
                <a:gd name="T96" fmla="*/ 2147483647 w 338"/>
                <a:gd name="T97" fmla="*/ 2147483647 h 258"/>
                <a:gd name="T98" fmla="*/ 2147483647 w 338"/>
                <a:gd name="T99" fmla="*/ 2147483647 h 258"/>
                <a:gd name="T100" fmla="*/ 2147483647 w 338"/>
                <a:gd name="T101" fmla="*/ 2147483647 h 258"/>
                <a:gd name="T102" fmla="*/ 2147483647 w 338"/>
                <a:gd name="T103" fmla="*/ 2147483647 h 258"/>
                <a:gd name="T104" fmla="*/ 2147483647 w 338"/>
                <a:gd name="T105" fmla="*/ 2147483647 h 258"/>
                <a:gd name="T106" fmla="*/ 2147483647 w 338"/>
                <a:gd name="T107" fmla="*/ 2147483647 h 258"/>
                <a:gd name="T108" fmla="*/ 2147483647 w 338"/>
                <a:gd name="T109" fmla="*/ 2147483647 h 258"/>
                <a:gd name="T110" fmla="*/ 2147483647 w 338"/>
                <a:gd name="T111" fmla="*/ 2147483647 h 258"/>
                <a:gd name="T112" fmla="*/ 2147483647 w 338"/>
                <a:gd name="T113" fmla="*/ 2147483647 h 258"/>
                <a:gd name="T114" fmla="*/ 2147483647 w 338"/>
                <a:gd name="T115" fmla="*/ 2147483647 h 258"/>
                <a:gd name="T116" fmla="*/ 2147483647 w 338"/>
                <a:gd name="T117" fmla="*/ 2147483647 h 258"/>
                <a:gd name="T118" fmla="*/ 2147483647 w 338"/>
                <a:gd name="T119" fmla="*/ 2147483647 h 258"/>
                <a:gd name="T120" fmla="*/ 2147483647 w 338"/>
                <a:gd name="T121" fmla="*/ 2147483647 h 258"/>
                <a:gd name="T122" fmla="*/ 2147483647 w 338"/>
                <a:gd name="T123" fmla="*/ 2147483647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8"/>
                <a:gd name="T187" fmla="*/ 0 h 258"/>
                <a:gd name="T188" fmla="*/ 338 w 338"/>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8" h="258">
                  <a:moveTo>
                    <a:pt x="0" y="2"/>
                  </a:moveTo>
                  <a:lnTo>
                    <a:pt x="0" y="2"/>
                  </a:lnTo>
                  <a:lnTo>
                    <a:pt x="0" y="10"/>
                  </a:lnTo>
                  <a:lnTo>
                    <a:pt x="2" y="16"/>
                  </a:lnTo>
                  <a:lnTo>
                    <a:pt x="6" y="16"/>
                  </a:lnTo>
                  <a:lnTo>
                    <a:pt x="6" y="20"/>
                  </a:lnTo>
                  <a:lnTo>
                    <a:pt x="8" y="24"/>
                  </a:lnTo>
                  <a:lnTo>
                    <a:pt x="8" y="32"/>
                  </a:lnTo>
                  <a:lnTo>
                    <a:pt x="16" y="40"/>
                  </a:lnTo>
                  <a:lnTo>
                    <a:pt x="22" y="46"/>
                  </a:lnTo>
                  <a:lnTo>
                    <a:pt x="28" y="48"/>
                  </a:lnTo>
                  <a:lnTo>
                    <a:pt x="32" y="52"/>
                  </a:lnTo>
                  <a:lnTo>
                    <a:pt x="32" y="60"/>
                  </a:lnTo>
                  <a:lnTo>
                    <a:pt x="34" y="76"/>
                  </a:lnTo>
                  <a:lnTo>
                    <a:pt x="22" y="78"/>
                  </a:lnTo>
                  <a:lnTo>
                    <a:pt x="36" y="88"/>
                  </a:lnTo>
                  <a:lnTo>
                    <a:pt x="36" y="90"/>
                  </a:lnTo>
                  <a:lnTo>
                    <a:pt x="42" y="92"/>
                  </a:lnTo>
                  <a:lnTo>
                    <a:pt x="48" y="94"/>
                  </a:lnTo>
                  <a:lnTo>
                    <a:pt x="50" y="102"/>
                  </a:lnTo>
                  <a:lnTo>
                    <a:pt x="54" y="102"/>
                  </a:lnTo>
                  <a:lnTo>
                    <a:pt x="56" y="106"/>
                  </a:lnTo>
                  <a:lnTo>
                    <a:pt x="56" y="112"/>
                  </a:lnTo>
                  <a:lnTo>
                    <a:pt x="54" y="116"/>
                  </a:lnTo>
                  <a:lnTo>
                    <a:pt x="56" y="122"/>
                  </a:lnTo>
                  <a:lnTo>
                    <a:pt x="60" y="124"/>
                  </a:lnTo>
                  <a:lnTo>
                    <a:pt x="64" y="126"/>
                  </a:lnTo>
                  <a:lnTo>
                    <a:pt x="64" y="130"/>
                  </a:lnTo>
                  <a:lnTo>
                    <a:pt x="72" y="138"/>
                  </a:lnTo>
                  <a:lnTo>
                    <a:pt x="76" y="144"/>
                  </a:lnTo>
                  <a:lnTo>
                    <a:pt x="80" y="150"/>
                  </a:lnTo>
                  <a:lnTo>
                    <a:pt x="82" y="148"/>
                  </a:lnTo>
                  <a:lnTo>
                    <a:pt x="84" y="146"/>
                  </a:lnTo>
                  <a:lnTo>
                    <a:pt x="84" y="144"/>
                  </a:lnTo>
                  <a:lnTo>
                    <a:pt x="84" y="140"/>
                  </a:lnTo>
                  <a:lnTo>
                    <a:pt x="80" y="136"/>
                  </a:lnTo>
                  <a:lnTo>
                    <a:pt x="76" y="134"/>
                  </a:lnTo>
                  <a:lnTo>
                    <a:pt x="76" y="132"/>
                  </a:lnTo>
                  <a:lnTo>
                    <a:pt x="76" y="130"/>
                  </a:lnTo>
                  <a:lnTo>
                    <a:pt x="72" y="128"/>
                  </a:lnTo>
                  <a:lnTo>
                    <a:pt x="70" y="128"/>
                  </a:lnTo>
                  <a:lnTo>
                    <a:pt x="70" y="124"/>
                  </a:lnTo>
                  <a:lnTo>
                    <a:pt x="72" y="120"/>
                  </a:lnTo>
                  <a:lnTo>
                    <a:pt x="68" y="120"/>
                  </a:lnTo>
                  <a:lnTo>
                    <a:pt x="66" y="106"/>
                  </a:lnTo>
                  <a:lnTo>
                    <a:pt x="62" y="92"/>
                  </a:lnTo>
                  <a:lnTo>
                    <a:pt x="56" y="90"/>
                  </a:lnTo>
                  <a:lnTo>
                    <a:pt x="56" y="86"/>
                  </a:lnTo>
                  <a:lnTo>
                    <a:pt x="56" y="82"/>
                  </a:lnTo>
                  <a:lnTo>
                    <a:pt x="52" y="82"/>
                  </a:lnTo>
                  <a:lnTo>
                    <a:pt x="48" y="72"/>
                  </a:lnTo>
                  <a:lnTo>
                    <a:pt x="46" y="62"/>
                  </a:lnTo>
                  <a:lnTo>
                    <a:pt x="40" y="62"/>
                  </a:lnTo>
                  <a:lnTo>
                    <a:pt x="40" y="54"/>
                  </a:lnTo>
                  <a:lnTo>
                    <a:pt x="38" y="48"/>
                  </a:lnTo>
                  <a:lnTo>
                    <a:pt x="34" y="48"/>
                  </a:lnTo>
                  <a:lnTo>
                    <a:pt x="28" y="32"/>
                  </a:lnTo>
                  <a:lnTo>
                    <a:pt x="22" y="26"/>
                  </a:lnTo>
                  <a:lnTo>
                    <a:pt x="24" y="22"/>
                  </a:lnTo>
                  <a:lnTo>
                    <a:pt x="24" y="18"/>
                  </a:lnTo>
                  <a:lnTo>
                    <a:pt x="34" y="22"/>
                  </a:lnTo>
                  <a:lnTo>
                    <a:pt x="36" y="22"/>
                  </a:lnTo>
                  <a:lnTo>
                    <a:pt x="36" y="20"/>
                  </a:lnTo>
                  <a:lnTo>
                    <a:pt x="42" y="20"/>
                  </a:lnTo>
                  <a:lnTo>
                    <a:pt x="42" y="24"/>
                  </a:lnTo>
                  <a:lnTo>
                    <a:pt x="46" y="24"/>
                  </a:lnTo>
                  <a:lnTo>
                    <a:pt x="44" y="30"/>
                  </a:lnTo>
                  <a:lnTo>
                    <a:pt x="44" y="34"/>
                  </a:lnTo>
                  <a:lnTo>
                    <a:pt x="50" y="40"/>
                  </a:lnTo>
                  <a:lnTo>
                    <a:pt x="52" y="46"/>
                  </a:lnTo>
                  <a:lnTo>
                    <a:pt x="52" y="50"/>
                  </a:lnTo>
                  <a:lnTo>
                    <a:pt x="62" y="58"/>
                  </a:lnTo>
                  <a:lnTo>
                    <a:pt x="62" y="62"/>
                  </a:lnTo>
                  <a:lnTo>
                    <a:pt x="62" y="64"/>
                  </a:lnTo>
                  <a:lnTo>
                    <a:pt x="64" y="64"/>
                  </a:lnTo>
                  <a:lnTo>
                    <a:pt x="68" y="70"/>
                  </a:lnTo>
                  <a:lnTo>
                    <a:pt x="72" y="76"/>
                  </a:lnTo>
                  <a:lnTo>
                    <a:pt x="76" y="76"/>
                  </a:lnTo>
                  <a:lnTo>
                    <a:pt x="78" y="80"/>
                  </a:lnTo>
                  <a:lnTo>
                    <a:pt x="76" y="84"/>
                  </a:lnTo>
                  <a:lnTo>
                    <a:pt x="80" y="84"/>
                  </a:lnTo>
                  <a:lnTo>
                    <a:pt x="82" y="86"/>
                  </a:lnTo>
                  <a:lnTo>
                    <a:pt x="84" y="92"/>
                  </a:lnTo>
                  <a:lnTo>
                    <a:pt x="92" y="96"/>
                  </a:lnTo>
                  <a:lnTo>
                    <a:pt x="90" y="98"/>
                  </a:lnTo>
                  <a:lnTo>
                    <a:pt x="88" y="102"/>
                  </a:lnTo>
                  <a:lnTo>
                    <a:pt x="88" y="106"/>
                  </a:lnTo>
                  <a:lnTo>
                    <a:pt x="96" y="112"/>
                  </a:lnTo>
                  <a:lnTo>
                    <a:pt x="104" y="120"/>
                  </a:lnTo>
                  <a:lnTo>
                    <a:pt x="106" y="126"/>
                  </a:lnTo>
                  <a:lnTo>
                    <a:pt x="108" y="130"/>
                  </a:lnTo>
                  <a:lnTo>
                    <a:pt x="112" y="130"/>
                  </a:lnTo>
                  <a:lnTo>
                    <a:pt x="114" y="130"/>
                  </a:lnTo>
                  <a:lnTo>
                    <a:pt x="114" y="134"/>
                  </a:lnTo>
                  <a:lnTo>
                    <a:pt x="114" y="136"/>
                  </a:lnTo>
                  <a:lnTo>
                    <a:pt x="118" y="136"/>
                  </a:lnTo>
                  <a:lnTo>
                    <a:pt x="122" y="144"/>
                  </a:lnTo>
                  <a:lnTo>
                    <a:pt x="122" y="148"/>
                  </a:lnTo>
                  <a:lnTo>
                    <a:pt x="122" y="150"/>
                  </a:lnTo>
                  <a:lnTo>
                    <a:pt x="128" y="156"/>
                  </a:lnTo>
                  <a:lnTo>
                    <a:pt x="132" y="164"/>
                  </a:lnTo>
                  <a:lnTo>
                    <a:pt x="134" y="170"/>
                  </a:lnTo>
                  <a:lnTo>
                    <a:pt x="134" y="176"/>
                  </a:lnTo>
                  <a:lnTo>
                    <a:pt x="132" y="184"/>
                  </a:lnTo>
                  <a:lnTo>
                    <a:pt x="130" y="194"/>
                  </a:lnTo>
                  <a:lnTo>
                    <a:pt x="130" y="198"/>
                  </a:lnTo>
                  <a:lnTo>
                    <a:pt x="132" y="202"/>
                  </a:lnTo>
                  <a:lnTo>
                    <a:pt x="136" y="204"/>
                  </a:lnTo>
                  <a:lnTo>
                    <a:pt x="138" y="206"/>
                  </a:lnTo>
                  <a:lnTo>
                    <a:pt x="144" y="208"/>
                  </a:lnTo>
                  <a:lnTo>
                    <a:pt x="156" y="224"/>
                  </a:lnTo>
                  <a:lnTo>
                    <a:pt x="160" y="224"/>
                  </a:lnTo>
                  <a:lnTo>
                    <a:pt x="164" y="226"/>
                  </a:lnTo>
                  <a:lnTo>
                    <a:pt x="172" y="226"/>
                  </a:lnTo>
                  <a:lnTo>
                    <a:pt x="178" y="232"/>
                  </a:lnTo>
                  <a:lnTo>
                    <a:pt x="186" y="240"/>
                  </a:lnTo>
                  <a:lnTo>
                    <a:pt x="194" y="240"/>
                  </a:lnTo>
                  <a:lnTo>
                    <a:pt x="202" y="242"/>
                  </a:lnTo>
                  <a:lnTo>
                    <a:pt x="206" y="246"/>
                  </a:lnTo>
                  <a:lnTo>
                    <a:pt x="210" y="250"/>
                  </a:lnTo>
                  <a:lnTo>
                    <a:pt x="226" y="254"/>
                  </a:lnTo>
                  <a:lnTo>
                    <a:pt x="232" y="252"/>
                  </a:lnTo>
                  <a:lnTo>
                    <a:pt x="238" y="250"/>
                  </a:lnTo>
                  <a:lnTo>
                    <a:pt x="244" y="248"/>
                  </a:lnTo>
                  <a:lnTo>
                    <a:pt x="252" y="248"/>
                  </a:lnTo>
                  <a:lnTo>
                    <a:pt x="264" y="252"/>
                  </a:lnTo>
                  <a:lnTo>
                    <a:pt x="264" y="248"/>
                  </a:lnTo>
                  <a:lnTo>
                    <a:pt x="266" y="248"/>
                  </a:lnTo>
                  <a:lnTo>
                    <a:pt x="268" y="250"/>
                  </a:lnTo>
                  <a:lnTo>
                    <a:pt x="270" y="252"/>
                  </a:lnTo>
                  <a:lnTo>
                    <a:pt x="274" y="258"/>
                  </a:lnTo>
                  <a:lnTo>
                    <a:pt x="276" y="256"/>
                  </a:lnTo>
                  <a:lnTo>
                    <a:pt x="278" y="254"/>
                  </a:lnTo>
                  <a:lnTo>
                    <a:pt x="276" y="254"/>
                  </a:lnTo>
                  <a:lnTo>
                    <a:pt x="278" y="250"/>
                  </a:lnTo>
                  <a:lnTo>
                    <a:pt x="280" y="246"/>
                  </a:lnTo>
                  <a:lnTo>
                    <a:pt x="284" y="242"/>
                  </a:lnTo>
                  <a:lnTo>
                    <a:pt x="298" y="242"/>
                  </a:lnTo>
                  <a:lnTo>
                    <a:pt x="296" y="240"/>
                  </a:lnTo>
                  <a:lnTo>
                    <a:pt x="294" y="236"/>
                  </a:lnTo>
                  <a:lnTo>
                    <a:pt x="290" y="232"/>
                  </a:lnTo>
                  <a:lnTo>
                    <a:pt x="288" y="228"/>
                  </a:lnTo>
                  <a:lnTo>
                    <a:pt x="288" y="224"/>
                  </a:lnTo>
                  <a:lnTo>
                    <a:pt x="292" y="224"/>
                  </a:lnTo>
                  <a:lnTo>
                    <a:pt x="294" y="218"/>
                  </a:lnTo>
                  <a:lnTo>
                    <a:pt x="314" y="218"/>
                  </a:lnTo>
                  <a:lnTo>
                    <a:pt x="318" y="216"/>
                  </a:lnTo>
                  <a:lnTo>
                    <a:pt x="318" y="214"/>
                  </a:lnTo>
                  <a:lnTo>
                    <a:pt x="320" y="214"/>
                  </a:lnTo>
                  <a:lnTo>
                    <a:pt x="322" y="214"/>
                  </a:lnTo>
                  <a:lnTo>
                    <a:pt x="322" y="212"/>
                  </a:lnTo>
                  <a:lnTo>
                    <a:pt x="324" y="212"/>
                  </a:lnTo>
                  <a:lnTo>
                    <a:pt x="326" y="210"/>
                  </a:lnTo>
                  <a:lnTo>
                    <a:pt x="326" y="214"/>
                  </a:lnTo>
                  <a:lnTo>
                    <a:pt x="330" y="216"/>
                  </a:lnTo>
                  <a:lnTo>
                    <a:pt x="332" y="216"/>
                  </a:lnTo>
                  <a:lnTo>
                    <a:pt x="332" y="214"/>
                  </a:lnTo>
                  <a:lnTo>
                    <a:pt x="332" y="204"/>
                  </a:lnTo>
                  <a:lnTo>
                    <a:pt x="336" y="186"/>
                  </a:lnTo>
                  <a:lnTo>
                    <a:pt x="338" y="174"/>
                  </a:lnTo>
                  <a:lnTo>
                    <a:pt x="338" y="170"/>
                  </a:lnTo>
                  <a:lnTo>
                    <a:pt x="336" y="168"/>
                  </a:lnTo>
                  <a:lnTo>
                    <a:pt x="334" y="166"/>
                  </a:lnTo>
                  <a:lnTo>
                    <a:pt x="328" y="166"/>
                  </a:lnTo>
                  <a:lnTo>
                    <a:pt x="320" y="168"/>
                  </a:lnTo>
                  <a:lnTo>
                    <a:pt x="302" y="176"/>
                  </a:lnTo>
                  <a:lnTo>
                    <a:pt x="302" y="186"/>
                  </a:lnTo>
                  <a:lnTo>
                    <a:pt x="300" y="194"/>
                  </a:lnTo>
                  <a:lnTo>
                    <a:pt x="296" y="196"/>
                  </a:lnTo>
                  <a:lnTo>
                    <a:pt x="296" y="200"/>
                  </a:lnTo>
                  <a:lnTo>
                    <a:pt x="296" y="204"/>
                  </a:lnTo>
                  <a:lnTo>
                    <a:pt x="292" y="206"/>
                  </a:lnTo>
                  <a:lnTo>
                    <a:pt x="290" y="212"/>
                  </a:lnTo>
                  <a:lnTo>
                    <a:pt x="288" y="212"/>
                  </a:lnTo>
                  <a:lnTo>
                    <a:pt x="286" y="212"/>
                  </a:lnTo>
                  <a:lnTo>
                    <a:pt x="284" y="212"/>
                  </a:lnTo>
                  <a:lnTo>
                    <a:pt x="284" y="210"/>
                  </a:lnTo>
                  <a:lnTo>
                    <a:pt x="276" y="210"/>
                  </a:lnTo>
                  <a:lnTo>
                    <a:pt x="272" y="214"/>
                  </a:lnTo>
                  <a:lnTo>
                    <a:pt x="268" y="216"/>
                  </a:lnTo>
                  <a:lnTo>
                    <a:pt x="264" y="216"/>
                  </a:lnTo>
                  <a:lnTo>
                    <a:pt x="262" y="220"/>
                  </a:lnTo>
                  <a:lnTo>
                    <a:pt x="262" y="222"/>
                  </a:lnTo>
                  <a:lnTo>
                    <a:pt x="260" y="222"/>
                  </a:lnTo>
                  <a:lnTo>
                    <a:pt x="258" y="222"/>
                  </a:lnTo>
                  <a:lnTo>
                    <a:pt x="260" y="220"/>
                  </a:lnTo>
                  <a:lnTo>
                    <a:pt x="256" y="220"/>
                  </a:lnTo>
                  <a:lnTo>
                    <a:pt x="252" y="222"/>
                  </a:lnTo>
                  <a:lnTo>
                    <a:pt x="250" y="214"/>
                  </a:lnTo>
                  <a:lnTo>
                    <a:pt x="244" y="214"/>
                  </a:lnTo>
                  <a:lnTo>
                    <a:pt x="240" y="214"/>
                  </a:lnTo>
                  <a:lnTo>
                    <a:pt x="238" y="212"/>
                  </a:lnTo>
                  <a:lnTo>
                    <a:pt x="236" y="208"/>
                  </a:lnTo>
                  <a:lnTo>
                    <a:pt x="234" y="204"/>
                  </a:lnTo>
                  <a:lnTo>
                    <a:pt x="226" y="190"/>
                  </a:lnTo>
                  <a:lnTo>
                    <a:pt x="218" y="174"/>
                  </a:lnTo>
                  <a:lnTo>
                    <a:pt x="214" y="176"/>
                  </a:lnTo>
                  <a:lnTo>
                    <a:pt x="216" y="170"/>
                  </a:lnTo>
                  <a:lnTo>
                    <a:pt x="214" y="164"/>
                  </a:lnTo>
                  <a:lnTo>
                    <a:pt x="218" y="160"/>
                  </a:lnTo>
                  <a:lnTo>
                    <a:pt x="218" y="156"/>
                  </a:lnTo>
                  <a:lnTo>
                    <a:pt x="218" y="152"/>
                  </a:lnTo>
                  <a:lnTo>
                    <a:pt x="214" y="144"/>
                  </a:lnTo>
                  <a:lnTo>
                    <a:pt x="216" y="140"/>
                  </a:lnTo>
                  <a:lnTo>
                    <a:pt x="216" y="136"/>
                  </a:lnTo>
                  <a:lnTo>
                    <a:pt x="214" y="130"/>
                  </a:lnTo>
                  <a:lnTo>
                    <a:pt x="212" y="124"/>
                  </a:lnTo>
                  <a:lnTo>
                    <a:pt x="214" y="122"/>
                  </a:lnTo>
                  <a:lnTo>
                    <a:pt x="218" y="118"/>
                  </a:lnTo>
                  <a:lnTo>
                    <a:pt x="222" y="116"/>
                  </a:lnTo>
                  <a:lnTo>
                    <a:pt x="224" y="114"/>
                  </a:lnTo>
                  <a:lnTo>
                    <a:pt x="224" y="108"/>
                  </a:lnTo>
                  <a:lnTo>
                    <a:pt x="222" y="104"/>
                  </a:lnTo>
                  <a:lnTo>
                    <a:pt x="218" y="104"/>
                  </a:lnTo>
                  <a:lnTo>
                    <a:pt x="218" y="102"/>
                  </a:lnTo>
                  <a:lnTo>
                    <a:pt x="214" y="100"/>
                  </a:lnTo>
                  <a:lnTo>
                    <a:pt x="208" y="98"/>
                  </a:lnTo>
                  <a:lnTo>
                    <a:pt x="202" y="96"/>
                  </a:lnTo>
                  <a:lnTo>
                    <a:pt x="200" y="92"/>
                  </a:lnTo>
                  <a:lnTo>
                    <a:pt x="200" y="90"/>
                  </a:lnTo>
                  <a:lnTo>
                    <a:pt x="198" y="86"/>
                  </a:lnTo>
                  <a:lnTo>
                    <a:pt x="196" y="80"/>
                  </a:lnTo>
                  <a:lnTo>
                    <a:pt x="194" y="76"/>
                  </a:lnTo>
                  <a:lnTo>
                    <a:pt x="192" y="72"/>
                  </a:lnTo>
                  <a:lnTo>
                    <a:pt x="188" y="68"/>
                  </a:lnTo>
                  <a:lnTo>
                    <a:pt x="186" y="62"/>
                  </a:lnTo>
                  <a:lnTo>
                    <a:pt x="186" y="60"/>
                  </a:lnTo>
                  <a:lnTo>
                    <a:pt x="184" y="56"/>
                  </a:lnTo>
                  <a:lnTo>
                    <a:pt x="178" y="50"/>
                  </a:lnTo>
                  <a:lnTo>
                    <a:pt x="176" y="46"/>
                  </a:lnTo>
                  <a:lnTo>
                    <a:pt x="174" y="44"/>
                  </a:lnTo>
                  <a:lnTo>
                    <a:pt x="170" y="44"/>
                  </a:lnTo>
                  <a:lnTo>
                    <a:pt x="166" y="44"/>
                  </a:lnTo>
                  <a:lnTo>
                    <a:pt x="162" y="42"/>
                  </a:lnTo>
                  <a:lnTo>
                    <a:pt x="160" y="44"/>
                  </a:lnTo>
                  <a:lnTo>
                    <a:pt x="158" y="48"/>
                  </a:lnTo>
                  <a:lnTo>
                    <a:pt x="156" y="52"/>
                  </a:lnTo>
                  <a:lnTo>
                    <a:pt x="150" y="52"/>
                  </a:lnTo>
                  <a:lnTo>
                    <a:pt x="144" y="50"/>
                  </a:lnTo>
                  <a:lnTo>
                    <a:pt x="142" y="46"/>
                  </a:lnTo>
                  <a:lnTo>
                    <a:pt x="140" y="40"/>
                  </a:lnTo>
                  <a:lnTo>
                    <a:pt x="140" y="38"/>
                  </a:lnTo>
                  <a:lnTo>
                    <a:pt x="138" y="34"/>
                  </a:lnTo>
                  <a:lnTo>
                    <a:pt x="134" y="30"/>
                  </a:lnTo>
                  <a:lnTo>
                    <a:pt x="130" y="28"/>
                  </a:lnTo>
                  <a:lnTo>
                    <a:pt x="126" y="26"/>
                  </a:lnTo>
                  <a:lnTo>
                    <a:pt x="124" y="22"/>
                  </a:lnTo>
                  <a:lnTo>
                    <a:pt x="122" y="18"/>
                  </a:lnTo>
                  <a:lnTo>
                    <a:pt x="118" y="16"/>
                  </a:lnTo>
                  <a:lnTo>
                    <a:pt x="96" y="14"/>
                  </a:lnTo>
                  <a:lnTo>
                    <a:pt x="96" y="22"/>
                  </a:lnTo>
                  <a:lnTo>
                    <a:pt x="58" y="20"/>
                  </a:lnTo>
                  <a:lnTo>
                    <a:pt x="28" y="4"/>
                  </a:lnTo>
                  <a:lnTo>
                    <a:pt x="28" y="0"/>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2" name="Freeform 584">
              <a:extLst>
                <a:ext uri="{FF2B5EF4-FFF2-40B4-BE49-F238E27FC236}">
                  <a16:creationId xmlns:a16="http://schemas.microsoft.com/office/drawing/2014/main" id="{ED93D926-4199-4139-A1FA-9DB82D4B9E7D}"/>
                </a:ext>
              </a:extLst>
            </p:cNvPr>
            <p:cNvSpPr>
              <a:spLocks/>
            </p:cNvSpPr>
            <p:nvPr/>
          </p:nvSpPr>
          <p:spPr bwMode="gray">
            <a:xfrm>
              <a:off x="5575017" y="4823281"/>
              <a:ext cx="11771" cy="18834"/>
            </a:xfrm>
            <a:custGeom>
              <a:avLst/>
              <a:gdLst>
                <a:gd name="T0" fmla="*/ 2147483647 w 6"/>
                <a:gd name="T1" fmla="*/ 0 h 10"/>
                <a:gd name="T2" fmla="*/ 2147483647 w 6"/>
                <a:gd name="T3" fmla="*/ 0 h 10"/>
                <a:gd name="T4" fmla="*/ 0 w 6"/>
                <a:gd name="T5" fmla="*/ 2147483647 h 10"/>
                <a:gd name="T6" fmla="*/ 0 w 6"/>
                <a:gd name="T7" fmla="*/ 2147483647 h 10"/>
                <a:gd name="T8" fmla="*/ 2147483647 w 6"/>
                <a:gd name="T9" fmla="*/ 2147483647 h 10"/>
                <a:gd name="T10" fmla="*/ 2147483647 w 6"/>
                <a:gd name="T11" fmla="*/ 2147483647 h 10"/>
                <a:gd name="T12" fmla="*/ 2147483647 w 6"/>
                <a:gd name="T13" fmla="*/ 2147483647 h 10"/>
                <a:gd name="T14" fmla="*/ 2147483647 w 6"/>
                <a:gd name="T15" fmla="*/ 2147483647 h 10"/>
                <a:gd name="T16" fmla="*/ 2147483647 w 6"/>
                <a:gd name="T17" fmla="*/ 2147483647 h 10"/>
                <a:gd name="T18" fmla="*/ 2147483647 w 6"/>
                <a:gd name="T19" fmla="*/ 0 h 10"/>
                <a:gd name="T20" fmla="*/ 2147483647 w 6"/>
                <a:gd name="T21" fmla="*/ 0 h 10"/>
                <a:gd name="T22" fmla="*/ 2147483647 w 6"/>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0"/>
                <a:gd name="T38" fmla="*/ 6 w 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0">
                  <a:moveTo>
                    <a:pt x="4" y="0"/>
                  </a:moveTo>
                  <a:lnTo>
                    <a:pt x="4" y="0"/>
                  </a:lnTo>
                  <a:lnTo>
                    <a:pt x="0" y="2"/>
                  </a:lnTo>
                  <a:lnTo>
                    <a:pt x="0" y="6"/>
                  </a:lnTo>
                  <a:lnTo>
                    <a:pt x="2" y="8"/>
                  </a:lnTo>
                  <a:lnTo>
                    <a:pt x="4" y="10"/>
                  </a:lnTo>
                  <a:lnTo>
                    <a:pt x="6" y="6"/>
                  </a:lnTo>
                  <a:lnTo>
                    <a:pt x="6" y="2"/>
                  </a:lnTo>
                  <a:lnTo>
                    <a:pt x="6"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3" name="Freeform 585">
              <a:extLst>
                <a:ext uri="{FF2B5EF4-FFF2-40B4-BE49-F238E27FC236}">
                  <a16:creationId xmlns:a16="http://schemas.microsoft.com/office/drawing/2014/main" id="{4C591793-0E9F-4059-A892-5A6058E1026A}"/>
                </a:ext>
              </a:extLst>
            </p:cNvPr>
            <p:cNvSpPr>
              <a:spLocks/>
            </p:cNvSpPr>
            <p:nvPr/>
          </p:nvSpPr>
          <p:spPr bwMode="gray">
            <a:xfrm>
              <a:off x="4028320" y="3575512"/>
              <a:ext cx="258959" cy="322537"/>
            </a:xfrm>
            <a:custGeom>
              <a:avLst/>
              <a:gdLst>
                <a:gd name="T0" fmla="*/ 0 w 140"/>
                <a:gd name="T1" fmla="*/ 2147483647 h 174"/>
                <a:gd name="T2" fmla="*/ 2147483647 w 140"/>
                <a:gd name="T3" fmla="*/ 2147483647 h 174"/>
                <a:gd name="T4" fmla="*/ 2147483647 w 140"/>
                <a:gd name="T5" fmla="*/ 2147483647 h 174"/>
                <a:gd name="T6" fmla="*/ 2147483647 w 140"/>
                <a:gd name="T7" fmla="*/ 2147483647 h 174"/>
                <a:gd name="T8" fmla="*/ 2147483647 w 140"/>
                <a:gd name="T9" fmla="*/ 2147483647 h 174"/>
                <a:gd name="T10" fmla="*/ 2147483647 w 140"/>
                <a:gd name="T11" fmla="*/ 2147483647 h 174"/>
                <a:gd name="T12" fmla="*/ 2147483647 w 140"/>
                <a:gd name="T13" fmla="*/ 2147483647 h 174"/>
                <a:gd name="T14" fmla="*/ 2147483647 w 140"/>
                <a:gd name="T15" fmla="*/ 2147483647 h 174"/>
                <a:gd name="T16" fmla="*/ 2147483647 w 140"/>
                <a:gd name="T17" fmla="*/ 2147483647 h 174"/>
                <a:gd name="T18" fmla="*/ 2147483647 w 140"/>
                <a:gd name="T19" fmla="*/ 2147483647 h 174"/>
                <a:gd name="T20" fmla="*/ 2147483647 w 140"/>
                <a:gd name="T21" fmla="*/ 2147483647 h 174"/>
                <a:gd name="T22" fmla="*/ 2147483647 w 140"/>
                <a:gd name="T23" fmla="*/ 2147483647 h 174"/>
                <a:gd name="T24" fmla="*/ 2147483647 w 140"/>
                <a:gd name="T25" fmla="*/ 2147483647 h 174"/>
                <a:gd name="T26" fmla="*/ 2147483647 w 140"/>
                <a:gd name="T27" fmla="*/ 2147483647 h 174"/>
                <a:gd name="T28" fmla="*/ 2147483647 w 140"/>
                <a:gd name="T29" fmla="*/ 2147483647 h 174"/>
                <a:gd name="T30" fmla="*/ 2147483647 w 140"/>
                <a:gd name="T31" fmla="*/ 2147483647 h 174"/>
                <a:gd name="T32" fmla="*/ 2147483647 w 140"/>
                <a:gd name="T33" fmla="*/ 2147483647 h 174"/>
                <a:gd name="T34" fmla="*/ 2147483647 w 140"/>
                <a:gd name="T35" fmla="*/ 2147483647 h 174"/>
                <a:gd name="T36" fmla="*/ 2147483647 w 140"/>
                <a:gd name="T37" fmla="*/ 2147483647 h 174"/>
                <a:gd name="T38" fmla="*/ 2147483647 w 140"/>
                <a:gd name="T39" fmla="*/ 2147483647 h 174"/>
                <a:gd name="T40" fmla="*/ 2147483647 w 140"/>
                <a:gd name="T41" fmla="*/ 2147483647 h 174"/>
                <a:gd name="T42" fmla="*/ 2147483647 w 140"/>
                <a:gd name="T43" fmla="*/ 2147483647 h 174"/>
                <a:gd name="T44" fmla="*/ 2147483647 w 140"/>
                <a:gd name="T45" fmla="*/ 2147483647 h 174"/>
                <a:gd name="T46" fmla="*/ 2147483647 w 140"/>
                <a:gd name="T47" fmla="*/ 2147483647 h 174"/>
                <a:gd name="T48" fmla="*/ 2147483647 w 140"/>
                <a:gd name="T49" fmla="*/ 2147483647 h 174"/>
                <a:gd name="T50" fmla="*/ 2147483647 w 140"/>
                <a:gd name="T51" fmla="*/ 2147483647 h 174"/>
                <a:gd name="T52" fmla="*/ 2147483647 w 140"/>
                <a:gd name="T53" fmla="*/ 2147483647 h 174"/>
                <a:gd name="T54" fmla="*/ 2147483647 w 140"/>
                <a:gd name="T55" fmla="*/ 2147483647 h 174"/>
                <a:gd name="T56" fmla="*/ 2147483647 w 140"/>
                <a:gd name="T57" fmla="*/ 2147483647 h 174"/>
                <a:gd name="T58" fmla="*/ 2147483647 w 140"/>
                <a:gd name="T59" fmla="*/ 2147483647 h 174"/>
                <a:gd name="T60" fmla="*/ 2147483647 w 140"/>
                <a:gd name="T61" fmla="*/ 2147483647 h 174"/>
                <a:gd name="T62" fmla="*/ 2147483647 w 140"/>
                <a:gd name="T63" fmla="*/ 2147483647 h 174"/>
                <a:gd name="T64" fmla="*/ 2147483647 w 140"/>
                <a:gd name="T65" fmla="*/ 2147483647 h 174"/>
                <a:gd name="T66" fmla="*/ 2147483647 w 140"/>
                <a:gd name="T67" fmla="*/ 2147483647 h 174"/>
                <a:gd name="T68" fmla="*/ 2147483647 w 140"/>
                <a:gd name="T69" fmla="*/ 2147483647 h 174"/>
                <a:gd name="T70" fmla="*/ 2147483647 w 140"/>
                <a:gd name="T71" fmla="*/ 2147483647 h 174"/>
                <a:gd name="T72" fmla="*/ 2147483647 w 140"/>
                <a:gd name="T73" fmla="*/ 2147483647 h 174"/>
                <a:gd name="T74" fmla="*/ 2147483647 w 140"/>
                <a:gd name="T75" fmla="*/ 0 h 174"/>
                <a:gd name="T76" fmla="*/ 2147483647 w 140"/>
                <a:gd name="T77" fmla="*/ 2147483647 h 174"/>
                <a:gd name="T78" fmla="*/ 2147483647 w 140"/>
                <a:gd name="T79" fmla="*/ 2147483647 h 174"/>
                <a:gd name="T80" fmla="*/ 2147483647 w 140"/>
                <a:gd name="T81" fmla="*/ 2147483647 h 174"/>
                <a:gd name="T82" fmla="*/ 2147483647 w 140"/>
                <a:gd name="T83" fmla="*/ 2147483647 h 174"/>
                <a:gd name="T84" fmla="*/ 2147483647 w 140"/>
                <a:gd name="T85" fmla="*/ 2147483647 h 174"/>
                <a:gd name="T86" fmla="*/ 2147483647 w 140"/>
                <a:gd name="T87" fmla="*/ 2147483647 h 174"/>
                <a:gd name="T88" fmla="*/ 0 w 140"/>
                <a:gd name="T89" fmla="*/ 2147483647 h 17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0"/>
                <a:gd name="T136" fmla="*/ 0 h 174"/>
                <a:gd name="T137" fmla="*/ 140 w 140"/>
                <a:gd name="T138" fmla="*/ 174 h 17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0" h="174">
                  <a:moveTo>
                    <a:pt x="0" y="88"/>
                  </a:moveTo>
                  <a:lnTo>
                    <a:pt x="0" y="88"/>
                  </a:lnTo>
                  <a:lnTo>
                    <a:pt x="4" y="92"/>
                  </a:lnTo>
                  <a:lnTo>
                    <a:pt x="8" y="98"/>
                  </a:lnTo>
                  <a:lnTo>
                    <a:pt x="6" y="106"/>
                  </a:lnTo>
                  <a:lnTo>
                    <a:pt x="6" y="112"/>
                  </a:lnTo>
                  <a:lnTo>
                    <a:pt x="10" y="132"/>
                  </a:lnTo>
                  <a:lnTo>
                    <a:pt x="10" y="140"/>
                  </a:lnTo>
                  <a:lnTo>
                    <a:pt x="8" y="152"/>
                  </a:lnTo>
                  <a:lnTo>
                    <a:pt x="12" y="150"/>
                  </a:lnTo>
                  <a:lnTo>
                    <a:pt x="16" y="146"/>
                  </a:lnTo>
                  <a:lnTo>
                    <a:pt x="18" y="146"/>
                  </a:lnTo>
                  <a:lnTo>
                    <a:pt x="22" y="146"/>
                  </a:lnTo>
                  <a:lnTo>
                    <a:pt x="28" y="146"/>
                  </a:lnTo>
                  <a:lnTo>
                    <a:pt x="32" y="146"/>
                  </a:lnTo>
                  <a:lnTo>
                    <a:pt x="34" y="148"/>
                  </a:lnTo>
                  <a:lnTo>
                    <a:pt x="36" y="150"/>
                  </a:lnTo>
                  <a:lnTo>
                    <a:pt x="38" y="152"/>
                  </a:lnTo>
                  <a:lnTo>
                    <a:pt x="38" y="156"/>
                  </a:lnTo>
                  <a:lnTo>
                    <a:pt x="40" y="158"/>
                  </a:lnTo>
                  <a:lnTo>
                    <a:pt x="42" y="160"/>
                  </a:lnTo>
                  <a:lnTo>
                    <a:pt x="44" y="160"/>
                  </a:lnTo>
                  <a:lnTo>
                    <a:pt x="46" y="162"/>
                  </a:lnTo>
                  <a:lnTo>
                    <a:pt x="46" y="166"/>
                  </a:lnTo>
                  <a:lnTo>
                    <a:pt x="48" y="168"/>
                  </a:lnTo>
                  <a:lnTo>
                    <a:pt x="50" y="168"/>
                  </a:lnTo>
                  <a:lnTo>
                    <a:pt x="52" y="168"/>
                  </a:lnTo>
                  <a:lnTo>
                    <a:pt x="54" y="170"/>
                  </a:lnTo>
                  <a:lnTo>
                    <a:pt x="56" y="174"/>
                  </a:lnTo>
                  <a:lnTo>
                    <a:pt x="58" y="174"/>
                  </a:lnTo>
                  <a:lnTo>
                    <a:pt x="60" y="172"/>
                  </a:lnTo>
                  <a:lnTo>
                    <a:pt x="62" y="172"/>
                  </a:lnTo>
                  <a:lnTo>
                    <a:pt x="62" y="170"/>
                  </a:lnTo>
                  <a:lnTo>
                    <a:pt x="62" y="166"/>
                  </a:lnTo>
                  <a:lnTo>
                    <a:pt x="62" y="162"/>
                  </a:lnTo>
                  <a:lnTo>
                    <a:pt x="64" y="160"/>
                  </a:lnTo>
                  <a:lnTo>
                    <a:pt x="72" y="162"/>
                  </a:lnTo>
                  <a:lnTo>
                    <a:pt x="76" y="162"/>
                  </a:lnTo>
                  <a:lnTo>
                    <a:pt x="78" y="162"/>
                  </a:lnTo>
                  <a:lnTo>
                    <a:pt x="80" y="162"/>
                  </a:lnTo>
                  <a:lnTo>
                    <a:pt x="82" y="162"/>
                  </a:lnTo>
                  <a:lnTo>
                    <a:pt x="82" y="160"/>
                  </a:lnTo>
                  <a:lnTo>
                    <a:pt x="80" y="156"/>
                  </a:lnTo>
                  <a:lnTo>
                    <a:pt x="82" y="154"/>
                  </a:lnTo>
                  <a:lnTo>
                    <a:pt x="84" y="156"/>
                  </a:lnTo>
                  <a:lnTo>
                    <a:pt x="86" y="158"/>
                  </a:lnTo>
                  <a:lnTo>
                    <a:pt x="128" y="156"/>
                  </a:lnTo>
                  <a:lnTo>
                    <a:pt x="130" y="150"/>
                  </a:lnTo>
                  <a:lnTo>
                    <a:pt x="130" y="148"/>
                  </a:lnTo>
                  <a:lnTo>
                    <a:pt x="130" y="146"/>
                  </a:lnTo>
                  <a:lnTo>
                    <a:pt x="128" y="146"/>
                  </a:lnTo>
                  <a:lnTo>
                    <a:pt x="120" y="30"/>
                  </a:lnTo>
                  <a:lnTo>
                    <a:pt x="140" y="30"/>
                  </a:lnTo>
                  <a:lnTo>
                    <a:pt x="102" y="0"/>
                  </a:lnTo>
                  <a:lnTo>
                    <a:pt x="102" y="22"/>
                  </a:lnTo>
                  <a:lnTo>
                    <a:pt x="60" y="22"/>
                  </a:lnTo>
                  <a:lnTo>
                    <a:pt x="58" y="52"/>
                  </a:lnTo>
                  <a:lnTo>
                    <a:pt x="52" y="54"/>
                  </a:lnTo>
                  <a:lnTo>
                    <a:pt x="48" y="56"/>
                  </a:lnTo>
                  <a:lnTo>
                    <a:pt x="46" y="58"/>
                  </a:lnTo>
                  <a:lnTo>
                    <a:pt x="46" y="62"/>
                  </a:lnTo>
                  <a:lnTo>
                    <a:pt x="46" y="84"/>
                  </a:lnTo>
                  <a:lnTo>
                    <a:pt x="4" y="84"/>
                  </a:lnTo>
                  <a:lnTo>
                    <a:pt x="0" y="8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4" name="Freeform 586">
              <a:extLst>
                <a:ext uri="{FF2B5EF4-FFF2-40B4-BE49-F238E27FC236}">
                  <a16:creationId xmlns:a16="http://schemas.microsoft.com/office/drawing/2014/main" id="{6B6DEBE1-4622-4FFC-8136-5C0DC276C228}"/>
                </a:ext>
              </a:extLst>
            </p:cNvPr>
            <p:cNvSpPr>
              <a:spLocks/>
            </p:cNvSpPr>
            <p:nvPr/>
          </p:nvSpPr>
          <p:spPr bwMode="gray">
            <a:xfrm>
              <a:off x="4127194" y="3632014"/>
              <a:ext cx="348419" cy="407291"/>
            </a:xfrm>
            <a:custGeom>
              <a:avLst/>
              <a:gdLst>
                <a:gd name="T0" fmla="*/ 2147483647 w 188"/>
                <a:gd name="T1" fmla="*/ 2147483647 h 220"/>
                <a:gd name="T2" fmla="*/ 2147483647 w 188"/>
                <a:gd name="T3" fmla="*/ 2147483647 h 220"/>
                <a:gd name="T4" fmla="*/ 2147483647 w 188"/>
                <a:gd name="T5" fmla="*/ 2147483647 h 220"/>
                <a:gd name="T6" fmla="*/ 2147483647 w 188"/>
                <a:gd name="T7" fmla="*/ 2147483647 h 220"/>
                <a:gd name="T8" fmla="*/ 2147483647 w 188"/>
                <a:gd name="T9" fmla="*/ 2147483647 h 220"/>
                <a:gd name="T10" fmla="*/ 2147483647 w 188"/>
                <a:gd name="T11" fmla="*/ 2147483647 h 220"/>
                <a:gd name="T12" fmla="*/ 2147483647 w 188"/>
                <a:gd name="T13" fmla="*/ 2147483647 h 220"/>
                <a:gd name="T14" fmla="*/ 2147483647 w 188"/>
                <a:gd name="T15" fmla="*/ 2147483647 h 220"/>
                <a:gd name="T16" fmla="*/ 2147483647 w 188"/>
                <a:gd name="T17" fmla="*/ 2147483647 h 220"/>
                <a:gd name="T18" fmla="*/ 2147483647 w 188"/>
                <a:gd name="T19" fmla="*/ 2147483647 h 220"/>
                <a:gd name="T20" fmla="*/ 2147483647 w 188"/>
                <a:gd name="T21" fmla="*/ 2147483647 h 220"/>
                <a:gd name="T22" fmla="*/ 2147483647 w 188"/>
                <a:gd name="T23" fmla="*/ 2147483647 h 220"/>
                <a:gd name="T24" fmla="*/ 2147483647 w 188"/>
                <a:gd name="T25" fmla="*/ 2147483647 h 220"/>
                <a:gd name="T26" fmla="*/ 2147483647 w 188"/>
                <a:gd name="T27" fmla="*/ 2147483647 h 220"/>
                <a:gd name="T28" fmla="*/ 2147483647 w 188"/>
                <a:gd name="T29" fmla="*/ 2147483647 h 220"/>
                <a:gd name="T30" fmla="*/ 2147483647 w 188"/>
                <a:gd name="T31" fmla="*/ 2147483647 h 220"/>
                <a:gd name="T32" fmla="*/ 2147483647 w 188"/>
                <a:gd name="T33" fmla="*/ 2147483647 h 220"/>
                <a:gd name="T34" fmla="*/ 2147483647 w 188"/>
                <a:gd name="T35" fmla="*/ 2147483647 h 220"/>
                <a:gd name="T36" fmla="*/ 2147483647 w 188"/>
                <a:gd name="T37" fmla="*/ 2147483647 h 220"/>
                <a:gd name="T38" fmla="*/ 2147483647 w 188"/>
                <a:gd name="T39" fmla="*/ 2147483647 h 220"/>
                <a:gd name="T40" fmla="*/ 2147483647 w 188"/>
                <a:gd name="T41" fmla="*/ 2147483647 h 220"/>
                <a:gd name="T42" fmla="*/ 2147483647 w 188"/>
                <a:gd name="T43" fmla="*/ 2147483647 h 220"/>
                <a:gd name="T44" fmla="*/ 2147483647 w 188"/>
                <a:gd name="T45" fmla="*/ 2147483647 h 220"/>
                <a:gd name="T46" fmla="*/ 2147483647 w 188"/>
                <a:gd name="T47" fmla="*/ 2147483647 h 220"/>
                <a:gd name="T48" fmla="*/ 2147483647 w 188"/>
                <a:gd name="T49" fmla="*/ 2147483647 h 220"/>
                <a:gd name="T50" fmla="*/ 2147483647 w 188"/>
                <a:gd name="T51" fmla="*/ 2147483647 h 220"/>
                <a:gd name="T52" fmla="*/ 2147483647 w 188"/>
                <a:gd name="T53" fmla="*/ 2147483647 h 220"/>
                <a:gd name="T54" fmla="*/ 2147483647 w 188"/>
                <a:gd name="T55" fmla="*/ 2147483647 h 220"/>
                <a:gd name="T56" fmla="*/ 2147483647 w 188"/>
                <a:gd name="T57" fmla="*/ 2147483647 h 220"/>
                <a:gd name="T58" fmla="*/ 2147483647 w 188"/>
                <a:gd name="T59" fmla="*/ 2147483647 h 220"/>
                <a:gd name="T60" fmla="*/ 2147483647 w 188"/>
                <a:gd name="T61" fmla="*/ 2147483647 h 220"/>
                <a:gd name="T62" fmla="*/ 2147483647 w 188"/>
                <a:gd name="T63" fmla="*/ 2147483647 h 220"/>
                <a:gd name="T64" fmla="*/ 2147483647 w 188"/>
                <a:gd name="T65" fmla="*/ 2147483647 h 220"/>
                <a:gd name="T66" fmla="*/ 2147483647 w 188"/>
                <a:gd name="T67" fmla="*/ 2147483647 h 220"/>
                <a:gd name="T68" fmla="*/ 2147483647 w 188"/>
                <a:gd name="T69" fmla="*/ 2147483647 h 220"/>
                <a:gd name="T70" fmla="*/ 2147483647 w 188"/>
                <a:gd name="T71" fmla="*/ 2147483647 h 220"/>
                <a:gd name="T72" fmla="*/ 2147483647 w 188"/>
                <a:gd name="T73" fmla="*/ 2147483647 h 220"/>
                <a:gd name="T74" fmla="*/ 0 w 188"/>
                <a:gd name="T75" fmla="*/ 2147483647 h 220"/>
                <a:gd name="T76" fmla="*/ 2147483647 w 188"/>
                <a:gd name="T77" fmla="*/ 2147483647 h 220"/>
                <a:gd name="T78" fmla="*/ 2147483647 w 188"/>
                <a:gd name="T79" fmla="*/ 2147483647 h 220"/>
                <a:gd name="T80" fmla="*/ 2147483647 w 188"/>
                <a:gd name="T81" fmla="*/ 2147483647 h 220"/>
                <a:gd name="T82" fmla="*/ 2147483647 w 188"/>
                <a:gd name="T83" fmla="*/ 2147483647 h 220"/>
                <a:gd name="T84" fmla="*/ 2147483647 w 188"/>
                <a:gd name="T85" fmla="*/ 2147483647 h 220"/>
                <a:gd name="T86" fmla="*/ 2147483647 w 188"/>
                <a:gd name="T87" fmla="*/ 2147483647 h 220"/>
                <a:gd name="T88" fmla="*/ 2147483647 w 188"/>
                <a:gd name="T89" fmla="*/ 2147483647 h 220"/>
                <a:gd name="T90" fmla="*/ 2147483647 w 188"/>
                <a:gd name="T91" fmla="*/ 2147483647 h 220"/>
                <a:gd name="T92" fmla="*/ 2147483647 w 188"/>
                <a:gd name="T93" fmla="*/ 2147483647 h 220"/>
                <a:gd name="T94" fmla="*/ 2147483647 w 188"/>
                <a:gd name="T95" fmla="*/ 2147483647 h 220"/>
                <a:gd name="T96" fmla="*/ 2147483647 w 188"/>
                <a:gd name="T97" fmla="*/ 2147483647 h 220"/>
                <a:gd name="T98" fmla="*/ 2147483647 w 188"/>
                <a:gd name="T99" fmla="*/ 2147483647 h 220"/>
                <a:gd name="T100" fmla="*/ 2147483647 w 188"/>
                <a:gd name="T101" fmla="*/ 2147483647 h 220"/>
                <a:gd name="T102" fmla="*/ 2147483647 w 188"/>
                <a:gd name="T103" fmla="*/ 2147483647 h 2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8"/>
                <a:gd name="T157" fmla="*/ 0 h 220"/>
                <a:gd name="T158" fmla="*/ 188 w 188"/>
                <a:gd name="T159" fmla="*/ 220 h 2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8" h="220">
                  <a:moveTo>
                    <a:pt x="54" y="220"/>
                  </a:moveTo>
                  <a:lnTo>
                    <a:pt x="54" y="220"/>
                  </a:lnTo>
                  <a:lnTo>
                    <a:pt x="58" y="216"/>
                  </a:lnTo>
                  <a:lnTo>
                    <a:pt x="60" y="216"/>
                  </a:lnTo>
                  <a:lnTo>
                    <a:pt x="60" y="218"/>
                  </a:lnTo>
                  <a:lnTo>
                    <a:pt x="62" y="212"/>
                  </a:lnTo>
                  <a:lnTo>
                    <a:pt x="66" y="210"/>
                  </a:lnTo>
                  <a:lnTo>
                    <a:pt x="66" y="212"/>
                  </a:lnTo>
                  <a:lnTo>
                    <a:pt x="68" y="214"/>
                  </a:lnTo>
                  <a:lnTo>
                    <a:pt x="70" y="214"/>
                  </a:lnTo>
                  <a:lnTo>
                    <a:pt x="72" y="212"/>
                  </a:lnTo>
                  <a:lnTo>
                    <a:pt x="72" y="210"/>
                  </a:lnTo>
                  <a:lnTo>
                    <a:pt x="74" y="208"/>
                  </a:lnTo>
                  <a:lnTo>
                    <a:pt x="76" y="204"/>
                  </a:lnTo>
                  <a:lnTo>
                    <a:pt x="74" y="200"/>
                  </a:lnTo>
                  <a:lnTo>
                    <a:pt x="76" y="196"/>
                  </a:lnTo>
                  <a:lnTo>
                    <a:pt x="76" y="194"/>
                  </a:lnTo>
                  <a:lnTo>
                    <a:pt x="78" y="194"/>
                  </a:lnTo>
                  <a:lnTo>
                    <a:pt x="78" y="192"/>
                  </a:lnTo>
                  <a:lnTo>
                    <a:pt x="78" y="188"/>
                  </a:lnTo>
                  <a:lnTo>
                    <a:pt x="78" y="186"/>
                  </a:lnTo>
                  <a:lnTo>
                    <a:pt x="78" y="184"/>
                  </a:lnTo>
                  <a:lnTo>
                    <a:pt x="80" y="182"/>
                  </a:lnTo>
                  <a:lnTo>
                    <a:pt x="82" y="178"/>
                  </a:lnTo>
                  <a:lnTo>
                    <a:pt x="86" y="178"/>
                  </a:lnTo>
                  <a:lnTo>
                    <a:pt x="86" y="180"/>
                  </a:lnTo>
                  <a:lnTo>
                    <a:pt x="88" y="170"/>
                  </a:lnTo>
                  <a:lnTo>
                    <a:pt x="90" y="166"/>
                  </a:lnTo>
                  <a:lnTo>
                    <a:pt x="92" y="164"/>
                  </a:lnTo>
                  <a:lnTo>
                    <a:pt x="98" y="162"/>
                  </a:lnTo>
                  <a:lnTo>
                    <a:pt x="102" y="162"/>
                  </a:lnTo>
                  <a:lnTo>
                    <a:pt x="104" y="160"/>
                  </a:lnTo>
                  <a:lnTo>
                    <a:pt x="106" y="156"/>
                  </a:lnTo>
                  <a:lnTo>
                    <a:pt x="106" y="152"/>
                  </a:lnTo>
                  <a:lnTo>
                    <a:pt x="110" y="150"/>
                  </a:lnTo>
                  <a:lnTo>
                    <a:pt x="114" y="146"/>
                  </a:lnTo>
                  <a:lnTo>
                    <a:pt x="116" y="146"/>
                  </a:lnTo>
                  <a:lnTo>
                    <a:pt x="116" y="140"/>
                  </a:lnTo>
                  <a:lnTo>
                    <a:pt x="118" y="138"/>
                  </a:lnTo>
                  <a:lnTo>
                    <a:pt x="120" y="138"/>
                  </a:lnTo>
                  <a:lnTo>
                    <a:pt x="124" y="136"/>
                  </a:lnTo>
                  <a:lnTo>
                    <a:pt x="126" y="134"/>
                  </a:lnTo>
                  <a:lnTo>
                    <a:pt x="128" y="130"/>
                  </a:lnTo>
                  <a:lnTo>
                    <a:pt x="130" y="130"/>
                  </a:lnTo>
                  <a:lnTo>
                    <a:pt x="130" y="132"/>
                  </a:lnTo>
                  <a:lnTo>
                    <a:pt x="132" y="132"/>
                  </a:lnTo>
                  <a:lnTo>
                    <a:pt x="134" y="132"/>
                  </a:lnTo>
                  <a:lnTo>
                    <a:pt x="138" y="136"/>
                  </a:lnTo>
                  <a:lnTo>
                    <a:pt x="140" y="136"/>
                  </a:lnTo>
                  <a:lnTo>
                    <a:pt x="142" y="134"/>
                  </a:lnTo>
                  <a:lnTo>
                    <a:pt x="144" y="134"/>
                  </a:lnTo>
                  <a:lnTo>
                    <a:pt x="148" y="134"/>
                  </a:lnTo>
                  <a:lnTo>
                    <a:pt x="154" y="132"/>
                  </a:lnTo>
                  <a:lnTo>
                    <a:pt x="160" y="132"/>
                  </a:lnTo>
                  <a:lnTo>
                    <a:pt x="168" y="128"/>
                  </a:lnTo>
                  <a:lnTo>
                    <a:pt x="174" y="126"/>
                  </a:lnTo>
                  <a:lnTo>
                    <a:pt x="182" y="126"/>
                  </a:lnTo>
                  <a:lnTo>
                    <a:pt x="182" y="122"/>
                  </a:lnTo>
                  <a:lnTo>
                    <a:pt x="184" y="116"/>
                  </a:lnTo>
                  <a:lnTo>
                    <a:pt x="188" y="114"/>
                  </a:lnTo>
                  <a:lnTo>
                    <a:pt x="186" y="82"/>
                  </a:lnTo>
                  <a:lnTo>
                    <a:pt x="180" y="82"/>
                  </a:lnTo>
                  <a:lnTo>
                    <a:pt x="176" y="84"/>
                  </a:lnTo>
                  <a:lnTo>
                    <a:pt x="174" y="84"/>
                  </a:lnTo>
                  <a:lnTo>
                    <a:pt x="174" y="80"/>
                  </a:lnTo>
                  <a:lnTo>
                    <a:pt x="174" y="76"/>
                  </a:lnTo>
                  <a:lnTo>
                    <a:pt x="172" y="74"/>
                  </a:lnTo>
                  <a:lnTo>
                    <a:pt x="174" y="70"/>
                  </a:lnTo>
                  <a:lnTo>
                    <a:pt x="174" y="68"/>
                  </a:lnTo>
                  <a:lnTo>
                    <a:pt x="172" y="66"/>
                  </a:lnTo>
                  <a:lnTo>
                    <a:pt x="170" y="64"/>
                  </a:lnTo>
                  <a:lnTo>
                    <a:pt x="166" y="62"/>
                  </a:lnTo>
                  <a:lnTo>
                    <a:pt x="162" y="60"/>
                  </a:lnTo>
                  <a:lnTo>
                    <a:pt x="158" y="56"/>
                  </a:lnTo>
                  <a:lnTo>
                    <a:pt x="158" y="54"/>
                  </a:lnTo>
                  <a:lnTo>
                    <a:pt x="86" y="0"/>
                  </a:lnTo>
                  <a:lnTo>
                    <a:pt x="66" y="0"/>
                  </a:lnTo>
                  <a:lnTo>
                    <a:pt x="74" y="116"/>
                  </a:lnTo>
                  <a:lnTo>
                    <a:pt x="76" y="116"/>
                  </a:lnTo>
                  <a:lnTo>
                    <a:pt x="76" y="118"/>
                  </a:lnTo>
                  <a:lnTo>
                    <a:pt x="76" y="120"/>
                  </a:lnTo>
                  <a:lnTo>
                    <a:pt x="74" y="126"/>
                  </a:lnTo>
                  <a:lnTo>
                    <a:pt x="32" y="128"/>
                  </a:lnTo>
                  <a:lnTo>
                    <a:pt x="30" y="126"/>
                  </a:lnTo>
                  <a:lnTo>
                    <a:pt x="28" y="124"/>
                  </a:lnTo>
                  <a:lnTo>
                    <a:pt x="26" y="126"/>
                  </a:lnTo>
                  <a:lnTo>
                    <a:pt x="28" y="130"/>
                  </a:lnTo>
                  <a:lnTo>
                    <a:pt x="28" y="132"/>
                  </a:lnTo>
                  <a:lnTo>
                    <a:pt x="26" y="132"/>
                  </a:lnTo>
                  <a:lnTo>
                    <a:pt x="24" y="132"/>
                  </a:lnTo>
                  <a:lnTo>
                    <a:pt x="22" y="132"/>
                  </a:lnTo>
                  <a:lnTo>
                    <a:pt x="18" y="132"/>
                  </a:lnTo>
                  <a:lnTo>
                    <a:pt x="10" y="130"/>
                  </a:lnTo>
                  <a:lnTo>
                    <a:pt x="8" y="132"/>
                  </a:lnTo>
                  <a:lnTo>
                    <a:pt x="8" y="136"/>
                  </a:lnTo>
                  <a:lnTo>
                    <a:pt x="8" y="140"/>
                  </a:lnTo>
                  <a:lnTo>
                    <a:pt x="8" y="142"/>
                  </a:lnTo>
                  <a:lnTo>
                    <a:pt x="6" y="142"/>
                  </a:lnTo>
                  <a:lnTo>
                    <a:pt x="4" y="144"/>
                  </a:lnTo>
                  <a:lnTo>
                    <a:pt x="2" y="144"/>
                  </a:lnTo>
                  <a:lnTo>
                    <a:pt x="2" y="146"/>
                  </a:lnTo>
                  <a:lnTo>
                    <a:pt x="2" y="150"/>
                  </a:lnTo>
                  <a:lnTo>
                    <a:pt x="2" y="152"/>
                  </a:lnTo>
                  <a:lnTo>
                    <a:pt x="2" y="156"/>
                  </a:lnTo>
                  <a:lnTo>
                    <a:pt x="0" y="160"/>
                  </a:lnTo>
                  <a:lnTo>
                    <a:pt x="0" y="162"/>
                  </a:lnTo>
                  <a:lnTo>
                    <a:pt x="2" y="166"/>
                  </a:lnTo>
                  <a:lnTo>
                    <a:pt x="4" y="168"/>
                  </a:lnTo>
                  <a:lnTo>
                    <a:pt x="6" y="170"/>
                  </a:lnTo>
                  <a:lnTo>
                    <a:pt x="8" y="178"/>
                  </a:lnTo>
                  <a:lnTo>
                    <a:pt x="8" y="182"/>
                  </a:lnTo>
                  <a:lnTo>
                    <a:pt x="10" y="182"/>
                  </a:lnTo>
                  <a:lnTo>
                    <a:pt x="12" y="182"/>
                  </a:lnTo>
                  <a:lnTo>
                    <a:pt x="14" y="182"/>
                  </a:lnTo>
                  <a:lnTo>
                    <a:pt x="18" y="182"/>
                  </a:lnTo>
                  <a:lnTo>
                    <a:pt x="20" y="184"/>
                  </a:lnTo>
                  <a:lnTo>
                    <a:pt x="22" y="182"/>
                  </a:lnTo>
                  <a:lnTo>
                    <a:pt x="22" y="180"/>
                  </a:lnTo>
                  <a:lnTo>
                    <a:pt x="24" y="182"/>
                  </a:lnTo>
                  <a:lnTo>
                    <a:pt x="26" y="182"/>
                  </a:lnTo>
                  <a:lnTo>
                    <a:pt x="28" y="182"/>
                  </a:lnTo>
                  <a:lnTo>
                    <a:pt x="32" y="182"/>
                  </a:lnTo>
                  <a:lnTo>
                    <a:pt x="34" y="188"/>
                  </a:lnTo>
                  <a:lnTo>
                    <a:pt x="34" y="194"/>
                  </a:lnTo>
                  <a:lnTo>
                    <a:pt x="32" y="194"/>
                  </a:lnTo>
                  <a:lnTo>
                    <a:pt x="32" y="196"/>
                  </a:lnTo>
                  <a:lnTo>
                    <a:pt x="36" y="198"/>
                  </a:lnTo>
                  <a:lnTo>
                    <a:pt x="36" y="202"/>
                  </a:lnTo>
                  <a:lnTo>
                    <a:pt x="38" y="204"/>
                  </a:lnTo>
                  <a:lnTo>
                    <a:pt x="40" y="202"/>
                  </a:lnTo>
                  <a:lnTo>
                    <a:pt x="32" y="208"/>
                  </a:lnTo>
                  <a:lnTo>
                    <a:pt x="34" y="210"/>
                  </a:lnTo>
                  <a:lnTo>
                    <a:pt x="36" y="210"/>
                  </a:lnTo>
                  <a:lnTo>
                    <a:pt x="38" y="210"/>
                  </a:lnTo>
                  <a:lnTo>
                    <a:pt x="40" y="212"/>
                  </a:lnTo>
                  <a:lnTo>
                    <a:pt x="42" y="212"/>
                  </a:lnTo>
                  <a:lnTo>
                    <a:pt x="44" y="212"/>
                  </a:lnTo>
                  <a:lnTo>
                    <a:pt x="46" y="218"/>
                  </a:lnTo>
                  <a:lnTo>
                    <a:pt x="50" y="220"/>
                  </a:lnTo>
                  <a:lnTo>
                    <a:pt x="52" y="220"/>
                  </a:lnTo>
                  <a:lnTo>
                    <a:pt x="54" y="2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5" name="Freeform 587">
              <a:extLst>
                <a:ext uri="{FF2B5EF4-FFF2-40B4-BE49-F238E27FC236}">
                  <a16:creationId xmlns:a16="http://schemas.microsoft.com/office/drawing/2014/main" id="{59DCF43F-199C-4EB6-871D-F831BF104293}"/>
                </a:ext>
              </a:extLst>
            </p:cNvPr>
            <p:cNvSpPr>
              <a:spLocks noEditPoints="1"/>
            </p:cNvSpPr>
            <p:nvPr/>
          </p:nvSpPr>
          <p:spPr bwMode="gray">
            <a:xfrm>
              <a:off x="6488439" y="4116996"/>
              <a:ext cx="388441" cy="155382"/>
            </a:xfrm>
            <a:custGeom>
              <a:avLst/>
              <a:gdLst>
                <a:gd name="T0" fmla="*/ 2147483647 w 210"/>
                <a:gd name="T1" fmla="*/ 2147483647 h 84"/>
                <a:gd name="T2" fmla="*/ 2147483647 w 210"/>
                <a:gd name="T3" fmla="*/ 2147483647 h 84"/>
                <a:gd name="T4" fmla="*/ 2147483647 w 210"/>
                <a:gd name="T5" fmla="*/ 2147483647 h 84"/>
                <a:gd name="T6" fmla="*/ 2147483647 w 210"/>
                <a:gd name="T7" fmla="*/ 2147483647 h 84"/>
                <a:gd name="T8" fmla="*/ 2147483647 w 210"/>
                <a:gd name="T9" fmla="*/ 2147483647 h 84"/>
                <a:gd name="T10" fmla="*/ 2147483647 w 210"/>
                <a:gd name="T11" fmla="*/ 2147483647 h 84"/>
                <a:gd name="T12" fmla="*/ 2147483647 w 210"/>
                <a:gd name="T13" fmla="*/ 2147483647 h 84"/>
                <a:gd name="T14" fmla="*/ 2147483647 w 210"/>
                <a:gd name="T15" fmla="*/ 2147483647 h 84"/>
                <a:gd name="T16" fmla="*/ 2147483647 w 210"/>
                <a:gd name="T17" fmla="*/ 2147483647 h 84"/>
                <a:gd name="T18" fmla="*/ 2147483647 w 210"/>
                <a:gd name="T19" fmla="*/ 2147483647 h 84"/>
                <a:gd name="T20" fmla="*/ 2147483647 w 210"/>
                <a:gd name="T21" fmla="*/ 2147483647 h 84"/>
                <a:gd name="T22" fmla="*/ 2147483647 w 210"/>
                <a:gd name="T23" fmla="*/ 2147483647 h 84"/>
                <a:gd name="T24" fmla="*/ 2147483647 w 210"/>
                <a:gd name="T25" fmla="*/ 2147483647 h 84"/>
                <a:gd name="T26" fmla="*/ 2147483647 w 210"/>
                <a:gd name="T27" fmla="*/ 2147483647 h 84"/>
                <a:gd name="T28" fmla="*/ 2147483647 w 210"/>
                <a:gd name="T29" fmla="*/ 2147483647 h 84"/>
                <a:gd name="T30" fmla="*/ 2147483647 w 210"/>
                <a:gd name="T31" fmla="*/ 2147483647 h 84"/>
                <a:gd name="T32" fmla="*/ 2147483647 w 210"/>
                <a:gd name="T33" fmla="*/ 2147483647 h 84"/>
                <a:gd name="T34" fmla="*/ 2147483647 w 210"/>
                <a:gd name="T35" fmla="*/ 2147483647 h 84"/>
                <a:gd name="T36" fmla="*/ 2147483647 w 210"/>
                <a:gd name="T37" fmla="*/ 2147483647 h 84"/>
                <a:gd name="T38" fmla="*/ 2147483647 w 210"/>
                <a:gd name="T39" fmla="*/ 2147483647 h 84"/>
                <a:gd name="T40" fmla="*/ 2147483647 w 210"/>
                <a:gd name="T41" fmla="*/ 2147483647 h 84"/>
                <a:gd name="T42" fmla="*/ 2147483647 w 210"/>
                <a:gd name="T43" fmla="*/ 2147483647 h 84"/>
                <a:gd name="T44" fmla="*/ 2147483647 w 210"/>
                <a:gd name="T45" fmla="*/ 2147483647 h 84"/>
                <a:gd name="T46" fmla="*/ 2147483647 w 210"/>
                <a:gd name="T47" fmla="*/ 2147483647 h 84"/>
                <a:gd name="T48" fmla="*/ 2147483647 w 210"/>
                <a:gd name="T49" fmla="*/ 2147483647 h 84"/>
                <a:gd name="T50" fmla="*/ 2147483647 w 210"/>
                <a:gd name="T51" fmla="*/ 2147483647 h 84"/>
                <a:gd name="T52" fmla="*/ 2147483647 w 210"/>
                <a:gd name="T53" fmla="*/ 2147483647 h 84"/>
                <a:gd name="T54" fmla="*/ 2147483647 w 210"/>
                <a:gd name="T55" fmla="*/ 2147483647 h 84"/>
                <a:gd name="T56" fmla="*/ 2147483647 w 210"/>
                <a:gd name="T57" fmla="*/ 2147483647 h 84"/>
                <a:gd name="T58" fmla="*/ 2147483647 w 210"/>
                <a:gd name="T59" fmla="*/ 2147483647 h 84"/>
                <a:gd name="T60" fmla="*/ 2147483647 w 210"/>
                <a:gd name="T61" fmla="*/ 2147483647 h 84"/>
                <a:gd name="T62" fmla="*/ 2147483647 w 210"/>
                <a:gd name="T63" fmla="*/ 2147483647 h 84"/>
                <a:gd name="T64" fmla="*/ 2147483647 w 210"/>
                <a:gd name="T65" fmla="*/ 2147483647 h 84"/>
                <a:gd name="T66" fmla="*/ 2147483647 w 210"/>
                <a:gd name="T67" fmla="*/ 2147483647 h 84"/>
                <a:gd name="T68" fmla="*/ 2147483647 w 210"/>
                <a:gd name="T69" fmla="*/ 2147483647 h 84"/>
                <a:gd name="T70" fmla="*/ 2147483647 w 210"/>
                <a:gd name="T71" fmla="*/ 0 h 84"/>
                <a:gd name="T72" fmla="*/ 2147483647 w 210"/>
                <a:gd name="T73" fmla="*/ 2147483647 h 84"/>
                <a:gd name="T74" fmla="*/ 2147483647 w 210"/>
                <a:gd name="T75" fmla="*/ 2147483647 h 84"/>
                <a:gd name="T76" fmla="*/ 2147483647 w 210"/>
                <a:gd name="T77" fmla="*/ 2147483647 h 84"/>
                <a:gd name="T78" fmla="*/ 2147483647 w 210"/>
                <a:gd name="T79" fmla="*/ 2147483647 h 84"/>
                <a:gd name="T80" fmla="*/ 2147483647 w 210"/>
                <a:gd name="T81" fmla="*/ 2147483647 h 84"/>
                <a:gd name="T82" fmla="*/ 2147483647 w 210"/>
                <a:gd name="T83" fmla="*/ 2147483647 h 84"/>
                <a:gd name="T84" fmla="*/ 2147483647 w 210"/>
                <a:gd name="T85" fmla="*/ 2147483647 h 84"/>
                <a:gd name="T86" fmla="*/ 2147483647 w 210"/>
                <a:gd name="T87" fmla="*/ 2147483647 h 84"/>
                <a:gd name="T88" fmla="*/ 2147483647 w 210"/>
                <a:gd name="T89" fmla="*/ 2147483647 h 84"/>
                <a:gd name="T90" fmla="*/ 2147483647 w 210"/>
                <a:gd name="T91" fmla="*/ 2147483647 h 84"/>
                <a:gd name="T92" fmla="*/ 2147483647 w 210"/>
                <a:gd name="T93" fmla="*/ 2147483647 h 84"/>
                <a:gd name="T94" fmla="*/ 2147483647 w 210"/>
                <a:gd name="T95" fmla="*/ 2147483647 h 84"/>
                <a:gd name="T96" fmla="*/ 2147483647 w 210"/>
                <a:gd name="T97" fmla="*/ 2147483647 h 84"/>
                <a:gd name="T98" fmla="*/ 2147483647 w 210"/>
                <a:gd name="T99" fmla="*/ 2147483647 h 84"/>
                <a:gd name="T100" fmla="*/ 2147483647 w 210"/>
                <a:gd name="T101" fmla="*/ 2147483647 h 84"/>
                <a:gd name="T102" fmla="*/ 2147483647 w 210"/>
                <a:gd name="T103" fmla="*/ 2147483647 h 84"/>
                <a:gd name="T104" fmla="*/ 0 w 210"/>
                <a:gd name="T105" fmla="*/ 2147483647 h 84"/>
                <a:gd name="T106" fmla="*/ 0 w 210"/>
                <a:gd name="T107" fmla="*/ 2147483647 h 84"/>
                <a:gd name="T108" fmla="*/ 2147483647 w 210"/>
                <a:gd name="T109" fmla="*/ 2147483647 h 84"/>
                <a:gd name="T110" fmla="*/ 2147483647 w 210"/>
                <a:gd name="T111" fmla="*/ 2147483647 h 84"/>
                <a:gd name="T112" fmla="*/ 2147483647 w 210"/>
                <a:gd name="T113" fmla="*/ 2147483647 h 84"/>
                <a:gd name="T114" fmla="*/ 2147483647 w 210"/>
                <a:gd name="T115" fmla="*/ 2147483647 h 84"/>
                <a:gd name="T116" fmla="*/ 2147483647 w 210"/>
                <a:gd name="T117" fmla="*/ 2147483647 h 84"/>
                <a:gd name="T118" fmla="*/ 2147483647 w 210"/>
                <a:gd name="T119" fmla="*/ 2147483647 h 84"/>
                <a:gd name="T120" fmla="*/ 2147483647 w 210"/>
                <a:gd name="T121" fmla="*/ 2147483647 h 84"/>
                <a:gd name="T122" fmla="*/ 2147483647 w 210"/>
                <a:gd name="T123" fmla="*/ 2147483647 h 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
                <a:gd name="T187" fmla="*/ 0 h 84"/>
                <a:gd name="T188" fmla="*/ 210 w 210"/>
                <a:gd name="T189" fmla="*/ 84 h 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 h="84">
                  <a:moveTo>
                    <a:pt x="170" y="30"/>
                  </a:moveTo>
                  <a:lnTo>
                    <a:pt x="174" y="38"/>
                  </a:lnTo>
                  <a:lnTo>
                    <a:pt x="170" y="38"/>
                  </a:lnTo>
                  <a:lnTo>
                    <a:pt x="168" y="36"/>
                  </a:lnTo>
                  <a:lnTo>
                    <a:pt x="166" y="40"/>
                  </a:lnTo>
                  <a:lnTo>
                    <a:pt x="166" y="42"/>
                  </a:lnTo>
                  <a:lnTo>
                    <a:pt x="162" y="42"/>
                  </a:lnTo>
                  <a:lnTo>
                    <a:pt x="158" y="38"/>
                  </a:lnTo>
                  <a:lnTo>
                    <a:pt x="154" y="36"/>
                  </a:lnTo>
                  <a:lnTo>
                    <a:pt x="144" y="56"/>
                  </a:lnTo>
                  <a:lnTo>
                    <a:pt x="138" y="56"/>
                  </a:lnTo>
                  <a:lnTo>
                    <a:pt x="134" y="56"/>
                  </a:lnTo>
                  <a:lnTo>
                    <a:pt x="130" y="58"/>
                  </a:lnTo>
                  <a:lnTo>
                    <a:pt x="126" y="60"/>
                  </a:lnTo>
                  <a:lnTo>
                    <a:pt x="122" y="64"/>
                  </a:lnTo>
                  <a:lnTo>
                    <a:pt x="122" y="78"/>
                  </a:lnTo>
                  <a:lnTo>
                    <a:pt x="104" y="68"/>
                  </a:lnTo>
                  <a:lnTo>
                    <a:pt x="104" y="74"/>
                  </a:lnTo>
                  <a:lnTo>
                    <a:pt x="106" y="80"/>
                  </a:lnTo>
                  <a:lnTo>
                    <a:pt x="110" y="82"/>
                  </a:lnTo>
                  <a:lnTo>
                    <a:pt x="114" y="84"/>
                  </a:lnTo>
                  <a:lnTo>
                    <a:pt x="118" y="84"/>
                  </a:lnTo>
                  <a:lnTo>
                    <a:pt x="124" y="84"/>
                  </a:lnTo>
                  <a:lnTo>
                    <a:pt x="132" y="82"/>
                  </a:lnTo>
                  <a:lnTo>
                    <a:pt x="134" y="80"/>
                  </a:lnTo>
                  <a:lnTo>
                    <a:pt x="140" y="78"/>
                  </a:lnTo>
                  <a:lnTo>
                    <a:pt x="142" y="80"/>
                  </a:lnTo>
                  <a:lnTo>
                    <a:pt x="150" y="80"/>
                  </a:lnTo>
                  <a:lnTo>
                    <a:pt x="154" y="78"/>
                  </a:lnTo>
                  <a:lnTo>
                    <a:pt x="156" y="74"/>
                  </a:lnTo>
                  <a:lnTo>
                    <a:pt x="158" y="68"/>
                  </a:lnTo>
                  <a:lnTo>
                    <a:pt x="158" y="64"/>
                  </a:lnTo>
                  <a:lnTo>
                    <a:pt x="162" y="62"/>
                  </a:lnTo>
                  <a:lnTo>
                    <a:pt x="164" y="60"/>
                  </a:lnTo>
                  <a:lnTo>
                    <a:pt x="168" y="56"/>
                  </a:lnTo>
                  <a:lnTo>
                    <a:pt x="170" y="52"/>
                  </a:lnTo>
                  <a:lnTo>
                    <a:pt x="172" y="44"/>
                  </a:lnTo>
                  <a:lnTo>
                    <a:pt x="174" y="40"/>
                  </a:lnTo>
                  <a:lnTo>
                    <a:pt x="182" y="42"/>
                  </a:lnTo>
                  <a:lnTo>
                    <a:pt x="190" y="42"/>
                  </a:lnTo>
                  <a:lnTo>
                    <a:pt x="190" y="40"/>
                  </a:lnTo>
                  <a:lnTo>
                    <a:pt x="198" y="38"/>
                  </a:lnTo>
                  <a:lnTo>
                    <a:pt x="200" y="36"/>
                  </a:lnTo>
                  <a:lnTo>
                    <a:pt x="200" y="32"/>
                  </a:lnTo>
                  <a:lnTo>
                    <a:pt x="200" y="30"/>
                  </a:lnTo>
                  <a:lnTo>
                    <a:pt x="200" y="28"/>
                  </a:lnTo>
                  <a:lnTo>
                    <a:pt x="202" y="30"/>
                  </a:lnTo>
                  <a:lnTo>
                    <a:pt x="204" y="30"/>
                  </a:lnTo>
                  <a:lnTo>
                    <a:pt x="208" y="26"/>
                  </a:lnTo>
                  <a:lnTo>
                    <a:pt x="210" y="26"/>
                  </a:lnTo>
                  <a:lnTo>
                    <a:pt x="208" y="22"/>
                  </a:lnTo>
                  <a:lnTo>
                    <a:pt x="204" y="18"/>
                  </a:lnTo>
                  <a:lnTo>
                    <a:pt x="200" y="16"/>
                  </a:lnTo>
                  <a:lnTo>
                    <a:pt x="196" y="14"/>
                  </a:lnTo>
                  <a:lnTo>
                    <a:pt x="196" y="12"/>
                  </a:lnTo>
                  <a:lnTo>
                    <a:pt x="198" y="10"/>
                  </a:lnTo>
                  <a:lnTo>
                    <a:pt x="190" y="4"/>
                  </a:lnTo>
                  <a:lnTo>
                    <a:pt x="182" y="0"/>
                  </a:lnTo>
                  <a:lnTo>
                    <a:pt x="182" y="4"/>
                  </a:lnTo>
                  <a:lnTo>
                    <a:pt x="182" y="8"/>
                  </a:lnTo>
                  <a:lnTo>
                    <a:pt x="178" y="10"/>
                  </a:lnTo>
                  <a:lnTo>
                    <a:pt x="172" y="20"/>
                  </a:lnTo>
                  <a:lnTo>
                    <a:pt x="172" y="24"/>
                  </a:lnTo>
                  <a:lnTo>
                    <a:pt x="172" y="30"/>
                  </a:lnTo>
                  <a:lnTo>
                    <a:pt x="170" y="30"/>
                  </a:lnTo>
                  <a:close/>
                  <a:moveTo>
                    <a:pt x="30" y="74"/>
                  </a:moveTo>
                  <a:lnTo>
                    <a:pt x="34" y="70"/>
                  </a:lnTo>
                  <a:lnTo>
                    <a:pt x="42" y="72"/>
                  </a:lnTo>
                  <a:lnTo>
                    <a:pt x="42" y="64"/>
                  </a:lnTo>
                  <a:lnTo>
                    <a:pt x="40" y="58"/>
                  </a:lnTo>
                  <a:lnTo>
                    <a:pt x="36" y="58"/>
                  </a:lnTo>
                  <a:lnTo>
                    <a:pt x="34" y="44"/>
                  </a:lnTo>
                  <a:lnTo>
                    <a:pt x="36" y="44"/>
                  </a:lnTo>
                  <a:lnTo>
                    <a:pt x="34" y="28"/>
                  </a:lnTo>
                  <a:lnTo>
                    <a:pt x="30" y="20"/>
                  </a:lnTo>
                  <a:lnTo>
                    <a:pt x="26" y="14"/>
                  </a:lnTo>
                  <a:lnTo>
                    <a:pt x="22" y="12"/>
                  </a:lnTo>
                  <a:lnTo>
                    <a:pt x="18" y="10"/>
                  </a:lnTo>
                  <a:lnTo>
                    <a:pt x="18" y="14"/>
                  </a:lnTo>
                  <a:lnTo>
                    <a:pt x="18" y="18"/>
                  </a:lnTo>
                  <a:lnTo>
                    <a:pt x="14" y="18"/>
                  </a:lnTo>
                  <a:lnTo>
                    <a:pt x="12" y="22"/>
                  </a:lnTo>
                  <a:lnTo>
                    <a:pt x="10" y="22"/>
                  </a:lnTo>
                  <a:lnTo>
                    <a:pt x="10" y="16"/>
                  </a:lnTo>
                  <a:lnTo>
                    <a:pt x="4" y="12"/>
                  </a:lnTo>
                  <a:lnTo>
                    <a:pt x="0" y="14"/>
                  </a:lnTo>
                  <a:lnTo>
                    <a:pt x="0" y="22"/>
                  </a:lnTo>
                  <a:lnTo>
                    <a:pt x="0" y="30"/>
                  </a:lnTo>
                  <a:lnTo>
                    <a:pt x="2" y="30"/>
                  </a:lnTo>
                  <a:lnTo>
                    <a:pt x="4" y="38"/>
                  </a:lnTo>
                  <a:lnTo>
                    <a:pt x="6" y="48"/>
                  </a:lnTo>
                  <a:lnTo>
                    <a:pt x="12" y="52"/>
                  </a:lnTo>
                  <a:lnTo>
                    <a:pt x="12" y="56"/>
                  </a:lnTo>
                  <a:lnTo>
                    <a:pt x="12" y="60"/>
                  </a:lnTo>
                  <a:lnTo>
                    <a:pt x="14" y="62"/>
                  </a:lnTo>
                  <a:lnTo>
                    <a:pt x="18" y="64"/>
                  </a:lnTo>
                  <a:lnTo>
                    <a:pt x="24" y="70"/>
                  </a:lnTo>
                  <a:lnTo>
                    <a:pt x="30" y="7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6" name="Freeform 588">
              <a:extLst>
                <a:ext uri="{FF2B5EF4-FFF2-40B4-BE49-F238E27FC236}">
                  <a16:creationId xmlns:a16="http://schemas.microsoft.com/office/drawing/2014/main" id="{9CA67C24-2B51-4C95-84B3-424259F0B200}"/>
                </a:ext>
              </a:extLst>
            </p:cNvPr>
            <p:cNvSpPr>
              <a:spLocks/>
            </p:cNvSpPr>
            <p:nvPr/>
          </p:nvSpPr>
          <p:spPr bwMode="gray">
            <a:xfrm>
              <a:off x="5064159" y="4538414"/>
              <a:ext cx="70626" cy="200114"/>
            </a:xfrm>
            <a:custGeom>
              <a:avLst/>
              <a:gdLst>
                <a:gd name="T0" fmla="*/ 2147483647 w 38"/>
                <a:gd name="T1" fmla="*/ 2147483647 h 108"/>
                <a:gd name="T2" fmla="*/ 2147483647 w 38"/>
                <a:gd name="T3" fmla="*/ 2147483647 h 108"/>
                <a:gd name="T4" fmla="*/ 2147483647 w 38"/>
                <a:gd name="T5" fmla="*/ 2147483647 h 108"/>
                <a:gd name="T6" fmla="*/ 2147483647 w 38"/>
                <a:gd name="T7" fmla="*/ 2147483647 h 108"/>
                <a:gd name="T8" fmla="*/ 2147483647 w 38"/>
                <a:gd name="T9" fmla="*/ 2147483647 h 108"/>
                <a:gd name="T10" fmla="*/ 2147483647 w 38"/>
                <a:gd name="T11" fmla="*/ 2147483647 h 108"/>
                <a:gd name="T12" fmla="*/ 2147483647 w 38"/>
                <a:gd name="T13" fmla="*/ 2147483647 h 108"/>
                <a:gd name="T14" fmla="*/ 2147483647 w 38"/>
                <a:gd name="T15" fmla="*/ 2147483647 h 108"/>
                <a:gd name="T16" fmla="*/ 2147483647 w 38"/>
                <a:gd name="T17" fmla="*/ 2147483647 h 108"/>
                <a:gd name="T18" fmla="*/ 2147483647 w 38"/>
                <a:gd name="T19" fmla="*/ 2147483647 h 108"/>
                <a:gd name="T20" fmla="*/ 2147483647 w 38"/>
                <a:gd name="T21" fmla="*/ 2147483647 h 108"/>
                <a:gd name="T22" fmla="*/ 2147483647 w 38"/>
                <a:gd name="T23" fmla="*/ 2147483647 h 108"/>
                <a:gd name="T24" fmla="*/ 2147483647 w 38"/>
                <a:gd name="T25" fmla="*/ 2147483647 h 108"/>
                <a:gd name="T26" fmla="*/ 2147483647 w 38"/>
                <a:gd name="T27" fmla="*/ 2147483647 h 108"/>
                <a:gd name="T28" fmla="*/ 2147483647 w 38"/>
                <a:gd name="T29" fmla="*/ 0 h 108"/>
                <a:gd name="T30" fmla="*/ 2147483647 w 38"/>
                <a:gd name="T31" fmla="*/ 2147483647 h 108"/>
                <a:gd name="T32" fmla="*/ 2147483647 w 38"/>
                <a:gd name="T33" fmla="*/ 2147483647 h 108"/>
                <a:gd name="T34" fmla="*/ 2147483647 w 38"/>
                <a:gd name="T35" fmla="*/ 2147483647 h 108"/>
                <a:gd name="T36" fmla="*/ 2147483647 w 38"/>
                <a:gd name="T37" fmla="*/ 2147483647 h 108"/>
                <a:gd name="T38" fmla="*/ 2147483647 w 38"/>
                <a:gd name="T39" fmla="*/ 2147483647 h 108"/>
                <a:gd name="T40" fmla="*/ 2147483647 w 38"/>
                <a:gd name="T41" fmla="*/ 2147483647 h 108"/>
                <a:gd name="T42" fmla="*/ 2147483647 w 38"/>
                <a:gd name="T43" fmla="*/ 2147483647 h 108"/>
                <a:gd name="T44" fmla="*/ 2147483647 w 38"/>
                <a:gd name="T45" fmla="*/ 2147483647 h 108"/>
                <a:gd name="T46" fmla="*/ 2147483647 w 38"/>
                <a:gd name="T47" fmla="*/ 2147483647 h 108"/>
                <a:gd name="T48" fmla="*/ 2147483647 w 38"/>
                <a:gd name="T49" fmla="*/ 2147483647 h 108"/>
                <a:gd name="T50" fmla="*/ 2147483647 w 38"/>
                <a:gd name="T51" fmla="*/ 2147483647 h 108"/>
                <a:gd name="T52" fmla="*/ 2147483647 w 38"/>
                <a:gd name="T53" fmla="*/ 2147483647 h 108"/>
                <a:gd name="T54" fmla="*/ 2147483647 w 38"/>
                <a:gd name="T55" fmla="*/ 2147483647 h 108"/>
                <a:gd name="T56" fmla="*/ 0 w 38"/>
                <a:gd name="T57" fmla="*/ 2147483647 h 108"/>
                <a:gd name="T58" fmla="*/ 0 w 38"/>
                <a:gd name="T59" fmla="*/ 2147483647 h 108"/>
                <a:gd name="T60" fmla="*/ 0 w 38"/>
                <a:gd name="T61" fmla="*/ 2147483647 h 108"/>
                <a:gd name="T62" fmla="*/ 0 w 38"/>
                <a:gd name="T63" fmla="*/ 2147483647 h 108"/>
                <a:gd name="T64" fmla="*/ 2147483647 w 38"/>
                <a:gd name="T65" fmla="*/ 2147483647 h 108"/>
                <a:gd name="T66" fmla="*/ 2147483647 w 38"/>
                <a:gd name="T67" fmla="*/ 2147483647 h 108"/>
                <a:gd name="T68" fmla="*/ 2147483647 w 38"/>
                <a:gd name="T69" fmla="*/ 2147483647 h 108"/>
                <a:gd name="T70" fmla="*/ 2147483647 w 38"/>
                <a:gd name="T71" fmla="*/ 2147483647 h 108"/>
                <a:gd name="T72" fmla="*/ 2147483647 w 38"/>
                <a:gd name="T73" fmla="*/ 2147483647 h 108"/>
                <a:gd name="T74" fmla="*/ 2147483647 w 38"/>
                <a:gd name="T75" fmla="*/ 2147483647 h 108"/>
                <a:gd name="T76" fmla="*/ 2147483647 w 38"/>
                <a:gd name="T77" fmla="*/ 2147483647 h 108"/>
                <a:gd name="T78" fmla="*/ 2147483647 w 38"/>
                <a:gd name="T79" fmla="*/ 2147483647 h 108"/>
                <a:gd name="T80" fmla="*/ 2147483647 w 38"/>
                <a:gd name="T81" fmla="*/ 2147483647 h 108"/>
                <a:gd name="T82" fmla="*/ 2147483647 w 38"/>
                <a:gd name="T83" fmla="*/ 2147483647 h 108"/>
                <a:gd name="T84" fmla="*/ 2147483647 w 38"/>
                <a:gd name="T85" fmla="*/ 2147483647 h 108"/>
                <a:gd name="T86" fmla="*/ 2147483647 w 38"/>
                <a:gd name="T87" fmla="*/ 2147483647 h 108"/>
                <a:gd name="T88" fmla="*/ 2147483647 w 38"/>
                <a:gd name="T89" fmla="*/ 2147483647 h 108"/>
                <a:gd name="T90" fmla="*/ 2147483647 w 38"/>
                <a:gd name="T91" fmla="*/ 2147483647 h 108"/>
                <a:gd name="T92" fmla="*/ 2147483647 w 38"/>
                <a:gd name="T93" fmla="*/ 2147483647 h 108"/>
                <a:gd name="T94" fmla="*/ 2147483647 w 38"/>
                <a:gd name="T95" fmla="*/ 2147483647 h 108"/>
                <a:gd name="T96" fmla="*/ 2147483647 w 38"/>
                <a:gd name="T97" fmla="*/ 2147483647 h 108"/>
                <a:gd name="T98" fmla="*/ 2147483647 w 38"/>
                <a:gd name="T99" fmla="*/ 2147483647 h 108"/>
                <a:gd name="T100" fmla="*/ 2147483647 w 38"/>
                <a:gd name="T101" fmla="*/ 2147483647 h 108"/>
                <a:gd name="T102" fmla="*/ 2147483647 w 38"/>
                <a:gd name="T103" fmla="*/ 2147483647 h 108"/>
                <a:gd name="T104" fmla="*/ 2147483647 w 38"/>
                <a:gd name="T105" fmla="*/ 2147483647 h 108"/>
                <a:gd name="T106" fmla="*/ 2147483647 w 38"/>
                <a:gd name="T107" fmla="*/ 2147483647 h 108"/>
                <a:gd name="T108" fmla="*/ 2147483647 w 38"/>
                <a:gd name="T109" fmla="*/ 2147483647 h 108"/>
                <a:gd name="T110" fmla="*/ 2147483647 w 38"/>
                <a:gd name="T111" fmla="*/ 2147483647 h 108"/>
                <a:gd name="T112" fmla="*/ 2147483647 w 38"/>
                <a:gd name="T113" fmla="*/ 2147483647 h 1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
                <a:gd name="T172" fmla="*/ 0 h 108"/>
                <a:gd name="T173" fmla="*/ 38 w 38"/>
                <a:gd name="T174" fmla="*/ 108 h 1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 h="108">
                  <a:moveTo>
                    <a:pt x="26" y="68"/>
                  </a:moveTo>
                  <a:lnTo>
                    <a:pt x="26" y="68"/>
                  </a:lnTo>
                  <a:lnTo>
                    <a:pt x="24" y="66"/>
                  </a:lnTo>
                  <a:lnTo>
                    <a:pt x="20" y="66"/>
                  </a:lnTo>
                  <a:lnTo>
                    <a:pt x="20" y="64"/>
                  </a:lnTo>
                  <a:lnTo>
                    <a:pt x="20" y="62"/>
                  </a:lnTo>
                  <a:lnTo>
                    <a:pt x="20" y="60"/>
                  </a:lnTo>
                  <a:lnTo>
                    <a:pt x="18" y="56"/>
                  </a:lnTo>
                  <a:lnTo>
                    <a:pt x="18" y="54"/>
                  </a:lnTo>
                  <a:lnTo>
                    <a:pt x="18" y="50"/>
                  </a:lnTo>
                  <a:lnTo>
                    <a:pt x="16" y="42"/>
                  </a:lnTo>
                  <a:lnTo>
                    <a:pt x="16" y="40"/>
                  </a:lnTo>
                  <a:lnTo>
                    <a:pt x="18" y="40"/>
                  </a:lnTo>
                  <a:lnTo>
                    <a:pt x="16" y="40"/>
                  </a:lnTo>
                  <a:lnTo>
                    <a:pt x="14" y="34"/>
                  </a:lnTo>
                  <a:lnTo>
                    <a:pt x="18" y="28"/>
                  </a:lnTo>
                  <a:lnTo>
                    <a:pt x="18" y="22"/>
                  </a:lnTo>
                  <a:lnTo>
                    <a:pt x="18" y="16"/>
                  </a:lnTo>
                  <a:lnTo>
                    <a:pt x="16" y="6"/>
                  </a:lnTo>
                  <a:lnTo>
                    <a:pt x="14" y="6"/>
                  </a:lnTo>
                  <a:lnTo>
                    <a:pt x="14" y="4"/>
                  </a:lnTo>
                  <a:lnTo>
                    <a:pt x="16" y="4"/>
                  </a:lnTo>
                  <a:lnTo>
                    <a:pt x="6" y="0"/>
                  </a:lnTo>
                  <a:lnTo>
                    <a:pt x="8" y="4"/>
                  </a:lnTo>
                  <a:lnTo>
                    <a:pt x="10" y="6"/>
                  </a:lnTo>
                  <a:lnTo>
                    <a:pt x="10" y="10"/>
                  </a:lnTo>
                  <a:lnTo>
                    <a:pt x="10" y="14"/>
                  </a:lnTo>
                  <a:lnTo>
                    <a:pt x="12" y="16"/>
                  </a:lnTo>
                  <a:lnTo>
                    <a:pt x="12" y="18"/>
                  </a:lnTo>
                  <a:lnTo>
                    <a:pt x="10" y="22"/>
                  </a:lnTo>
                  <a:lnTo>
                    <a:pt x="6" y="24"/>
                  </a:lnTo>
                  <a:lnTo>
                    <a:pt x="6" y="26"/>
                  </a:lnTo>
                  <a:lnTo>
                    <a:pt x="4" y="26"/>
                  </a:lnTo>
                  <a:lnTo>
                    <a:pt x="6" y="36"/>
                  </a:lnTo>
                  <a:lnTo>
                    <a:pt x="8" y="36"/>
                  </a:lnTo>
                  <a:lnTo>
                    <a:pt x="10" y="38"/>
                  </a:lnTo>
                  <a:lnTo>
                    <a:pt x="8" y="40"/>
                  </a:lnTo>
                  <a:lnTo>
                    <a:pt x="6" y="42"/>
                  </a:lnTo>
                  <a:lnTo>
                    <a:pt x="2" y="46"/>
                  </a:lnTo>
                  <a:lnTo>
                    <a:pt x="0" y="50"/>
                  </a:lnTo>
                  <a:lnTo>
                    <a:pt x="0" y="54"/>
                  </a:lnTo>
                  <a:lnTo>
                    <a:pt x="0" y="58"/>
                  </a:lnTo>
                  <a:lnTo>
                    <a:pt x="0" y="62"/>
                  </a:lnTo>
                  <a:lnTo>
                    <a:pt x="0" y="70"/>
                  </a:lnTo>
                  <a:lnTo>
                    <a:pt x="4" y="70"/>
                  </a:lnTo>
                  <a:lnTo>
                    <a:pt x="6" y="74"/>
                  </a:lnTo>
                  <a:lnTo>
                    <a:pt x="6" y="78"/>
                  </a:lnTo>
                  <a:lnTo>
                    <a:pt x="8" y="78"/>
                  </a:lnTo>
                  <a:lnTo>
                    <a:pt x="16" y="76"/>
                  </a:lnTo>
                  <a:lnTo>
                    <a:pt x="18" y="80"/>
                  </a:lnTo>
                  <a:lnTo>
                    <a:pt x="18" y="84"/>
                  </a:lnTo>
                  <a:lnTo>
                    <a:pt x="16" y="90"/>
                  </a:lnTo>
                  <a:lnTo>
                    <a:pt x="14" y="92"/>
                  </a:lnTo>
                  <a:lnTo>
                    <a:pt x="16" y="94"/>
                  </a:lnTo>
                  <a:lnTo>
                    <a:pt x="22" y="102"/>
                  </a:lnTo>
                  <a:lnTo>
                    <a:pt x="26" y="104"/>
                  </a:lnTo>
                  <a:lnTo>
                    <a:pt x="26" y="106"/>
                  </a:lnTo>
                  <a:lnTo>
                    <a:pt x="26" y="108"/>
                  </a:lnTo>
                  <a:lnTo>
                    <a:pt x="28" y="108"/>
                  </a:lnTo>
                  <a:lnTo>
                    <a:pt x="32" y="106"/>
                  </a:lnTo>
                  <a:lnTo>
                    <a:pt x="32" y="104"/>
                  </a:lnTo>
                  <a:lnTo>
                    <a:pt x="32" y="102"/>
                  </a:lnTo>
                  <a:lnTo>
                    <a:pt x="30" y="96"/>
                  </a:lnTo>
                  <a:lnTo>
                    <a:pt x="30" y="92"/>
                  </a:lnTo>
                  <a:lnTo>
                    <a:pt x="34" y="92"/>
                  </a:lnTo>
                  <a:lnTo>
                    <a:pt x="36" y="92"/>
                  </a:lnTo>
                  <a:lnTo>
                    <a:pt x="38" y="90"/>
                  </a:lnTo>
                  <a:lnTo>
                    <a:pt x="36" y="86"/>
                  </a:lnTo>
                  <a:lnTo>
                    <a:pt x="36" y="82"/>
                  </a:lnTo>
                  <a:lnTo>
                    <a:pt x="36" y="76"/>
                  </a:lnTo>
                  <a:lnTo>
                    <a:pt x="34" y="74"/>
                  </a:lnTo>
                  <a:lnTo>
                    <a:pt x="30" y="72"/>
                  </a:lnTo>
                  <a:lnTo>
                    <a:pt x="28" y="70"/>
                  </a:lnTo>
                  <a:lnTo>
                    <a:pt x="26" y="6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7" name="Freeform 589">
              <a:extLst>
                <a:ext uri="{FF2B5EF4-FFF2-40B4-BE49-F238E27FC236}">
                  <a16:creationId xmlns:a16="http://schemas.microsoft.com/office/drawing/2014/main" id="{C51F4BA2-3B4C-48AF-A740-81D19F58ED00}"/>
                </a:ext>
              </a:extLst>
            </p:cNvPr>
            <p:cNvSpPr>
              <a:spLocks/>
            </p:cNvSpPr>
            <p:nvPr/>
          </p:nvSpPr>
          <p:spPr bwMode="gray">
            <a:xfrm>
              <a:off x="5276035" y="4625522"/>
              <a:ext cx="157730" cy="350787"/>
            </a:xfrm>
            <a:custGeom>
              <a:avLst/>
              <a:gdLst>
                <a:gd name="T0" fmla="*/ 2147483647 w 86"/>
                <a:gd name="T1" fmla="*/ 0 h 190"/>
                <a:gd name="T2" fmla="*/ 2147483647 w 86"/>
                <a:gd name="T3" fmla="*/ 2147483647 h 190"/>
                <a:gd name="T4" fmla="*/ 2147483647 w 86"/>
                <a:gd name="T5" fmla="*/ 2147483647 h 190"/>
                <a:gd name="T6" fmla="*/ 2147483647 w 86"/>
                <a:gd name="T7" fmla="*/ 2147483647 h 190"/>
                <a:gd name="T8" fmla="*/ 2147483647 w 86"/>
                <a:gd name="T9" fmla="*/ 2147483647 h 190"/>
                <a:gd name="T10" fmla="*/ 2147483647 w 86"/>
                <a:gd name="T11" fmla="*/ 2147483647 h 190"/>
                <a:gd name="T12" fmla="*/ 2147483647 w 86"/>
                <a:gd name="T13" fmla="*/ 2147483647 h 190"/>
                <a:gd name="T14" fmla="*/ 2147483647 w 86"/>
                <a:gd name="T15" fmla="*/ 2147483647 h 190"/>
                <a:gd name="T16" fmla="*/ 2147483647 w 86"/>
                <a:gd name="T17" fmla="*/ 2147483647 h 190"/>
                <a:gd name="T18" fmla="*/ 2147483647 w 86"/>
                <a:gd name="T19" fmla="*/ 2147483647 h 190"/>
                <a:gd name="T20" fmla="*/ 2147483647 w 86"/>
                <a:gd name="T21" fmla="*/ 2147483647 h 190"/>
                <a:gd name="T22" fmla="*/ 2147483647 w 86"/>
                <a:gd name="T23" fmla="*/ 2147483647 h 190"/>
                <a:gd name="T24" fmla="*/ 2147483647 w 86"/>
                <a:gd name="T25" fmla="*/ 2147483647 h 190"/>
                <a:gd name="T26" fmla="*/ 2147483647 w 86"/>
                <a:gd name="T27" fmla="*/ 2147483647 h 190"/>
                <a:gd name="T28" fmla="*/ 2147483647 w 86"/>
                <a:gd name="T29" fmla="*/ 2147483647 h 190"/>
                <a:gd name="T30" fmla="*/ 2147483647 w 86"/>
                <a:gd name="T31" fmla="*/ 2147483647 h 190"/>
                <a:gd name="T32" fmla="*/ 2147483647 w 86"/>
                <a:gd name="T33" fmla="*/ 2147483647 h 190"/>
                <a:gd name="T34" fmla="*/ 2147483647 w 86"/>
                <a:gd name="T35" fmla="*/ 2147483647 h 190"/>
                <a:gd name="T36" fmla="*/ 2147483647 w 86"/>
                <a:gd name="T37" fmla="*/ 2147483647 h 190"/>
                <a:gd name="T38" fmla="*/ 2147483647 w 86"/>
                <a:gd name="T39" fmla="*/ 2147483647 h 190"/>
                <a:gd name="T40" fmla="*/ 2147483647 w 86"/>
                <a:gd name="T41" fmla="*/ 2147483647 h 190"/>
                <a:gd name="T42" fmla="*/ 2147483647 w 86"/>
                <a:gd name="T43" fmla="*/ 2147483647 h 190"/>
                <a:gd name="T44" fmla="*/ 2147483647 w 86"/>
                <a:gd name="T45" fmla="*/ 2147483647 h 190"/>
                <a:gd name="T46" fmla="*/ 2147483647 w 86"/>
                <a:gd name="T47" fmla="*/ 2147483647 h 190"/>
                <a:gd name="T48" fmla="*/ 2147483647 w 86"/>
                <a:gd name="T49" fmla="*/ 2147483647 h 190"/>
                <a:gd name="T50" fmla="*/ 0 w 86"/>
                <a:gd name="T51" fmla="*/ 2147483647 h 190"/>
                <a:gd name="T52" fmla="*/ 2147483647 w 86"/>
                <a:gd name="T53" fmla="*/ 2147483647 h 190"/>
                <a:gd name="T54" fmla="*/ 2147483647 w 86"/>
                <a:gd name="T55" fmla="*/ 2147483647 h 190"/>
                <a:gd name="T56" fmla="*/ 2147483647 w 86"/>
                <a:gd name="T57" fmla="*/ 2147483647 h 190"/>
                <a:gd name="T58" fmla="*/ 2147483647 w 86"/>
                <a:gd name="T59" fmla="*/ 2147483647 h 190"/>
                <a:gd name="T60" fmla="*/ 2147483647 w 86"/>
                <a:gd name="T61" fmla="*/ 2147483647 h 190"/>
                <a:gd name="T62" fmla="*/ 2147483647 w 86"/>
                <a:gd name="T63" fmla="*/ 2147483647 h 190"/>
                <a:gd name="T64" fmla="*/ 2147483647 w 86"/>
                <a:gd name="T65" fmla="*/ 2147483647 h 190"/>
                <a:gd name="T66" fmla="*/ 2147483647 w 86"/>
                <a:gd name="T67" fmla="*/ 2147483647 h 190"/>
                <a:gd name="T68" fmla="*/ 2147483647 w 86"/>
                <a:gd name="T69" fmla="*/ 2147483647 h 190"/>
                <a:gd name="T70" fmla="*/ 2147483647 w 86"/>
                <a:gd name="T71" fmla="*/ 2147483647 h 190"/>
                <a:gd name="T72" fmla="*/ 2147483647 w 86"/>
                <a:gd name="T73" fmla="*/ 2147483647 h 190"/>
                <a:gd name="T74" fmla="*/ 2147483647 w 86"/>
                <a:gd name="T75" fmla="*/ 2147483647 h 190"/>
                <a:gd name="T76" fmla="*/ 2147483647 w 86"/>
                <a:gd name="T77" fmla="*/ 2147483647 h 190"/>
                <a:gd name="T78" fmla="*/ 2147483647 w 86"/>
                <a:gd name="T79" fmla="*/ 2147483647 h 190"/>
                <a:gd name="T80" fmla="*/ 2147483647 w 86"/>
                <a:gd name="T81" fmla="*/ 2147483647 h 190"/>
                <a:gd name="T82" fmla="*/ 2147483647 w 86"/>
                <a:gd name="T83" fmla="*/ 2147483647 h 190"/>
                <a:gd name="T84" fmla="*/ 2147483647 w 86"/>
                <a:gd name="T85" fmla="*/ 2147483647 h 190"/>
                <a:gd name="T86" fmla="*/ 2147483647 w 86"/>
                <a:gd name="T87" fmla="*/ 2147483647 h 190"/>
                <a:gd name="T88" fmla="*/ 2147483647 w 86"/>
                <a:gd name="T89" fmla="*/ 2147483647 h 190"/>
                <a:gd name="T90" fmla="*/ 2147483647 w 86"/>
                <a:gd name="T91" fmla="*/ 2147483647 h 190"/>
                <a:gd name="T92" fmla="*/ 2147483647 w 86"/>
                <a:gd name="T93" fmla="*/ 2147483647 h 190"/>
                <a:gd name="T94" fmla="*/ 2147483647 w 86"/>
                <a:gd name="T95" fmla="*/ 2147483647 h 190"/>
                <a:gd name="T96" fmla="*/ 2147483647 w 86"/>
                <a:gd name="T97" fmla="*/ 2147483647 h 190"/>
                <a:gd name="T98" fmla="*/ 2147483647 w 86"/>
                <a:gd name="T99" fmla="*/ 2147483647 h 190"/>
                <a:gd name="T100" fmla="*/ 2147483647 w 86"/>
                <a:gd name="T101" fmla="*/ 2147483647 h 190"/>
                <a:gd name="T102" fmla="*/ 2147483647 w 86"/>
                <a:gd name="T103" fmla="*/ 2147483647 h 190"/>
                <a:gd name="T104" fmla="*/ 2147483647 w 86"/>
                <a:gd name="T105" fmla="*/ 2147483647 h 190"/>
                <a:gd name="T106" fmla="*/ 2147483647 w 86"/>
                <a:gd name="T107" fmla="*/ 2147483647 h 190"/>
                <a:gd name="T108" fmla="*/ 2147483647 w 86"/>
                <a:gd name="T109" fmla="*/ 2147483647 h 190"/>
                <a:gd name="T110" fmla="*/ 2147483647 w 86"/>
                <a:gd name="T111" fmla="*/ 0 h 1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
                <a:gd name="T169" fmla="*/ 0 h 190"/>
                <a:gd name="T170" fmla="*/ 86 w 86"/>
                <a:gd name="T171" fmla="*/ 190 h 19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 h="190">
                  <a:moveTo>
                    <a:pt x="70" y="0"/>
                  </a:moveTo>
                  <a:lnTo>
                    <a:pt x="70" y="0"/>
                  </a:lnTo>
                  <a:lnTo>
                    <a:pt x="68" y="10"/>
                  </a:lnTo>
                  <a:lnTo>
                    <a:pt x="66" y="22"/>
                  </a:lnTo>
                  <a:lnTo>
                    <a:pt x="60" y="24"/>
                  </a:lnTo>
                  <a:lnTo>
                    <a:pt x="56" y="24"/>
                  </a:lnTo>
                  <a:lnTo>
                    <a:pt x="56" y="26"/>
                  </a:lnTo>
                  <a:lnTo>
                    <a:pt x="58" y="26"/>
                  </a:lnTo>
                  <a:lnTo>
                    <a:pt x="58" y="28"/>
                  </a:lnTo>
                  <a:lnTo>
                    <a:pt x="58" y="32"/>
                  </a:lnTo>
                  <a:lnTo>
                    <a:pt x="56" y="32"/>
                  </a:lnTo>
                  <a:lnTo>
                    <a:pt x="54" y="34"/>
                  </a:lnTo>
                  <a:lnTo>
                    <a:pt x="54" y="40"/>
                  </a:lnTo>
                  <a:lnTo>
                    <a:pt x="52" y="40"/>
                  </a:lnTo>
                  <a:lnTo>
                    <a:pt x="52" y="38"/>
                  </a:lnTo>
                  <a:lnTo>
                    <a:pt x="48" y="38"/>
                  </a:lnTo>
                  <a:lnTo>
                    <a:pt x="48" y="48"/>
                  </a:lnTo>
                  <a:lnTo>
                    <a:pt x="46" y="46"/>
                  </a:lnTo>
                  <a:lnTo>
                    <a:pt x="42" y="46"/>
                  </a:lnTo>
                  <a:lnTo>
                    <a:pt x="40" y="50"/>
                  </a:lnTo>
                  <a:lnTo>
                    <a:pt x="36" y="52"/>
                  </a:lnTo>
                  <a:lnTo>
                    <a:pt x="34" y="50"/>
                  </a:lnTo>
                  <a:lnTo>
                    <a:pt x="30" y="50"/>
                  </a:lnTo>
                  <a:lnTo>
                    <a:pt x="30" y="52"/>
                  </a:lnTo>
                  <a:lnTo>
                    <a:pt x="18" y="60"/>
                  </a:lnTo>
                  <a:lnTo>
                    <a:pt x="12" y="64"/>
                  </a:lnTo>
                  <a:lnTo>
                    <a:pt x="10" y="70"/>
                  </a:lnTo>
                  <a:lnTo>
                    <a:pt x="10" y="80"/>
                  </a:lnTo>
                  <a:lnTo>
                    <a:pt x="14" y="90"/>
                  </a:lnTo>
                  <a:lnTo>
                    <a:pt x="16" y="98"/>
                  </a:lnTo>
                  <a:lnTo>
                    <a:pt x="18" y="104"/>
                  </a:lnTo>
                  <a:lnTo>
                    <a:pt x="16" y="108"/>
                  </a:lnTo>
                  <a:lnTo>
                    <a:pt x="8" y="116"/>
                  </a:lnTo>
                  <a:lnTo>
                    <a:pt x="8" y="120"/>
                  </a:lnTo>
                  <a:lnTo>
                    <a:pt x="8" y="124"/>
                  </a:lnTo>
                  <a:lnTo>
                    <a:pt x="2" y="128"/>
                  </a:lnTo>
                  <a:lnTo>
                    <a:pt x="0" y="138"/>
                  </a:lnTo>
                  <a:lnTo>
                    <a:pt x="2" y="148"/>
                  </a:lnTo>
                  <a:lnTo>
                    <a:pt x="8" y="164"/>
                  </a:lnTo>
                  <a:lnTo>
                    <a:pt x="14" y="180"/>
                  </a:lnTo>
                  <a:lnTo>
                    <a:pt x="18" y="184"/>
                  </a:lnTo>
                  <a:lnTo>
                    <a:pt x="26" y="188"/>
                  </a:lnTo>
                  <a:lnTo>
                    <a:pt x="28" y="190"/>
                  </a:lnTo>
                  <a:lnTo>
                    <a:pt x="30" y="190"/>
                  </a:lnTo>
                  <a:lnTo>
                    <a:pt x="30" y="188"/>
                  </a:lnTo>
                  <a:lnTo>
                    <a:pt x="38" y="186"/>
                  </a:lnTo>
                  <a:lnTo>
                    <a:pt x="44" y="182"/>
                  </a:lnTo>
                  <a:lnTo>
                    <a:pt x="46" y="180"/>
                  </a:lnTo>
                  <a:lnTo>
                    <a:pt x="48" y="174"/>
                  </a:lnTo>
                  <a:lnTo>
                    <a:pt x="50" y="170"/>
                  </a:lnTo>
                  <a:lnTo>
                    <a:pt x="52" y="158"/>
                  </a:lnTo>
                  <a:lnTo>
                    <a:pt x="60" y="138"/>
                  </a:lnTo>
                  <a:lnTo>
                    <a:pt x="64" y="128"/>
                  </a:lnTo>
                  <a:lnTo>
                    <a:pt x="66" y="118"/>
                  </a:lnTo>
                  <a:lnTo>
                    <a:pt x="64" y="110"/>
                  </a:lnTo>
                  <a:lnTo>
                    <a:pt x="64" y="106"/>
                  </a:lnTo>
                  <a:lnTo>
                    <a:pt x="72" y="92"/>
                  </a:lnTo>
                  <a:lnTo>
                    <a:pt x="76" y="82"/>
                  </a:lnTo>
                  <a:lnTo>
                    <a:pt x="76" y="78"/>
                  </a:lnTo>
                  <a:lnTo>
                    <a:pt x="74" y="76"/>
                  </a:lnTo>
                  <a:lnTo>
                    <a:pt x="78" y="72"/>
                  </a:lnTo>
                  <a:lnTo>
                    <a:pt x="78" y="66"/>
                  </a:lnTo>
                  <a:lnTo>
                    <a:pt x="78" y="64"/>
                  </a:lnTo>
                  <a:lnTo>
                    <a:pt x="82" y="64"/>
                  </a:lnTo>
                  <a:lnTo>
                    <a:pt x="82" y="60"/>
                  </a:lnTo>
                  <a:lnTo>
                    <a:pt x="76" y="46"/>
                  </a:lnTo>
                  <a:lnTo>
                    <a:pt x="82" y="46"/>
                  </a:lnTo>
                  <a:lnTo>
                    <a:pt x="82" y="50"/>
                  </a:lnTo>
                  <a:lnTo>
                    <a:pt x="84" y="50"/>
                  </a:lnTo>
                  <a:lnTo>
                    <a:pt x="84" y="48"/>
                  </a:lnTo>
                  <a:lnTo>
                    <a:pt x="84" y="46"/>
                  </a:lnTo>
                  <a:lnTo>
                    <a:pt x="86" y="46"/>
                  </a:lnTo>
                  <a:lnTo>
                    <a:pt x="84" y="26"/>
                  </a:lnTo>
                  <a:lnTo>
                    <a:pt x="84" y="16"/>
                  </a:lnTo>
                  <a:lnTo>
                    <a:pt x="82" y="8"/>
                  </a:lnTo>
                  <a:lnTo>
                    <a:pt x="80" y="8"/>
                  </a:lnTo>
                  <a:lnTo>
                    <a:pt x="78" y="8"/>
                  </a:lnTo>
                  <a:lnTo>
                    <a:pt x="76" y="8"/>
                  </a:lnTo>
                  <a:lnTo>
                    <a:pt x="7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8" name="Freeform 590">
              <a:extLst>
                <a:ext uri="{FF2B5EF4-FFF2-40B4-BE49-F238E27FC236}">
                  <a16:creationId xmlns:a16="http://schemas.microsoft.com/office/drawing/2014/main" id="{A39B1C1E-2CBC-4B40-970B-450DAC831A9C}"/>
                </a:ext>
              </a:extLst>
            </p:cNvPr>
            <p:cNvSpPr>
              <a:spLocks/>
            </p:cNvSpPr>
            <p:nvPr/>
          </p:nvSpPr>
          <p:spPr bwMode="gray">
            <a:xfrm>
              <a:off x="4819324" y="3142322"/>
              <a:ext cx="63564" cy="61212"/>
            </a:xfrm>
            <a:custGeom>
              <a:avLst/>
              <a:gdLst>
                <a:gd name="T0" fmla="*/ 2147483647 w 34"/>
                <a:gd name="T1" fmla="*/ 2147483647 h 32"/>
                <a:gd name="T2" fmla="*/ 2147483647 w 34"/>
                <a:gd name="T3" fmla="*/ 2147483647 h 32"/>
                <a:gd name="T4" fmla="*/ 2147483647 w 34"/>
                <a:gd name="T5" fmla="*/ 2147483647 h 32"/>
                <a:gd name="T6" fmla="*/ 0 w 34"/>
                <a:gd name="T7" fmla="*/ 2147483647 h 32"/>
                <a:gd name="T8" fmla="*/ 0 w 34"/>
                <a:gd name="T9" fmla="*/ 2147483647 h 32"/>
                <a:gd name="T10" fmla="*/ 0 w 34"/>
                <a:gd name="T11" fmla="*/ 2147483647 h 32"/>
                <a:gd name="T12" fmla="*/ 2147483647 w 34"/>
                <a:gd name="T13" fmla="*/ 2147483647 h 32"/>
                <a:gd name="T14" fmla="*/ 2147483647 w 34"/>
                <a:gd name="T15" fmla="*/ 2147483647 h 32"/>
                <a:gd name="T16" fmla="*/ 2147483647 w 34"/>
                <a:gd name="T17" fmla="*/ 2147483647 h 32"/>
                <a:gd name="T18" fmla="*/ 2147483647 w 34"/>
                <a:gd name="T19" fmla="*/ 2147483647 h 32"/>
                <a:gd name="T20" fmla="*/ 2147483647 w 34"/>
                <a:gd name="T21" fmla="*/ 2147483647 h 32"/>
                <a:gd name="T22" fmla="*/ 2147483647 w 34"/>
                <a:gd name="T23" fmla="*/ 2147483647 h 32"/>
                <a:gd name="T24" fmla="*/ 2147483647 w 34"/>
                <a:gd name="T25" fmla="*/ 2147483647 h 32"/>
                <a:gd name="T26" fmla="*/ 2147483647 w 34"/>
                <a:gd name="T27" fmla="*/ 2147483647 h 32"/>
                <a:gd name="T28" fmla="*/ 2147483647 w 34"/>
                <a:gd name="T29" fmla="*/ 2147483647 h 32"/>
                <a:gd name="T30" fmla="*/ 2147483647 w 34"/>
                <a:gd name="T31" fmla="*/ 2147483647 h 32"/>
                <a:gd name="T32" fmla="*/ 2147483647 w 34"/>
                <a:gd name="T33" fmla="*/ 2147483647 h 32"/>
                <a:gd name="T34" fmla="*/ 2147483647 w 34"/>
                <a:gd name="T35" fmla="*/ 2147483647 h 32"/>
                <a:gd name="T36" fmla="*/ 2147483647 w 34"/>
                <a:gd name="T37" fmla="*/ 2147483647 h 32"/>
                <a:gd name="T38" fmla="*/ 2147483647 w 34"/>
                <a:gd name="T39" fmla="*/ 2147483647 h 32"/>
                <a:gd name="T40" fmla="*/ 2147483647 w 34"/>
                <a:gd name="T41" fmla="*/ 2147483647 h 32"/>
                <a:gd name="T42" fmla="*/ 2147483647 w 34"/>
                <a:gd name="T43" fmla="*/ 2147483647 h 32"/>
                <a:gd name="T44" fmla="*/ 2147483647 w 34"/>
                <a:gd name="T45" fmla="*/ 2147483647 h 32"/>
                <a:gd name="T46" fmla="*/ 2147483647 w 34"/>
                <a:gd name="T47" fmla="*/ 2147483647 h 32"/>
                <a:gd name="T48" fmla="*/ 2147483647 w 34"/>
                <a:gd name="T49" fmla="*/ 2147483647 h 32"/>
                <a:gd name="T50" fmla="*/ 2147483647 w 34"/>
                <a:gd name="T51" fmla="*/ 2147483647 h 32"/>
                <a:gd name="T52" fmla="*/ 2147483647 w 34"/>
                <a:gd name="T53" fmla="*/ 2147483647 h 32"/>
                <a:gd name="T54" fmla="*/ 2147483647 w 34"/>
                <a:gd name="T55" fmla="*/ 2147483647 h 32"/>
                <a:gd name="T56" fmla="*/ 2147483647 w 34"/>
                <a:gd name="T57" fmla="*/ 2147483647 h 32"/>
                <a:gd name="T58" fmla="*/ 2147483647 w 34"/>
                <a:gd name="T59" fmla="*/ 2147483647 h 32"/>
                <a:gd name="T60" fmla="*/ 2147483647 w 34"/>
                <a:gd name="T61" fmla="*/ 2147483647 h 32"/>
                <a:gd name="T62" fmla="*/ 2147483647 w 34"/>
                <a:gd name="T63" fmla="*/ 2147483647 h 32"/>
                <a:gd name="T64" fmla="*/ 2147483647 w 34"/>
                <a:gd name="T65" fmla="*/ 2147483647 h 32"/>
                <a:gd name="T66" fmla="*/ 2147483647 w 34"/>
                <a:gd name="T67" fmla="*/ 2147483647 h 32"/>
                <a:gd name="T68" fmla="*/ 2147483647 w 34"/>
                <a:gd name="T69" fmla="*/ 0 h 32"/>
                <a:gd name="T70" fmla="*/ 2147483647 w 34"/>
                <a:gd name="T71" fmla="*/ 2147483647 h 32"/>
                <a:gd name="T72" fmla="*/ 2147483647 w 34"/>
                <a:gd name="T73" fmla="*/ 2147483647 h 32"/>
                <a:gd name="T74" fmla="*/ 2147483647 w 34"/>
                <a:gd name="T75" fmla="*/ 2147483647 h 32"/>
                <a:gd name="T76" fmla="*/ 2147483647 w 34"/>
                <a:gd name="T77" fmla="*/ 2147483647 h 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
                <a:gd name="T118" fmla="*/ 0 h 32"/>
                <a:gd name="T119" fmla="*/ 34 w 34"/>
                <a:gd name="T120" fmla="*/ 32 h 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 h="32">
                  <a:moveTo>
                    <a:pt x="2" y="12"/>
                  </a:moveTo>
                  <a:lnTo>
                    <a:pt x="2" y="12"/>
                  </a:lnTo>
                  <a:lnTo>
                    <a:pt x="2" y="16"/>
                  </a:lnTo>
                  <a:lnTo>
                    <a:pt x="0" y="22"/>
                  </a:lnTo>
                  <a:lnTo>
                    <a:pt x="0" y="24"/>
                  </a:lnTo>
                  <a:lnTo>
                    <a:pt x="2" y="26"/>
                  </a:lnTo>
                  <a:lnTo>
                    <a:pt x="4" y="32"/>
                  </a:lnTo>
                  <a:lnTo>
                    <a:pt x="16" y="30"/>
                  </a:lnTo>
                  <a:lnTo>
                    <a:pt x="18" y="28"/>
                  </a:lnTo>
                  <a:lnTo>
                    <a:pt x="20" y="26"/>
                  </a:lnTo>
                  <a:lnTo>
                    <a:pt x="22" y="26"/>
                  </a:lnTo>
                  <a:lnTo>
                    <a:pt x="22" y="24"/>
                  </a:lnTo>
                  <a:lnTo>
                    <a:pt x="24" y="22"/>
                  </a:lnTo>
                  <a:lnTo>
                    <a:pt x="26" y="22"/>
                  </a:lnTo>
                  <a:lnTo>
                    <a:pt x="28" y="22"/>
                  </a:lnTo>
                  <a:lnTo>
                    <a:pt x="30" y="22"/>
                  </a:lnTo>
                  <a:lnTo>
                    <a:pt x="32" y="22"/>
                  </a:lnTo>
                  <a:lnTo>
                    <a:pt x="32" y="20"/>
                  </a:lnTo>
                  <a:lnTo>
                    <a:pt x="32" y="18"/>
                  </a:lnTo>
                  <a:lnTo>
                    <a:pt x="34" y="16"/>
                  </a:lnTo>
                  <a:lnTo>
                    <a:pt x="30" y="12"/>
                  </a:lnTo>
                  <a:lnTo>
                    <a:pt x="32" y="10"/>
                  </a:lnTo>
                  <a:lnTo>
                    <a:pt x="32" y="6"/>
                  </a:lnTo>
                  <a:lnTo>
                    <a:pt x="32" y="4"/>
                  </a:lnTo>
                  <a:lnTo>
                    <a:pt x="28" y="0"/>
                  </a:lnTo>
                  <a:lnTo>
                    <a:pt x="16" y="4"/>
                  </a:lnTo>
                  <a:lnTo>
                    <a:pt x="12" y="8"/>
                  </a:lnTo>
                  <a:lnTo>
                    <a:pt x="8" y="8"/>
                  </a:lnTo>
                  <a:lnTo>
                    <a:pt x="2"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29" name="Freeform 591">
              <a:extLst>
                <a:ext uri="{FF2B5EF4-FFF2-40B4-BE49-F238E27FC236}">
                  <a16:creationId xmlns:a16="http://schemas.microsoft.com/office/drawing/2014/main" id="{1EEF00BA-C78B-4CBA-8FD3-8A77606D91E0}"/>
                </a:ext>
              </a:extLst>
            </p:cNvPr>
            <p:cNvSpPr>
              <a:spLocks/>
            </p:cNvSpPr>
            <p:nvPr/>
          </p:nvSpPr>
          <p:spPr bwMode="gray">
            <a:xfrm>
              <a:off x="4508572" y="2906895"/>
              <a:ext cx="11771" cy="25897"/>
            </a:xfrm>
            <a:custGeom>
              <a:avLst/>
              <a:gdLst>
                <a:gd name="T0" fmla="*/ 0 w 6"/>
                <a:gd name="T1" fmla="*/ 2147483647 h 14"/>
                <a:gd name="T2" fmla="*/ 0 w 6"/>
                <a:gd name="T3" fmla="*/ 2147483647 h 14"/>
                <a:gd name="T4" fmla="*/ 0 w 6"/>
                <a:gd name="T5" fmla="*/ 2147483647 h 14"/>
                <a:gd name="T6" fmla="*/ 0 w 6"/>
                <a:gd name="T7" fmla="*/ 2147483647 h 14"/>
                <a:gd name="T8" fmla="*/ 0 w 6"/>
                <a:gd name="T9" fmla="*/ 2147483647 h 14"/>
                <a:gd name="T10" fmla="*/ 0 w 6"/>
                <a:gd name="T11" fmla="*/ 2147483647 h 14"/>
                <a:gd name="T12" fmla="*/ 0 w 6"/>
                <a:gd name="T13" fmla="*/ 2147483647 h 14"/>
                <a:gd name="T14" fmla="*/ 0 w 6"/>
                <a:gd name="T15" fmla="*/ 0 h 14"/>
                <a:gd name="T16" fmla="*/ 2147483647 w 6"/>
                <a:gd name="T17" fmla="*/ 0 h 14"/>
                <a:gd name="T18" fmla="*/ 2147483647 w 6"/>
                <a:gd name="T19" fmla="*/ 0 h 14"/>
                <a:gd name="T20" fmla="*/ 2147483647 w 6"/>
                <a:gd name="T21" fmla="*/ 0 h 14"/>
                <a:gd name="T22" fmla="*/ 2147483647 w 6"/>
                <a:gd name="T23" fmla="*/ 2147483647 h 14"/>
                <a:gd name="T24" fmla="*/ 2147483647 w 6"/>
                <a:gd name="T25" fmla="*/ 2147483647 h 14"/>
                <a:gd name="T26" fmla="*/ 2147483647 w 6"/>
                <a:gd name="T27" fmla="*/ 2147483647 h 14"/>
                <a:gd name="T28" fmla="*/ 2147483647 w 6"/>
                <a:gd name="T29" fmla="*/ 2147483647 h 14"/>
                <a:gd name="T30" fmla="*/ 2147483647 w 6"/>
                <a:gd name="T31" fmla="*/ 2147483647 h 14"/>
                <a:gd name="T32" fmla="*/ 2147483647 w 6"/>
                <a:gd name="T33" fmla="*/ 2147483647 h 14"/>
                <a:gd name="T34" fmla="*/ 2147483647 w 6"/>
                <a:gd name="T35" fmla="*/ 2147483647 h 14"/>
                <a:gd name="T36" fmla="*/ 2147483647 w 6"/>
                <a:gd name="T37" fmla="*/ 2147483647 h 14"/>
                <a:gd name="T38" fmla="*/ 2147483647 w 6"/>
                <a:gd name="T39" fmla="*/ 2147483647 h 14"/>
                <a:gd name="T40" fmla="*/ 2147483647 w 6"/>
                <a:gd name="T41" fmla="*/ 2147483647 h 14"/>
                <a:gd name="T42" fmla="*/ 2147483647 w 6"/>
                <a:gd name="T43" fmla="*/ 2147483647 h 14"/>
                <a:gd name="T44" fmla="*/ 0 w 6"/>
                <a:gd name="T45" fmla="*/ 2147483647 h 14"/>
                <a:gd name="T46" fmla="*/ 0 w 6"/>
                <a:gd name="T47" fmla="*/ 2147483647 h 14"/>
                <a:gd name="T48" fmla="*/ 0 w 6"/>
                <a:gd name="T49" fmla="*/ 2147483647 h 14"/>
                <a:gd name="T50" fmla="*/ 0 w 6"/>
                <a:gd name="T51" fmla="*/ 2147483647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
                <a:gd name="T79" fmla="*/ 0 h 14"/>
                <a:gd name="T80" fmla="*/ 6 w 6"/>
                <a:gd name="T81" fmla="*/ 14 h 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 h="14">
                  <a:moveTo>
                    <a:pt x="0" y="8"/>
                  </a:moveTo>
                  <a:lnTo>
                    <a:pt x="0" y="8"/>
                  </a:lnTo>
                  <a:lnTo>
                    <a:pt x="0" y="6"/>
                  </a:lnTo>
                  <a:lnTo>
                    <a:pt x="0" y="4"/>
                  </a:lnTo>
                  <a:lnTo>
                    <a:pt x="0" y="2"/>
                  </a:lnTo>
                  <a:lnTo>
                    <a:pt x="0" y="0"/>
                  </a:lnTo>
                  <a:lnTo>
                    <a:pt x="2" y="0"/>
                  </a:lnTo>
                  <a:lnTo>
                    <a:pt x="4" y="4"/>
                  </a:lnTo>
                  <a:lnTo>
                    <a:pt x="6" y="4"/>
                  </a:lnTo>
                  <a:lnTo>
                    <a:pt x="6" y="6"/>
                  </a:lnTo>
                  <a:lnTo>
                    <a:pt x="6" y="8"/>
                  </a:lnTo>
                  <a:lnTo>
                    <a:pt x="4" y="12"/>
                  </a:lnTo>
                  <a:lnTo>
                    <a:pt x="6" y="14"/>
                  </a:lnTo>
                  <a:lnTo>
                    <a:pt x="2" y="12"/>
                  </a:lnTo>
                  <a:lnTo>
                    <a:pt x="0" y="12"/>
                  </a:lnTo>
                  <a:lnTo>
                    <a:pt x="0" y="10"/>
                  </a:lnTo>
                  <a:lnTo>
                    <a:pt x="0"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0" name="Freeform 592">
              <a:extLst>
                <a:ext uri="{FF2B5EF4-FFF2-40B4-BE49-F238E27FC236}">
                  <a16:creationId xmlns:a16="http://schemas.microsoft.com/office/drawing/2014/main" id="{F840E7C2-652C-44CB-A4B8-D8EFE643DB27}"/>
                </a:ext>
              </a:extLst>
            </p:cNvPr>
            <p:cNvSpPr>
              <a:spLocks/>
            </p:cNvSpPr>
            <p:nvPr/>
          </p:nvSpPr>
          <p:spPr bwMode="gray">
            <a:xfrm>
              <a:off x="4826387" y="2699718"/>
              <a:ext cx="122418" cy="91817"/>
            </a:xfrm>
            <a:custGeom>
              <a:avLst/>
              <a:gdLst>
                <a:gd name="T0" fmla="*/ 0 w 66"/>
                <a:gd name="T1" fmla="*/ 2147483647 h 50"/>
                <a:gd name="T2" fmla="*/ 0 w 66"/>
                <a:gd name="T3" fmla="*/ 2147483647 h 50"/>
                <a:gd name="T4" fmla="*/ 2147483647 w 66"/>
                <a:gd name="T5" fmla="*/ 2147483647 h 50"/>
                <a:gd name="T6" fmla="*/ 2147483647 w 66"/>
                <a:gd name="T7" fmla="*/ 2147483647 h 50"/>
                <a:gd name="T8" fmla="*/ 2147483647 w 66"/>
                <a:gd name="T9" fmla="*/ 2147483647 h 50"/>
                <a:gd name="T10" fmla="*/ 2147483647 w 66"/>
                <a:gd name="T11" fmla="*/ 2147483647 h 50"/>
                <a:gd name="T12" fmla="*/ 2147483647 w 66"/>
                <a:gd name="T13" fmla="*/ 2147483647 h 50"/>
                <a:gd name="T14" fmla="*/ 2147483647 w 66"/>
                <a:gd name="T15" fmla="*/ 2147483647 h 50"/>
                <a:gd name="T16" fmla="*/ 2147483647 w 66"/>
                <a:gd name="T17" fmla="*/ 2147483647 h 50"/>
                <a:gd name="T18" fmla="*/ 2147483647 w 66"/>
                <a:gd name="T19" fmla="*/ 2147483647 h 50"/>
                <a:gd name="T20" fmla="*/ 2147483647 w 66"/>
                <a:gd name="T21" fmla="*/ 2147483647 h 50"/>
                <a:gd name="T22" fmla="*/ 2147483647 w 66"/>
                <a:gd name="T23" fmla="*/ 2147483647 h 50"/>
                <a:gd name="T24" fmla="*/ 2147483647 w 66"/>
                <a:gd name="T25" fmla="*/ 2147483647 h 50"/>
                <a:gd name="T26" fmla="*/ 2147483647 w 66"/>
                <a:gd name="T27" fmla="*/ 2147483647 h 50"/>
                <a:gd name="T28" fmla="*/ 2147483647 w 66"/>
                <a:gd name="T29" fmla="*/ 2147483647 h 50"/>
                <a:gd name="T30" fmla="*/ 2147483647 w 66"/>
                <a:gd name="T31" fmla="*/ 2147483647 h 50"/>
                <a:gd name="T32" fmla="*/ 2147483647 w 66"/>
                <a:gd name="T33" fmla="*/ 2147483647 h 50"/>
                <a:gd name="T34" fmla="*/ 2147483647 w 66"/>
                <a:gd name="T35" fmla="*/ 2147483647 h 50"/>
                <a:gd name="T36" fmla="*/ 2147483647 w 66"/>
                <a:gd name="T37" fmla="*/ 2147483647 h 50"/>
                <a:gd name="T38" fmla="*/ 2147483647 w 66"/>
                <a:gd name="T39" fmla="*/ 2147483647 h 50"/>
                <a:gd name="T40" fmla="*/ 2147483647 w 66"/>
                <a:gd name="T41" fmla="*/ 2147483647 h 50"/>
                <a:gd name="T42" fmla="*/ 2147483647 w 66"/>
                <a:gd name="T43" fmla="*/ 2147483647 h 50"/>
                <a:gd name="T44" fmla="*/ 2147483647 w 66"/>
                <a:gd name="T45" fmla="*/ 2147483647 h 50"/>
                <a:gd name="T46" fmla="*/ 2147483647 w 66"/>
                <a:gd name="T47" fmla="*/ 2147483647 h 50"/>
                <a:gd name="T48" fmla="*/ 2147483647 w 66"/>
                <a:gd name="T49" fmla="*/ 2147483647 h 50"/>
                <a:gd name="T50" fmla="*/ 2147483647 w 66"/>
                <a:gd name="T51" fmla="*/ 2147483647 h 50"/>
                <a:gd name="T52" fmla="*/ 2147483647 w 66"/>
                <a:gd name="T53" fmla="*/ 2147483647 h 50"/>
                <a:gd name="T54" fmla="*/ 2147483647 w 66"/>
                <a:gd name="T55" fmla="*/ 2147483647 h 50"/>
                <a:gd name="T56" fmla="*/ 2147483647 w 66"/>
                <a:gd name="T57" fmla="*/ 2147483647 h 50"/>
                <a:gd name="T58" fmla="*/ 2147483647 w 66"/>
                <a:gd name="T59" fmla="*/ 2147483647 h 50"/>
                <a:gd name="T60" fmla="*/ 2147483647 w 66"/>
                <a:gd name="T61" fmla="*/ 2147483647 h 50"/>
                <a:gd name="T62" fmla="*/ 2147483647 w 66"/>
                <a:gd name="T63" fmla="*/ 2147483647 h 50"/>
                <a:gd name="T64" fmla="*/ 2147483647 w 66"/>
                <a:gd name="T65" fmla="*/ 2147483647 h 50"/>
                <a:gd name="T66" fmla="*/ 2147483647 w 66"/>
                <a:gd name="T67" fmla="*/ 2147483647 h 50"/>
                <a:gd name="T68" fmla="*/ 2147483647 w 66"/>
                <a:gd name="T69" fmla="*/ 2147483647 h 50"/>
                <a:gd name="T70" fmla="*/ 2147483647 w 66"/>
                <a:gd name="T71" fmla="*/ 2147483647 h 50"/>
                <a:gd name="T72" fmla="*/ 2147483647 w 66"/>
                <a:gd name="T73" fmla="*/ 2147483647 h 50"/>
                <a:gd name="T74" fmla="*/ 2147483647 w 66"/>
                <a:gd name="T75" fmla="*/ 2147483647 h 50"/>
                <a:gd name="T76" fmla="*/ 2147483647 w 66"/>
                <a:gd name="T77" fmla="*/ 2147483647 h 50"/>
                <a:gd name="T78" fmla="*/ 2147483647 w 66"/>
                <a:gd name="T79" fmla="*/ 2147483647 h 50"/>
                <a:gd name="T80" fmla="*/ 2147483647 w 66"/>
                <a:gd name="T81" fmla="*/ 2147483647 h 50"/>
                <a:gd name="T82" fmla="*/ 2147483647 w 66"/>
                <a:gd name="T83" fmla="*/ 2147483647 h 50"/>
                <a:gd name="T84" fmla="*/ 2147483647 w 66"/>
                <a:gd name="T85" fmla="*/ 2147483647 h 50"/>
                <a:gd name="T86" fmla="*/ 2147483647 w 66"/>
                <a:gd name="T87" fmla="*/ 2147483647 h 50"/>
                <a:gd name="T88" fmla="*/ 2147483647 w 66"/>
                <a:gd name="T89" fmla="*/ 2147483647 h 50"/>
                <a:gd name="T90" fmla="*/ 2147483647 w 66"/>
                <a:gd name="T91" fmla="*/ 2147483647 h 50"/>
                <a:gd name="T92" fmla="*/ 2147483647 w 66"/>
                <a:gd name="T93" fmla="*/ 2147483647 h 50"/>
                <a:gd name="T94" fmla="*/ 2147483647 w 66"/>
                <a:gd name="T95" fmla="*/ 0 h 50"/>
                <a:gd name="T96" fmla="*/ 2147483647 w 66"/>
                <a:gd name="T97" fmla="*/ 0 h 50"/>
                <a:gd name="T98" fmla="*/ 2147483647 w 66"/>
                <a:gd name="T99" fmla="*/ 2147483647 h 50"/>
                <a:gd name="T100" fmla="*/ 2147483647 w 66"/>
                <a:gd name="T101" fmla="*/ 2147483647 h 50"/>
                <a:gd name="T102" fmla="*/ 2147483647 w 66"/>
                <a:gd name="T103" fmla="*/ 2147483647 h 50"/>
                <a:gd name="T104" fmla="*/ 2147483647 w 66"/>
                <a:gd name="T105" fmla="*/ 2147483647 h 50"/>
                <a:gd name="T106" fmla="*/ 0 w 66"/>
                <a:gd name="T107" fmla="*/ 2147483647 h 50"/>
                <a:gd name="T108" fmla="*/ 0 w 66"/>
                <a:gd name="T109" fmla="*/ 2147483647 h 50"/>
                <a:gd name="T110" fmla="*/ 0 w 66"/>
                <a:gd name="T111" fmla="*/ 2147483647 h 50"/>
                <a:gd name="T112" fmla="*/ 0 w 66"/>
                <a:gd name="T113" fmla="*/ 2147483647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6"/>
                <a:gd name="T172" fmla="*/ 0 h 50"/>
                <a:gd name="T173" fmla="*/ 66 w 66"/>
                <a:gd name="T174" fmla="*/ 50 h 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6" h="50">
                  <a:moveTo>
                    <a:pt x="0" y="24"/>
                  </a:moveTo>
                  <a:lnTo>
                    <a:pt x="0" y="24"/>
                  </a:lnTo>
                  <a:lnTo>
                    <a:pt x="8" y="32"/>
                  </a:lnTo>
                  <a:lnTo>
                    <a:pt x="10" y="34"/>
                  </a:lnTo>
                  <a:lnTo>
                    <a:pt x="16" y="34"/>
                  </a:lnTo>
                  <a:lnTo>
                    <a:pt x="22" y="34"/>
                  </a:lnTo>
                  <a:lnTo>
                    <a:pt x="24" y="46"/>
                  </a:lnTo>
                  <a:lnTo>
                    <a:pt x="30" y="46"/>
                  </a:lnTo>
                  <a:lnTo>
                    <a:pt x="38" y="48"/>
                  </a:lnTo>
                  <a:lnTo>
                    <a:pt x="42" y="50"/>
                  </a:lnTo>
                  <a:lnTo>
                    <a:pt x="40" y="50"/>
                  </a:lnTo>
                  <a:lnTo>
                    <a:pt x="46" y="48"/>
                  </a:lnTo>
                  <a:lnTo>
                    <a:pt x="52" y="48"/>
                  </a:lnTo>
                  <a:lnTo>
                    <a:pt x="54" y="46"/>
                  </a:lnTo>
                  <a:lnTo>
                    <a:pt x="54" y="44"/>
                  </a:lnTo>
                  <a:lnTo>
                    <a:pt x="58" y="44"/>
                  </a:lnTo>
                  <a:lnTo>
                    <a:pt x="58" y="38"/>
                  </a:lnTo>
                  <a:lnTo>
                    <a:pt x="60" y="32"/>
                  </a:lnTo>
                  <a:lnTo>
                    <a:pt x="64" y="26"/>
                  </a:lnTo>
                  <a:lnTo>
                    <a:pt x="66" y="22"/>
                  </a:lnTo>
                  <a:lnTo>
                    <a:pt x="64" y="20"/>
                  </a:lnTo>
                  <a:lnTo>
                    <a:pt x="60" y="18"/>
                  </a:lnTo>
                  <a:lnTo>
                    <a:pt x="54" y="14"/>
                  </a:lnTo>
                  <a:lnTo>
                    <a:pt x="52" y="14"/>
                  </a:lnTo>
                  <a:lnTo>
                    <a:pt x="48" y="12"/>
                  </a:lnTo>
                  <a:lnTo>
                    <a:pt x="46" y="10"/>
                  </a:lnTo>
                  <a:lnTo>
                    <a:pt x="44" y="8"/>
                  </a:lnTo>
                  <a:lnTo>
                    <a:pt x="38" y="8"/>
                  </a:lnTo>
                  <a:lnTo>
                    <a:pt x="36" y="8"/>
                  </a:lnTo>
                  <a:lnTo>
                    <a:pt x="32" y="6"/>
                  </a:lnTo>
                  <a:lnTo>
                    <a:pt x="22" y="4"/>
                  </a:lnTo>
                  <a:lnTo>
                    <a:pt x="10" y="0"/>
                  </a:lnTo>
                  <a:lnTo>
                    <a:pt x="6" y="2"/>
                  </a:lnTo>
                  <a:lnTo>
                    <a:pt x="2" y="4"/>
                  </a:lnTo>
                  <a:lnTo>
                    <a:pt x="0" y="10"/>
                  </a:lnTo>
                  <a:lnTo>
                    <a:pt x="0" y="14"/>
                  </a:lnTo>
                  <a:lnTo>
                    <a:pt x="0" y="2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1" name="Freeform 593">
              <a:extLst>
                <a:ext uri="{FF2B5EF4-FFF2-40B4-BE49-F238E27FC236}">
                  <a16:creationId xmlns:a16="http://schemas.microsoft.com/office/drawing/2014/main" id="{13C80C5A-4C56-46F1-ABB0-8289C564791E}"/>
                </a:ext>
              </a:extLst>
            </p:cNvPr>
            <p:cNvSpPr>
              <a:spLocks/>
            </p:cNvSpPr>
            <p:nvPr/>
          </p:nvSpPr>
          <p:spPr bwMode="gray">
            <a:xfrm>
              <a:off x="4560365" y="3401292"/>
              <a:ext cx="355481" cy="374332"/>
            </a:xfrm>
            <a:custGeom>
              <a:avLst/>
              <a:gdLst>
                <a:gd name="T0" fmla="*/ 2147483647 w 192"/>
                <a:gd name="T1" fmla="*/ 2147483647 h 202"/>
                <a:gd name="T2" fmla="*/ 2147483647 w 192"/>
                <a:gd name="T3" fmla="*/ 2147483647 h 202"/>
                <a:gd name="T4" fmla="*/ 2147483647 w 192"/>
                <a:gd name="T5" fmla="*/ 2147483647 h 202"/>
                <a:gd name="T6" fmla="*/ 2147483647 w 192"/>
                <a:gd name="T7" fmla="*/ 2147483647 h 202"/>
                <a:gd name="T8" fmla="*/ 2147483647 w 192"/>
                <a:gd name="T9" fmla="*/ 2147483647 h 202"/>
                <a:gd name="T10" fmla="*/ 2147483647 w 192"/>
                <a:gd name="T11" fmla="*/ 2147483647 h 202"/>
                <a:gd name="T12" fmla="*/ 2147483647 w 192"/>
                <a:gd name="T13" fmla="*/ 2147483647 h 202"/>
                <a:gd name="T14" fmla="*/ 2147483647 w 192"/>
                <a:gd name="T15" fmla="*/ 2147483647 h 202"/>
                <a:gd name="T16" fmla="*/ 2147483647 w 192"/>
                <a:gd name="T17" fmla="*/ 2147483647 h 202"/>
                <a:gd name="T18" fmla="*/ 2147483647 w 192"/>
                <a:gd name="T19" fmla="*/ 2147483647 h 202"/>
                <a:gd name="T20" fmla="*/ 2147483647 w 192"/>
                <a:gd name="T21" fmla="*/ 2147483647 h 202"/>
                <a:gd name="T22" fmla="*/ 2147483647 w 192"/>
                <a:gd name="T23" fmla="*/ 2147483647 h 202"/>
                <a:gd name="T24" fmla="*/ 2147483647 w 192"/>
                <a:gd name="T25" fmla="*/ 2147483647 h 202"/>
                <a:gd name="T26" fmla="*/ 0 w 192"/>
                <a:gd name="T27" fmla="*/ 2147483647 h 202"/>
                <a:gd name="T28" fmla="*/ 2147483647 w 192"/>
                <a:gd name="T29" fmla="*/ 2147483647 h 202"/>
                <a:gd name="T30" fmla="*/ 2147483647 w 192"/>
                <a:gd name="T31" fmla="*/ 2147483647 h 202"/>
                <a:gd name="T32" fmla="*/ 2147483647 w 192"/>
                <a:gd name="T33" fmla="*/ 2147483647 h 202"/>
                <a:gd name="T34" fmla="*/ 2147483647 w 192"/>
                <a:gd name="T35" fmla="*/ 2147483647 h 202"/>
                <a:gd name="T36" fmla="*/ 2147483647 w 192"/>
                <a:gd name="T37" fmla="*/ 2147483647 h 202"/>
                <a:gd name="T38" fmla="*/ 2147483647 w 192"/>
                <a:gd name="T39" fmla="*/ 2147483647 h 202"/>
                <a:gd name="T40" fmla="*/ 2147483647 w 192"/>
                <a:gd name="T41" fmla="*/ 2147483647 h 202"/>
                <a:gd name="T42" fmla="*/ 2147483647 w 192"/>
                <a:gd name="T43" fmla="*/ 2147483647 h 202"/>
                <a:gd name="T44" fmla="*/ 2147483647 w 192"/>
                <a:gd name="T45" fmla="*/ 2147483647 h 202"/>
                <a:gd name="T46" fmla="*/ 2147483647 w 192"/>
                <a:gd name="T47" fmla="*/ 2147483647 h 202"/>
                <a:gd name="T48" fmla="*/ 2147483647 w 192"/>
                <a:gd name="T49" fmla="*/ 2147483647 h 202"/>
                <a:gd name="T50" fmla="*/ 2147483647 w 192"/>
                <a:gd name="T51" fmla="*/ 2147483647 h 202"/>
                <a:gd name="T52" fmla="*/ 2147483647 w 192"/>
                <a:gd name="T53" fmla="*/ 2147483647 h 202"/>
                <a:gd name="T54" fmla="*/ 2147483647 w 192"/>
                <a:gd name="T55" fmla="*/ 2147483647 h 202"/>
                <a:gd name="T56" fmla="*/ 2147483647 w 192"/>
                <a:gd name="T57" fmla="*/ 2147483647 h 202"/>
                <a:gd name="T58" fmla="*/ 2147483647 w 192"/>
                <a:gd name="T59" fmla="*/ 2147483647 h 202"/>
                <a:gd name="T60" fmla="*/ 2147483647 w 192"/>
                <a:gd name="T61" fmla="*/ 2147483647 h 202"/>
                <a:gd name="T62" fmla="*/ 2147483647 w 192"/>
                <a:gd name="T63" fmla="*/ 2147483647 h 202"/>
                <a:gd name="T64" fmla="*/ 2147483647 w 192"/>
                <a:gd name="T65" fmla="*/ 2147483647 h 202"/>
                <a:gd name="T66" fmla="*/ 2147483647 w 192"/>
                <a:gd name="T67" fmla="*/ 2147483647 h 202"/>
                <a:gd name="T68" fmla="*/ 2147483647 w 192"/>
                <a:gd name="T69" fmla="*/ 2147483647 h 202"/>
                <a:gd name="T70" fmla="*/ 2147483647 w 192"/>
                <a:gd name="T71" fmla="*/ 2147483647 h 202"/>
                <a:gd name="T72" fmla="*/ 2147483647 w 192"/>
                <a:gd name="T73" fmla="*/ 2147483647 h 202"/>
                <a:gd name="T74" fmla="*/ 2147483647 w 192"/>
                <a:gd name="T75" fmla="*/ 2147483647 h 202"/>
                <a:gd name="T76" fmla="*/ 2147483647 w 192"/>
                <a:gd name="T77" fmla="*/ 2147483647 h 202"/>
                <a:gd name="T78" fmla="*/ 2147483647 w 192"/>
                <a:gd name="T79" fmla="*/ 2147483647 h 202"/>
                <a:gd name="T80" fmla="*/ 2147483647 w 192"/>
                <a:gd name="T81" fmla="*/ 2147483647 h 202"/>
                <a:gd name="T82" fmla="*/ 2147483647 w 192"/>
                <a:gd name="T83" fmla="*/ 2147483647 h 2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2"/>
                <a:gd name="T127" fmla="*/ 0 h 202"/>
                <a:gd name="T128" fmla="*/ 192 w 192"/>
                <a:gd name="T129" fmla="*/ 202 h 2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2" h="202">
                  <a:moveTo>
                    <a:pt x="34" y="0"/>
                  </a:moveTo>
                  <a:lnTo>
                    <a:pt x="30" y="6"/>
                  </a:lnTo>
                  <a:lnTo>
                    <a:pt x="32" y="10"/>
                  </a:lnTo>
                  <a:lnTo>
                    <a:pt x="30" y="12"/>
                  </a:lnTo>
                  <a:lnTo>
                    <a:pt x="28" y="14"/>
                  </a:lnTo>
                  <a:lnTo>
                    <a:pt x="24" y="16"/>
                  </a:lnTo>
                  <a:lnTo>
                    <a:pt x="22" y="18"/>
                  </a:lnTo>
                  <a:lnTo>
                    <a:pt x="18" y="20"/>
                  </a:lnTo>
                  <a:lnTo>
                    <a:pt x="16" y="20"/>
                  </a:lnTo>
                  <a:lnTo>
                    <a:pt x="16" y="30"/>
                  </a:lnTo>
                  <a:lnTo>
                    <a:pt x="16" y="34"/>
                  </a:lnTo>
                  <a:lnTo>
                    <a:pt x="14" y="36"/>
                  </a:lnTo>
                  <a:lnTo>
                    <a:pt x="12" y="40"/>
                  </a:lnTo>
                  <a:lnTo>
                    <a:pt x="10" y="42"/>
                  </a:lnTo>
                  <a:lnTo>
                    <a:pt x="8" y="42"/>
                  </a:lnTo>
                  <a:lnTo>
                    <a:pt x="6" y="44"/>
                  </a:lnTo>
                  <a:lnTo>
                    <a:pt x="6" y="46"/>
                  </a:lnTo>
                  <a:lnTo>
                    <a:pt x="8" y="48"/>
                  </a:lnTo>
                  <a:lnTo>
                    <a:pt x="6" y="72"/>
                  </a:lnTo>
                  <a:lnTo>
                    <a:pt x="10" y="76"/>
                  </a:lnTo>
                  <a:lnTo>
                    <a:pt x="8" y="78"/>
                  </a:lnTo>
                  <a:lnTo>
                    <a:pt x="6" y="80"/>
                  </a:lnTo>
                  <a:lnTo>
                    <a:pt x="8" y="82"/>
                  </a:lnTo>
                  <a:lnTo>
                    <a:pt x="8" y="84"/>
                  </a:lnTo>
                  <a:lnTo>
                    <a:pt x="8" y="100"/>
                  </a:lnTo>
                  <a:lnTo>
                    <a:pt x="6" y="102"/>
                  </a:lnTo>
                  <a:lnTo>
                    <a:pt x="4" y="104"/>
                  </a:lnTo>
                  <a:lnTo>
                    <a:pt x="0" y="106"/>
                  </a:lnTo>
                  <a:lnTo>
                    <a:pt x="4" y="110"/>
                  </a:lnTo>
                  <a:lnTo>
                    <a:pt x="6" y="114"/>
                  </a:lnTo>
                  <a:lnTo>
                    <a:pt x="8" y="118"/>
                  </a:lnTo>
                  <a:lnTo>
                    <a:pt x="10" y="122"/>
                  </a:lnTo>
                  <a:lnTo>
                    <a:pt x="10" y="126"/>
                  </a:lnTo>
                  <a:lnTo>
                    <a:pt x="12" y="130"/>
                  </a:lnTo>
                  <a:lnTo>
                    <a:pt x="16" y="134"/>
                  </a:lnTo>
                  <a:lnTo>
                    <a:pt x="24" y="134"/>
                  </a:lnTo>
                  <a:lnTo>
                    <a:pt x="26" y="138"/>
                  </a:lnTo>
                  <a:lnTo>
                    <a:pt x="28" y="140"/>
                  </a:lnTo>
                  <a:lnTo>
                    <a:pt x="32" y="142"/>
                  </a:lnTo>
                  <a:lnTo>
                    <a:pt x="34" y="144"/>
                  </a:lnTo>
                  <a:lnTo>
                    <a:pt x="62" y="160"/>
                  </a:lnTo>
                  <a:lnTo>
                    <a:pt x="64" y="158"/>
                  </a:lnTo>
                  <a:lnTo>
                    <a:pt x="72" y="152"/>
                  </a:lnTo>
                  <a:lnTo>
                    <a:pt x="84" y="144"/>
                  </a:lnTo>
                  <a:lnTo>
                    <a:pt x="180" y="202"/>
                  </a:lnTo>
                  <a:lnTo>
                    <a:pt x="180" y="192"/>
                  </a:lnTo>
                  <a:lnTo>
                    <a:pt x="192" y="192"/>
                  </a:lnTo>
                  <a:lnTo>
                    <a:pt x="192" y="164"/>
                  </a:lnTo>
                  <a:lnTo>
                    <a:pt x="190" y="62"/>
                  </a:lnTo>
                  <a:lnTo>
                    <a:pt x="188" y="58"/>
                  </a:lnTo>
                  <a:lnTo>
                    <a:pt x="186" y="56"/>
                  </a:lnTo>
                  <a:lnTo>
                    <a:pt x="186" y="52"/>
                  </a:lnTo>
                  <a:lnTo>
                    <a:pt x="186" y="46"/>
                  </a:lnTo>
                  <a:lnTo>
                    <a:pt x="188" y="42"/>
                  </a:lnTo>
                  <a:lnTo>
                    <a:pt x="190" y="40"/>
                  </a:lnTo>
                  <a:lnTo>
                    <a:pt x="190" y="38"/>
                  </a:lnTo>
                  <a:lnTo>
                    <a:pt x="186" y="32"/>
                  </a:lnTo>
                  <a:lnTo>
                    <a:pt x="186" y="28"/>
                  </a:lnTo>
                  <a:lnTo>
                    <a:pt x="186" y="26"/>
                  </a:lnTo>
                  <a:lnTo>
                    <a:pt x="178" y="20"/>
                  </a:lnTo>
                  <a:lnTo>
                    <a:pt x="172" y="20"/>
                  </a:lnTo>
                  <a:lnTo>
                    <a:pt x="166" y="20"/>
                  </a:lnTo>
                  <a:lnTo>
                    <a:pt x="164" y="14"/>
                  </a:lnTo>
                  <a:lnTo>
                    <a:pt x="146" y="8"/>
                  </a:lnTo>
                  <a:lnTo>
                    <a:pt x="142" y="10"/>
                  </a:lnTo>
                  <a:lnTo>
                    <a:pt x="136" y="14"/>
                  </a:lnTo>
                  <a:lnTo>
                    <a:pt x="128" y="24"/>
                  </a:lnTo>
                  <a:lnTo>
                    <a:pt x="132" y="28"/>
                  </a:lnTo>
                  <a:lnTo>
                    <a:pt x="132" y="32"/>
                  </a:lnTo>
                  <a:lnTo>
                    <a:pt x="132" y="36"/>
                  </a:lnTo>
                  <a:lnTo>
                    <a:pt x="120" y="46"/>
                  </a:lnTo>
                  <a:lnTo>
                    <a:pt x="116" y="40"/>
                  </a:lnTo>
                  <a:lnTo>
                    <a:pt x="108" y="38"/>
                  </a:lnTo>
                  <a:lnTo>
                    <a:pt x="100" y="38"/>
                  </a:lnTo>
                  <a:lnTo>
                    <a:pt x="92" y="36"/>
                  </a:lnTo>
                  <a:lnTo>
                    <a:pt x="86" y="32"/>
                  </a:lnTo>
                  <a:lnTo>
                    <a:pt x="82" y="28"/>
                  </a:lnTo>
                  <a:lnTo>
                    <a:pt x="78" y="24"/>
                  </a:lnTo>
                  <a:lnTo>
                    <a:pt x="74" y="18"/>
                  </a:lnTo>
                  <a:lnTo>
                    <a:pt x="70" y="14"/>
                  </a:lnTo>
                  <a:lnTo>
                    <a:pt x="64" y="14"/>
                  </a:lnTo>
                  <a:lnTo>
                    <a:pt x="58" y="14"/>
                  </a:lnTo>
                  <a:lnTo>
                    <a:pt x="52" y="12"/>
                  </a:lnTo>
                  <a:lnTo>
                    <a:pt x="44" y="12"/>
                  </a:lnTo>
                  <a:lnTo>
                    <a:pt x="44" y="8"/>
                  </a:lnTo>
                  <a:lnTo>
                    <a:pt x="40" y="8"/>
                  </a:lnTo>
                  <a:lnTo>
                    <a:pt x="34" y="6"/>
                  </a:lnTo>
                  <a:lnTo>
                    <a:pt x="34" y="4"/>
                  </a:lnTo>
                  <a:lnTo>
                    <a:pt x="3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2" name="Freeform 594">
              <a:extLst>
                <a:ext uri="{FF2B5EF4-FFF2-40B4-BE49-F238E27FC236}">
                  <a16:creationId xmlns:a16="http://schemas.microsoft.com/office/drawing/2014/main" id="{F1CA9B20-A2EE-462E-83A1-EC9766B13BF6}"/>
                </a:ext>
              </a:extLst>
            </p:cNvPr>
            <p:cNvSpPr>
              <a:spLocks/>
            </p:cNvSpPr>
            <p:nvPr/>
          </p:nvSpPr>
          <p:spPr bwMode="gray">
            <a:xfrm>
              <a:off x="4138965" y="4060495"/>
              <a:ext cx="91814" cy="127132"/>
            </a:xfrm>
            <a:custGeom>
              <a:avLst/>
              <a:gdLst>
                <a:gd name="T0" fmla="*/ 0 w 50"/>
                <a:gd name="T1" fmla="*/ 2147483647 h 68"/>
                <a:gd name="T2" fmla="*/ 2147483647 w 50"/>
                <a:gd name="T3" fmla="*/ 2147483647 h 68"/>
                <a:gd name="T4" fmla="*/ 2147483647 w 50"/>
                <a:gd name="T5" fmla="*/ 2147483647 h 68"/>
                <a:gd name="T6" fmla="*/ 2147483647 w 50"/>
                <a:gd name="T7" fmla="*/ 2147483647 h 68"/>
                <a:gd name="T8" fmla="*/ 2147483647 w 50"/>
                <a:gd name="T9" fmla="*/ 2147483647 h 68"/>
                <a:gd name="T10" fmla="*/ 2147483647 w 50"/>
                <a:gd name="T11" fmla="*/ 2147483647 h 68"/>
                <a:gd name="T12" fmla="*/ 2147483647 w 50"/>
                <a:gd name="T13" fmla="*/ 2147483647 h 68"/>
                <a:gd name="T14" fmla="*/ 2147483647 w 50"/>
                <a:gd name="T15" fmla="*/ 2147483647 h 68"/>
                <a:gd name="T16" fmla="*/ 2147483647 w 50"/>
                <a:gd name="T17" fmla="*/ 2147483647 h 68"/>
                <a:gd name="T18" fmla="*/ 2147483647 w 50"/>
                <a:gd name="T19" fmla="*/ 2147483647 h 68"/>
                <a:gd name="T20" fmla="*/ 2147483647 w 50"/>
                <a:gd name="T21" fmla="*/ 2147483647 h 68"/>
                <a:gd name="T22" fmla="*/ 2147483647 w 50"/>
                <a:gd name="T23" fmla="*/ 2147483647 h 68"/>
                <a:gd name="T24" fmla="*/ 2147483647 w 50"/>
                <a:gd name="T25" fmla="*/ 2147483647 h 68"/>
                <a:gd name="T26" fmla="*/ 2147483647 w 50"/>
                <a:gd name="T27" fmla="*/ 2147483647 h 68"/>
                <a:gd name="T28" fmla="*/ 2147483647 w 50"/>
                <a:gd name="T29" fmla="*/ 2147483647 h 68"/>
                <a:gd name="T30" fmla="*/ 2147483647 w 50"/>
                <a:gd name="T31" fmla="*/ 2147483647 h 68"/>
                <a:gd name="T32" fmla="*/ 2147483647 w 50"/>
                <a:gd name="T33" fmla="*/ 2147483647 h 68"/>
                <a:gd name="T34" fmla="*/ 2147483647 w 50"/>
                <a:gd name="T35" fmla="*/ 2147483647 h 68"/>
                <a:gd name="T36" fmla="*/ 2147483647 w 50"/>
                <a:gd name="T37" fmla="*/ 2147483647 h 68"/>
                <a:gd name="T38" fmla="*/ 2147483647 w 50"/>
                <a:gd name="T39" fmla="*/ 2147483647 h 68"/>
                <a:gd name="T40" fmla="*/ 2147483647 w 50"/>
                <a:gd name="T41" fmla="*/ 2147483647 h 68"/>
                <a:gd name="T42" fmla="*/ 2147483647 w 50"/>
                <a:gd name="T43" fmla="*/ 2147483647 h 68"/>
                <a:gd name="T44" fmla="*/ 2147483647 w 50"/>
                <a:gd name="T45" fmla="*/ 2147483647 h 68"/>
                <a:gd name="T46" fmla="*/ 2147483647 w 50"/>
                <a:gd name="T47" fmla="*/ 2147483647 h 68"/>
                <a:gd name="T48" fmla="*/ 2147483647 w 50"/>
                <a:gd name="T49" fmla="*/ 2147483647 h 68"/>
                <a:gd name="T50" fmla="*/ 2147483647 w 50"/>
                <a:gd name="T51" fmla="*/ 0 h 68"/>
                <a:gd name="T52" fmla="*/ 2147483647 w 50"/>
                <a:gd name="T53" fmla="*/ 2147483647 h 68"/>
                <a:gd name="T54" fmla="*/ 2147483647 w 50"/>
                <a:gd name="T55" fmla="*/ 2147483647 h 68"/>
                <a:gd name="T56" fmla="*/ 2147483647 w 50"/>
                <a:gd name="T57" fmla="*/ 2147483647 h 68"/>
                <a:gd name="T58" fmla="*/ 2147483647 w 50"/>
                <a:gd name="T59" fmla="*/ 2147483647 h 68"/>
                <a:gd name="T60" fmla="*/ 2147483647 w 50"/>
                <a:gd name="T61" fmla="*/ 2147483647 h 68"/>
                <a:gd name="T62" fmla="*/ 2147483647 w 50"/>
                <a:gd name="T63" fmla="*/ 2147483647 h 68"/>
                <a:gd name="T64" fmla="*/ 2147483647 w 50"/>
                <a:gd name="T65" fmla="*/ 2147483647 h 68"/>
                <a:gd name="T66" fmla="*/ 0 w 50"/>
                <a:gd name="T67" fmla="*/ 2147483647 h 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68"/>
                <a:gd name="T104" fmla="*/ 50 w 50"/>
                <a:gd name="T105" fmla="*/ 68 h 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68">
                  <a:moveTo>
                    <a:pt x="0" y="30"/>
                  </a:moveTo>
                  <a:lnTo>
                    <a:pt x="0" y="30"/>
                  </a:lnTo>
                  <a:lnTo>
                    <a:pt x="4" y="38"/>
                  </a:lnTo>
                  <a:lnTo>
                    <a:pt x="6" y="40"/>
                  </a:lnTo>
                  <a:lnTo>
                    <a:pt x="10" y="42"/>
                  </a:lnTo>
                  <a:lnTo>
                    <a:pt x="16" y="46"/>
                  </a:lnTo>
                  <a:lnTo>
                    <a:pt x="30" y="60"/>
                  </a:lnTo>
                  <a:lnTo>
                    <a:pt x="38" y="66"/>
                  </a:lnTo>
                  <a:lnTo>
                    <a:pt x="42" y="68"/>
                  </a:lnTo>
                  <a:lnTo>
                    <a:pt x="48" y="68"/>
                  </a:lnTo>
                  <a:lnTo>
                    <a:pt x="46" y="62"/>
                  </a:lnTo>
                  <a:lnTo>
                    <a:pt x="46" y="58"/>
                  </a:lnTo>
                  <a:lnTo>
                    <a:pt x="46" y="56"/>
                  </a:lnTo>
                  <a:lnTo>
                    <a:pt x="48" y="52"/>
                  </a:lnTo>
                  <a:lnTo>
                    <a:pt x="48" y="50"/>
                  </a:lnTo>
                  <a:lnTo>
                    <a:pt x="50" y="46"/>
                  </a:lnTo>
                  <a:lnTo>
                    <a:pt x="48" y="46"/>
                  </a:lnTo>
                  <a:lnTo>
                    <a:pt x="46" y="44"/>
                  </a:lnTo>
                  <a:lnTo>
                    <a:pt x="44" y="40"/>
                  </a:lnTo>
                  <a:lnTo>
                    <a:pt x="42" y="36"/>
                  </a:lnTo>
                  <a:lnTo>
                    <a:pt x="40" y="32"/>
                  </a:lnTo>
                  <a:lnTo>
                    <a:pt x="32" y="30"/>
                  </a:lnTo>
                  <a:lnTo>
                    <a:pt x="34" y="26"/>
                  </a:lnTo>
                  <a:lnTo>
                    <a:pt x="38" y="22"/>
                  </a:lnTo>
                  <a:lnTo>
                    <a:pt x="38" y="20"/>
                  </a:lnTo>
                  <a:lnTo>
                    <a:pt x="38" y="16"/>
                  </a:lnTo>
                  <a:lnTo>
                    <a:pt x="38" y="14"/>
                  </a:lnTo>
                  <a:lnTo>
                    <a:pt x="36" y="12"/>
                  </a:lnTo>
                  <a:lnTo>
                    <a:pt x="34" y="12"/>
                  </a:lnTo>
                  <a:lnTo>
                    <a:pt x="32" y="12"/>
                  </a:lnTo>
                  <a:lnTo>
                    <a:pt x="28" y="20"/>
                  </a:lnTo>
                  <a:lnTo>
                    <a:pt x="26" y="16"/>
                  </a:lnTo>
                  <a:lnTo>
                    <a:pt x="28" y="14"/>
                  </a:lnTo>
                  <a:lnTo>
                    <a:pt x="28" y="10"/>
                  </a:lnTo>
                  <a:lnTo>
                    <a:pt x="28" y="8"/>
                  </a:lnTo>
                  <a:lnTo>
                    <a:pt x="24" y="0"/>
                  </a:lnTo>
                  <a:lnTo>
                    <a:pt x="24" y="2"/>
                  </a:lnTo>
                  <a:lnTo>
                    <a:pt x="22" y="4"/>
                  </a:lnTo>
                  <a:lnTo>
                    <a:pt x="20" y="4"/>
                  </a:lnTo>
                  <a:lnTo>
                    <a:pt x="18" y="4"/>
                  </a:lnTo>
                  <a:lnTo>
                    <a:pt x="18" y="6"/>
                  </a:lnTo>
                  <a:lnTo>
                    <a:pt x="16" y="8"/>
                  </a:lnTo>
                  <a:lnTo>
                    <a:pt x="12" y="12"/>
                  </a:lnTo>
                  <a:lnTo>
                    <a:pt x="10" y="14"/>
                  </a:lnTo>
                  <a:lnTo>
                    <a:pt x="6" y="20"/>
                  </a:lnTo>
                  <a:lnTo>
                    <a:pt x="0" y="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3" name="Freeform 595">
              <a:extLst>
                <a:ext uri="{FF2B5EF4-FFF2-40B4-BE49-F238E27FC236}">
                  <a16:creationId xmlns:a16="http://schemas.microsoft.com/office/drawing/2014/main" id="{CC67743F-B094-4E48-943E-24880F47BED1}"/>
                </a:ext>
              </a:extLst>
            </p:cNvPr>
            <p:cNvSpPr>
              <a:spLocks/>
            </p:cNvSpPr>
            <p:nvPr/>
          </p:nvSpPr>
          <p:spPr bwMode="gray">
            <a:xfrm>
              <a:off x="4948804" y="5061066"/>
              <a:ext cx="37668" cy="37670"/>
            </a:xfrm>
            <a:custGeom>
              <a:avLst/>
              <a:gdLst>
                <a:gd name="T0" fmla="*/ 2147483647 w 20"/>
                <a:gd name="T1" fmla="*/ 2147483647 h 20"/>
                <a:gd name="T2" fmla="*/ 2147483647 w 20"/>
                <a:gd name="T3" fmla="*/ 2147483647 h 20"/>
                <a:gd name="T4" fmla="*/ 2147483647 w 20"/>
                <a:gd name="T5" fmla="*/ 2147483647 h 20"/>
                <a:gd name="T6" fmla="*/ 2147483647 w 20"/>
                <a:gd name="T7" fmla="*/ 2147483647 h 20"/>
                <a:gd name="T8" fmla="*/ 2147483647 w 20"/>
                <a:gd name="T9" fmla="*/ 2147483647 h 20"/>
                <a:gd name="T10" fmla="*/ 2147483647 w 20"/>
                <a:gd name="T11" fmla="*/ 2147483647 h 20"/>
                <a:gd name="T12" fmla="*/ 2147483647 w 20"/>
                <a:gd name="T13" fmla="*/ 2147483647 h 20"/>
                <a:gd name="T14" fmla="*/ 2147483647 w 20"/>
                <a:gd name="T15" fmla="*/ 2147483647 h 20"/>
                <a:gd name="T16" fmla="*/ 2147483647 w 20"/>
                <a:gd name="T17" fmla="*/ 2147483647 h 20"/>
                <a:gd name="T18" fmla="*/ 2147483647 w 20"/>
                <a:gd name="T19" fmla="*/ 2147483647 h 20"/>
                <a:gd name="T20" fmla="*/ 2147483647 w 20"/>
                <a:gd name="T21" fmla="*/ 2147483647 h 20"/>
                <a:gd name="T22" fmla="*/ 2147483647 w 20"/>
                <a:gd name="T23" fmla="*/ 2147483647 h 20"/>
                <a:gd name="T24" fmla="*/ 2147483647 w 20"/>
                <a:gd name="T25" fmla="*/ 2147483647 h 20"/>
                <a:gd name="T26" fmla="*/ 2147483647 w 20"/>
                <a:gd name="T27" fmla="*/ 2147483647 h 20"/>
                <a:gd name="T28" fmla="*/ 2147483647 w 20"/>
                <a:gd name="T29" fmla="*/ 0 h 20"/>
                <a:gd name="T30" fmla="*/ 2147483647 w 20"/>
                <a:gd name="T31" fmla="*/ 0 h 20"/>
                <a:gd name="T32" fmla="*/ 2147483647 w 20"/>
                <a:gd name="T33" fmla="*/ 2147483647 h 20"/>
                <a:gd name="T34" fmla="*/ 2147483647 w 20"/>
                <a:gd name="T35" fmla="*/ 2147483647 h 20"/>
                <a:gd name="T36" fmla="*/ 2147483647 w 20"/>
                <a:gd name="T37" fmla="*/ 2147483647 h 20"/>
                <a:gd name="T38" fmla="*/ 2147483647 w 20"/>
                <a:gd name="T39" fmla="*/ 2147483647 h 20"/>
                <a:gd name="T40" fmla="*/ 2147483647 w 20"/>
                <a:gd name="T41" fmla="*/ 2147483647 h 20"/>
                <a:gd name="T42" fmla="*/ 0 w 20"/>
                <a:gd name="T43" fmla="*/ 2147483647 h 20"/>
                <a:gd name="T44" fmla="*/ 0 w 20"/>
                <a:gd name="T45" fmla="*/ 2147483647 h 20"/>
                <a:gd name="T46" fmla="*/ 0 w 20"/>
                <a:gd name="T47" fmla="*/ 2147483647 h 20"/>
                <a:gd name="T48" fmla="*/ 0 w 20"/>
                <a:gd name="T49" fmla="*/ 2147483647 h 20"/>
                <a:gd name="T50" fmla="*/ 2147483647 w 20"/>
                <a:gd name="T51" fmla="*/ 2147483647 h 20"/>
                <a:gd name="T52" fmla="*/ 2147483647 w 20"/>
                <a:gd name="T53" fmla="*/ 2147483647 h 20"/>
                <a:gd name="T54" fmla="*/ 2147483647 w 20"/>
                <a:gd name="T55" fmla="*/ 2147483647 h 20"/>
                <a:gd name="T56" fmla="*/ 2147483647 w 20"/>
                <a:gd name="T57" fmla="*/ 2147483647 h 20"/>
                <a:gd name="T58" fmla="*/ 2147483647 w 20"/>
                <a:gd name="T59" fmla="*/ 2147483647 h 20"/>
                <a:gd name="T60" fmla="*/ 2147483647 w 20"/>
                <a:gd name="T61" fmla="*/ 2147483647 h 20"/>
                <a:gd name="T62" fmla="*/ 2147483647 w 20"/>
                <a:gd name="T63" fmla="*/ 2147483647 h 20"/>
                <a:gd name="T64" fmla="*/ 2147483647 w 20"/>
                <a:gd name="T65" fmla="*/ 2147483647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20"/>
                <a:gd name="T101" fmla="*/ 20 w 20"/>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20">
                  <a:moveTo>
                    <a:pt x="10" y="20"/>
                  </a:moveTo>
                  <a:lnTo>
                    <a:pt x="10" y="20"/>
                  </a:lnTo>
                  <a:lnTo>
                    <a:pt x="12" y="16"/>
                  </a:lnTo>
                  <a:lnTo>
                    <a:pt x="16" y="14"/>
                  </a:lnTo>
                  <a:lnTo>
                    <a:pt x="18" y="14"/>
                  </a:lnTo>
                  <a:lnTo>
                    <a:pt x="20" y="14"/>
                  </a:lnTo>
                  <a:lnTo>
                    <a:pt x="20" y="10"/>
                  </a:lnTo>
                  <a:lnTo>
                    <a:pt x="18" y="8"/>
                  </a:lnTo>
                  <a:lnTo>
                    <a:pt x="16" y="4"/>
                  </a:lnTo>
                  <a:lnTo>
                    <a:pt x="14" y="0"/>
                  </a:lnTo>
                  <a:lnTo>
                    <a:pt x="6" y="6"/>
                  </a:lnTo>
                  <a:lnTo>
                    <a:pt x="4" y="8"/>
                  </a:lnTo>
                  <a:lnTo>
                    <a:pt x="2" y="8"/>
                  </a:lnTo>
                  <a:lnTo>
                    <a:pt x="0" y="10"/>
                  </a:lnTo>
                  <a:lnTo>
                    <a:pt x="0" y="12"/>
                  </a:lnTo>
                  <a:lnTo>
                    <a:pt x="0" y="14"/>
                  </a:lnTo>
                  <a:lnTo>
                    <a:pt x="2" y="16"/>
                  </a:lnTo>
                  <a:lnTo>
                    <a:pt x="2" y="20"/>
                  </a:lnTo>
                  <a:lnTo>
                    <a:pt x="6" y="20"/>
                  </a:lnTo>
                  <a:lnTo>
                    <a:pt x="8" y="20"/>
                  </a:lnTo>
                  <a:lnTo>
                    <a:pt x="10" y="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4" name="Freeform 596">
              <a:extLst>
                <a:ext uri="{FF2B5EF4-FFF2-40B4-BE49-F238E27FC236}">
                  <a16:creationId xmlns:a16="http://schemas.microsoft.com/office/drawing/2014/main" id="{0CFA0AD2-4F33-49A8-AAD1-C814349E5F8C}"/>
                </a:ext>
              </a:extLst>
            </p:cNvPr>
            <p:cNvSpPr>
              <a:spLocks/>
            </p:cNvSpPr>
            <p:nvPr/>
          </p:nvSpPr>
          <p:spPr bwMode="gray">
            <a:xfrm>
              <a:off x="5123013" y="3365980"/>
              <a:ext cx="40022" cy="51795"/>
            </a:xfrm>
            <a:custGeom>
              <a:avLst/>
              <a:gdLst>
                <a:gd name="T0" fmla="*/ 2147483647 w 22"/>
                <a:gd name="T1" fmla="*/ 2147483647 h 28"/>
                <a:gd name="T2" fmla="*/ 2147483647 w 22"/>
                <a:gd name="T3" fmla="*/ 2147483647 h 28"/>
                <a:gd name="T4" fmla="*/ 2147483647 w 22"/>
                <a:gd name="T5" fmla="*/ 2147483647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2147483647 w 22"/>
                <a:gd name="T21" fmla="*/ 2147483647 h 28"/>
                <a:gd name="T22" fmla="*/ 2147483647 w 22"/>
                <a:gd name="T23" fmla="*/ 2147483647 h 28"/>
                <a:gd name="T24" fmla="*/ 2147483647 w 22"/>
                <a:gd name="T25" fmla="*/ 2147483647 h 28"/>
                <a:gd name="T26" fmla="*/ 2147483647 w 22"/>
                <a:gd name="T27" fmla="*/ 2147483647 h 28"/>
                <a:gd name="T28" fmla="*/ 2147483647 w 22"/>
                <a:gd name="T29" fmla="*/ 0 h 28"/>
                <a:gd name="T30" fmla="*/ 2147483647 w 22"/>
                <a:gd name="T31" fmla="*/ 0 h 28"/>
                <a:gd name="T32" fmla="*/ 2147483647 w 22"/>
                <a:gd name="T33" fmla="*/ 0 h 28"/>
                <a:gd name="T34" fmla="*/ 2147483647 w 22"/>
                <a:gd name="T35" fmla="*/ 0 h 28"/>
                <a:gd name="T36" fmla="*/ 2147483647 w 22"/>
                <a:gd name="T37" fmla="*/ 0 h 28"/>
                <a:gd name="T38" fmla="*/ 2147483647 w 22"/>
                <a:gd name="T39" fmla="*/ 2147483647 h 28"/>
                <a:gd name="T40" fmla="*/ 2147483647 w 22"/>
                <a:gd name="T41" fmla="*/ 2147483647 h 28"/>
                <a:gd name="T42" fmla="*/ 2147483647 w 22"/>
                <a:gd name="T43" fmla="*/ 2147483647 h 28"/>
                <a:gd name="T44" fmla="*/ 2147483647 w 22"/>
                <a:gd name="T45" fmla="*/ 2147483647 h 28"/>
                <a:gd name="T46" fmla="*/ 2147483647 w 22"/>
                <a:gd name="T47" fmla="*/ 2147483647 h 28"/>
                <a:gd name="T48" fmla="*/ 2147483647 w 22"/>
                <a:gd name="T49" fmla="*/ 2147483647 h 28"/>
                <a:gd name="T50" fmla="*/ 2147483647 w 22"/>
                <a:gd name="T51" fmla="*/ 2147483647 h 28"/>
                <a:gd name="T52" fmla="*/ 0 w 22"/>
                <a:gd name="T53" fmla="*/ 2147483647 h 28"/>
                <a:gd name="T54" fmla="*/ 2147483647 w 22"/>
                <a:gd name="T55" fmla="*/ 2147483647 h 28"/>
                <a:gd name="T56" fmla="*/ 2147483647 w 22"/>
                <a:gd name="T57" fmla="*/ 2147483647 h 28"/>
                <a:gd name="T58" fmla="*/ 2147483647 w 22"/>
                <a:gd name="T59" fmla="*/ 2147483647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
                <a:gd name="T91" fmla="*/ 0 h 28"/>
                <a:gd name="T92" fmla="*/ 22 w 22"/>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 h="28">
                  <a:moveTo>
                    <a:pt x="2" y="28"/>
                  </a:moveTo>
                  <a:lnTo>
                    <a:pt x="2" y="28"/>
                  </a:lnTo>
                  <a:lnTo>
                    <a:pt x="10" y="28"/>
                  </a:lnTo>
                  <a:lnTo>
                    <a:pt x="12" y="22"/>
                  </a:lnTo>
                  <a:lnTo>
                    <a:pt x="16" y="20"/>
                  </a:lnTo>
                  <a:lnTo>
                    <a:pt x="16" y="16"/>
                  </a:lnTo>
                  <a:lnTo>
                    <a:pt x="18" y="12"/>
                  </a:lnTo>
                  <a:lnTo>
                    <a:pt x="20" y="6"/>
                  </a:lnTo>
                  <a:lnTo>
                    <a:pt x="22" y="2"/>
                  </a:lnTo>
                  <a:lnTo>
                    <a:pt x="22" y="0"/>
                  </a:lnTo>
                  <a:lnTo>
                    <a:pt x="20" y="0"/>
                  </a:lnTo>
                  <a:lnTo>
                    <a:pt x="16" y="0"/>
                  </a:lnTo>
                  <a:lnTo>
                    <a:pt x="14" y="0"/>
                  </a:lnTo>
                  <a:lnTo>
                    <a:pt x="12" y="2"/>
                  </a:lnTo>
                  <a:lnTo>
                    <a:pt x="10" y="6"/>
                  </a:lnTo>
                  <a:lnTo>
                    <a:pt x="8" y="10"/>
                  </a:lnTo>
                  <a:lnTo>
                    <a:pt x="6" y="16"/>
                  </a:lnTo>
                  <a:lnTo>
                    <a:pt x="2" y="24"/>
                  </a:lnTo>
                  <a:lnTo>
                    <a:pt x="0" y="26"/>
                  </a:lnTo>
                  <a:lnTo>
                    <a:pt x="2" y="2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5" name="Freeform 597">
              <a:extLst>
                <a:ext uri="{FF2B5EF4-FFF2-40B4-BE49-F238E27FC236}">
                  <a16:creationId xmlns:a16="http://schemas.microsoft.com/office/drawing/2014/main" id="{591BB4B2-F8BE-4ABE-83B7-70B7A31EB572}"/>
                </a:ext>
              </a:extLst>
            </p:cNvPr>
            <p:cNvSpPr>
              <a:spLocks/>
            </p:cNvSpPr>
            <p:nvPr/>
          </p:nvSpPr>
          <p:spPr bwMode="gray">
            <a:xfrm>
              <a:off x="4831094" y="2638504"/>
              <a:ext cx="160084" cy="96525"/>
            </a:xfrm>
            <a:custGeom>
              <a:avLst/>
              <a:gdLst>
                <a:gd name="T0" fmla="*/ 2147483647 w 86"/>
                <a:gd name="T1" fmla="*/ 2147483647 h 52"/>
                <a:gd name="T2" fmla="*/ 2147483647 w 86"/>
                <a:gd name="T3" fmla="*/ 2147483647 h 52"/>
                <a:gd name="T4" fmla="*/ 2147483647 w 86"/>
                <a:gd name="T5" fmla="*/ 2147483647 h 52"/>
                <a:gd name="T6" fmla="*/ 2147483647 w 86"/>
                <a:gd name="T7" fmla="*/ 2147483647 h 52"/>
                <a:gd name="T8" fmla="*/ 2147483647 w 86"/>
                <a:gd name="T9" fmla="*/ 2147483647 h 52"/>
                <a:gd name="T10" fmla="*/ 2147483647 w 86"/>
                <a:gd name="T11" fmla="*/ 2147483647 h 52"/>
                <a:gd name="T12" fmla="*/ 2147483647 w 86"/>
                <a:gd name="T13" fmla="*/ 2147483647 h 52"/>
                <a:gd name="T14" fmla="*/ 2147483647 w 86"/>
                <a:gd name="T15" fmla="*/ 2147483647 h 52"/>
                <a:gd name="T16" fmla="*/ 0 w 86"/>
                <a:gd name="T17" fmla="*/ 2147483647 h 52"/>
                <a:gd name="T18" fmla="*/ 0 w 86"/>
                <a:gd name="T19" fmla="*/ 2147483647 h 52"/>
                <a:gd name="T20" fmla="*/ 2147483647 w 86"/>
                <a:gd name="T21" fmla="*/ 2147483647 h 52"/>
                <a:gd name="T22" fmla="*/ 2147483647 w 86"/>
                <a:gd name="T23" fmla="*/ 2147483647 h 52"/>
                <a:gd name="T24" fmla="*/ 2147483647 w 86"/>
                <a:gd name="T25" fmla="*/ 2147483647 h 52"/>
                <a:gd name="T26" fmla="*/ 2147483647 w 86"/>
                <a:gd name="T27" fmla="*/ 2147483647 h 52"/>
                <a:gd name="T28" fmla="*/ 2147483647 w 86"/>
                <a:gd name="T29" fmla="*/ 2147483647 h 52"/>
                <a:gd name="T30" fmla="*/ 2147483647 w 86"/>
                <a:gd name="T31" fmla="*/ 2147483647 h 52"/>
                <a:gd name="T32" fmla="*/ 2147483647 w 86"/>
                <a:gd name="T33" fmla="*/ 2147483647 h 52"/>
                <a:gd name="T34" fmla="*/ 2147483647 w 86"/>
                <a:gd name="T35" fmla="*/ 2147483647 h 52"/>
                <a:gd name="T36" fmla="*/ 2147483647 w 86"/>
                <a:gd name="T37" fmla="*/ 2147483647 h 52"/>
                <a:gd name="T38" fmla="*/ 2147483647 w 86"/>
                <a:gd name="T39" fmla="*/ 2147483647 h 52"/>
                <a:gd name="T40" fmla="*/ 2147483647 w 86"/>
                <a:gd name="T41" fmla="*/ 2147483647 h 52"/>
                <a:gd name="T42" fmla="*/ 2147483647 w 86"/>
                <a:gd name="T43" fmla="*/ 2147483647 h 52"/>
                <a:gd name="T44" fmla="*/ 2147483647 w 86"/>
                <a:gd name="T45" fmla="*/ 2147483647 h 52"/>
                <a:gd name="T46" fmla="*/ 2147483647 w 86"/>
                <a:gd name="T47" fmla="*/ 2147483647 h 52"/>
                <a:gd name="T48" fmla="*/ 2147483647 w 86"/>
                <a:gd name="T49" fmla="*/ 2147483647 h 52"/>
                <a:gd name="T50" fmla="*/ 2147483647 w 86"/>
                <a:gd name="T51" fmla="*/ 2147483647 h 52"/>
                <a:gd name="T52" fmla="*/ 2147483647 w 86"/>
                <a:gd name="T53" fmla="*/ 2147483647 h 52"/>
                <a:gd name="T54" fmla="*/ 2147483647 w 86"/>
                <a:gd name="T55" fmla="*/ 2147483647 h 52"/>
                <a:gd name="T56" fmla="*/ 2147483647 w 86"/>
                <a:gd name="T57" fmla="*/ 2147483647 h 52"/>
                <a:gd name="T58" fmla="*/ 2147483647 w 86"/>
                <a:gd name="T59" fmla="*/ 2147483647 h 52"/>
                <a:gd name="T60" fmla="*/ 2147483647 w 86"/>
                <a:gd name="T61" fmla="*/ 2147483647 h 52"/>
                <a:gd name="T62" fmla="*/ 2147483647 w 86"/>
                <a:gd name="T63" fmla="*/ 2147483647 h 52"/>
                <a:gd name="T64" fmla="*/ 2147483647 w 86"/>
                <a:gd name="T65" fmla="*/ 2147483647 h 52"/>
                <a:gd name="T66" fmla="*/ 2147483647 w 86"/>
                <a:gd name="T67" fmla="*/ 2147483647 h 52"/>
                <a:gd name="T68" fmla="*/ 2147483647 w 86"/>
                <a:gd name="T69" fmla="*/ 2147483647 h 52"/>
                <a:gd name="T70" fmla="*/ 2147483647 w 86"/>
                <a:gd name="T71" fmla="*/ 2147483647 h 52"/>
                <a:gd name="T72" fmla="*/ 2147483647 w 86"/>
                <a:gd name="T73" fmla="*/ 2147483647 h 52"/>
                <a:gd name="T74" fmla="*/ 2147483647 w 86"/>
                <a:gd name="T75" fmla="*/ 2147483647 h 52"/>
                <a:gd name="T76" fmla="*/ 2147483647 w 86"/>
                <a:gd name="T77" fmla="*/ 0 h 52"/>
                <a:gd name="T78" fmla="*/ 2147483647 w 86"/>
                <a:gd name="T79" fmla="*/ 2147483647 h 52"/>
                <a:gd name="T80" fmla="*/ 2147483647 w 86"/>
                <a:gd name="T81" fmla="*/ 2147483647 h 52"/>
                <a:gd name="T82" fmla="*/ 2147483647 w 86"/>
                <a:gd name="T83" fmla="*/ 2147483647 h 5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6"/>
                <a:gd name="T127" fmla="*/ 0 h 52"/>
                <a:gd name="T128" fmla="*/ 86 w 86"/>
                <a:gd name="T129" fmla="*/ 52 h 5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6" h="52">
                  <a:moveTo>
                    <a:pt x="36" y="4"/>
                  </a:moveTo>
                  <a:lnTo>
                    <a:pt x="36" y="4"/>
                  </a:lnTo>
                  <a:lnTo>
                    <a:pt x="34" y="14"/>
                  </a:lnTo>
                  <a:lnTo>
                    <a:pt x="32" y="20"/>
                  </a:lnTo>
                  <a:lnTo>
                    <a:pt x="26" y="20"/>
                  </a:lnTo>
                  <a:lnTo>
                    <a:pt x="22" y="20"/>
                  </a:lnTo>
                  <a:lnTo>
                    <a:pt x="14" y="6"/>
                  </a:lnTo>
                  <a:lnTo>
                    <a:pt x="8" y="10"/>
                  </a:lnTo>
                  <a:lnTo>
                    <a:pt x="8" y="16"/>
                  </a:lnTo>
                  <a:lnTo>
                    <a:pt x="8" y="20"/>
                  </a:lnTo>
                  <a:lnTo>
                    <a:pt x="4" y="26"/>
                  </a:lnTo>
                  <a:lnTo>
                    <a:pt x="0" y="30"/>
                  </a:lnTo>
                  <a:lnTo>
                    <a:pt x="0" y="36"/>
                  </a:lnTo>
                  <a:lnTo>
                    <a:pt x="8" y="32"/>
                  </a:lnTo>
                  <a:lnTo>
                    <a:pt x="20" y="36"/>
                  </a:lnTo>
                  <a:lnTo>
                    <a:pt x="30" y="38"/>
                  </a:lnTo>
                  <a:lnTo>
                    <a:pt x="34" y="40"/>
                  </a:lnTo>
                  <a:lnTo>
                    <a:pt x="36" y="40"/>
                  </a:lnTo>
                  <a:lnTo>
                    <a:pt x="42" y="40"/>
                  </a:lnTo>
                  <a:lnTo>
                    <a:pt x="44" y="42"/>
                  </a:lnTo>
                  <a:lnTo>
                    <a:pt x="46" y="44"/>
                  </a:lnTo>
                  <a:lnTo>
                    <a:pt x="50" y="46"/>
                  </a:lnTo>
                  <a:lnTo>
                    <a:pt x="52" y="46"/>
                  </a:lnTo>
                  <a:lnTo>
                    <a:pt x="58" y="50"/>
                  </a:lnTo>
                  <a:lnTo>
                    <a:pt x="62" y="52"/>
                  </a:lnTo>
                  <a:lnTo>
                    <a:pt x="66" y="48"/>
                  </a:lnTo>
                  <a:lnTo>
                    <a:pt x="68" y="48"/>
                  </a:lnTo>
                  <a:lnTo>
                    <a:pt x="72" y="48"/>
                  </a:lnTo>
                  <a:lnTo>
                    <a:pt x="74" y="48"/>
                  </a:lnTo>
                  <a:lnTo>
                    <a:pt x="76" y="44"/>
                  </a:lnTo>
                  <a:lnTo>
                    <a:pt x="76" y="38"/>
                  </a:lnTo>
                  <a:lnTo>
                    <a:pt x="78" y="36"/>
                  </a:lnTo>
                  <a:lnTo>
                    <a:pt x="82" y="38"/>
                  </a:lnTo>
                  <a:lnTo>
                    <a:pt x="84" y="38"/>
                  </a:lnTo>
                  <a:lnTo>
                    <a:pt x="86" y="36"/>
                  </a:lnTo>
                  <a:lnTo>
                    <a:pt x="84" y="32"/>
                  </a:lnTo>
                  <a:lnTo>
                    <a:pt x="82" y="26"/>
                  </a:lnTo>
                  <a:lnTo>
                    <a:pt x="80" y="26"/>
                  </a:lnTo>
                  <a:lnTo>
                    <a:pt x="78" y="24"/>
                  </a:lnTo>
                  <a:lnTo>
                    <a:pt x="76" y="24"/>
                  </a:lnTo>
                  <a:lnTo>
                    <a:pt x="76" y="14"/>
                  </a:lnTo>
                  <a:lnTo>
                    <a:pt x="72" y="16"/>
                  </a:lnTo>
                  <a:lnTo>
                    <a:pt x="70" y="16"/>
                  </a:lnTo>
                  <a:lnTo>
                    <a:pt x="70" y="14"/>
                  </a:lnTo>
                  <a:lnTo>
                    <a:pt x="68" y="10"/>
                  </a:lnTo>
                  <a:lnTo>
                    <a:pt x="62" y="12"/>
                  </a:lnTo>
                  <a:lnTo>
                    <a:pt x="60" y="6"/>
                  </a:lnTo>
                  <a:lnTo>
                    <a:pt x="56" y="6"/>
                  </a:lnTo>
                  <a:lnTo>
                    <a:pt x="56" y="4"/>
                  </a:lnTo>
                  <a:lnTo>
                    <a:pt x="52" y="2"/>
                  </a:lnTo>
                  <a:lnTo>
                    <a:pt x="44" y="0"/>
                  </a:lnTo>
                  <a:lnTo>
                    <a:pt x="44" y="2"/>
                  </a:lnTo>
                  <a:lnTo>
                    <a:pt x="42" y="4"/>
                  </a:lnTo>
                  <a:lnTo>
                    <a:pt x="36"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6" name="Freeform 598">
              <a:extLst>
                <a:ext uri="{FF2B5EF4-FFF2-40B4-BE49-F238E27FC236}">
                  <a16:creationId xmlns:a16="http://schemas.microsoft.com/office/drawing/2014/main" id="{C3E24221-6276-4FE7-BD4F-84E434085732}"/>
                </a:ext>
              </a:extLst>
            </p:cNvPr>
            <p:cNvSpPr>
              <a:spLocks/>
            </p:cNvSpPr>
            <p:nvPr/>
          </p:nvSpPr>
          <p:spPr bwMode="gray">
            <a:xfrm>
              <a:off x="6493147" y="3695580"/>
              <a:ext cx="141250" cy="233074"/>
            </a:xfrm>
            <a:custGeom>
              <a:avLst/>
              <a:gdLst>
                <a:gd name="T0" fmla="*/ 2147483647 w 76"/>
                <a:gd name="T1" fmla="*/ 2147483647 h 126"/>
                <a:gd name="T2" fmla="*/ 2147483647 w 76"/>
                <a:gd name="T3" fmla="*/ 2147483647 h 126"/>
                <a:gd name="T4" fmla="*/ 2147483647 w 76"/>
                <a:gd name="T5" fmla="*/ 2147483647 h 126"/>
                <a:gd name="T6" fmla="*/ 2147483647 w 76"/>
                <a:gd name="T7" fmla="*/ 2147483647 h 126"/>
                <a:gd name="T8" fmla="*/ 2147483647 w 76"/>
                <a:gd name="T9" fmla="*/ 2147483647 h 126"/>
                <a:gd name="T10" fmla="*/ 2147483647 w 76"/>
                <a:gd name="T11" fmla="*/ 2147483647 h 126"/>
                <a:gd name="T12" fmla="*/ 2147483647 w 76"/>
                <a:gd name="T13" fmla="*/ 2147483647 h 126"/>
                <a:gd name="T14" fmla="*/ 2147483647 w 76"/>
                <a:gd name="T15" fmla="*/ 2147483647 h 126"/>
                <a:gd name="T16" fmla="*/ 2147483647 w 76"/>
                <a:gd name="T17" fmla="*/ 2147483647 h 126"/>
                <a:gd name="T18" fmla="*/ 2147483647 w 76"/>
                <a:gd name="T19" fmla="*/ 2147483647 h 126"/>
                <a:gd name="T20" fmla="*/ 2147483647 w 76"/>
                <a:gd name="T21" fmla="*/ 2147483647 h 126"/>
                <a:gd name="T22" fmla="*/ 2147483647 w 76"/>
                <a:gd name="T23" fmla="*/ 2147483647 h 126"/>
                <a:gd name="T24" fmla="*/ 2147483647 w 76"/>
                <a:gd name="T25" fmla="*/ 2147483647 h 126"/>
                <a:gd name="T26" fmla="*/ 2147483647 w 76"/>
                <a:gd name="T27" fmla="*/ 2147483647 h 126"/>
                <a:gd name="T28" fmla="*/ 0 w 76"/>
                <a:gd name="T29" fmla="*/ 2147483647 h 126"/>
                <a:gd name="T30" fmla="*/ 2147483647 w 76"/>
                <a:gd name="T31" fmla="*/ 2147483647 h 126"/>
                <a:gd name="T32" fmla="*/ 2147483647 w 76"/>
                <a:gd name="T33" fmla="*/ 2147483647 h 126"/>
                <a:gd name="T34" fmla="*/ 2147483647 w 76"/>
                <a:gd name="T35" fmla="*/ 2147483647 h 126"/>
                <a:gd name="T36" fmla="*/ 2147483647 w 76"/>
                <a:gd name="T37" fmla="*/ 2147483647 h 126"/>
                <a:gd name="T38" fmla="*/ 2147483647 w 76"/>
                <a:gd name="T39" fmla="*/ 0 h 126"/>
                <a:gd name="T40" fmla="*/ 2147483647 w 76"/>
                <a:gd name="T41" fmla="*/ 2147483647 h 126"/>
                <a:gd name="T42" fmla="*/ 2147483647 w 76"/>
                <a:gd name="T43" fmla="*/ 2147483647 h 126"/>
                <a:gd name="T44" fmla="*/ 2147483647 w 76"/>
                <a:gd name="T45" fmla="*/ 2147483647 h 126"/>
                <a:gd name="T46" fmla="*/ 2147483647 w 76"/>
                <a:gd name="T47" fmla="*/ 2147483647 h 126"/>
                <a:gd name="T48" fmla="*/ 2147483647 w 76"/>
                <a:gd name="T49" fmla="*/ 2147483647 h 126"/>
                <a:gd name="T50" fmla="*/ 2147483647 w 76"/>
                <a:gd name="T51" fmla="*/ 2147483647 h 126"/>
                <a:gd name="T52" fmla="*/ 2147483647 w 76"/>
                <a:gd name="T53" fmla="*/ 2147483647 h 126"/>
                <a:gd name="T54" fmla="*/ 2147483647 w 76"/>
                <a:gd name="T55" fmla="*/ 2147483647 h 126"/>
                <a:gd name="T56" fmla="*/ 2147483647 w 76"/>
                <a:gd name="T57" fmla="*/ 2147483647 h 126"/>
                <a:gd name="T58" fmla="*/ 2147483647 w 76"/>
                <a:gd name="T59" fmla="*/ 2147483647 h 126"/>
                <a:gd name="T60" fmla="*/ 2147483647 w 76"/>
                <a:gd name="T61" fmla="*/ 2147483647 h 126"/>
                <a:gd name="T62" fmla="*/ 2147483647 w 76"/>
                <a:gd name="T63" fmla="*/ 2147483647 h 126"/>
                <a:gd name="T64" fmla="*/ 2147483647 w 76"/>
                <a:gd name="T65" fmla="*/ 2147483647 h 126"/>
                <a:gd name="T66" fmla="*/ 2147483647 w 76"/>
                <a:gd name="T67" fmla="*/ 2147483647 h 126"/>
                <a:gd name="T68" fmla="*/ 2147483647 w 76"/>
                <a:gd name="T69" fmla="*/ 2147483647 h 126"/>
                <a:gd name="T70" fmla="*/ 2147483647 w 76"/>
                <a:gd name="T71" fmla="*/ 2147483647 h 126"/>
                <a:gd name="T72" fmla="*/ 2147483647 w 76"/>
                <a:gd name="T73" fmla="*/ 2147483647 h 126"/>
                <a:gd name="T74" fmla="*/ 2147483647 w 76"/>
                <a:gd name="T75" fmla="*/ 2147483647 h 126"/>
                <a:gd name="T76" fmla="*/ 2147483647 w 76"/>
                <a:gd name="T77" fmla="*/ 2147483647 h 1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6"/>
                <a:gd name="T118" fmla="*/ 0 h 126"/>
                <a:gd name="T119" fmla="*/ 76 w 76"/>
                <a:gd name="T120" fmla="*/ 126 h 1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6" h="126">
                  <a:moveTo>
                    <a:pt x="54" y="118"/>
                  </a:moveTo>
                  <a:lnTo>
                    <a:pt x="56" y="116"/>
                  </a:lnTo>
                  <a:lnTo>
                    <a:pt x="58" y="112"/>
                  </a:lnTo>
                  <a:lnTo>
                    <a:pt x="58" y="110"/>
                  </a:lnTo>
                  <a:lnTo>
                    <a:pt x="56" y="104"/>
                  </a:lnTo>
                  <a:lnTo>
                    <a:pt x="54" y="98"/>
                  </a:lnTo>
                  <a:lnTo>
                    <a:pt x="54" y="96"/>
                  </a:lnTo>
                  <a:lnTo>
                    <a:pt x="50" y="92"/>
                  </a:lnTo>
                  <a:lnTo>
                    <a:pt x="48" y="88"/>
                  </a:lnTo>
                  <a:lnTo>
                    <a:pt x="46" y="82"/>
                  </a:lnTo>
                  <a:lnTo>
                    <a:pt x="46" y="76"/>
                  </a:lnTo>
                  <a:lnTo>
                    <a:pt x="42" y="68"/>
                  </a:lnTo>
                  <a:lnTo>
                    <a:pt x="38" y="68"/>
                  </a:lnTo>
                  <a:lnTo>
                    <a:pt x="34" y="66"/>
                  </a:lnTo>
                  <a:lnTo>
                    <a:pt x="32" y="60"/>
                  </a:lnTo>
                  <a:lnTo>
                    <a:pt x="26" y="60"/>
                  </a:lnTo>
                  <a:lnTo>
                    <a:pt x="24" y="64"/>
                  </a:lnTo>
                  <a:lnTo>
                    <a:pt x="20" y="64"/>
                  </a:lnTo>
                  <a:lnTo>
                    <a:pt x="18" y="70"/>
                  </a:lnTo>
                  <a:lnTo>
                    <a:pt x="14" y="70"/>
                  </a:lnTo>
                  <a:lnTo>
                    <a:pt x="12" y="68"/>
                  </a:lnTo>
                  <a:lnTo>
                    <a:pt x="8" y="66"/>
                  </a:lnTo>
                  <a:lnTo>
                    <a:pt x="4" y="66"/>
                  </a:lnTo>
                  <a:lnTo>
                    <a:pt x="4" y="62"/>
                  </a:lnTo>
                  <a:lnTo>
                    <a:pt x="2" y="58"/>
                  </a:lnTo>
                  <a:lnTo>
                    <a:pt x="2" y="56"/>
                  </a:lnTo>
                  <a:lnTo>
                    <a:pt x="8" y="50"/>
                  </a:lnTo>
                  <a:lnTo>
                    <a:pt x="6" y="46"/>
                  </a:lnTo>
                  <a:lnTo>
                    <a:pt x="2" y="46"/>
                  </a:lnTo>
                  <a:lnTo>
                    <a:pt x="0" y="46"/>
                  </a:lnTo>
                  <a:lnTo>
                    <a:pt x="0" y="42"/>
                  </a:lnTo>
                  <a:lnTo>
                    <a:pt x="2" y="36"/>
                  </a:lnTo>
                  <a:lnTo>
                    <a:pt x="2" y="30"/>
                  </a:lnTo>
                  <a:lnTo>
                    <a:pt x="6" y="26"/>
                  </a:lnTo>
                  <a:lnTo>
                    <a:pt x="10" y="26"/>
                  </a:lnTo>
                  <a:lnTo>
                    <a:pt x="14" y="24"/>
                  </a:lnTo>
                  <a:lnTo>
                    <a:pt x="16" y="16"/>
                  </a:lnTo>
                  <a:lnTo>
                    <a:pt x="12" y="4"/>
                  </a:lnTo>
                  <a:lnTo>
                    <a:pt x="12" y="0"/>
                  </a:lnTo>
                  <a:lnTo>
                    <a:pt x="18" y="0"/>
                  </a:lnTo>
                  <a:lnTo>
                    <a:pt x="26" y="4"/>
                  </a:lnTo>
                  <a:lnTo>
                    <a:pt x="24" y="8"/>
                  </a:lnTo>
                  <a:lnTo>
                    <a:pt x="28" y="12"/>
                  </a:lnTo>
                  <a:lnTo>
                    <a:pt x="32" y="16"/>
                  </a:lnTo>
                  <a:lnTo>
                    <a:pt x="34" y="18"/>
                  </a:lnTo>
                  <a:lnTo>
                    <a:pt x="38" y="20"/>
                  </a:lnTo>
                  <a:lnTo>
                    <a:pt x="42" y="16"/>
                  </a:lnTo>
                  <a:lnTo>
                    <a:pt x="48" y="18"/>
                  </a:lnTo>
                  <a:lnTo>
                    <a:pt x="52" y="22"/>
                  </a:lnTo>
                  <a:lnTo>
                    <a:pt x="52" y="30"/>
                  </a:lnTo>
                  <a:lnTo>
                    <a:pt x="48" y="32"/>
                  </a:lnTo>
                  <a:lnTo>
                    <a:pt x="48" y="42"/>
                  </a:lnTo>
                  <a:lnTo>
                    <a:pt x="46" y="44"/>
                  </a:lnTo>
                  <a:lnTo>
                    <a:pt x="40" y="44"/>
                  </a:lnTo>
                  <a:lnTo>
                    <a:pt x="36" y="46"/>
                  </a:lnTo>
                  <a:lnTo>
                    <a:pt x="38" y="52"/>
                  </a:lnTo>
                  <a:lnTo>
                    <a:pt x="46" y="56"/>
                  </a:lnTo>
                  <a:lnTo>
                    <a:pt x="48" y="64"/>
                  </a:lnTo>
                  <a:lnTo>
                    <a:pt x="54" y="72"/>
                  </a:lnTo>
                  <a:lnTo>
                    <a:pt x="58" y="74"/>
                  </a:lnTo>
                  <a:lnTo>
                    <a:pt x="58" y="78"/>
                  </a:lnTo>
                  <a:lnTo>
                    <a:pt x="62" y="84"/>
                  </a:lnTo>
                  <a:lnTo>
                    <a:pt x="66" y="88"/>
                  </a:lnTo>
                  <a:lnTo>
                    <a:pt x="68" y="92"/>
                  </a:lnTo>
                  <a:lnTo>
                    <a:pt x="72" y="98"/>
                  </a:lnTo>
                  <a:lnTo>
                    <a:pt x="76" y="100"/>
                  </a:lnTo>
                  <a:lnTo>
                    <a:pt x="76" y="106"/>
                  </a:lnTo>
                  <a:lnTo>
                    <a:pt x="76" y="114"/>
                  </a:lnTo>
                  <a:lnTo>
                    <a:pt x="76" y="118"/>
                  </a:lnTo>
                  <a:lnTo>
                    <a:pt x="72" y="118"/>
                  </a:lnTo>
                  <a:lnTo>
                    <a:pt x="68" y="116"/>
                  </a:lnTo>
                  <a:lnTo>
                    <a:pt x="64" y="114"/>
                  </a:lnTo>
                  <a:lnTo>
                    <a:pt x="62" y="118"/>
                  </a:lnTo>
                  <a:lnTo>
                    <a:pt x="62" y="124"/>
                  </a:lnTo>
                  <a:lnTo>
                    <a:pt x="58" y="126"/>
                  </a:lnTo>
                  <a:lnTo>
                    <a:pt x="54" y="122"/>
                  </a:lnTo>
                  <a:lnTo>
                    <a:pt x="54" y="1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7" name="Freeform 599">
              <a:extLst>
                <a:ext uri="{FF2B5EF4-FFF2-40B4-BE49-F238E27FC236}">
                  <a16:creationId xmlns:a16="http://schemas.microsoft.com/office/drawing/2014/main" id="{26F79A3E-9464-4D4F-8D25-40FF9AF049D3}"/>
                </a:ext>
              </a:extLst>
            </p:cNvPr>
            <p:cNvSpPr>
              <a:spLocks noEditPoints="1"/>
            </p:cNvSpPr>
            <p:nvPr/>
          </p:nvSpPr>
          <p:spPr bwMode="gray">
            <a:xfrm>
              <a:off x="5838685" y="3121133"/>
              <a:ext cx="228355" cy="110651"/>
            </a:xfrm>
            <a:custGeom>
              <a:avLst/>
              <a:gdLst>
                <a:gd name="T0" fmla="*/ 2147483647 w 124"/>
                <a:gd name="T1" fmla="*/ 2147483647 h 60"/>
                <a:gd name="T2" fmla="*/ 2147483647 w 124"/>
                <a:gd name="T3" fmla="*/ 2147483647 h 60"/>
                <a:gd name="T4" fmla="*/ 2147483647 w 124"/>
                <a:gd name="T5" fmla="*/ 2147483647 h 60"/>
                <a:gd name="T6" fmla="*/ 2147483647 w 124"/>
                <a:gd name="T7" fmla="*/ 2147483647 h 60"/>
                <a:gd name="T8" fmla="*/ 2147483647 w 124"/>
                <a:gd name="T9" fmla="*/ 2147483647 h 60"/>
                <a:gd name="T10" fmla="*/ 2147483647 w 124"/>
                <a:gd name="T11" fmla="*/ 2147483647 h 60"/>
                <a:gd name="T12" fmla="*/ 2147483647 w 124"/>
                <a:gd name="T13" fmla="*/ 2147483647 h 60"/>
                <a:gd name="T14" fmla="*/ 2147483647 w 124"/>
                <a:gd name="T15" fmla="*/ 2147483647 h 60"/>
                <a:gd name="T16" fmla="*/ 2147483647 w 124"/>
                <a:gd name="T17" fmla="*/ 2147483647 h 60"/>
                <a:gd name="T18" fmla="*/ 2147483647 w 124"/>
                <a:gd name="T19" fmla="*/ 2147483647 h 60"/>
                <a:gd name="T20" fmla="*/ 2147483647 w 124"/>
                <a:gd name="T21" fmla="*/ 2147483647 h 60"/>
                <a:gd name="T22" fmla="*/ 2147483647 w 124"/>
                <a:gd name="T23" fmla="*/ 2147483647 h 60"/>
                <a:gd name="T24" fmla="*/ 2147483647 w 124"/>
                <a:gd name="T25" fmla="*/ 2147483647 h 60"/>
                <a:gd name="T26" fmla="*/ 2147483647 w 124"/>
                <a:gd name="T27" fmla="*/ 2147483647 h 60"/>
                <a:gd name="T28" fmla="*/ 2147483647 w 124"/>
                <a:gd name="T29" fmla="*/ 2147483647 h 60"/>
                <a:gd name="T30" fmla="*/ 2147483647 w 124"/>
                <a:gd name="T31" fmla="*/ 2147483647 h 60"/>
                <a:gd name="T32" fmla="*/ 2147483647 w 124"/>
                <a:gd name="T33" fmla="*/ 2147483647 h 60"/>
                <a:gd name="T34" fmla="*/ 2147483647 w 124"/>
                <a:gd name="T35" fmla="*/ 2147483647 h 60"/>
                <a:gd name="T36" fmla="*/ 2147483647 w 124"/>
                <a:gd name="T37" fmla="*/ 2147483647 h 60"/>
                <a:gd name="T38" fmla="*/ 2147483647 w 124"/>
                <a:gd name="T39" fmla="*/ 2147483647 h 60"/>
                <a:gd name="T40" fmla="*/ 2147483647 w 124"/>
                <a:gd name="T41" fmla="*/ 2147483647 h 60"/>
                <a:gd name="T42" fmla="*/ 2147483647 w 124"/>
                <a:gd name="T43" fmla="*/ 2147483647 h 60"/>
                <a:gd name="T44" fmla="*/ 2147483647 w 124"/>
                <a:gd name="T45" fmla="*/ 2147483647 h 60"/>
                <a:gd name="T46" fmla="*/ 2147483647 w 124"/>
                <a:gd name="T47" fmla="*/ 2147483647 h 60"/>
                <a:gd name="T48" fmla="*/ 2147483647 w 124"/>
                <a:gd name="T49" fmla="*/ 2147483647 h 60"/>
                <a:gd name="T50" fmla="*/ 2147483647 w 124"/>
                <a:gd name="T51" fmla="*/ 2147483647 h 60"/>
                <a:gd name="T52" fmla="*/ 2147483647 w 124"/>
                <a:gd name="T53" fmla="*/ 2147483647 h 60"/>
                <a:gd name="T54" fmla="*/ 2147483647 w 124"/>
                <a:gd name="T55" fmla="*/ 2147483647 h 60"/>
                <a:gd name="T56" fmla="*/ 2147483647 w 124"/>
                <a:gd name="T57" fmla="*/ 2147483647 h 60"/>
                <a:gd name="T58" fmla="*/ 2147483647 w 124"/>
                <a:gd name="T59" fmla="*/ 2147483647 h 60"/>
                <a:gd name="T60" fmla="*/ 2147483647 w 124"/>
                <a:gd name="T61" fmla="*/ 0 h 60"/>
                <a:gd name="T62" fmla="*/ 2147483647 w 124"/>
                <a:gd name="T63" fmla="*/ 2147483647 h 60"/>
                <a:gd name="T64" fmla="*/ 2147483647 w 124"/>
                <a:gd name="T65" fmla="*/ 2147483647 h 60"/>
                <a:gd name="T66" fmla="*/ 2147483647 w 124"/>
                <a:gd name="T67" fmla="*/ 2147483647 h 60"/>
                <a:gd name="T68" fmla="*/ 2147483647 w 124"/>
                <a:gd name="T69" fmla="*/ 0 h 60"/>
                <a:gd name="T70" fmla="*/ 2147483647 w 124"/>
                <a:gd name="T71" fmla="*/ 0 h 60"/>
                <a:gd name="T72" fmla="*/ 2147483647 w 124"/>
                <a:gd name="T73" fmla="*/ 2147483647 h 60"/>
                <a:gd name="T74" fmla="*/ 2147483647 w 124"/>
                <a:gd name="T75" fmla="*/ 2147483647 h 60"/>
                <a:gd name="T76" fmla="*/ 2147483647 w 124"/>
                <a:gd name="T77" fmla="*/ 2147483647 h 60"/>
                <a:gd name="T78" fmla="*/ 2147483647 w 124"/>
                <a:gd name="T79" fmla="*/ 2147483647 h 60"/>
                <a:gd name="T80" fmla="*/ 2147483647 w 124"/>
                <a:gd name="T81" fmla="*/ 2147483647 h 60"/>
                <a:gd name="T82" fmla="*/ 2147483647 w 124"/>
                <a:gd name="T83" fmla="*/ 2147483647 h 60"/>
                <a:gd name="T84" fmla="*/ 2147483647 w 124"/>
                <a:gd name="T85" fmla="*/ 2147483647 h 60"/>
                <a:gd name="T86" fmla="*/ 2147483647 w 124"/>
                <a:gd name="T87" fmla="*/ 2147483647 h 60"/>
                <a:gd name="T88" fmla="*/ 2147483647 w 124"/>
                <a:gd name="T89" fmla="*/ 2147483647 h 60"/>
                <a:gd name="T90" fmla="*/ 2147483647 w 124"/>
                <a:gd name="T91" fmla="*/ 2147483647 h 60"/>
                <a:gd name="T92" fmla="*/ 2147483647 w 124"/>
                <a:gd name="T93" fmla="*/ 2147483647 h 60"/>
                <a:gd name="T94" fmla="*/ 2147483647 w 124"/>
                <a:gd name="T95" fmla="*/ 2147483647 h 60"/>
                <a:gd name="T96" fmla="*/ 2147483647 w 124"/>
                <a:gd name="T97" fmla="*/ 2147483647 h 60"/>
                <a:gd name="T98" fmla="*/ 2147483647 w 124"/>
                <a:gd name="T99" fmla="*/ 2147483647 h 60"/>
                <a:gd name="T100" fmla="*/ 2147483647 w 124"/>
                <a:gd name="T101" fmla="*/ 2147483647 h 60"/>
                <a:gd name="T102" fmla="*/ 2147483647 w 124"/>
                <a:gd name="T103" fmla="*/ 2147483647 h 60"/>
                <a:gd name="T104" fmla="*/ 2147483647 w 124"/>
                <a:gd name="T105" fmla="*/ 2147483647 h 60"/>
                <a:gd name="T106" fmla="*/ 2147483647 w 124"/>
                <a:gd name="T107" fmla="*/ 2147483647 h 60"/>
                <a:gd name="T108" fmla="*/ 2147483647 w 124"/>
                <a:gd name="T109" fmla="*/ 2147483647 h 60"/>
                <a:gd name="T110" fmla="*/ 2147483647 w 124"/>
                <a:gd name="T111" fmla="*/ 2147483647 h 60"/>
                <a:gd name="T112" fmla="*/ 2147483647 w 124"/>
                <a:gd name="T113" fmla="*/ 2147483647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4"/>
                <a:gd name="T172" fmla="*/ 0 h 60"/>
                <a:gd name="T173" fmla="*/ 124 w 124"/>
                <a:gd name="T174" fmla="*/ 60 h 6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4" h="60">
                  <a:moveTo>
                    <a:pt x="42" y="58"/>
                  </a:moveTo>
                  <a:lnTo>
                    <a:pt x="42" y="58"/>
                  </a:lnTo>
                  <a:lnTo>
                    <a:pt x="38" y="58"/>
                  </a:lnTo>
                  <a:lnTo>
                    <a:pt x="34" y="58"/>
                  </a:lnTo>
                  <a:lnTo>
                    <a:pt x="30" y="60"/>
                  </a:lnTo>
                  <a:lnTo>
                    <a:pt x="26" y="60"/>
                  </a:lnTo>
                  <a:lnTo>
                    <a:pt x="24" y="60"/>
                  </a:lnTo>
                  <a:lnTo>
                    <a:pt x="22" y="58"/>
                  </a:lnTo>
                  <a:lnTo>
                    <a:pt x="20" y="56"/>
                  </a:lnTo>
                  <a:lnTo>
                    <a:pt x="18" y="56"/>
                  </a:lnTo>
                  <a:lnTo>
                    <a:pt x="14" y="58"/>
                  </a:lnTo>
                  <a:lnTo>
                    <a:pt x="12" y="58"/>
                  </a:lnTo>
                  <a:lnTo>
                    <a:pt x="12" y="56"/>
                  </a:lnTo>
                  <a:lnTo>
                    <a:pt x="10" y="54"/>
                  </a:lnTo>
                  <a:lnTo>
                    <a:pt x="4" y="56"/>
                  </a:lnTo>
                  <a:lnTo>
                    <a:pt x="0" y="50"/>
                  </a:lnTo>
                  <a:lnTo>
                    <a:pt x="6" y="48"/>
                  </a:lnTo>
                  <a:lnTo>
                    <a:pt x="10" y="50"/>
                  </a:lnTo>
                  <a:lnTo>
                    <a:pt x="12" y="46"/>
                  </a:lnTo>
                  <a:lnTo>
                    <a:pt x="14" y="46"/>
                  </a:lnTo>
                  <a:lnTo>
                    <a:pt x="14" y="48"/>
                  </a:lnTo>
                  <a:lnTo>
                    <a:pt x="16" y="50"/>
                  </a:lnTo>
                  <a:lnTo>
                    <a:pt x="18" y="48"/>
                  </a:lnTo>
                  <a:lnTo>
                    <a:pt x="18" y="46"/>
                  </a:lnTo>
                  <a:lnTo>
                    <a:pt x="20" y="44"/>
                  </a:lnTo>
                  <a:lnTo>
                    <a:pt x="26" y="46"/>
                  </a:lnTo>
                  <a:lnTo>
                    <a:pt x="30" y="44"/>
                  </a:lnTo>
                  <a:lnTo>
                    <a:pt x="32" y="42"/>
                  </a:lnTo>
                  <a:lnTo>
                    <a:pt x="36" y="36"/>
                  </a:lnTo>
                  <a:lnTo>
                    <a:pt x="38" y="34"/>
                  </a:lnTo>
                  <a:lnTo>
                    <a:pt x="36" y="34"/>
                  </a:lnTo>
                  <a:lnTo>
                    <a:pt x="32" y="32"/>
                  </a:lnTo>
                  <a:lnTo>
                    <a:pt x="28" y="30"/>
                  </a:lnTo>
                  <a:lnTo>
                    <a:pt x="24" y="30"/>
                  </a:lnTo>
                  <a:lnTo>
                    <a:pt x="22" y="30"/>
                  </a:lnTo>
                  <a:lnTo>
                    <a:pt x="22" y="26"/>
                  </a:lnTo>
                  <a:lnTo>
                    <a:pt x="22" y="24"/>
                  </a:lnTo>
                  <a:lnTo>
                    <a:pt x="18" y="26"/>
                  </a:lnTo>
                  <a:lnTo>
                    <a:pt x="16" y="26"/>
                  </a:lnTo>
                  <a:lnTo>
                    <a:pt x="14" y="26"/>
                  </a:lnTo>
                  <a:lnTo>
                    <a:pt x="14" y="24"/>
                  </a:lnTo>
                  <a:lnTo>
                    <a:pt x="12" y="22"/>
                  </a:lnTo>
                  <a:lnTo>
                    <a:pt x="10" y="22"/>
                  </a:lnTo>
                  <a:lnTo>
                    <a:pt x="14" y="20"/>
                  </a:lnTo>
                  <a:lnTo>
                    <a:pt x="20" y="16"/>
                  </a:lnTo>
                  <a:lnTo>
                    <a:pt x="20" y="14"/>
                  </a:lnTo>
                  <a:lnTo>
                    <a:pt x="20" y="12"/>
                  </a:lnTo>
                  <a:lnTo>
                    <a:pt x="18" y="10"/>
                  </a:lnTo>
                  <a:lnTo>
                    <a:pt x="14" y="12"/>
                  </a:lnTo>
                  <a:lnTo>
                    <a:pt x="18" y="8"/>
                  </a:lnTo>
                  <a:lnTo>
                    <a:pt x="20" y="6"/>
                  </a:lnTo>
                  <a:lnTo>
                    <a:pt x="24" y="4"/>
                  </a:lnTo>
                  <a:lnTo>
                    <a:pt x="32" y="4"/>
                  </a:lnTo>
                  <a:lnTo>
                    <a:pt x="36" y="6"/>
                  </a:lnTo>
                  <a:lnTo>
                    <a:pt x="40" y="8"/>
                  </a:lnTo>
                  <a:lnTo>
                    <a:pt x="42" y="12"/>
                  </a:lnTo>
                  <a:lnTo>
                    <a:pt x="44" y="12"/>
                  </a:lnTo>
                  <a:lnTo>
                    <a:pt x="46" y="8"/>
                  </a:lnTo>
                  <a:lnTo>
                    <a:pt x="48" y="8"/>
                  </a:lnTo>
                  <a:lnTo>
                    <a:pt x="48" y="6"/>
                  </a:lnTo>
                  <a:lnTo>
                    <a:pt x="52" y="2"/>
                  </a:lnTo>
                  <a:lnTo>
                    <a:pt x="54" y="2"/>
                  </a:lnTo>
                  <a:lnTo>
                    <a:pt x="58" y="0"/>
                  </a:lnTo>
                  <a:lnTo>
                    <a:pt x="60" y="2"/>
                  </a:lnTo>
                  <a:lnTo>
                    <a:pt x="62" y="4"/>
                  </a:lnTo>
                  <a:lnTo>
                    <a:pt x="66" y="6"/>
                  </a:lnTo>
                  <a:lnTo>
                    <a:pt x="68" y="6"/>
                  </a:lnTo>
                  <a:lnTo>
                    <a:pt x="74" y="4"/>
                  </a:lnTo>
                  <a:lnTo>
                    <a:pt x="80" y="0"/>
                  </a:lnTo>
                  <a:lnTo>
                    <a:pt x="94" y="0"/>
                  </a:lnTo>
                  <a:lnTo>
                    <a:pt x="100" y="0"/>
                  </a:lnTo>
                  <a:lnTo>
                    <a:pt x="104" y="0"/>
                  </a:lnTo>
                  <a:lnTo>
                    <a:pt x="108" y="2"/>
                  </a:lnTo>
                  <a:lnTo>
                    <a:pt x="112" y="4"/>
                  </a:lnTo>
                  <a:lnTo>
                    <a:pt x="114" y="6"/>
                  </a:lnTo>
                  <a:lnTo>
                    <a:pt x="118" y="8"/>
                  </a:lnTo>
                  <a:lnTo>
                    <a:pt x="124" y="10"/>
                  </a:lnTo>
                  <a:lnTo>
                    <a:pt x="114" y="14"/>
                  </a:lnTo>
                  <a:lnTo>
                    <a:pt x="108" y="20"/>
                  </a:lnTo>
                  <a:lnTo>
                    <a:pt x="106" y="20"/>
                  </a:lnTo>
                  <a:lnTo>
                    <a:pt x="102" y="22"/>
                  </a:lnTo>
                  <a:lnTo>
                    <a:pt x="102" y="28"/>
                  </a:lnTo>
                  <a:lnTo>
                    <a:pt x="98" y="28"/>
                  </a:lnTo>
                  <a:lnTo>
                    <a:pt x="94" y="30"/>
                  </a:lnTo>
                  <a:lnTo>
                    <a:pt x="88" y="30"/>
                  </a:lnTo>
                  <a:lnTo>
                    <a:pt x="82" y="34"/>
                  </a:lnTo>
                  <a:lnTo>
                    <a:pt x="82" y="40"/>
                  </a:lnTo>
                  <a:lnTo>
                    <a:pt x="82" y="42"/>
                  </a:lnTo>
                  <a:lnTo>
                    <a:pt x="80" y="44"/>
                  </a:lnTo>
                  <a:lnTo>
                    <a:pt x="76" y="46"/>
                  </a:lnTo>
                  <a:lnTo>
                    <a:pt x="70" y="46"/>
                  </a:lnTo>
                  <a:lnTo>
                    <a:pt x="68" y="48"/>
                  </a:lnTo>
                  <a:lnTo>
                    <a:pt x="64" y="50"/>
                  </a:lnTo>
                  <a:lnTo>
                    <a:pt x="64" y="48"/>
                  </a:lnTo>
                  <a:lnTo>
                    <a:pt x="62" y="46"/>
                  </a:lnTo>
                  <a:lnTo>
                    <a:pt x="60" y="44"/>
                  </a:lnTo>
                  <a:lnTo>
                    <a:pt x="56" y="44"/>
                  </a:lnTo>
                  <a:lnTo>
                    <a:pt x="54" y="48"/>
                  </a:lnTo>
                  <a:lnTo>
                    <a:pt x="50" y="52"/>
                  </a:lnTo>
                  <a:lnTo>
                    <a:pt x="46" y="54"/>
                  </a:lnTo>
                  <a:lnTo>
                    <a:pt x="42" y="58"/>
                  </a:lnTo>
                  <a:close/>
                  <a:moveTo>
                    <a:pt x="100" y="2"/>
                  </a:moveTo>
                  <a:lnTo>
                    <a:pt x="100" y="2"/>
                  </a:lnTo>
                  <a:lnTo>
                    <a:pt x="102" y="2"/>
                  </a:lnTo>
                  <a:lnTo>
                    <a:pt x="104" y="2"/>
                  </a:lnTo>
                  <a:lnTo>
                    <a:pt x="102" y="6"/>
                  </a:lnTo>
                  <a:lnTo>
                    <a:pt x="96" y="12"/>
                  </a:lnTo>
                  <a:lnTo>
                    <a:pt x="86" y="12"/>
                  </a:lnTo>
                  <a:lnTo>
                    <a:pt x="84" y="6"/>
                  </a:lnTo>
                  <a:lnTo>
                    <a:pt x="90" y="6"/>
                  </a:lnTo>
                  <a:lnTo>
                    <a:pt x="96" y="4"/>
                  </a:lnTo>
                  <a:lnTo>
                    <a:pt x="98" y="2"/>
                  </a:lnTo>
                  <a:lnTo>
                    <a:pt x="10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8" name="Freeform 600">
              <a:extLst>
                <a:ext uri="{FF2B5EF4-FFF2-40B4-BE49-F238E27FC236}">
                  <a16:creationId xmlns:a16="http://schemas.microsoft.com/office/drawing/2014/main" id="{1FAB865E-C698-412F-97F7-C93E320FACA9}"/>
                </a:ext>
              </a:extLst>
            </p:cNvPr>
            <p:cNvSpPr>
              <a:spLocks/>
            </p:cNvSpPr>
            <p:nvPr/>
          </p:nvSpPr>
          <p:spPr bwMode="gray">
            <a:xfrm>
              <a:off x="5349015" y="3483694"/>
              <a:ext cx="51793" cy="44731"/>
            </a:xfrm>
            <a:custGeom>
              <a:avLst/>
              <a:gdLst>
                <a:gd name="T0" fmla="*/ 2147483647 w 28"/>
                <a:gd name="T1" fmla="*/ 2147483647 h 24"/>
                <a:gd name="T2" fmla="*/ 2147483647 w 28"/>
                <a:gd name="T3" fmla="*/ 2147483647 h 24"/>
                <a:gd name="T4" fmla="*/ 2147483647 w 28"/>
                <a:gd name="T5" fmla="*/ 2147483647 h 24"/>
                <a:gd name="T6" fmla="*/ 2147483647 w 28"/>
                <a:gd name="T7" fmla="*/ 2147483647 h 24"/>
                <a:gd name="T8" fmla="*/ 2147483647 w 28"/>
                <a:gd name="T9" fmla="*/ 2147483647 h 24"/>
                <a:gd name="T10" fmla="*/ 2147483647 w 28"/>
                <a:gd name="T11" fmla="*/ 2147483647 h 24"/>
                <a:gd name="T12" fmla="*/ 2147483647 w 28"/>
                <a:gd name="T13" fmla="*/ 2147483647 h 24"/>
                <a:gd name="T14" fmla="*/ 2147483647 w 28"/>
                <a:gd name="T15" fmla="*/ 2147483647 h 24"/>
                <a:gd name="T16" fmla="*/ 2147483647 w 28"/>
                <a:gd name="T17" fmla="*/ 2147483647 h 24"/>
                <a:gd name="T18" fmla="*/ 2147483647 w 28"/>
                <a:gd name="T19" fmla="*/ 2147483647 h 24"/>
                <a:gd name="T20" fmla="*/ 2147483647 w 28"/>
                <a:gd name="T21" fmla="*/ 0 h 24"/>
                <a:gd name="T22" fmla="*/ 2147483647 w 28"/>
                <a:gd name="T23" fmla="*/ 0 h 24"/>
                <a:gd name="T24" fmla="*/ 2147483647 w 28"/>
                <a:gd name="T25" fmla="*/ 0 h 24"/>
                <a:gd name="T26" fmla="*/ 2147483647 w 28"/>
                <a:gd name="T27" fmla="*/ 0 h 24"/>
                <a:gd name="T28" fmla="*/ 2147483647 w 28"/>
                <a:gd name="T29" fmla="*/ 0 h 24"/>
                <a:gd name="T30" fmla="*/ 2147483647 w 28"/>
                <a:gd name="T31" fmla="*/ 0 h 24"/>
                <a:gd name="T32" fmla="*/ 2147483647 w 28"/>
                <a:gd name="T33" fmla="*/ 2147483647 h 24"/>
                <a:gd name="T34" fmla="*/ 2147483647 w 28"/>
                <a:gd name="T35" fmla="*/ 2147483647 h 24"/>
                <a:gd name="T36" fmla="*/ 2147483647 w 28"/>
                <a:gd name="T37" fmla="*/ 2147483647 h 24"/>
                <a:gd name="T38" fmla="*/ 2147483647 w 28"/>
                <a:gd name="T39" fmla="*/ 2147483647 h 24"/>
                <a:gd name="T40" fmla="*/ 0 w 28"/>
                <a:gd name="T41" fmla="*/ 2147483647 h 24"/>
                <a:gd name="T42" fmla="*/ 2147483647 w 28"/>
                <a:gd name="T43" fmla="*/ 2147483647 h 24"/>
                <a:gd name="T44" fmla="*/ 2147483647 w 28"/>
                <a:gd name="T45" fmla="*/ 2147483647 h 24"/>
                <a:gd name="T46" fmla="*/ 2147483647 w 28"/>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4"/>
                <a:gd name="T74" fmla="*/ 28 w 28"/>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4">
                  <a:moveTo>
                    <a:pt x="28" y="22"/>
                  </a:moveTo>
                  <a:lnTo>
                    <a:pt x="28" y="22"/>
                  </a:lnTo>
                  <a:lnTo>
                    <a:pt x="24" y="18"/>
                  </a:lnTo>
                  <a:lnTo>
                    <a:pt x="20" y="14"/>
                  </a:lnTo>
                  <a:lnTo>
                    <a:pt x="22" y="10"/>
                  </a:lnTo>
                  <a:lnTo>
                    <a:pt x="22" y="6"/>
                  </a:lnTo>
                  <a:lnTo>
                    <a:pt x="28" y="6"/>
                  </a:lnTo>
                  <a:lnTo>
                    <a:pt x="24" y="0"/>
                  </a:lnTo>
                  <a:lnTo>
                    <a:pt x="22" y="0"/>
                  </a:lnTo>
                  <a:lnTo>
                    <a:pt x="18" y="0"/>
                  </a:lnTo>
                  <a:lnTo>
                    <a:pt x="16" y="0"/>
                  </a:lnTo>
                  <a:lnTo>
                    <a:pt x="14" y="2"/>
                  </a:lnTo>
                  <a:lnTo>
                    <a:pt x="10" y="8"/>
                  </a:lnTo>
                  <a:lnTo>
                    <a:pt x="4" y="14"/>
                  </a:lnTo>
                  <a:lnTo>
                    <a:pt x="0" y="16"/>
                  </a:lnTo>
                  <a:lnTo>
                    <a:pt x="14" y="20"/>
                  </a:lnTo>
                  <a:lnTo>
                    <a:pt x="16" y="24"/>
                  </a:lnTo>
                  <a:lnTo>
                    <a:pt x="28" y="2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39" name="Freeform 601">
              <a:extLst>
                <a:ext uri="{FF2B5EF4-FFF2-40B4-BE49-F238E27FC236}">
                  <a16:creationId xmlns:a16="http://schemas.microsoft.com/office/drawing/2014/main" id="{F1C2BE56-AABB-42A9-BA91-1DE7507365A2}"/>
                </a:ext>
              </a:extLst>
            </p:cNvPr>
            <p:cNvSpPr>
              <a:spLocks noEditPoints="1"/>
            </p:cNvSpPr>
            <p:nvPr/>
          </p:nvSpPr>
          <p:spPr bwMode="gray">
            <a:xfrm>
              <a:off x="5370204" y="2746801"/>
              <a:ext cx="863985" cy="437898"/>
            </a:xfrm>
            <a:custGeom>
              <a:avLst/>
              <a:gdLst>
                <a:gd name="T0" fmla="*/ 2147483647 w 466"/>
                <a:gd name="T1" fmla="*/ 2147483647 h 236"/>
                <a:gd name="T2" fmla="*/ 2147483647 w 466"/>
                <a:gd name="T3" fmla="*/ 2147483647 h 236"/>
                <a:gd name="T4" fmla="*/ 2147483647 w 466"/>
                <a:gd name="T5" fmla="*/ 2147483647 h 236"/>
                <a:gd name="T6" fmla="*/ 2147483647 w 466"/>
                <a:gd name="T7" fmla="*/ 2147483647 h 236"/>
                <a:gd name="T8" fmla="*/ 2147483647 w 466"/>
                <a:gd name="T9" fmla="*/ 2147483647 h 236"/>
                <a:gd name="T10" fmla="*/ 2147483647 w 466"/>
                <a:gd name="T11" fmla="*/ 2147483647 h 236"/>
                <a:gd name="T12" fmla="*/ 2147483647 w 466"/>
                <a:gd name="T13" fmla="*/ 2147483647 h 236"/>
                <a:gd name="T14" fmla="*/ 2147483647 w 466"/>
                <a:gd name="T15" fmla="*/ 2147483647 h 236"/>
                <a:gd name="T16" fmla="*/ 2147483647 w 466"/>
                <a:gd name="T17" fmla="*/ 2147483647 h 236"/>
                <a:gd name="T18" fmla="*/ 2147483647 w 466"/>
                <a:gd name="T19" fmla="*/ 2147483647 h 236"/>
                <a:gd name="T20" fmla="*/ 2147483647 w 466"/>
                <a:gd name="T21" fmla="*/ 2147483647 h 236"/>
                <a:gd name="T22" fmla="*/ 2147483647 w 466"/>
                <a:gd name="T23" fmla="*/ 2147483647 h 236"/>
                <a:gd name="T24" fmla="*/ 2147483647 w 466"/>
                <a:gd name="T25" fmla="*/ 2147483647 h 236"/>
                <a:gd name="T26" fmla="*/ 2147483647 w 466"/>
                <a:gd name="T27" fmla="*/ 2147483647 h 236"/>
                <a:gd name="T28" fmla="*/ 2147483647 w 466"/>
                <a:gd name="T29" fmla="*/ 2147483647 h 236"/>
                <a:gd name="T30" fmla="*/ 2147483647 w 466"/>
                <a:gd name="T31" fmla="*/ 2147483647 h 236"/>
                <a:gd name="T32" fmla="*/ 2147483647 w 466"/>
                <a:gd name="T33" fmla="*/ 2147483647 h 236"/>
                <a:gd name="T34" fmla="*/ 2147483647 w 466"/>
                <a:gd name="T35" fmla="*/ 2147483647 h 236"/>
                <a:gd name="T36" fmla="*/ 2147483647 w 466"/>
                <a:gd name="T37" fmla="*/ 2147483647 h 236"/>
                <a:gd name="T38" fmla="*/ 2147483647 w 466"/>
                <a:gd name="T39" fmla="*/ 2147483647 h 236"/>
                <a:gd name="T40" fmla="*/ 2147483647 w 466"/>
                <a:gd name="T41" fmla="*/ 2147483647 h 236"/>
                <a:gd name="T42" fmla="*/ 2147483647 w 466"/>
                <a:gd name="T43" fmla="*/ 2147483647 h 236"/>
                <a:gd name="T44" fmla="*/ 2147483647 w 466"/>
                <a:gd name="T45" fmla="*/ 2147483647 h 236"/>
                <a:gd name="T46" fmla="*/ 2147483647 w 466"/>
                <a:gd name="T47" fmla="*/ 2147483647 h 236"/>
                <a:gd name="T48" fmla="*/ 2147483647 w 466"/>
                <a:gd name="T49" fmla="*/ 2147483647 h 236"/>
                <a:gd name="T50" fmla="*/ 2147483647 w 466"/>
                <a:gd name="T51" fmla="*/ 2147483647 h 236"/>
                <a:gd name="T52" fmla="*/ 2147483647 w 466"/>
                <a:gd name="T53" fmla="*/ 2147483647 h 236"/>
                <a:gd name="T54" fmla="*/ 2147483647 w 466"/>
                <a:gd name="T55" fmla="*/ 2147483647 h 236"/>
                <a:gd name="T56" fmla="*/ 2147483647 w 466"/>
                <a:gd name="T57" fmla="*/ 2147483647 h 236"/>
                <a:gd name="T58" fmla="*/ 2147483647 w 466"/>
                <a:gd name="T59" fmla="*/ 2147483647 h 236"/>
                <a:gd name="T60" fmla="*/ 2147483647 w 466"/>
                <a:gd name="T61" fmla="*/ 2147483647 h 236"/>
                <a:gd name="T62" fmla="*/ 2147483647 w 466"/>
                <a:gd name="T63" fmla="*/ 2147483647 h 236"/>
                <a:gd name="T64" fmla="*/ 2147483647 w 466"/>
                <a:gd name="T65" fmla="*/ 2147483647 h 236"/>
                <a:gd name="T66" fmla="*/ 2147483647 w 466"/>
                <a:gd name="T67" fmla="*/ 2147483647 h 236"/>
                <a:gd name="T68" fmla="*/ 2147483647 w 466"/>
                <a:gd name="T69" fmla="*/ 2147483647 h 236"/>
                <a:gd name="T70" fmla="*/ 2147483647 w 466"/>
                <a:gd name="T71" fmla="*/ 2147483647 h 236"/>
                <a:gd name="T72" fmla="*/ 2147483647 w 466"/>
                <a:gd name="T73" fmla="*/ 2147483647 h 236"/>
                <a:gd name="T74" fmla="*/ 2147483647 w 466"/>
                <a:gd name="T75" fmla="*/ 2147483647 h 236"/>
                <a:gd name="T76" fmla="*/ 2147483647 w 466"/>
                <a:gd name="T77" fmla="*/ 2147483647 h 236"/>
                <a:gd name="T78" fmla="*/ 2147483647 w 466"/>
                <a:gd name="T79" fmla="*/ 2147483647 h 236"/>
                <a:gd name="T80" fmla="*/ 2147483647 w 466"/>
                <a:gd name="T81" fmla="*/ 2147483647 h 236"/>
                <a:gd name="T82" fmla="*/ 2147483647 w 466"/>
                <a:gd name="T83" fmla="*/ 2147483647 h 236"/>
                <a:gd name="T84" fmla="*/ 2147483647 w 466"/>
                <a:gd name="T85" fmla="*/ 2147483647 h 236"/>
                <a:gd name="T86" fmla="*/ 2147483647 w 466"/>
                <a:gd name="T87" fmla="*/ 2147483647 h 236"/>
                <a:gd name="T88" fmla="*/ 2147483647 w 466"/>
                <a:gd name="T89" fmla="*/ 2147483647 h 236"/>
                <a:gd name="T90" fmla="*/ 2147483647 w 466"/>
                <a:gd name="T91" fmla="*/ 2147483647 h 236"/>
                <a:gd name="T92" fmla="*/ 2147483647 w 466"/>
                <a:gd name="T93" fmla="*/ 2147483647 h 236"/>
                <a:gd name="T94" fmla="*/ 2147483647 w 466"/>
                <a:gd name="T95" fmla="*/ 2147483647 h 236"/>
                <a:gd name="T96" fmla="*/ 2147483647 w 466"/>
                <a:gd name="T97" fmla="*/ 2147483647 h 236"/>
                <a:gd name="T98" fmla="*/ 2147483647 w 466"/>
                <a:gd name="T99" fmla="*/ 2147483647 h 236"/>
                <a:gd name="T100" fmla="*/ 2147483647 w 466"/>
                <a:gd name="T101" fmla="*/ 2147483647 h 236"/>
                <a:gd name="T102" fmla="*/ 2147483647 w 466"/>
                <a:gd name="T103" fmla="*/ 2147483647 h 236"/>
                <a:gd name="T104" fmla="*/ 2147483647 w 466"/>
                <a:gd name="T105" fmla="*/ 2147483647 h 236"/>
                <a:gd name="T106" fmla="*/ 2147483647 w 466"/>
                <a:gd name="T107" fmla="*/ 2147483647 h 236"/>
                <a:gd name="T108" fmla="*/ 2147483647 w 466"/>
                <a:gd name="T109" fmla="*/ 2147483647 h 236"/>
                <a:gd name="T110" fmla="*/ 2147483647 w 466"/>
                <a:gd name="T111" fmla="*/ 2147483647 h 236"/>
                <a:gd name="T112" fmla="*/ 2147483647 w 466"/>
                <a:gd name="T113" fmla="*/ 2147483647 h 236"/>
                <a:gd name="T114" fmla="*/ 2147483647 w 466"/>
                <a:gd name="T115" fmla="*/ 2147483647 h 236"/>
                <a:gd name="T116" fmla="*/ 2147483647 w 466"/>
                <a:gd name="T117" fmla="*/ 2147483647 h 236"/>
                <a:gd name="T118" fmla="*/ 2147483647 w 466"/>
                <a:gd name="T119" fmla="*/ 2147483647 h 236"/>
                <a:gd name="T120" fmla="*/ 2147483647 w 466"/>
                <a:gd name="T121" fmla="*/ 2147483647 h 236"/>
                <a:gd name="T122" fmla="*/ 2147483647 w 466"/>
                <a:gd name="T123" fmla="*/ 2147483647 h 2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6"/>
                <a:gd name="T187" fmla="*/ 0 h 236"/>
                <a:gd name="T188" fmla="*/ 466 w 466"/>
                <a:gd name="T189" fmla="*/ 236 h 2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6" h="236">
                  <a:moveTo>
                    <a:pt x="130" y="164"/>
                  </a:moveTo>
                  <a:lnTo>
                    <a:pt x="130" y="164"/>
                  </a:lnTo>
                  <a:lnTo>
                    <a:pt x="132" y="162"/>
                  </a:lnTo>
                  <a:lnTo>
                    <a:pt x="136" y="162"/>
                  </a:lnTo>
                  <a:lnTo>
                    <a:pt x="134" y="160"/>
                  </a:lnTo>
                  <a:lnTo>
                    <a:pt x="136" y="160"/>
                  </a:lnTo>
                  <a:lnTo>
                    <a:pt x="140" y="160"/>
                  </a:lnTo>
                  <a:lnTo>
                    <a:pt x="138" y="162"/>
                  </a:lnTo>
                  <a:lnTo>
                    <a:pt x="138" y="164"/>
                  </a:lnTo>
                  <a:lnTo>
                    <a:pt x="140" y="164"/>
                  </a:lnTo>
                  <a:lnTo>
                    <a:pt x="144" y="156"/>
                  </a:lnTo>
                  <a:lnTo>
                    <a:pt x="154" y="152"/>
                  </a:lnTo>
                  <a:lnTo>
                    <a:pt x="152" y="150"/>
                  </a:lnTo>
                  <a:lnTo>
                    <a:pt x="150" y="148"/>
                  </a:lnTo>
                  <a:lnTo>
                    <a:pt x="152" y="148"/>
                  </a:lnTo>
                  <a:lnTo>
                    <a:pt x="156" y="148"/>
                  </a:lnTo>
                  <a:lnTo>
                    <a:pt x="160" y="150"/>
                  </a:lnTo>
                  <a:lnTo>
                    <a:pt x="160" y="146"/>
                  </a:lnTo>
                  <a:lnTo>
                    <a:pt x="162" y="146"/>
                  </a:lnTo>
                  <a:lnTo>
                    <a:pt x="162" y="148"/>
                  </a:lnTo>
                  <a:lnTo>
                    <a:pt x="166" y="148"/>
                  </a:lnTo>
                  <a:lnTo>
                    <a:pt x="162" y="154"/>
                  </a:lnTo>
                  <a:lnTo>
                    <a:pt x="160" y="162"/>
                  </a:lnTo>
                  <a:lnTo>
                    <a:pt x="160" y="170"/>
                  </a:lnTo>
                  <a:lnTo>
                    <a:pt x="160" y="174"/>
                  </a:lnTo>
                  <a:lnTo>
                    <a:pt x="164" y="176"/>
                  </a:lnTo>
                  <a:lnTo>
                    <a:pt x="168" y="178"/>
                  </a:lnTo>
                  <a:lnTo>
                    <a:pt x="166" y="180"/>
                  </a:lnTo>
                  <a:lnTo>
                    <a:pt x="166" y="182"/>
                  </a:lnTo>
                  <a:lnTo>
                    <a:pt x="166" y="184"/>
                  </a:lnTo>
                  <a:lnTo>
                    <a:pt x="168" y="184"/>
                  </a:lnTo>
                  <a:lnTo>
                    <a:pt x="168" y="186"/>
                  </a:lnTo>
                  <a:lnTo>
                    <a:pt x="164" y="186"/>
                  </a:lnTo>
                  <a:lnTo>
                    <a:pt x="166" y="190"/>
                  </a:lnTo>
                  <a:lnTo>
                    <a:pt x="166" y="194"/>
                  </a:lnTo>
                  <a:lnTo>
                    <a:pt x="168" y="206"/>
                  </a:lnTo>
                  <a:lnTo>
                    <a:pt x="172" y="206"/>
                  </a:lnTo>
                  <a:lnTo>
                    <a:pt x="180" y="208"/>
                  </a:lnTo>
                  <a:lnTo>
                    <a:pt x="194" y="210"/>
                  </a:lnTo>
                  <a:lnTo>
                    <a:pt x="196" y="208"/>
                  </a:lnTo>
                  <a:lnTo>
                    <a:pt x="200" y="214"/>
                  </a:lnTo>
                  <a:lnTo>
                    <a:pt x="202" y="216"/>
                  </a:lnTo>
                  <a:lnTo>
                    <a:pt x="206" y="216"/>
                  </a:lnTo>
                  <a:lnTo>
                    <a:pt x="208" y="216"/>
                  </a:lnTo>
                  <a:lnTo>
                    <a:pt x="210" y="218"/>
                  </a:lnTo>
                  <a:lnTo>
                    <a:pt x="210" y="220"/>
                  </a:lnTo>
                  <a:lnTo>
                    <a:pt x="212" y="220"/>
                  </a:lnTo>
                  <a:lnTo>
                    <a:pt x="210" y="224"/>
                  </a:lnTo>
                  <a:lnTo>
                    <a:pt x="212" y="226"/>
                  </a:lnTo>
                  <a:lnTo>
                    <a:pt x="216" y="228"/>
                  </a:lnTo>
                  <a:lnTo>
                    <a:pt x="222" y="228"/>
                  </a:lnTo>
                  <a:lnTo>
                    <a:pt x="226" y="228"/>
                  </a:lnTo>
                  <a:lnTo>
                    <a:pt x="230" y="230"/>
                  </a:lnTo>
                  <a:lnTo>
                    <a:pt x="230" y="234"/>
                  </a:lnTo>
                  <a:lnTo>
                    <a:pt x="230" y="236"/>
                  </a:lnTo>
                  <a:lnTo>
                    <a:pt x="232" y="236"/>
                  </a:lnTo>
                  <a:lnTo>
                    <a:pt x="236" y="236"/>
                  </a:lnTo>
                  <a:lnTo>
                    <a:pt x="236" y="230"/>
                  </a:lnTo>
                  <a:lnTo>
                    <a:pt x="242" y="230"/>
                  </a:lnTo>
                  <a:lnTo>
                    <a:pt x="244" y="226"/>
                  </a:lnTo>
                  <a:lnTo>
                    <a:pt x="246" y="222"/>
                  </a:lnTo>
                  <a:lnTo>
                    <a:pt x="250" y="222"/>
                  </a:lnTo>
                  <a:lnTo>
                    <a:pt x="252" y="220"/>
                  </a:lnTo>
                  <a:lnTo>
                    <a:pt x="254" y="218"/>
                  </a:lnTo>
                  <a:lnTo>
                    <a:pt x="260" y="216"/>
                  </a:lnTo>
                  <a:lnTo>
                    <a:pt x="262" y="216"/>
                  </a:lnTo>
                  <a:lnTo>
                    <a:pt x="266" y="214"/>
                  </a:lnTo>
                  <a:lnTo>
                    <a:pt x="268" y="210"/>
                  </a:lnTo>
                  <a:lnTo>
                    <a:pt x="272" y="208"/>
                  </a:lnTo>
                  <a:lnTo>
                    <a:pt x="276" y="206"/>
                  </a:lnTo>
                  <a:lnTo>
                    <a:pt x="284" y="206"/>
                  </a:lnTo>
                  <a:lnTo>
                    <a:pt x="288" y="208"/>
                  </a:lnTo>
                  <a:lnTo>
                    <a:pt x="292" y="210"/>
                  </a:lnTo>
                  <a:lnTo>
                    <a:pt x="294" y="214"/>
                  </a:lnTo>
                  <a:lnTo>
                    <a:pt x="296" y="214"/>
                  </a:lnTo>
                  <a:lnTo>
                    <a:pt x="298" y="210"/>
                  </a:lnTo>
                  <a:lnTo>
                    <a:pt x="300" y="210"/>
                  </a:lnTo>
                  <a:lnTo>
                    <a:pt x="300" y="208"/>
                  </a:lnTo>
                  <a:lnTo>
                    <a:pt x="304" y="204"/>
                  </a:lnTo>
                  <a:lnTo>
                    <a:pt x="306" y="204"/>
                  </a:lnTo>
                  <a:lnTo>
                    <a:pt x="310" y="202"/>
                  </a:lnTo>
                  <a:lnTo>
                    <a:pt x="312" y="204"/>
                  </a:lnTo>
                  <a:lnTo>
                    <a:pt x="314" y="206"/>
                  </a:lnTo>
                  <a:lnTo>
                    <a:pt x="318" y="208"/>
                  </a:lnTo>
                  <a:lnTo>
                    <a:pt x="320" y="208"/>
                  </a:lnTo>
                  <a:lnTo>
                    <a:pt x="326" y="206"/>
                  </a:lnTo>
                  <a:lnTo>
                    <a:pt x="332" y="202"/>
                  </a:lnTo>
                  <a:lnTo>
                    <a:pt x="346" y="202"/>
                  </a:lnTo>
                  <a:lnTo>
                    <a:pt x="352" y="202"/>
                  </a:lnTo>
                  <a:lnTo>
                    <a:pt x="356" y="202"/>
                  </a:lnTo>
                  <a:lnTo>
                    <a:pt x="360" y="204"/>
                  </a:lnTo>
                  <a:lnTo>
                    <a:pt x="364" y="206"/>
                  </a:lnTo>
                  <a:lnTo>
                    <a:pt x="366" y="208"/>
                  </a:lnTo>
                  <a:lnTo>
                    <a:pt x="370" y="210"/>
                  </a:lnTo>
                  <a:lnTo>
                    <a:pt x="374" y="212"/>
                  </a:lnTo>
                  <a:lnTo>
                    <a:pt x="376" y="204"/>
                  </a:lnTo>
                  <a:lnTo>
                    <a:pt x="380" y="194"/>
                  </a:lnTo>
                  <a:lnTo>
                    <a:pt x="378" y="188"/>
                  </a:lnTo>
                  <a:lnTo>
                    <a:pt x="372" y="182"/>
                  </a:lnTo>
                  <a:lnTo>
                    <a:pt x="370" y="178"/>
                  </a:lnTo>
                  <a:lnTo>
                    <a:pt x="372" y="176"/>
                  </a:lnTo>
                  <a:lnTo>
                    <a:pt x="382" y="174"/>
                  </a:lnTo>
                  <a:lnTo>
                    <a:pt x="390" y="170"/>
                  </a:lnTo>
                  <a:lnTo>
                    <a:pt x="402" y="170"/>
                  </a:lnTo>
                  <a:lnTo>
                    <a:pt x="404" y="166"/>
                  </a:lnTo>
                  <a:lnTo>
                    <a:pt x="400" y="162"/>
                  </a:lnTo>
                  <a:lnTo>
                    <a:pt x="398" y="156"/>
                  </a:lnTo>
                  <a:lnTo>
                    <a:pt x="400" y="146"/>
                  </a:lnTo>
                  <a:lnTo>
                    <a:pt x="406" y="142"/>
                  </a:lnTo>
                  <a:lnTo>
                    <a:pt x="410" y="136"/>
                  </a:lnTo>
                  <a:lnTo>
                    <a:pt x="414" y="132"/>
                  </a:lnTo>
                  <a:lnTo>
                    <a:pt x="420" y="132"/>
                  </a:lnTo>
                  <a:lnTo>
                    <a:pt x="430" y="128"/>
                  </a:lnTo>
                  <a:lnTo>
                    <a:pt x="430" y="124"/>
                  </a:lnTo>
                  <a:lnTo>
                    <a:pt x="432" y="120"/>
                  </a:lnTo>
                  <a:lnTo>
                    <a:pt x="440" y="116"/>
                  </a:lnTo>
                  <a:lnTo>
                    <a:pt x="442" y="112"/>
                  </a:lnTo>
                  <a:lnTo>
                    <a:pt x="448" y="108"/>
                  </a:lnTo>
                  <a:lnTo>
                    <a:pt x="466" y="104"/>
                  </a:lnTo>
                  <a:lnTo>
                    <a:pt x="456" y="102"/>
                  </a:lnTo>
                  <a:lnTo>
                    <a:pt x="454" y="100"/>
                  </a:lnTo>
                  <a:lnTo>
                    <a:pt x="450" y="94"/>
                  </a:lnTo>
                  <a:lnTo>
                    <a:pt x="446" y="90"/>
                  </a:lnTo>
                  <a:lnTo>
                    <a:pt x="442" y="88"/>
                  </a:lnTo>
                  <a:lnTo>
                    <a:pt x="432" y="90"/>
                  </a:lnTo>
                  <a:lnTo>
                    <a:pt x="418" y="96"/>
                  </a:lnTo>
                  <a:lnTo>
                    <a:pt x="410" y="98"/>
                  </a:lnTo>
                  <a:lnTo>
                    <a:pt x="404" y="96"/>
                  </a:lnTo>
                  <a:lnTo>
                    <a:pt x="402" y="92"/>
                  </a:lnTo>
                  <a:lnTo>
                    <a:pt x="400" y="84"/>
                  </a:lnTo>
                  <a:lnTo>
                    <a:pt x="398" y="76"/>
                  </a:lnTo>
                  <a:lnTo>
                    <a:pt x="394" y="72"/>
                  </a:lnTo>
                  <a:lnTo>
                    <a:pt x="390" y="68"/>
                  </a:lnTo>
                  <a:lnTo>
                    <a:pt x="388" y="66"/>
                  </a:lnTo>
                  <a:lnTo>
                    <a:pt x="374" y="66"/>
                  </a:lnTo>
                  <a:lnTo>
                    <a:pt x="370" y="68"/>
                  </a:lnTo>
                  <a:lnTo>
                    <a:pt x="364" y="70"/>
                  </a:lnTo>
                  <a:lnTo>
                    <a:pt x="360" y="66"/>
                  </a:lnTo>
                  <a:lnTo>
                    <a:pt x="356" y="62"/>
                  </a:lnTo>
                  <a:lnTo>
                    <a:pt x="350" y="48"/>
                  </a:lnTo>
                  <a:lnTo>
                    <a:pt x="342" y="30"/>
                  </a:lnTo>
                  <a:lnTo>
                    <a:pt x="334" y="16"/>
                  </a:lnTo>
                  <a:lnTo>
                    <a:pt x="336" y="10"/>
                  </a:lnTo>
                  <a:lnTo>
                    <a:pt x="334" y="8"/>
                  </a:lnTo>
                  <a:lnTo>
                    <a:pt x="324" y="10"/>
                  </a:lnTo>
                  <a:lnTo>
                    <a:pt x="316" y="14"/>
                  </a:lnTo>
                  <a:lnTo>
                    <a:pt x="304" y="18"/>
                  </a:lnTo>
                  <a:lnTo>
                    <a:pt x="294" y="22"/>
                  </a:lnTo>
                  <a:lnTo>
                    <a:pt x="284" y="22"/>
                  </a:lnTo>
                  <a:lnTo>
                    <a:pt x="286" y="22"/>
                  </a:lnTo>
                  <a:lnTo>
                    <a:pt x="284" y="18"/>
                  </a:lnTo>
                  <a:lnTo>
                    <a:pt x="282" y="16"/>
                  </a:lnTo>
                  <a:lnTo>
                    <a:pt x="280" y="16"/>
                  </a:lnTo>
                  <a:lnTo>
                    <a:pt x="276" y="18"/>
                  </a:lnTo>
                  <a:lnTo>
                    <a:pt x="276" y="16"/>
                  </a:lnTo>
                  <a:lnTo>
                    <a:pt x="268" y="12"/>
                  </a:lnTo>
                  <a:lnTo>
                    <a:pt x="262" y="16"/>
                  </a:lnTo>
                  <a:lnTo>
                    <a:pt x="258" y="20"/>
                  </a:lnTo>
                  <a:lnTo>
                    <a:pt x="254" y="14"/>
                  </a:lnTo>
                  <a:lnTo>
                    <a:pt x="250" y="12"/>
                  </a:lnTo>
                  <a:lnTo>
                    <a:pt x="250" y="6"/>
                  </a:lnTo>
                  <a:lnTo>
                    <a:pt x="250" y="4"/>
                  </a:lnTo>
                  <a:lnTo>
                    <a:pt x="246" y="2"/>
                  </a:lnTo>
                  <a:lnTo>
                    <a:pt x="244" y="0"/>
                  </a:lnTo>
                  <a:lnTo>
                    <a:pt x="240" y="0"/>
                  </a:lnTo>
                  <a:lnTo>
                    <a:pt x="232" y="2"/>
                  </a:lnTo>
                  <a:lnTo>
                    <a:pt x="220" y="8"/>
                  </a:lnTo>
                  <a:lnTo>
                    <a:pt x="216" y="8"/>
                  </a:lnTo>
                  <a:lnTo>
                    <a:pt x="206" y="12"/>
                  </a:lnTo>
                  <a:lnTo>
                    <a:pt x="194" y="12"/>
                  </a:lnTo>
                  <a:lnTo>
                    <a:pt x="186" y="14"/>
                  </a:lnTo>
                  <a:lnTo>
                    <a:pt x="176" y="16"/>
                  </a:lnTo>
                  <a:lnTo>
                    <a:pt x="172" y="14"/>
                  </a:lnTo>
                  <a:lnTo>
                    <a:pt x="164" y="12"/>
                  </a:lnTo>
                  <a:lnTo>
                    <a:pt x="158" y="10"/>
                  </a:lnTo>
                  <a:lnTo>
                    <a:pt x="154" y="12"/>
                  </a:lnTo>
                  <a:lnTo>
                    <a:pt x="154" y="16"/>
                  </a:lnTo>
                  <a:lnTo>
                    <a:pt x="154" y="22"/>
                  </a:lnTo>
                  <a:lnTo>
                    <a:pt x="148" y="28"/>
                  </a:lnTo>
                  <a:lnTo>
                    <a:pt x="148" y="34"/>
                  </a:lnTo>
                  <a:lnTo>
                    <a:pt x="146" y="38"/>
                  </a:lnTo>
                  <a:lnTo>
                    <a:pt x="146" y="44"/>
                  </a:lnTo>
                  <a:lnTo>
                    <a:pt x="152" y="52"/>
                  </a:lnTo>
                  <a:lnTo>
                    <a:pt x="152" y="54"/>
                  </a:lnTo>
                  <a:lnTo>
                    <a:pt x="148" y="62"/>
                  </a:lnTo>
                  <a:lnTo>
                    <a:pt x="152" y="66"/>
                  </a:lnTo>
                  <a:lnTo>
                    <a:pt x="156" y="68"/>
                  </a:lnTo>
                  <a:lnTo>
                    <a:pt x="160" y="70"/>
                  </a:lnTo>
                  <a:lnTo>
                    <a:pt x="158" y="74"/>
                  </a:lnTo>
                  <a:lnTo>
                    <a:pt x="158" y="76"/>
                  </a:lnTo>
                  <a:lnTo>
                    <a:pt x="154" y="78"/>
                  </a:lnTo>
                  <a:lnTo>
                    <a:pt x="150" y="78"/>
                  </a:lnTo>
                  <a:lnTo>
                    <a:pt x="142" y="76"/>
                  </a:lnTo>
                  <a:lnTo>
                    <a:pt x="140" y="72"/>
                  </a:lnTo>
                  <a:lnTo>
                    <a:pt x="136" y="68"/>
                  </a:lnTo>
                  <a:lnTo>
                    <a:pt x="134" y="68"/>
                  </a:lnTo>
                  <a:lnTo>
                    <a:pt x="132" y="68"/>
                  </a:lnTo>
                  <a:lnTo>
                    <a:pt x="130" y="68"/>
                  </a:lnTo>
                  <a:lnTo>
                    <a:pt x="130" y="66"/>
                  </a:lnTo>
                  <a:lnTo>
                    <a:pt x="128" y="66"/>
                  </a:lnTo>
                  <a:lnTo>
                    <a:pt x="126" y="66"/>
                  </a:lnTo>
                  <a:lnTo>
                    <a:pt x="120" y="68"/>
                  </a:lnTo>
                  <a:lnTo>
                    <a:pt x="116" y="72"/>
                  </a:lnTo>
                  <a:lnTo>
                    <a:pt x="112" y="72"/>
                  </a:lnTo>
                  <a:lnTo>
                    <a:pt x="106" y="68"/>
                  </a:lnTo>
                  <a:lnTo>
                    <a:pt x="104" y="68"/>
                  </a:lnTo>
                  <a:lnTo>
                    <a:pt x="102" y="68"/>
                  </a:lnTo>
                  <a:lnTo>
                    <a:pt x="102" y="70"/>
                  </a:lnTo>
                  <a:lnTo>
                    <a:pt x="100" y="70"/>
                  </a:lnTo>
                  <a:lnTo>
                    <a:pt x="100" y="74"/>
                  </a:lnTo>
                  <a:lnTo>
                    <a:pt x="100" y="76"/>
                  </a:lnTo>
                  <a:lnTo>
                    <a:pt x="94" y="76"/>
                  </a:lnTo>
                  <a:lnTo>
                    <a:pt x="96" y="74"/>
                  </a:lnTo>
                  <a:lnTo>
                    <a:pt x="96" y="70"/>
                  </a:lnTo>
                  <a:lnTo>
                    <a:pt x="96" y="68"/>
                  </a:lnTo>
                  <a:lnTo>
                    <a:pt x="94" y="68"/>
                  </a:lnTo>
                  <a:lnTo>
                    <a:pt x="90" y="68"/>
                  </a:lnTo>
                  <a:lnTo>
                    <a:pt x="86" y="66"/>
                  </a:lnTo>
                  <a:lnTo>
                    <a:pt x="84" y="62"/>
                  </a:lnTo>
                  <a:lnTo>
                    <a:pt x="82" y="60"/>
                  </a:lnTo>
                  <a:lnTo>
                    <a:pt x="78" y="58"/>
                  </a:lnTo>
                  <a:lnTo>
                    <a:pt x="74" y="56"/>
                  </a:lnTo>
                  <a:lnTo>
                    <a:pt x="72" y="56"/>
                  </a:lnTo>
                  <a:lnTo>
                    <a:pt x="72" y="54"/>
                  </a:lnTo>
                  <a:lnTo>
                    <a:pt x="72" y="52"/>
                  </a:lnTo>
                  <a:lnTo>
                    <a:pt x="68" y="48"/>
                  </a:lnTo>
                  <a:lnTo>
                    <a:pt x="66" y="48"/>
                  </a:lnTo>
                  <a:lnTo>
                    <a:pt x="64" y="50"/>
                  </a:lnTo>
                  <a:lnTo>
                    <a:pt x="66" y="50"/>
                  </a:lnTo>
                  <a:lnTo>
                    <a:pt x="60" y="52"/>
                  </a:lnTo>
                  <a:lnTo>
                    <a:pt x="60" y="48"/>
                  </a:lnTo>
                  <a:lnTo>
                    <a:pt x="50" y="50"/>
                  </a:lnTo>
                  <a:lnTo>
                    <a:pt x="52" y="52"/>
                  </a:lnTo>
                  <a:lnTo>
                    <a:pt x="52" y="54"/>
                  </a:lnTo>
                  <a:lnTo>
                    <a:pt x="42" y="62"/>
                  </a:lnTo>
                  <a:lnTo>
                    <a:pt x="40" y="64"/>
                  </a:lnTo>
                  <a:lnTo>
                    <a:pt x="34" y="62"/>
                  </a:lnTo>
                  <a:lnTo>
                    <a:pt x="32" y="62"/>
                  </a:lnTo>
                  <a:lnTo>
                    <a:pt x="32" y="64"/>
                  </a:lnTo>
                  <a:lnTo>
                    <a:pt x="28" y="66"/>
                  </a:lnTo>
                  <a:lnTo>
                    <a:pt x="28" y="68"/>
                  </a:lnTo>
                  <a:lnTo>
                    <a:pt x="26" y="70"/>
                  </a:lnTo>
                  <a:lnTo>
                    <a:pt x="26" y="74"/>
                  </a:lnTo>
                  <a:lnTo>
                    <a:pt x="26" y="76"/>
                  </a:lnTo>
                  <a:lnTo>
                    <a:pt x="28" y="78"/>
                  </a:lnTo>
                  <a:lnTo>
                    <a:pt x="32" y="80"/>
                  </a:lnTo>
                  <a:lnTo>
                    <a:pt x="24" y="86"/>
                  </a:lnTo>
                  <a:lnTo>
                    <a:pt x="20" y="76"/>
                  </a:lnTo>
                  <a:lnTo>
                    <a:pt x="18" y="76"/>
                  </a:lnTo>
                  <a:lnTo>
                    <a:pt x="16" y="78"/>
                  </a:lnTo>
                  <a:lnTo>
                    <a:pt x="14" y="80"/>
                  </a:lnTo>
                  <a:lnTo>
                    <a:pt x="12" y="82"/>
                  </a:lnTo>
                  <a:lnTo>
                    <a:pt x="10" y="82"/>
                  </a:lnTo>
                  <a:lnTo>
                    <a:pt x="10" y="84"/>
                  </a:lnTo>
                  <a:lnTo>
                    <a:pt x="8" y="84"/>
                  </a:lnTo>
                  <a:lnTo>
                    <a:pt x="10" y="88"/>
                  </a:lnTo>
                  <a:lnTo>
                    <a:pt x="8" y="92"/>
                  </a:lnTo>
                  <a:lnTo>
                    <a:pt x="6" y="94"/>
                  </a:lnTo>
                  <a:lnTo>
                    <a:pt x="6" y="96"/>
                  </a:lnTo>
                  <a:lnTo>
                    <a:pt x="8" y="98"/>
                  </a:lnTo>
                  <a:lnTo>
                    <a:pt x="8" y="100"/>
                  </a:lnTo>
                  <a:lnTo>
                    <a:pt x="6" y="102"/>
                  </a:lnTo>
                  <a:lnTo>
                    <a:pt x="2" y="110"/>
                  </a:lnTo>
                  <a:lnTo>
                    <a:pt x="0" y="112"/>
                  </a:lnTo>
                  <a:lnTo>
                    <a:pt x="2" y="112"/>
                  </a:lnTo>
                  <a:lnTo>
                    <a:pt x="6" y="116"/>
                  </a:lnTo>
                  <a:lnTo>
                    <a:pt x="8" y="116"/>
                  </a:lnTo>
                  <a:lnTo>
                    <a:pt x="8" y="120"/>
                  </a:lnTo>
                  <a:lnTo>
                    <a:pt x="8" y="124"/>
                  </a:lnTo>
                  <a:lnTo>
                    <a:pt x="8" y="126"/>
                  </a:lnTo>
                  <a:lnTo>
                    <a:pt x="10" y="126"/>
                  </a:lnTo>
                  <a:lnTo>
                    <a:pt x="14" y="124"/>
                  </a:lnTo>
                  <a:lnTo>
                    <a:pt x="18" y="134"/>
                  </a:lnTo>
                  <a:lnTo>
                    <a:pt x="18" y="136"/>
                  </a:lnTo>
                  <a:lnTo>
                    <a:pt x="18" y="140"/>
                  </a:lnTo>
                  <a:lnTo>
                    <a:pt x="18" y="142"/>
                  </a:lnTo>
                  <a:lnTo>
                    <a:pt x="18" y="144"/>
                  </a:lnTo>
                  <a:lnTo>
                    <a:pt x="20" y="148"/>
                  </a:lnTo>
                  <a:lnTo>
                    <a:pt x="22" y="148"/>
                  </a:lnTo>
                  <a:lnTo>
                    <a:pt x="24" y="148"/>
                  </a:lnTo>
                  <a:lnTo>
                    <a:pt x="26" y="150"/>
                  </a:lnTo>
                  <a:lnTo>
                    <a:pt x="32" y="144"/>
                  </a:lnTo>
                  <a:lnTo>
                    <a:pt x="34" y="144"/>
                  </a:lnTo>
                  <a:lnTo>
                    <a:pt x="34" y="146"/>
                  </a:lnTo>
                  <a:lnTo>
                    <a:pt x="36" y="146"/>
                  </a:lnTo>
                  <a:lnTo>
                    <a:pt x="40" y="144"/>
                  </a:lnTo>
                  <a:lnTo>
                    <a:pt x="42" y="140"/>
                  </a:lnTo>
                  <a:lnTo>
                    <a:pt x="46" y="134"/>
                  </a:lnTo>
                  <a:lnTo>
                    <a:pt x="54" y="136"/>
                  </a:lnTo>
                  <a:lnTo>
                    <a:pt x="54" y="140"/>
                  </a:lnTo>
                  <a:lnTo>
                    <a:pt x="64" y="142"/>
                  </a:lnTo>
                  <a:lnTo>
                    <a:pt x="68" y="144"/>
                  </a:lnTo>
                  <a:lnTo>
                    <a:pt x="72" y="146"/>
                  </a:lnTo>
                  <a:lnTo>
                    <a:pt x="72" y="148"/>
                  </a:lnTo>
                  <a:lnTo>
                    <a:pt x="72" y="150"/>
                  </a:lnTo>
                  <a:lnTo>
                    <a:pt x="78" y="150"/>
                  </a:lnTo>
                  <a:lnTo>
                    <a:pt x="80" y="154"/>
                  </a:lnTo>
                  <a:lnTo>
                    <a:pt x="80" y="156"/>
                  </a:lnTo>
                  <a:lnTo>
                    <a:pt x="80" y="162"/>
                  </a:lnTo>
                  <a:lnTo>
                    <a:pt x="86" y="166"/>
                  </a:lnTo>
                  <a:lnTo>
                    <a:pt x="86" y="170"/>
                  </a:lnTo>
                  <a:lnTo>
                    <a:pt x="84" y="174"/>
                  </a:lnTo>
                  <a:lnTo>
                    <a:pt x="78" y="176"/>
                  </a:lnTo>
                  <a:lnTo>
                    <a:pt x="74" y="176"/>
                  </a:lnTo>
                  <a:lnTo>
                    <a:pt x="76" y="176"/>
                  </a:lnTo>
                  <a:lnTo>
                    <a:pt x="76" y="174"/>
                  </a:lnTo>
                  <a:lnTo>
                    <a:pt x="72" y="174"/>
                  </a:lnTo>
                  <a:lnTo>
                    <a:pt x="72" y="172"/>
                  </a:lnTo>
                  <a:lnTo>
                    <a:pt x="66" y="172"/>
                  </a:lnTo>
                  <a:lnTo>
                    <a:pt x="64" y="170"/>
                  </a:lnTo>
                  <a:lnTo>
                    <a:pt x="62" y="168"/>
                  </a:lnTo>
                  <a:lnTo>
                    <a:pt x="58" y="168"/>
                  </a:lnTo>
                  <a:lnTo>
                    <a:pt x="58" y="170"/>
                  </a:lnTo>
                  <a:lnTo>
                    <a:pt x="58" y="176"/>
                  </a:lnTo>
                  <a:lnTo>
                    <a:pt x="46" y="176"/>
                  </a:lnTo>
                  <a:lnTo>
                    <a:pt x="48" y="178"/>
                  </a:lnTo>
                  <a:lnTo>
                    <a:pt x="48" y="182"/>
                  </a:lnTo>
                  <a:lnTo>
                    <a:pt x="52" y="182"/>
                  </a:lnTo>
                  <a:lnTo>
                    <a:pt x="52" y="184"/>
                  </a:lnTo>
                  <a:lnTo>
                    <a:pt x="54" y="186"/>
                  </a:lnTo>
                  <a:lnTo>
                    <a:pt x="40" y="184"/>
                  </a:lnTo>
                  <a:lnTo>
                    <a:pt x="40" y="188"/>
                  </a:lnTo>
                  <a:lnTo>
                    <a:pt x="46" y="192"/>
                  </a:lnTo>
                  <a:lnTo>
                    <a:pt x="48" y="196"/>
                  </a:lnTo>
                  <a:lnTo>
                    <a:pt x="50" y="202"/>
                  </a:lnTo>
                  <a:lnTo>
                    <a:pt x="58" y="208"/>
                  </a:lnTo>
                  <a:lnTo>
                    <a:pt x="62" y="208"/>
                  </a:lnTo>
                  <a:lnTo>
                    <a:pt x="66" y="208"/>
                  </a:lnTo>
                  <a:lnTo>
                    <a:pt x="64" y="216"/>
                  </a:lnTo>
                  <a:lnTo>
                    <a:pt x="64" y="220"/>
                  </a:lnTo>
                  <a:lnTo>
                    <a:pt x="66" y="218"/>
                  </a:lnTo>
                  <a:lnTo>
                    <a:pt x="70" y="214"/>
                  </a:lnTo>
                  <a:lnTo>
                    <a:pt x="76" y="212"/>
                  </a:lnTo>
                  <a:lnTo>
                    <a:pt x="84" y="214"/>
                  </a:lnTo>
                  <a:lnTo>
                    <a:pt x="88" y="218"/>
                  </a:lnTo>
                  <a:lnTo>
                    <a:pt x="92" y="224"/>
                  </a:lnTo>
                  <a:lnTo>
                    <a:pt x="98" y="224"/>
                  </a:lnTo>
                  <a:lnTo>
                    <a:pt x="102" y="224"/>
                  </a:lnTo>
                  <a:lnTo>
                    <a:pt x="104" y="170"/>
                  </a:lnTo>
                  <a:lnTo>
                    <a:pt x="110" y="168"/>
                  </a:lnTo>
                  <a:lnTo>
                    <a:pt x="116" y="166"/>
                  </a:lnTo>
                  <a:lnTo>
                    <a:pt x="120" y="164"/>
                  </a:lnTo>
                  <a:lnTo>
                    <a:pt x="126" y="164"/>
                  </a:lnTo>
                  <a:lnTo>
                    <a:pt x="130" y="164"/>
                  </a:lnTo>
                  <a:close/>
                  <a:moveTo>
                    <a:pt x="70" y="180"/>
                  </a:moveTo>
                  <a:lnTo>
                    <a:pt x="70" y="180"/>
                  </a:lnTo>
                  <a:lnTo>
                    <a:pt x="70" y="184"/>
                  </a:lnTo>
                  <a:lnTo>
                    <a:pt x="68" y="188"/>
                  </a:lnTo>
                  <a:lnTo>
                    <a:pt x="64" y="186"/>
                  </a:lnTo>
                  <a:lnTo>
                    <a:pt x="62" y="184"/>
                  </a:lnTo>
                  <a:lnTo>
                    <a:pt x="68" y="184"/>
                  </a:lnTo>
                  <a:lnTo>
                    <a:pt x="68" y="182"/>
                  </a:lnTo>
                  <a:lnTo>
                    <a:pt x="70" y="180"/>
                  </a:lnTo>
                  <a:close/>
                  <a:moveTo>
                    <a:pt x="368" y="130"/>
                  </a:moveTo>
                  <a:lnTo>
                    <a:pt x="368" y="130"/>
                  </a:lnTo>
                  <a:lnTo>
                    <a:pt x="372" y="130"/>
                  </a:lnTo>
                  <a:lnTo>
                    <a:pt x="372" y="132"/>
                  </a:lnTo>
                  <a:lnTo>
                    <a:pt x="372" y="136"/>
                  </a:lnTo>
                  <a:lnTo>
                    <a:pt x="370" y="138"/>
                  </a:lnTo>
                  <a:lnTo>
                    <a:pt x="370" y="140"/>
                  </a:lnTo>
                  <a:lnTo>
                    <a:pt x="362" y="140"/>
                  </a:lnTo>
                  <a:lnTo>
                    <a:pt x="362" y="144"/>
                  </a:lnTo>
                  <a:lnTo>
                    <a:pt x="344" y="144"/>
                  </a:lnTo>
                  <a:lnTo>
                    <a:pt x="338" y="142"/>
                  </a:lnTo>
                  <a:lnTo>
                    <a:pt x="332" y="140"/>
                  </a:lnTo>
                  <a:lnTo>
                    <a:pt x="332" y="146"/>
                  </a:lnTo>
                  <a:lnTo>
                    <a:pt x="324" y="148"/>
                  </a:lnTo>
                  <a:lnTo>
                    <a:pt x="318" y="150"/>
                  </a:lnTo>
                  <a:lnTo>
                    <a:pt x="318" y="152"/>
                  </a:lnTo>
                  <a:lnTo>
                    <a:pt x="318" y="154"/>
                  </a:lnTo>
                  <a:lnTo>
                    <a:pt x="312" y="156"/>
                  </a:lnTo>
                  <a:lnTo>
                    <a:pt x="308" y="156"/>
                  </a:lnTo>
                  <a:lnTo>
                    <a:pt x="308" y="160"/>
                  </a:lnTo>
                  <a:lnTo>
                    <a:pt x="304" y="164"/>
                  </a:lnTo>
                  <a:lnTo>
                    <a:pt x="302" y="168"/>
                  </a:lnTo>
                  <a:lnTo>
                    <a:pt x="300" y="168"/>
                  </a:lnTo>
                  <a:lnTo>
                    <a:pt x="300" y="170"/>
                  </a:lnTo>
                  <a:lnTo>
                    <a:pt x="302" y="172"/>
                  </a:lnTo>
                  <a:lnTo>
                    <a:pt x="304" y="172"/>
                  </a:lnTo>
                  <a:lnTo>
                    <a:pt x="304" y="174"/>
                  </a:lnTo>
                  <a:lnTo>
                    <a:pt x="304" y="176"/>
                  </a:lnTo>
                  <a:lnTo>
                    <a:pt x="300" y="174"/>
                  </a:lnTo>
                  <a:lnTo>
                    <a:pt x="298" y="172"/>
                  </a:lnTo>
                  <a:lnTo>
                    <a:pt x="298" y="168"/>
                  </a:lnTo>
                  <a:lnTo>
                    <a:pt x="298" y="164"/>
                  </a:lnTo>
                  <a:lnTo>
                    <a:pt x="292" y="164"/>
                  </a:lnTo>
                  <a:lnTo>
                    <a:pt x="302" y="150"/>
                  </a:lnTo>
                  <a:lnTo>
                    <a:pt x="304" y="148"/>
                  </a:lnTo>
                  <a:lnTo>
                    <a:pt x="306" y="150"/>
                  </a:lnTo>
                  <a:lnTo>
                    <a:pt x="310" y="144"/>
                  </a:lnTo>
                  <a:lnTo>
                    <a:pt x="312" y="140"/>
                  </a:lnTo>
                  <a:lnTo>
                    <a:pt x="316" y="138"/>
                  </a:lnTo>
                  <a:lnTo>
                    <a:pt x="326" y="136"/>
                  </a:lnTo>
                  <a:lnTo>
                    <a:pt x="334" y="138"/>
                  </a:lnTo>
                  <a:lnTo>
                    <a:pt x="342" y="140"/>
                  </a:lnTo>
                  <a:lnTo>
                    <a:pt x="350" y="140"/>
                  </a:lnTo>
                  <a:lnTo>
                    <a:pt x="352" y="136"/>
                  </a:lnTo>
                  <a:lnTo>
                    <a:pt x="354" y="138"/>
                  </a:lnTo>
                  <a:lnTo>
                    <a:pt x="356" y="138"/>
                  </a:lnTo>
                  <a:lnTo>
                    <a:pt x="358" y="138"/>
                  </a:lnTo>
                  <a:lnTo>
                    <a:pt x="360" y="136"/>
                  </a:lnTo>
                  <a:lnTo>
                    <a:pt x="362" y="134"/>
                  </a:lnTo>
                  <a:lnTo>
                    <a:pt x="364" y="132"/>
                  </a:lnTo>
                  <a:lnTo>
                    <a:pt x="368" y="1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0" name="Freeform 602">
              <a:extLst>
                <a:ext uri="{FF2B5EF4-FFF2-40B4-BE49-F238E27FC236}">
                  <a16:creationId xmlns:a16="http://schemas.microsoft.com/office/drawing/2014/main" id="{24DBDE12-F0A9-4659-97FA-9E9CCD4E5483}"/>
                </a:ext>
              </a:extLst>
            </p:cNvPr>
            <p:cNvSpPr>
              <a:spLocks/>
            </p:cNvSpPr>
            <p:nvPr/>
          </p:nvSpPr>
          <p:spPr bwMode="gray">
            <a:xfrm>
              <a:off x="5115951" y="3410710"/>
              <a:ext cx="98876" cy="110651"/>
            </a:xfrm>
            <a:custGeom>
              <a:avLst/>
              <a:gdLst>
                <a:gd name="T0" fmla="*/ 2147483647 w 54"/>
                <a:gd name="T1" fmla="*/ 2147483647 h 60"/>
                <a:gd name="T2" fmla="*/ 2147483647 w 54"/>
                <a:gd name="T3" fmla="*/ 2147483647 h 60"/>
                <a:gd name="T4" fmla="*/ 2147483647 w 54"/>
                <a:gd name="T5" fmla="*/ 2147483647 h 60"/>
                <a:gd name="T6" fmla="*/ 2147483647 w 54"/>
                <a:gd name="T7" fmla="*/ 2147483647 h 60"/>
                <a:gd name="T8" fmla="*/ 2147483647 w 54"/>
                <a:gd name="T9" fmla="*/ 2147483647 h 60"/>
                <a:gd name="T10" fmla="*/ 2147483647 w 54"/>
                <a:gd name="T11" fmla="*/ 2147483647 h 60"/>
                <a:gd name="T12" fmla="*/ 2147483647 w 54"/>
                <a:gd name="T13" fmla="*/ 2147483647 h 60"/>
                <a:gd name="T14" fmla="*/ 2147483647 w 54"/>
                <a:gd name="T15" fmla="*/ 2147483647 h 60"/>
                <a:gd name="T16" fmla="*/ 2147483647 w 54"/>
                <a:gd name="T17" fmla="*/ 2147483647 h 60"/>
                <a:gd name="T18" fmla="*/ 2147483647 w 54"/>
                <a:gd name="T19" fmla="*/ 2147483647 h 60"/>
                <a:gd name="T20" fmla="*/ 2147483647 w 54"/>
                <a:gd name="T21" fmla="*/ 2147483647 h 60"/>
                <a:gd name="T22" fmla="*/ 2147483647 w 54"/>
                <a:gd name="T23" fmla="*/ 2147483647 h 60"/>
                <a:gd name="T24" fmla="*/ 2147483647 w 54"/>
                <a:gd name="T25" fmla="*/ 0 h 60"/>
                <a:gd name="T26" fmla="*/ 2147483647 w 54"/>
                <a:gd name="T27" fmla="*/ 2147483647 h 60"/>
                <a:gd name="T28" fmla="*/ 2147483647 w 54"/>
                <a:gd name="T29" fmla="*/ 2147483647 h 60"/>
                <a:gd name="T30" fmla="*/ 2147483647 w 54"/>
                <a:gd name="T31" fmla="*/ 2147483647 h 60"/>
                <a:gd name="T32" fmla="*/ 2147483647 w 54"/>
                <a:gd name="T33" fmla="*/ 2147483647 h 60"/>
                <a:gd name="T34" fmla="*/ 2147483647 w 54"/>
                <a:gd name="T35" fmla="*/ 2147483647 h 60"/>
                <a:gd name="T36" fmla="*/ 2147483647 w 54"/>
                <a:gd name="T37" fmla="*/ 2147483647 h 60"/>
                <a:gd name="T38" fmla="*/ 2147483647 w 54"/>
                <a:gd name="T39" fmla="*/ 2147483647 h 60"/>
                <a:gd name="T40" fmla="*/ 2147483647 w 54"/>
                <a:gd name="T41" fmla="*/ 2147483647 h 60"/>
                <a:gd name="T42" fmla="*/ 2147483647 w 54"/>
                <a:gd name="T43" fmla="*/ 2147483647 h 60"/>
                <a:gd name="T44" fmla="*/ 2147483647 w 54"/>
                <a:gd name="T45" fmla="*/ 2147483647 h 60"/>
                <a:gd name="T46" fmla="*/ 2147483647 w 54"/>
                <a:gd name="T47" fmla="*/ 2147483647 h 60"/>
                <a:gd name="T48" fmla="*/ 2147483647 w 54"/>
                <a:gd name="T49" fmla="*/ 2147483647 h 60"/>
                <a:gd name="T50" fmla="*/ 2147483647 w 54"/>
                <a:gd name="T51" fmla="*/ 2147483647 h 60"/>
                <a:gd name="T52" fmla="*/ 2147483647 w 54"/>
                <a:gd name="T53" fmla="*/ 2147483647 h 60"/>
                <a:gd name="T54" fmla="*/ 0 w 54"/>
                <a:gd name="T55" fmla="*/ 2147483647 h 60"/>
                <a:gd name="T56" fmla="*/ 0 w 54"/>
                <a:gd name="T57" fmla="*/ 2147483647 h 60"/>
                <a:gd name="T58" fmla="*/ 2147483647 w 54"/>
                <a:gd name="T59" fmla="*/ 2147483647 h 60"/>
                <a:gd name="T60" fmla="*/ 2147483647 w 54"/>
                <a:gd name="T61" fmla="*/ 2147483647 h 60"/>
                <a:gd name="T62" fmla="*/ 2147483647 w 54"/>
                <a:gd name="T63" fmla="*/ 2147483647 h 60"/>
                <a:gd name="T64" fmla="*/ 2147483647 w 54"/>
                <a:gd name="T65" fmla="*/ 2147483647 h 60"/>
                <a:gd name="T66" fmla="*/ 2147483647 w 54"/>
                <a:gd name="T67" fmla="*/ 2147483647 h 60"/>
                <a:gd name="T68" fmla="*/ 2147483647 w 54"/>
                <a:gd name="T69" fmla="*/ 2147483647 h 60"/>
                <a:gd name="T70" fmla="*/ 2147483647 w 54"/>
                <a:gd name="T71" fmla="*/ 2147483647 h 60"/>
                <a:gd name="T72" fmla="*/ 2147483647 w 54"/>
                <a:gd name="T73" fmla="*/ 2147483647 h 60"/>
                <a:gd name="T74" fmla="*/ 2147483647 w 54"/>
                <a:gd name="T75" fmla="*/ 2147483647 h 60"/>
                <a:gd name="T76" fmla="*/ 2147483647 w 54"/>
                <a:gd name="T77" fmla="*/ 2147483647 h 60"/>
                <a:gd name="T78" fmla="*/ 2147483647 w 54"/>
                <a:gd name="T79" fmla="*/ 2147483647 h 60"/>
                <a:gd name="T80" fmla="*/ 2147483647 w 54"/>
                <a:gd name="T81" fmla="*/ 2147483647 h 60"/>
                <a:gd name="T82" fmla="*/ 2147483647 w 54"/>
                <a:gd name="T83" fmla="*/ 2147483647 h 60"/>
                <a:gd name="T84" fmla="*/ 2147483647 w 54"/>
                <a:gd name="T85" fmla="*/ 2147483647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
                <a:gd name="T130" fmla="*/ 0 h 60"/>
                <a:gd name="T131" fmla="*/ 54 w 54"/>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 h="60">
                  <a:moveTo>
                    <a:pt x="12" y="20"/>
                  </a:moveTo>
                  <a:lnTo>
                    <a:pt x="12" y="20"/>
                  </a:lnTo>
                  <a:lnTo>
                    <a:pt x="14" y="16"/>
                  </a:lnTo>
                  <a:lnTo>
                    <a:pt x="14" y="12"/>
                  </a:lnTo>
                  <a:lnTo>
                    <a:pt x="18" y="12"/>
                  </a:lnTo>
                  <a:lnTo>
                    <a:pt x="20" y="10"/>
                  </a:lnTo>
                  <a:lnTo>
                    <a:pt x="22" y="10"/>
                  </a:lnTo>
                  <a:lnTo>
                    <a:pt x="26" y="12"/>
                  </a:lnTo>
                  <a:lnTo>
                    <a:pt x="30" y="12"/>
                  </a:lnTo>
                  <a:lnTo>
                    <a:pt x="48" y="0"/>
                  </a:lnTo>
                  <a:lnTo>
                    <a:pt x="54" y="20"/>
                  </a:lnTo>
                  <a:lnTo>
                    <a:pt x="54" y="22"/>
                  </a:lnTo>
                  <a:lnTo>
                    <a:pt x="32" y="28"/>
                  </a:lnTo>
                  <a:lnTo>
                    <a:pt x="38" y="40"/>
                  </a:lnTo>
                  <a:lnTo>
                    <a:pt x="36" y="42"/>
                  </a:lnTo>
                  <a:lnTo>
                    <a:pt x="32" y="46"/>
                  </a:lnTo>
                  <a:lnTo>
                    <a:pt x="30" y="48"/>
                  </a:lnTo>
                  <a:lnTo>
                    <a:pt x="28" y="50"/>
                  </a:lnTo>
                  <a:lnTo>
                    <a:pt x="26" y="54"/>
                  </a:lnTo>
                  <a:lnTo>
                    <a:pt x="24" y="54"/>
                  </a:lnTo>
                  <a:lnTo>
                    <a:pt x="12" y="60"/>
                  </a:lnTo>
                  <a:lnTo>
                    <a:pt x="0" y="58"/>
                  </a:lnTo>
                  <a:lnTo>
                    <a:pt x="0" y="56"/>
                  </a:lnTo>
                  <a:lnTo>
                    <a:pt x="4" y="52"/>
                  </a:lnTo>
                  <a:lnTo>
                    <a:pt x="6" y="48"/>
                  </a:lnTo>
                  <a:lnTo>
                    <a:pt x="10" y="44"/>
                  </a:lnTo>
                  <a:lnTo>
                    <a:pt x="10" y="42"/>
                  </a:lnTo>
                  <a:lnTo>
                    <a:pt x="10" y="36"/>
                  </a:lnTo>
                  <a:lnTo>
                    <a:pt x="12" y="32"/>
                  </a:lnTo>
                  <a:lnTo>
                    <a:pt x="12" y="28"/>
                  </a:lnTo>
                  <a:lnTo>
                    <a:pt x="12" y="22"/>
                  </a:lnTo>
                  <a:lnTo>
                    <a:pt x="12" y="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1" name="Freeform 603">
              <a:extLst>
                <a:ext uri="{FF2B5EF4-FFF2-40B4-BE49-F238E27FC236}">
                  <a16:creationId xmlns:a16="http://schemas.microsoft.com/office/drawing/2014/main" id="{00F0E833-5555-4AAF-8666-C70B0C4B6375}"/>
                </a:ext>
              </a:extLst>
            </p:cNvPr>
            <p:cNvSpPr>
              <a:spLocks noEditPoints="1"/>
            </p:cNvSpPr>
            <p:nvPr/>
          </p:nvSpPr>
          <p:spPr bwMode="gray">
            <a:xfrm>
              <a:off x="7044027" y="3045798"/>
              <a:ext cx="386086" cy="553257"/>
            </a:xfrm>
            <a:custGeom>
              <a:avLst/>
              <a:gdLst>
                <a:gd name="T0" fmla="*/ 2147483647 w 208"/>
                <a:gd name="T1" fmla="*/ 2147483647 h 298"/>
                <a:gd name="T2" fmla="*/ 2147483647 w 208"/>
                <a:gd name="T3" fmla="*/ 2147483647 h 298"/>
                <a:gd name="T4" fmla="*/ 2147483647 w 208"/>
                <a:gd name="T5" fmla="*/ 2147483647 h 298"/>
                <a:gd name="T6" fmla="*/ 2147483647 w 208"/>
                <a:gd name="T7" fmla="*/ 2147483647 h 298"/>
                <a:gd name="T8" fmla="*/ 2147483647 w 208"/>
                <a:gd name="T9" fmla="*/ 2147483647 h 298"/>
                <a:gd name="T10" fmla="*/ 2147483647 w 208"/>
                <a:gd name="T11" fmla="*/ 2147483647 h 298"/>
                <a:gd name="T12" fmla="*/ 2147483647 w 208"/>
                <a:gd name="T13" fmla="*/ 2147483647 h 298"/>
                <a:gd name="T14" fmla="*/ 2147483647 w 208"/>
                <a:gd name="T15" fmla="*/ 2147483647 h 298"/>
                <a:gd name="T16" fmla="*/ 2147483647 w 208"/>
                <a:gd name="T17" fmla="*/ 2147483647 h 298"/>
                <a:gd name="T18" fmla="*/ 2147483647 w 208"/>
                <a:gd name="T19" fmla="*/ 2147483647 h 298"/>
                <a:gd name="T20" fmla="*/ 2147483647 w 208"/>
                <a:gd name="T21" fmla="*/ 2147483647 h 298"/>
                <a:gd name="T22" fmla="*/ 2147483647 w 208"/>
                <a:gd name="T23" fmla="*/ 2147483647 h 298"/>
                <a:gd name="T24" fmla="*/ 2147483647 w 208"/>
                <a:gd name="T25" fmla="*/ 2147483647 h 298"/>
                <a:gd name="T26" fmla="*/ 2147483647 w 208"/>
                <a:gd name="T27" fmla="*/ 2147483647 h 298"/>
                <a:gd name="T28" fmla="*/ 2147483647 w 208"/>
                <a:gd name="T29" fmla="*/ 2147483647 h 298"/>
                <a:gd name="T30" fmla="*/ 2147483647 w 208"/>
                <a:gd name="T31" fmla="*/ 2147483647 h 298"/>
                <a:gd name="T32" fmla="*/ 2147483647 w 208"/>
                <a:gd name="T33" fmla="*/ 2147483647 h 298"/>
                <a:gd name="T34" fmla="*/ 2147483647 w 208"/>
                <a:gd name="T35" fmla="*/ 2147483647 h 298"/>
                <a:gd name="T36" fmla="*/ 2147483647 w 208"/>
                <a:gd name="T37" fmla="*/ 2147483647 h 298"/>
                <a:gd name="T38" fmla="*/ 2147483647 w 208"/>
                <a:gd name="T39" fmla="*/ 2147483647 h 298"/>
                <a:gd name="T40" fmla="*/ 2147483647 w 208"/>
                <a:gd name="T41" fmla="*/ 2147483647 h 298"/>
                <a:gd name="T42" fmla="*/ 2147483647 w 208"/>
                <a:gd name="T43" fmla="*/ 2147483647 h 298"/>
                <a:gd name="T44" fmla="*/ 2147483647 w 208"/>
                <a:gd name="T45" fmla="*/ 2147483647 h 298"/>
                <a:gd name="T46" fmla="*/ 2147483647 w 208"/>
                <a:gd name="T47" fmla="*/ 2147483647 h 298"/>
                <a:gd name="T48" fmla="*/ 2147483647 w 208"/>
                <a:gd name="T49" fmla="*/ 2147483647 h 298"/>
                <a:gd name="T50" fmla="*/ 2147483647 w 208"/>
                <a:gd name="T51" fmla="*/ 2147483647 h 298"/>
                <a:gd name="T52" fmla="*/ 2147483647 w 208"/>
                <a:gd name="T53" fmla="*/ 2147483647 h 298"/>
                <a:gd name="T54" fmla="*/ 2147483647 w 208"/>
                <a:gd name="T55" fmla="*/ 2147483647 h 298"/>
                <a:gd name="T56" fmla="*/ 2147483647 w 208"/>
                <a:gd name="T57" fmla="*/ 2147483647 h 298"/>
                <a:gd name="T58" fmla="*/ 2147483647 w 208"/>
                <a:gd name="T59" fmla="*/ 2147483647 h 298"/>
                <a:gd name="T60" fmla="*/ 2147483647 w 208"/>
                <a:gd name="T61" fmla="*/ 2147483647 h 298"/>
                <a:gd name="T62" fmla="*/ 2147483647 w 208"/>
                <a:gd name="T63" fmla="*/ 2147483647 h 298"/>
                <a:gd name="T64" fmla="*/ 2147483647 w 208"/>
                <a:gd name="T65" fmla="*/ 2147483647 h 298"/>
                <a:gd name="T66" fmla="*/ 2147483647 w 208"/>
                <a:gd name="T67" fmla="*/ 2147483647 h 298"/>
                <a:gd name="T68" fmla="*/ 2147483647 w 208"/>
                <a:gd name="T69" fmla="*/ 2147483647 h 298"/>
                <a:gd name="T70" fmla="*/ 2147483647 w 208"/>
                <a:gd name="T71" fmla="*/ 2147483647 h 298"/>
                <a:gd name="T72" fmla="*/ 2147483647 w 208"/>
                <a:gd name="T73" fmla="*/ 2147483647 h 298"/>
                <a:gd name="T74" fmla="*/ 2147483647 w 208"/>
                <a:gd name="T75" fmla="*/ 2147483647 h 298"/>
                <a:gd name="T76" fmla="*/ 2147483647 w 208"/>
                <a:gd name="T77" fmla="*/ 2147483647 h 298"/>
                <a:gd name="T78" fmla="*/ 2147483647 w 208"/>
                <a:gd name="T79" fmla="*/ 2147483647 h 298"/>
                <a:gd name="T80" fmla="*/ 2147483647 w 208"/>
                <a:gd name="T81" fmla="*/ 2147483647 h 298"/>
                <a:gd name="T82" fmla="*/ 2147483647 w 208"/>
                <a:gd name="T83" fmla="*/ 2147483647 h 298"/>
                <a:gd name="T84" fmla="*/ 2147483647 w 208"/>
                <a:gd name="T85" fmla="*/ 2147483647 h 298"/>
                <a:gd name="T86" fmla="*/ 2147483647 w 208"/>
                <a:gd name="T87" fmla="*/ 0 h 298"/>
                <a:gd name="T88" fmla="*/ 2147483647 w 208"/>
                <a:gd name="T89" fmla="*/ 2147483647 h 298"/>
                <a:gd name="T90" fmla="*/ 2147483647 w 208"/>
                <a:gd name="T91" fmla="*/ 2147483647 h 298"/>
                <a:gd name="T92" fmla="*/ 2147483647 w 208"/>
                <a:gd name="T93" fmla="*/ 2147483647 h 298"/>
                <a:gd name="T94" fmla="*/ 2147483647 w 208"/>
                <a:gd name="T95" fmla="*/ 2147483647 h 298"/>
                <a:gd name="T96" fmla="*/ 2147483647 w 208"/>
                <a:gd name="T97" fmla="*/ 2147483647 h 298"/>
                <a:gd name="T98" fmla="*/ 2147483647 w 208"/>
                <a:gd name="T99" fmla="*/ 2147483647 h 298"/>
                <a:gd name="T100" fmla="*/ 2147483647 w 208"/>
                <a:gd name="T101" fmla="*/ 2147483647 h 298"/>
                <a:gd name="T102" fmla="*/ 2147483647 w 208"/>
                <a:gd name="T103" fmla="*/ 2147483647 h 298"/>
                <a:gd name="T104" fmla="*/ 2147483647 w 208"/>
                <a:gd name="T105" fmla="*/ 2147483647 h 298"/>
                <a:gd name="T106" fmla="*/ 2147483647 w 208"/>
                <a:gd name="T107" fmla="*/ 2147483647 h 298"/>
                <a:gd name="T108" fmla="*/ 2147483647 w 208"/>
                <a:gd name="T109" fmla="*/ 2147483647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8"/>
                <a:gd name="T166" fmla="*/ 0 h 298"/>
                <a:gd name="T167" fmla="*/ 208 w 208"/>
                <a:gd name="T168" fmla="*/ 298 h 2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8" h="298">
                  <a:moveTo>
                    <a:pt x="10" y="292"/>
                  </a:moveTo>
                  <a:lnTo>
                    <a:pt x="10" y="292"/>
                  </a:lnTo>
                  <a:lnTo>
                    <a:pt x="8" y="296"/>
                  </a:lnTo>
                  <a:lnTo>
                    <a:pt x="8" y="298"/>
                  </a:lnTo>
                  <a:lnTo>
                    <a:pt x="10" y="298"/>
                  </a:lnTo>
                  <a:lnTo>
                    <a:pt x="12" y="294"/>
                  </a:lnTo>
                  <a:lnTo>
                    <a:pt x="12" y="292"/>
                  </a:lnTo>
                  <a:lnTo>
                    <a:pt x="10" y="292"/>
                  </a:lnTo>
                  <a:close/>
                  <a:moveTo>
                    <a:pt x="0" y="288"/>
                  </a:moveTo>
                  <a:lnTo>
                    <a:pt x="2" y="292"/>
                  </a:lnTo>
                  <a:lnTo>
                    <a:pt x="2" y="290"/>
                  </a:lnTo>
                  <a:lnTo>
                    <a:pt x="0" y="288"/>
                  </a:lnTo>
                  <a:close/>
                  <a:moveTo>
                    <a:pt x="44" y="236"/>
                  </a:moveTo>
                  <a:lnTo>
                    <a:pt x="44" y="236"/>
                  </a:lnTo>
                  <a:lnTo>
                    <a:pt x="44" y="240"/>
                  </a:lnTo>
                  <a:lnTo>
                    <a:pt x="44" y="242"/>
                  </a:lnTo>
                  <a:lnTo>
                    <a:pt x="46" y="238"/>
                  </a:lnTo>
                  <a:lnTo>
                    <a:pt x="46" y="236"/>
                  </a:lnTo>
                  <a:lnTo>
                    <a:pt x="44" y="236"/>
                  </a:lnTo>
                  <a:close/>
                  <a:moveTo>
                    <a:pt x="40" y="186"/>
                  </a:moveTo>
                  <a:lnTo>
                    <a:pt x="36" y="192"/>
                  </a:lnTo>
                  <a:lnTo>
                    <a:pt x="32" y="192"/>
                  </a:lnTo>
                  <a:lnTo>
                    <a:pt x="30" y="192"/>
                  </a:lnTo>
                  <a:lnTo>
                    <a:pt x="30" y="194"/>
                  </a:lnTo>
                  <a:lnTo>
                    <a:pt x="28" y="196"/>
                  </a:lnTo>
                  <a:lnTo>
                    <a:pt x="32" y="200"/>
                  </a:lnTo>
                  <a:lnTo>
                    <a:pt x="34" y="206"/>
                  </a:lnTo>
                  <a:lnTo>
                    <a:pt x="32" y="204"/>
                  </a:lnTo>
                  <a:lnTo>
                    <a:pt x="30" y="206"/>
                  </a:lnTo>
                  <a:lnTo>
                    <a:pt x="32" y="208"/>
                  </a:lnTo>
                  <a:lnTo>
                    <a:pt x="34" y="210"/>
                  </a:lnTo>
                  <a:lnTo>
                    <a:pt x="36" y="210"/>
                  </a:lnTo>
                  <a:lnTo>
                    <a:pt x="40" y="210"/>
                  </a:lnTo>
                  <a:lnTo>
                    <a:pt x="40" y="204"/>
                  </a:lnTo>
                  <a:lnTo>
                    <a:pt x="38" y="204"/>
                  </a:lnTo>
                  <a:lnTo>
                    <a:pt x="38" y="202"/>
                  </a:lnTo>
                  <a:lnTo>
                    <a:pt x="40" y="202"/>
                  </a:lnTo>
                  <a:lnTo>
                    <a:pt x="40" y="204"/>
                  </a:lnTo>
                  <a:lnTo>
                    <a:pt x="42" y="206"/>
                  </a:lnTo>
                  <a:lnTo>
                    <a:pt x="36" y="216"/>
                  </a:lnTo>
                  <a:lnTo>
                    <a:pt x="36" y="228"/>
                  </a:lnTo>
                  <a:lnTo>
                    <a:pt x="38" y="226"/>
                  </a:lnTo>
                  <a:lnTo>
                    <a:pt x="40" y="226"/>
                  </a:lnTo>
                  <a:lnTo>
                    <a:pt x="40" y="228"/>
                  </a:lnTo>
                  <a:lnTo>
                    <a:pt x="40" y="230"/>
                  </a:lnTo>
                  <a:lnTo>
                    <a:pt x="42" y="232"/>
                  </a:lnTo>
                  <a:lnTo>
                    <a:pt x="50" y="220"/>
                  </a:lnTo>
                  <a:lnTo>
                    <a:pt x="50" y="214"/>
                  </a:lnTo>
                  <a:lnTo>
                    <a:pt x="52" y="206"/>
                  </a:lnTo>
                  <a:lnTo>
                    <a:pt x="54" y="206"/>
                  </a:lnTo>
                  <a:lnTo>
                    <a:pt x="54" y="202"/>
                  </a:lnTo>
                  <a:lnTo>
                    <a:pt x="54" y="200"/>
                  </a:lnTo>
                  <a:lnTo>
                    <a:pt x="54" y="198"/>
                  </a:lnTo>
                  <a:lnTo>
                    <a:pt x="50" y="198"/>
                  </a:lnTo>
                  <a:lnTo>
                    <a:pt x="52" y="196"/>
                  </a:lnTo>
                  <a:lnTo>
                    <a:pt x="52" y="192"/>
                  </a:lnTo>
                  <a:lnTo>
                    <a:pt x="46" y="192"/>
                  </a:lnTo>
                  <a:lnTo>
                    <a:pt x="44" y="188"/>
                  </a:lnTo>
                  <a:lnTo>
                    <a:pt x="42" y="186"/>
                  </a:lnTo>
                  <a:lnTo>
                    <a:pt x="40" y="186"/>
                  </a:lnTo>
                  <a:close/>
                  <a:moveTo>
                    <a:pt x="78" y="180"/>
                  </a:moveTo>
                  <a:lnTo>
                    <a:pt x="78" y="180"/>
                  </a:lnTo>
                  <a:lnTo>
                    <a:pt x="72" y="186"/>
                  </a:lnTo>
                  <a:lnTo>
                    <a:pt x="70" y="186"/>
                  </a:lnTo>
                  <a:lnTo>
                    <a:pt x="68" y="184"/>
                  </a:lnTo>
                  <a:lnTo>
                    <a:pt x="66" y="184"/>
                  </a:lnTo>
                  <a:lnTo>
                    <a:pt x="64" y="186"/>
                  </a:lnTo>
                  <a:lnTo>
                    <a:pt x="62" y="192"/>
                  </a:lnTo>
                  <a:lnTo>
                    <a:pt x="58" y="194"/>
                  </a:lnTo>
                  <a:lnTo>
                    <a:pt x="64" y="202"/>
                  </a:lnTo>
                  <a:lnTo>
                    <a:pt x="68" y="208"/>
                  </a:lnTo>
                  <a:lnTo>
                    <a:pt x="70" y="204"/>
                  </a:lnTo>
                  <a:lnTo>
                    <a:pt x="70" y="198"/>
                  </a:lnTo>
                  <a:lnTo>
                    <a:pt x="74" y="196"/>
                  </a:lnTo>
                  <a:lnTo>
                    <a:pt x="76" y="194"/>
                  </a:lnTo>
                  <a:lnTo>
                    <a:pt x="78" y="196"/>
                  </a:lnTo>
                  <a:lnTo>
                    <a:pt x="80" y="198"/>
                  </a:lnTo>
                  <a:lnTo>
                    <a:pt x="86" y="188"/>
                  </a:lnTo>
                  <a:lnTo>
                    <a:pt x="78" y="180"/>
                  </a:lnTo>
                  <a:close/>
                  <a:moveTo>
                    <a:pt x="70" y="170"/>
                  </a:moveTo>
                  <a:lnTo>
                    <a:pt x="70" y="170"/>
                  </a:lnTo>
                  <a:lnTo>
                    <a:pt x="72" y="174"/>
                  </a:lnTo>
                  <a:lnTo>
                    <a:pt x="70" y="176"/>
                  </a:lnTo>
                  <a:lnTo>
                    <a:pt x="68" y="172"/>
                  </a:lnTo>
                  <a:lnTo>
                    <a:pt x="68" y="170"/>
                  </a:lnTo>
                  <a:lnTo>
                    <a:pt x="70" y="170"/>
                  </a:lnTo>
                  <a:close/>
                  <a:moveTo>
                    <a:pt x="150" y="72"/>
                  </a:moveTo>
                  <a:lnTo>
                    <a:pt x="150" y="72"/>
                  </a:lnTo>
                  <a:lnTo>
                    <a:pt x="150" y="76"/>
                  </a:lnTo>
                  <a:lnTo>
                    <a:pt x="150" y="78"/>
                  </a:lnTo>
                  <a:lnTo>
                    <a:pt x="146" y="82"/>
                  </a:lnTo>
                  <a:lnTo>
                    <a:pt x="148" y="92"/>
                  </a:lnTo>
                  <a:lnTo>
                    <a:pt x="144" y="94"/>
                  </a:lnTo>
                  <a:lnTo>
                    <a:pt x="142" y="96"/>
                  </a:lnTo>
                  <a:lnTo>
                    <a:pt x="146" y="98"/>
                  </a:lnTo>
                  <a:lnTo>
                    <a:pt x="148" y="100"/>
                  </a:lnTo>
                  <a:lnTo>
                    <a:pt x="146" y="104"/>
                  </a:lnTo>
                  <a:lnTo>
                    <a:pt x="144" y="104"/>
                  </a:lnTo>
                  <a:lnTo>
                    <a:pt x="144" y="110"/>
                  </a:lnTo>
                  <a:lnTo>
                    <a:pt x="132" y="128"/>
                  </a:lnTo>
                  <a:lnTo>
                    <a:pt x="128" y="128"/>
                  </a:lnTo>
                  <a:lnTo>
                    <a:pt x="126" y="134"/>
                  </a:lnTo>
                  <a:lnTo>
                    <a:pt x="126" y="136"/>
                  </a:lnTo>
                  <a:lnTo>
                    <a:pt x="124" y="138"/>
                  </a:lnTo>
                  <a:lnTo>
                    <a:pt x="120" y="140"/>
                  </a:lnTo>
                  <a:lnTo>
                    <a:pt x="116" y="140"/>
                  </a:lnTo>
                  <a:lnTo>
                    <a:pt x="116" y="144"/>
                  </a:lnTo>
                  <a:lnTo>
                    <a:pt x="108" y="144"/>
                  </a:lnTo>
                  <a:lnTo>
                    <a:pt x="108" y="140"/>
                  </a:lnTo>
                  <a:lnTo>
                    <a:pt x="108" y="138"/>
                  </a:lnTo>
                  <a:lnTo>
                    <a:pt x="114" y="132"/>
                  </a:lnTo>
                  <a:lnTo>
                    <a:pt x="110" y="134"/>
                  </a:lnTo>
                  <a:lnTo>
                    <a:pt x="106" y="138"/>
                  </a:lnTo>
                  <a:lnTo>
                    <a:pt x="106" y="142"/>
                  </a:lnTo>
                  <a:lnTo>
                    <a:pt x="106" y="146"/>
                  </a:lnTo>
                  <a:lnTo>
                    <a:pt x="102" y="150"/>
                  </a:lnTo>
                  <a:lnTo>
                    <a:pt x="98" y="154"/>
                  </a:lnTo>
                  <a:lnTo>
                    <a:pt x="98" y="156"/>
                  </a:lnTo>
                  <a:lnTo>
                    <a:pt x="98" y="158"/>
                  </a:lnTo>
                  <a:lnTo>
                    <a:pt x="100" y="160"/>
                  </a:lnTo>
                  <a:lnTo>
                    <a:pt x="100" y="162"/>
                  </a:lnTo>
                  <a:lnTo>
                    <a:pt x="98" y="164"/>
                  </a:lnTo>
                  <a:lnTo>
                    <a:pt x="96" y="166"/>
                  </a:lnTo>
                  <a:lnTo>
                    <a:pt x="90" y="164"/>
                  </a:lnTo>
                  <a:lnTo>
                    <a:pt x="86" y="162"/>
                  </a:lnTo>
                  <a:lnTo>
                    <a:pt x="80" y="164"/>
                  </a:lnTo>
                  <a:lnTo>
                    <a:pt x="74" y="166"/>
                  </a:lnTo>
                  <a:lnTo>
                    <a:pt x="74" y="164"/>
                  </a:lnTo>
                  <a:lnTo>
                    <a:pt x="72" y="164"/>
                  </a:lnTo>
                  <a:lnTo>
                    <a:pt x="66" y="166"/>
                  </a:lnTo>
                  <a:lnTo>
                    <a:pt x="62" y="172"/>
                  </a:lnTo>
                  <a:lnTo>
                    <a:pt x="56" y="176"/>
                  </a:lnTo>
                  <a:lnTo>
                    <a:pt x="52" y="180"/>
                  </a:lnTo>
                  <a:lnTo>
                    <a:pt x="48" y="180"/>
                  </a:lnTo>
                  <a:lnTo>
                    <a:pt x="44" y="178"/>
                  </a:lnTo>
                  <a:lnTo>
                    <a:pt x="44" y="186"/>
                  </a:lnTo>
                  <a:lnTo>
                    <a:pt x="60" y="186"/>
                  </a:lnTo>
                  <a:lnTo>
                    <a:pt x="60" y="182"/>
                  </a:lnTo>
                  <a:lnTo>
                    <a:pt x="62" y="180"/>
                  </a:lnTo>
                  <a:lnTo>
                    <a:pt x="80" y="178"/>
                  </a:lnTo>
                  <a:lnTo>
                    <a:pt x="92" y="178"/>
                  </a:lnTo>
                  <a:lnTo>
                    <a:pt x="90" y="182"/>
                  </a:lnTo>
                  <a:lnTo>
                    <a:pt x="88" y="182"/>
                  </a:lnTo>
                  <a:lnTo>
                    <a:pt x="88" y="190"/>
                  </a:lnTo>
                  <a:lnTo>
                    <a:pt x="90" y="192"/>
                  </a:lnTo>
                  <a:lnTo>
                    <a:pt x="92" y="194"/>
                  </a:lnTo>
                  <a:lnTo>
                    <a:pt x="94" y="194"/>
                  </a:lnTo>
                  <a:lnTo>
                    <a:pt x="98" y="194"/>
                  </a:lnTo>
                  <a:lnTo>
                    <a:pt x="100" y="192"/>
                  </a:lnTo>
                  <a:lnTo>
                    <a:pt x="102" y="188"/>
                  </a:lnTo>
                  <a:lnTo>
                    <a:pt x="106" y="186"/>
                  </a:lnTo>
                  <a:lnTo>
                    <a:pt x="108" y="184"/>
                  </a:lnTo>
                  <a:lnTo>
                    <a:pt x="108" y="180"/>
                  </a:lnTo>
                  <a:lnTo>
                    <a:pt x="108" y="178"/>
                  </a:lnTo>
                  <a:lnTo>
                    <a:pt x="112" y="178"/>
                  </a:lnTo>
                  <a:lnTo>
                    <a:pt x="116" y="178"/>
                  </a:lnTo>
                  <a:lnTo>
                    <a:pt x="114" y="178"/>
                  </a:lnTo>
                  <a:lnTo>
                    <a:pt x="114" y="180"/>
                  </a:lnTo>
                  <a:lnTo>
                    <a:pt x="114" y="182"/>
                  </a:lnTo>
                  <a:lnTo>
                    <a:pt x="116" y="180"/>
                  </a:lnTo>
                  <a:lnTo>
                    <a:pt x="118" y="178"/>
                  </a:lnTo>
                  <a:lnTo>
                    <a:pt x="122" y="180"/>
                  </a:lnTo>
                  <a:lnTo>
                    <a:pt x="126" y="180"/>
                  </a:lnTo>
                  <a:lnTo>
                    <a:pt x="128" y="176"/>
                  </a:lnTo>
                  <a:lnTo>
                    <a:pt x="132" y="174"/>
                  </a:lnTo>
                  <a:lnTo>
                    <a:pt x="134" y="178"/>
                  </a:lnTo>
                  <a:lnTo>
                    <a:pt x="134" y="180"/>
                  </a:lnTo>
                  <a:lnTo>
                    <a:pt x="136" y="180"/>
                  </a:lnTo>
                  <a:lnTo>
                    <a:pt x="138" y="176"/>
                  </a:lnTo>
                  <a:lnTo>
                    <a:pt x="138" y="172"/>
                  </a:lnTo>
                  <a:lnTo>
                    <a:pt x="144" y="172"/>
                  </a:lnTo>
                  <a:lnTo>
                    <a:pt x="144" y="168"/>
                  </a:lnTo>
                  <a:lnTo>
                    <a:pt x="144" y="166"/>
                  </a:lnTo>
                  <a:lnTo>
                    <a:pt x="144" y="164"/>
                  </a:lnTo>
                  <a:lnTo>
                    <a:pt x="146" y="162"/>
                  </a:lnTo>
                  <a:lnTo>
                    <a:pt x="146" y="160"/>
                  </a:lnTo>
                  <a:lnTo>
                    <a:pt x="148" y="162"/>
                  </a:lnTo>
                  <a:lnTo>
                    <a:pt x="148" y="164"/>
                  </a:lnTo>
                  <a:lnTo>
                    <a:pt x="146" y="170"/>
                  </a:lnTo>
                  <a:lnTo>
                    <a:pt x="144" y="174"/>
                  </a:lnTo>
                  <a:lnTo>
                    <a:pt x="146" y="174"/>
                  </a:lnTo>
                  <a:lnTo>
                    <a:pt x="148" y="176"/>
                  </a:lnTo>
                  <a:lnTo>
                    <a:pt x="152" y="170"/>
                  </a:lnTo>
                  <a:lnTo>
                    <a:pt x="154" y="166"/>
                  </a:lnTo>
                  <a:lnTo>
                    <a:pt x="156" y="162"/>
                  </a:lnTo>
                  <a:lnTo>
                    <a:pt x="154" y="160"/>
                  </a:lnTo>
                  <a:lnTo>
                    <a:pt x="150" y="158"/>
                  </a:lnTo>
                  <a:lnTo>
                    <a:pt x="152" y="156"/>
                  </a:lnTo>
                  <a:lnTo>
                    <a:pt x="154" y="154"/>
                  </a:lnTo>
                  <a:lnTo>
                    <a:pt x="152" y="150"/>
                  </a:lnTo>
                  <a:lnTo>
                    <a:pt x="152" y="146"/>
                  </a:lnTo>
                  <a:lnTo>
                    <a:pt x="156" y="140"/>
                  </a:lnTo>
                  <a:lnTo>
                    <a:pt x="156" y="130"/>
                  </a:lnTo>
                  <a:lnTo>
                    <a:pt x="156" y="124"/>
                  </a:lnTo>
                  <a:lnTo>
                    <a:pt x="156" y="120"/>
                  </a:lnTo>
                  <a:lnTo>
                    <a:pt x="158" y="118"/>
                  </a:lnTo>
                  <a:lnTo>
                    <a:pt x="162" y="116"/>
                  </a:lnTo>
                  <a:lnTo>
                    <a:pt x="164" y="114"/>
                  </a:lnTo>
                  <a:lnTo>
                    <a:pt x="162" y="114"/>
                  </a:lnTo>
                  <a:lnTo>
                    <a:pt x="162" y="112"/>
                  </a:lnTo>
                  <a:lnTo>
                    <a:pt x="162" y="110"/>
                  </a:lnTo>
                  <a:lnTo>
                    <a:pt x="164" y="110"/>
                  </a:lnTo>
                  <a:lnTo>
                    <a:pt x="166" y="102"/>
                  </a:lnTo>
                  <a:lnTo>
                    <a:pt x="168" y="96"/>
                  </a:lnTo>
                  <a:lnTo>
                    <a:pt x="166" y="90"/>
                  </a:lnTo>
                  <a:lnTo>
                    <a:pt x="162" y="82"/>
                  </a:lnTo>
                  <a:lnTo>
                    <a:pt x="162" y="76"/>
                  </a:lnTo>
                  <a:lnTo>
                    <a:pt x="150" y="72"/>
                  </a:lnTo>
                  <a:close/>
                  <a:moveTo>
                    <a:pt x="164" y="0"/>
                  </a:moveTo>
                  <a:lnTo>
                    <a:pt x="164" y="0"/>
                  </a:lnTo>
                  <a:lnTo>
                    <a:pt x="162" y="2"/>
                  </a:lnTo>
                  <a:lnTo>
                    <a:pt x="162" y="6"/>
                  </a:lnTo>
                  <a:lnTo>
                    <a:pt x="162" y="8"/>
                  </a:lnTo>
                  <a:lnTo>
                    <a:pt x="164" y="10"/>
                  </a:lnTo>
                  <a:lnTo>
                    <a:pt x="166" y="14"/>
                  </a:lnTo>
                  <a:lnTo>
                    <a:pt x="164" y="22"/>
                  </a:lnTo>
                  <a:lnTo>
                    <a:pt x="160" y="30"/>
                  </a:lnTo>
                  <a:lnTo>
                    <a:pt x="160" y="34"/>
                  </a:lnTo>
                  <a:lnTo>
                    <a:pt x="162" y="36"/>
                  </a:lnTo>
                  <a:lnTo>
                    <a:pt x="162" y="38"/>
                  </a:lnTo>
                  <a:lnTo>
                    <a:pt x="158" y="38"/>
                  </a:lnTo>
                  <a:lnTo>
                    <a:pt x="158" y="42"/>
                  </a:lnTo>
                  <a:lnTo>
                    <a:pt x="156" y="40"/>
                  </a:lnTo>
                  <a:lnTo>
                    <a:pt x="154" y="38"/>
                  </a:lnTo>
                  <a:lnTo>
                    <a:pt x="148" y="38"/>
                  </a:lnTo>
                  <a:lnTo>
                    <a:pt x="148" y="42"/>
                  </a:lnTo>
                  <a:lnTo>
                    <a:pt x="142" y="46"/>
                  </a:lnTo>
                  <a:lnTo>
                    <a:pt x="148" y="56"/>
                  </a:lnTo>
                  <a:lnTo>
                    <a:pt x="146" y="60"/>
                  </a:lnTo>
                  <a:lnTo>
                    <a:pt x="146" y="62"/>
                  </a:lnTo>
                  <a:lnTo>
                    <a:pt x="146" y="64"/>
                  </a:lnTo>
                  <a:lnTo>
                    <a:pt x="152" y="62"/>
                  </a:lnTo>
                  <a:lnTo>
                    <a:pt x="158" y="60"/>
                  </a:lnTo>
                  <a:lnTo>
                    <a:pt x="160" y="58"/>
                  </a:lnTo>
                  <a:lnTo>
                    <a:pt x="158" y="58"/>
                  </a:lnTo>
                  <a:lnTo>
                    <a:pt x="150" y="56"/>
                  </a:lnTo>
                  <a:lnTo>
                    <a:pt x="150" y="52"/>
                  </a:lnTo>
                  <a:lnTo>
                    <a:pt x="150" y="50"/>
                  </a:lnTo>
                  <a:lnTo>
                    <a:pt x="158" y="48"/>
                  </a:lnTo>
                  <a:lnTo>
                    <a:pt x="162" y="48"/>
                  </a:lnTo>
                  <a:lnTo>
                    <a:pt x="166" y="48"/>
                  </a:lnTo>
                  <a:lnTo>
                    <a:pt x="170" y="56"/>
                  </a:lnTo>
                  <a:lnTo>
                    <a:pt x="182" y="56"/>
                  </a:lnTo>
                  <a:lnTo>
                    <a:pt x="184" y="50"/>
                  </a:lnTo>
                  <a:lnTo>
                    <a:pt x="188" y="44"/>
                  </a:lnTo>
                  <a:lnTo>
                    <a:pt x="192" y="42"/>
                  </a:lnTo>
                  <a:lnTo>
                    <a:pt x="196" y="42"/>
                  </a:lnTo>
                  <a:lnTo>
                    <a:pt x="208" y="40"/>
                  </a:lnTo>
                  <a:lnTo>
                    <a:pt x="206" y="36"/>
                  </a:lnTo>
                  <a:lnTo>
                    <a:pt x="204" y="34"/>
                  </a:lnTo>
                  <a:lnTo>
                    <a:pt x="204" y="30"/>
                  </a:lnTo>
                  <a:lnTo>
                    <a:pt x="204" y="28"/>
                  </a:lnTo>
                  <a:lnTo>
                    <a:pt x="202" y="28"/>
                  </a:lnTo>
                  <a:lnTo>
                    <a:pt x="198" y="30"/>
                  </a:lnTo>
                  <a:lnTo>
                    <a:pt x="196" y="28"/>
                  </a:lnTo>
                  <a:lnTo>
                    <a:pt x="194" y="26"/>
                  </a:lnTo>
                  <a:lnTo>
                    <a:pt x="194" y="24"/>
                  </a:lnTo>
                  <a:lnTo>
                    <a:pt x="186" y="24"/>
                  </a:lnTo>
                  <a:lnTo>
                    <a:pt x="180" y="22"/>
                  </a:lnTo>
                  <a:lnTo>
                    <a:pt x="178" y="20"/>
                  </a:lnTo>
                  <a:lnTo>
                    <a:pt x="178" y="16"/>
                  </a:lnTo>
                  <a:lnTo>
                    <a:pt x="176" y="10"/>
                  </a:lnTo>
                  <a:lnTo>
                    <a:pt x="170" y="4"/>
                  </a:lnTo>
                  <a:lnTo>
                    <a:pt x="16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2" name="Freeform 604">
              <a:extLst>
                <a:ext uri="{FF2B5EF4-FFF2-40B4-BE49-F238E27FC236}">
                  <a16:creationId xmlns:a16="http://schemas.microsoft.com/office/drawing/2014/main" id="{0D7E477F-A765-4E86-8C40-598BC7E5B86D}"/>
                </a:ext>
              </a:extLst>
            </p:cNvPr>
            <p:cNvSpPr>
              <a:spLocks/>
            </p:cNvSpPr>
            <p:nvPr/>
          </p:nvSpPr>
          <p:spPr bwMode="gray">
            <a:xfrm>
              <a:off x="4687491" y="3323603"/>
              <a:ext cx="7063" cy="9417"/>
            </a:xfrm>
            <a:custGeom>
              <a:avLst/>
              <a:gdLst>
                <a:gd name="T0" fmla="*/ 0 w 4"/>
                <a:gd name="T1" fmla="*/ 0 h 4"/>
                <a:gd name="T2" fmla="*/ 0 w 4"/>
                <a:gd name="T3" fmla="*/ 0 h 4"/>
                <a:gd name="T4" fmla="*/ 0 w 4"/>
                <a:gd name="T5" fmla="*/ 2147483647 h 4"/>
                <a:gd name="T6" fmla="*/ 0 w 4"/>
                <a:gd name="T7" fmla="*/ 2147483647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2147483647 h 4"/>
                <a:gd name="T18" fmla="*/ 2147483647 w 4"/>
                <a:gd name="T19" fmla="*/ 2147483647 h 4"/>
                <a:gd name="T20" fmla="*/ 2147483647 w 4"/>
                <a:gd name="T21" fmla="*/ 2147483647 h 4"/>
                <a:gd name="T22" fmla="*/ 2147483647 w 4"/>
                <a:gd name="T23" fmla="*/ 2147483647 h 4"/>
                <a:gd name="T24" fmla="*/ 2147483647 w 4"/>
                <a:gd name="T25" fmla="*/ 2147483647 h 4"/>
                <a:gd name="T26" fmla="*/ 2147483647 w 4"/>
                <a:gd name="T27" fmla="*/ 2147483647 h 4"/>
                <a:gd name="T28" fmla="*/ 2147483647 w 4"/>
                <a:gd name="T29" fmla="*/ 2147483647 h 4"/>
                <a:gd name="T30" fmla="*/ 2147483647 w 4"/>
                <a:gd name="T31" fmla="*/ 2147483647 h 4"/>
                <a:gd name="T32" fmla="*/ 0 w 4"/>
                <a:gd name="T33" fmla="*/ 0 h 4"/>
                <a:gd name="T34" fmla="*/ 0 w 4"/>
                <a:gd name="T35" fmla="*/ 0 h 4"/>
                <a:gd name="T36" fmla="*/ 0 w 4"/>
                <a:gd name="T37" fmla="*/ 0 h 4"/>
                <a:gd name="T38" fmla="*/ 0 w 4"/>
                <a:gd name="T39" fmla="*/ 0 h 4"/>
                <a:gd name="T40" fmla="*/ 0 w 4"/>
                <a:gd name="T41" fmla="*/ 0 h 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
                <a:gd name="T64" fmla="*/ 0 h 4"/>
                <a:gd name="T65" fmla="*/ 4 w 4"/>
                <a:gd name="T66" fmla="*/ 4 h 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 h="4">
                  <a:moveTo>
                    <a:pt x="0" y="0"/>
                  </a:moveTo>
                  <a:lnTo>
                    <a:pt x="0" y="0"/>
                  </a:lnTo>
                  <a:lnTo>
                    <a:pt x="0" y="2"/>
                  </a:lnTo>
                  <a:lnTo>
                    <a:pt x="2" y="2"/>
                  </a:lnTo>
                  <a:lnTo>
                    <a:pt x="2" y="4"/>
                  </a:lnTo>
                  <a:lnTo>
                    <a:pt x="4" y="4"/>
                  </a:lnTo>
                  <a:lnTo>
                    <a:pt x="4" y="2"/>
                  </a:lnTo>
                  <a:lnTo>
                    <a:pt x="2"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3" name="Freeform 605">
              <a:extLst>
                <a:ext uri="{FF2B5EF4-FFF2-40B4-BE49-F238E27FC236}">
                  <a16:creationId xmlns:a16="http://schemas.microsoft.com/office/drawing/2014/main" id="{FC0BA447-47A7-4BD4-80AD-32070BDB0C56}"/>
                </a:ext>
              </a:extLst>
            </p:cNvPr>
            <p:cNvSpPr>
              <a:spLocks noEditPoints="1"/>
            </p:cNvSpPr>
            <p:nvPr/>
          </p:nvSpPr>
          <p:spPr bwMode="gray">
            <a:xfrm>
              <a:off x="5440829" y="3594345"/>
              <a:ext cx="4708" cy="11771"/>
            </a:xfrm>
            <a:custGeom>
              <a:avLst/>
              <a:gdLst>
                <a:gd name="T0" fmla="*/ 0 w 2"/>
                <a:gd name="T1" fmla="*/ 0 h 6"/>
                <a:gd name="T2" fmla="*/ 0 w 2"/>
                <a:gd name="T3" fmla="*/ 0 h 6"/>
                <a:gd name="T4" fmla="*/ 0 w 2"/>
                <a:gd name="T5" fmla="*/ 0 h 6"/>
                <a:gd name="T6" fmla="*/ 0 w 2"/>
                <a:gd name="T7" fmla="*/ 0 h 6"/>
                <a:gd name="T8" fmla="*/ 0 w 2"/>
                <a:gd name="T9" fmla="*/ 0 h 6"/>
                <a:gd name="T10" fmla="*/ 0 w 2"/>
                <a:gd name="T11" fmla="*/ 0 h 6"/>
                <a:gd name="T12" fmla="*/ 2147483647 w 2"/>
                <a:gd name="T13" fmla="*/ 0 h 6"/>
                <a:gd name="T14" fmla="*/ 2147483647 w 2"/>
                <a:gd name="T15" fmla="*/ 0 h 6"/>
                <a:gd name="T16" fmla="*/ 0 w 2"/>
                <a:gd name="T17" fmla="*/ 0 h 6"/>
                <a:gd name="T18" fmla="*/ 0 w 2"/>
                <a:gd name="T19" fmla="*/ 0 h 6"/>
                <a:gd name="T20" fmla="*/ 0 w 2"/>
                <a:gd name="T21" fmla="*/ 2147483647 h 6"/>
                <a:gd name="T22" fmla="*/ 0 w 2"/>
                <a:gd name="T23" fmla="*/ 2147483647 h 6"/>
                <a:gd name="T24" fmla="*/ 0 w 2"/>
                <a:gd name="T25" fmla="*/ 2147483647 h 6"/>
                <a:gd name="T26" fmla="*/ 0 w 2"/>
                <a:gd name="T27" fmla="*/ 2147483647 h 6"/>
                <a:gd name="T28" fmla="*/ 0 w 2"/>
                <a:gd name="T29" fmla="*/ 2147483647 h 6"/>
                <a:gd name="T30" fmla="*/ 0 w 2"/>
                <a:gd name="T31" fmla="*/ 2147483647 h 6"/>
                <a:gd name="T32" fmla="*/ 2147483647 w 2"/>
                <a:gd name="T33" fmla="*/ 2147483647 h 6"/>
                <a:gd name="T34" fmla="*/ 2147483647 w 2"/>
                <a:gd name="T35" fmla="*/ 2147483647 h 6"/>
                <a:gd name="T36" fmla="*/ 2147483647 w 2"/>
                <a:gd name="T37" fmla="*/ 2147483647 h 6"/>
                <a:gd name="T38" fmla="*/ 2147483647 w 2"/>
                <a:gd name="T39" fmla="*/ 2147483647 h 6"/>
                <a:gd name="T40" fmla="*/ 2147483647 w 2"/>
                <a:gd name="T41" fmla="*/ 0 h 6"/>
                <a:gd name="T42" fmla="*/ 2147483647 w 2"/>
                <a:gd name="T43" fmla="*/ 0 h 6"/>
                <a:gd name="T44" fmla="*/ 2147483647 w 2"/>
                <a:gd name="T45" fmla="*/ 0 h 6"/>
                <a:gd name="T46" fmla="*/ 2147483647 w 2"/>
                <a:gd name="T47" fmla="*/ 0 h 6"/>
                <a:gd name="T48" fmla="*/ 2147483647 w 2"/>
                <a:gd name="T49" fmla="*/ 0 h 6"/>
                <a:gd name="T50" fmla="*/ 2147483647 w 2"/>
                <a:gd name="T51" fmla="*/ 0 h 6"/>
                <a:gd name="T52" fmla="*/ 2147483647 w 2"/>
                <a:gd name="T53" fmla="*/ 0 h 6"/>
                <a:gd name="T54" fmla="*/ 2147483647 w 2"/>
                <a:gd name="T55" fmla="*/ 0 h 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
                <a:gd name="T85" fmla="*/ 0 h 6"/>
                <a:gd name="T86" fmla="*/ 2 w 2"/>
                <a:gd name="T87" fmla="*/ 6 h 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 h="6">
                  <a:moveTo>
                    <a:pt x="0" y="0"/>
                  </a:moveTo>
                  <a:lnTo>
                    <a:pt x="0" y="0"/>
                  </a:lnTo>
                  <a:close/>
                  <a:moveTo>
                    <a:pt x="2" y="0"/>
                  </a:moveTo>
                  <a:lnTo>
                    <a:pt x="2" y="0"/>
                  </a:lnTo>
                  <a:lnTo>
                    <a:pt x="0" y="0"/>
                  </a:lnTo>
                  <a:lnTo>
                    <a:pt x="0" y="2"/>
                  </a:lnTo>
                  <a:lnTo>
                    <a:pt x="0" y="4"/>
                  </a:lnTo>
                  <a:lnTo>
                    <a:pt x="2" y="6"/>
                  </a:lnTo>
                  <a:lnTo>
                    <a:pt x="2" y="4"/>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4" name="Freeform 606">
              <a:extLst>
                <a:ext uri="{FF2B5EF4-FFF2-40B4-BE49-F238E27FC236}">
                  <a16:creationId xmlns:a16="http://schemas.microsoft.com/office/drawing/2014/main" id="{30D5351A-21A3-4645-9A57-F4778F5D2677}"/>
                </a:ext>
              </a:extLst>
            </p:cNvPr>
            <p:cNvSpPr>
              <a:spLocks/>
            </p:cNvSpPr>
            <p:nvPr/>
          </p:nvSpPr>
          <p:spPr bwMode="gray">
            <a:xfrm>
              <a:off x="2735872" y="3806231"/>
              <a:ext cx="47084" cy="21187"/>
            </a:xfrm>
            <a:custGeom>
              <a:avLst/>
              <a:gdLst>
                <a:gd name="T0" fmla="*/ 2147483647 w 26"/>
                <a:gd name="T1" fmla="*/ 0 h 12"/>
                <a:gd name="T2" fmla="*/ 2147483647 w 26"/>
                <a:gd name="T3" fmla="*/ 0 h 12"/>
                <a:gd name="T4" fmla="*/ 0 w 26"/>
                <a:gd name="T5" fmla="*/ 2147483647 h 12"/>
                <a:gd name="T6" fmla="*/ 0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2147483647 w 26"/>
                <a:gd name="T21" fmla="*/ 2147483647 h 12"/>
                <a:gd name="T22" fmla="*/ 2147483647 w 26"/>
                <a:gd name="T23" fmla="*/ 2147483647 h 12"/>
                <a:gd name="T24" fmla="*/ 2147483647 w 26"/>
                <a:gd name="T25" fmla="*/ 0 h 12"/>
                <a:gd name="T26" fmla="*/ 2147483647 w 26"/>
                <a:gd name="T27" fmla="*/ 0 h 12"/>
                <a:gd name="T28" fmla="*/ 2147483647 w 26"/>
                <a:gd name="T29" fmla="*/ 0 h 12"/>
                <a:gd name="T30" fmla="*/ 2147483647 w 26"/>
                <a:gd name="T31" fmla="*/ 0 h 12"/>
                <a:gd name="T32" fmla="*/ 2147483647 w 26"/>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12"/>
                <a:gd name="T53" fmla="*/ 26 w 26"/>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12">
                  <a:moveTo>
                    <a:pt x="4" y="0"/>
                  </a:moveTo>
                  <a:lnTo>
                    <a:pt x="4" y="0"/>
                  </a:lnTo>
                  <a:lnTo>
                    <a:pt x="0" y="4"/>
                  </a:lnTo>
                  <a:lnTo>
                    <a:pt x="12" y="10"/>
                  </a:lnTo>
                  <a:lnTo>
                    <a:pt x="12" y="12"/>
                  </a:lnTo>
                  <a:lnTo>
                    <a:pt x="20" y="10"/>
                  </a:lnTo>
                  <a:lnTo>
                    <a:pt x="26" y="8"/>
                  </a:lnTo>
                  <a:lnTo>
                    <a:pt x="26" y="6"/>
                  </a:lnTo>
                  <a:lnTo>
                    <a:pt x="22" y="4"/>
                  </a:lnTo>
                  <a:lnTo>
                    <a:pt x="22" y="0"/>
                  </a:lnTo>
                  <a:lnTo>
                    <a:pt x="14"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5" name="Freeform 607">
              <a:extLst>
                <a:ext uri="{FF2B5EF4-FFF2-40B4-BE49-F238E27FC236}">
                  <a16:creationId xmlns:a16="http://schemas.microsoft.com/office/drawing/2014/main" id="{BF8EA972-C173-418E-859A-819552FECB7D}"/>
                </a:ext>
              </a:extLst>
            </p:cNvPr>
            <p:cNvSpPr>
              <a:spLocks/>
            </p:cNvSpPr>
            <p:nvPr/>
          </p:nvSpPr>
          <p:spPr bwMode="gray">
            <a:xfrm>
              <a:off x="4197821" y="4008701"/>
              <a:ext cx="136542" cy="178926"/>
            </a:xfrm>
            <a:custGeom>
              <a:avLst/>
              <a:gdLst>
                <a:gd name="T0" fmla="*/ 2147483647 w 74"/>
                <a:gd name="T1" fmla="*/ 2147483647 h 96"/>
                <a:gd name="T2" fmla="*/ 2147483647 w 74"/>
                <a:gd name="T3" fmla="*/ 2147483647 h 96"/>
                <a:gd name="T4" fmla="*/ 2147483647 w 74"/>
                <a:gd name="T5" fmla="*/ 2147483647 h 96"/>
                <a:gd name="T6" fmla="*/ 2147483647 w 74"/>
                <a:gd name="T7" fmla="*/ 2147483647 h 96"/>
                <a:gd name="T8" fmla="*/ 2147483647 w 74"/>
                <a:gd name="T9" fmla="*/ 2147483647 h 96"/>
                <a:gd name="T10" fmla="*/ 2147483647 w 74"/>
                <a:gd name="T11" fmla="*/ 2147483647 h 96"/>
                <a:gd name="T12" fmla="*/ 2147483647 w 74"/>
                <a:gd name="T13" fmla="*/ 2147483647 h 96"/>
                <a:gd name="T14" fmla="*/ 2147483647 w 74"/>
                <a:gd name="T15" fmla="*/ 2147483647 h 96"/>
                <a:gd name="T16" fmla="*/ 2147483647 w 74"/>
                <a:gd name="T17" fmla="*/ 2147483647 h 96"/>
                <a:gd name="T18" fmla="*/ 2147483647 w 74"/>
                <a:gd name="T19" fmla="*/ 2147483647 h 96"/>
                <a:gd name="T20" fmla="*/ 2147483647 w 74"/>
                <a:gd name="T21" fmla="*/ 2147483647 h 96"/>
                <a:gd name="T22" fmla="*/ 2147483647 w 74"/>
                <a:gd name="T23" fmla="*/ 2147483647 h 96"/>
                <a:gd name="T24" fmla="*/ 2147483647 w 74"/>
                <a:gd name="T25" fmla="*/ 2147483647 h 96"/>
                <a:gd name="T26" fmla="*/ 2147483647 w 74"/>
                <a:gd name="T27" fmla="*/ 2147483647 h 96"/>
                <a:gd name="T28" fmla="*/ 2147483647 w 74"/>
                <a:gd name="T29" fmla="*/ 2147483647 h 96"/>
                <a:gd name="T30" fmla="*/ 2147483647 w 74"/>
                <a:gd name="T31" fmla="*/ 2147483647 h 96"/>
                <a:gd name="T32" fmla="*/ 2147483647 w 74"/>
                <a:gd name="T33" fmla="*/ 2147483647 h 96"/>
                <a:gd name="T34" fmla="*/ 2147483647 w 74"/>
                <a:gd name="T35" fmla="*/ 2147483647 h 96"/>
                <a:gd name="T36" fmla="*/ 2147483647 w 74"/>
                <a:gd name="T37" fmla="*/ 2147483647 h 96"/>
                <a:gd name="T38" fmla="*/ 2147483647 w 74"/>
                <a:gd name="T39" fmla="*/ 2147483647 h 96"/>
                <a:gd name="T40" fmla="*/ 2147483647 w 74"/>
                <a:gd name="T41" fmla="*/ 2147483647 h 96"/>
                <a:gd name="T42" fmla="*/ 2147483647 w 74"/>
                <a:gd name="T43" fmla="*/ 2147483647 h 96"/>
                <a:gd name="T44" fmla="*/ 2147483647 w 74"/>
                <a:gd name="T45" fmla="*/ 0 h 96"/>
                <a:gd name="T46" fmla="*/ 2147483647 w 74"/>
                <a:gd name="T47" fmla="*/ 2147483647 h 96"/>
                <a:gd name="T48" fmla="*/ 2147483647 w 74"/>
                <a:gd name="T49" fmla="*/ 2147483647 h 96"/>
                <a:gd name="T50" fmla="*/ 2147483647 w 74"/>
                <a:gd name="T51" fmla="*/ 2147483647 h 96"/>
                <a:gd name="T52" fmla="*/ 2147483647 w 74"/>
                <a:gd name="T53" fmla="*/ 2147483647 h 96"/>
                <a:gd name="T54" fmla="*/ 2147483647 w 74"/>
                <a:gd name="T55" fmla="*/ 2147483647 h 96"/>
                <a:gd name="T56" fmla="*/ 2147483647 w 74"/>
                <a:gd name="T57" fmla="*/ 2147483647 h 96"/>
                <a:gd name="T58" fmla="*/ 2147483647 w 74"/>
                <a:gd name="T59" fmla="*/ 2147483647 h 96"/>
                <a:gd name="T60" fmla="*/ 2147483647 w 74"/>
                <a:gd name="T61" fmla="*/ 2147483647 h 96"/>
                <a:gd name="T62" fmla="*/ 2147483647 w 74"/>
                <a:gd name="T63" fmla="*/ 2147483647 h 96"/>
                <a:gd name="T64" fmla="*/ 2147483647 w 74"/>
                <a:gd name="T65" fmla="*/ 2147483647 h 96"/>
                <a:gd name="T66" fmla="*/ 2147483647 w 74"/>
                <a:gd name="T67" fmla="*/ 2147483647 h 96"/>
                <a:gd name="T68" fmla="*/ 2147483647 w 74"/>
                <a:gd name="T69" fmla="*/ 2147483647 h 96"/>
                <a:gd name="T70" fmla="*/ 2147483647 w 74"/>
                <a:gd name="T71" fmla="*/ 2147483647 h 96"/>
                <a:gd name="T72" fmla="*/ 2147483647 w 74"/>
                <a:gd name="T73" fmla="*/ 2147483647 h 96"/>
                <a:gd name="T74" fmla="*/ 2147483647 w 74"/>
                <a:gd name="T75" fmla="*/ 2147483647 h 96"/>
                <a:gd name="T76" fmla="*/ 2147483647 w 74"/>
                <a:gd name="T77" fmla="*/ 2147483647 h 96"/>
                <a:gd name="T78" fmla="*/ 2147483647 w 74"/>
                <a:gd name="T79" fmla="*/ 2147483647 h 96"/>
                <a:gd name="T80" fmla="*/ 2147483647 w 74"/>
                <a:gd name="T81" fmla="*/ 2147483647 h 96"/>
                <a:gd name="T82" fmla="*/ 2147483647 w 74"/>
                <a:gd name="T83" fmla="*/ 2147483647 h 96"/>
                <a:gd name="T84" fmla="*/ 2147483647 w 74"/>
                <a:gd name="T85" fmla="*/ 2147483647 h 96"/>
                <a:gd name="T86" fmla="*/ 0 w 74"/>
                <a:gd name="T87" fmla="*/ 2147483647 h 96"/>
                <a:gd name="T88" fmla="*/ 2147483647 w 74"/>
                <a:gd name="T89" fmla="*/ 2147483647 h 96"/>
                <a:gd name="T90" fmla="*/ 2147483647 w 74"/>
                <a:gd name="T91" fmla="*/ 2147483647 h 96"/>
                <a:gd name="T92" fmla="*/ 2147483647 w 74"/>
                <a:gd name="T93" fmla="*/ 2147483647 h 96"/>
                <a:gd name="T94" fmla="*/ 2147483647 w 74"/>
                <a:gd name="T95" fmla="*/ 2147483647 h 96"/>
                <a:gd name="T96" fmla="*/ 2147483647 w 74"/>
                <a:gd name="T97" fmla="*/ 2147483647 h 96"/>
                <a:gd name="T98" fmla="*/ 2147483647 w 74"/>
                <a:gd name="T99" fmla="*/ 2147483647 h 96"/>
                <a:gd name="T100" fmla="*/ 2147483647 w 74"/>
                <a:gd name="T101" fmla="*/ 2147483647 h 96"/>
                <a:gd name="T102" fmla="*/ 2147483647 w 74"/>
                <a:gd name="T103" fmla="*/ 2147483647 h 96"/>
                <a:gd name="T104" fmla="*/ 2147483647 w 74"/>
                <a:gd name="T105" fmla="*/ 2147483647 h 96"/>
                <a:gd name="T106" fmla="*/ 2147483647 w 74"/>
                <a:gd name="T107" fmla="*/ 2147483647 h 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
                <a:gd name="T163" fmla="*/ 0 h 96"/>
                <a:gd name="T164" fmla="*/ 74 w 74"/>
                <a:gd name="T165" fmla="*/ 96 h 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 h="96">
                  <a:moveTo>
                    <a:pt x="16" y="96"/>
                  </a:moveTo>
                  <a:lnTo>
                    <a:pt x="16" y="96"/>
                  </a:lnTo>
                  <a:lnTo>
                    <a:pt x="16" y="94"/>
                  </a:lnTo>
                  <a:lnTo>
                    <a:pt x="20" y="92"/>
                  </a:lnTo>
                  <a:lnTo>
                    <a:pt x="24" y="88"/>
                  </a:lnTo>
                  <a:lnTo>
                    <a:pt x="28" y="86"/>
                  </a:lnTo>
                  <a:lnTo>
                    <a:pt x="32" y="82"/>
                  </a:lnTo>
                  <a:lnTo>
                    <a:pt x="40" y="82"/>
                  </a:lnTo>
                  <a:lnTo>
                    <a:pt x="46" y="84"/>
                  </a:lnTo>
                  <a:lnTo>
                    <a:pt x="58" y="88"/>
                  </a:lnTo>
                  <a:lnTo>
                    <a:pt x="60" y="88"/>
                  </a:lnTo>
                  <a:lnTo>
                    <a:pt x="62" y="80"/>
                  </a:lnTo>
                  <a:lnTo>
                    <a:pt x="62" y="76"/>
                  </a:lnTo>
                  <a:lnTo>
                    <a:pt x="62" y="74"/>
                  </a:lnTo>
                  <a:lnTo>
                    <a:pt x="60" y="64"/>
                  </a:lnTo>
                  <a:lnTo>
                    <a:pt x="62" y="56"/>
                  </a:lnTo>
                  <a:lnTo>
                    <a:pt x="66" y="48"/>
                  </a:lnTo>
                  <a:lnTo>
                    <a:pt x="70" y="40"/>
                  </a:lnTo>
                  <a:lnTo>
                    <a:pt x="72" y="34"/>
                  </a:lnTo>
                  <a:lnTo>
                    <a:pt x="72" y="32"/>
                  </a:lnTo>
                  <a:lnTo>
                    <a:pt x="74" y="24"/>
                  </a:lnTo>
                  <a:lnTo>
                    <a:pt x="72" y="18"/>
                  </a:lnTo>
                  <a:lnTo>
                    <a:pt x="72" y="16"/>
                  </a:lnTo>
                  <a:lnTo>
                    <a:pt x="72" y="12"/>
                  </a:lnTo>
                  <a:lnTo>
                    <a:pt x="70" y="8"/>
                  </a:lnTo>
                  <a:lnTo>
                    <a:pt x="62" y="8"/>
                  </a:lnTo>
                  <a:lnTo>
                    <a:pt x="60" y="6"/>
                  </a:lnTo>
                  <a:lnTo>
                    <a:pt x="60" y="4"/>
                  </a:lnTo>
                  <a:lnTo>
                    <a:pt x="56" y="2"/>
                  </a:lnTo>
                  <a:lnTo>
                    <a:pt x="52" y="6"/>
                  </a:lnTo>
                  <a:lnTo>
                    <a:pt x="48" y="6"/>
                  </a:lnTo>
                  <a:lnTo>
                    <a:pt x="46" y="2"/>
                  </a:lnTo>
                  <a:lnTo>
                    <a:pt x="38" y="0"/>
                  </a:lnTo>
                  <a:lnTo>
                    <a:pt x="36" y="4"/>
                  </a:lnTo>
                  <a:lnTo>
                    <a:pt x="34" y="6"/>
                  </a:lnTo>
                  <a:lnTo>
                    <a:pt x="34" y="8"/>
                  </a:lnTo>
                  <a:lnTo>
                    <a:pt x="32" y="10"/>
                  </a:lnTo>
                  <a:lnTo>
                    <a:pt x="30" y="10"/>
                  </a:lnTo>
                  <a:lnTo>
                    <a:pt x="28" y="8"/>
                  </a:lnTo>
                  <a:lnTo>
                    <a:pt x="28" y="6"/>
                  </a:lnTo>
                  <a:lnTo>
                    <a:pt x="24" y="8"/>
                  </a:lnTo>
                  <a:lnTo>
                    <a:pt x="22" y="14"/>
                  </a:lnTo>
                  <a:lnTo>
                    <a:pt x="22" y="12"/>
                  </a:lnTo>
                  <a:lnTo>
                    <a:pt x="20" y="12"/>
                  </a:lnTo>
                  <a:lnTo>
                    <a:pt x="16" y="16"/>
                  </a:lnTo>
                  <a:lnTo>
                    <a:pt x="12" y="18"/>
                  </a:lnTo>
                  <a:lnTo>
                    <a:pt x="12" y="20"/>
                  </a:lnTo>
                  <a:lnTo>
                    <a:pt x="12" y="22"/>
                  </a:lnTo>
                  <a:lnTo>
                    <a:pt x="14" y="26"/>
                  </a:lnTo>
                  <a:lnTo>
                    <a:pt x="16" y="28"/>
                  </a:lnTo>
                  <a:lnTo>
                    <a:pt x="14" y="30"/>
                  </a:lnTo>
                  <a:lnTo>
                    <a:pt x="12" y="32"/>
                  </a:lnTo>
                  <a:lnTo>
                    <a:pt x="10" y="34"/>
                  </a:lnTo>
                  <a:lnTo>
                    <a:pt x="8" y="34"/>
                  </a:lnTo>
                  <a:lnTo>
                    <a:pt x="8" y="38"/>
                  </a:lnTo>
                  <a:lnTo>
                    <a:pt x="6" y="42"/>
                  </a:lnTo>
                  <a:lnTo>
                    <a:pt x="6" y="44"/>
                  </a:lnTo>
                  <a:lnTo>
                    <a:pt x="6" y="48"/>
                  </a:lnTo>
                  <a:lnTo>
                    <a:pt x="6" y="50"/>
                  </a:lnTo>
                  <a:lnTo>
                    <a:pt x="2" y="54"/>
                  </a:lnTo>
                  <a:lnTo>
                    <a:pt x="0" y="58"/>
                  </a:lnTo>
                  <a:lnTo>
                    <a:pt x="8" y="60"/>
                  </a:lnTo>
                  <a:lnTo>
                    <a:pt x="10" y="64"/>
                  </a:lnTo>
                  <a:lnTo>
                    <a:pt x="12" y="68"/>
                  </a:lnTo>
                  <a:lnTo>
                    <a:pt x="14" y="72"/>
                  </a:lnTo>
                  <a:lnTo>
                    <a:pt x="16" y="74"/>
                  </a:lnTo>
                  <a:lnTo>
                    <a:pt x="18" y="74"/>
                  </a:lnTo>
                  <a:lnTo>
                    <a:pt x="16" y="78"/>
                  </a:lnTo>
                  <a:lnTo>
                    <a:pt x="16" y="80"/>
                  </a:lnTo>
                  <a:lnTo>
                    <a:pt x="14" y="84"/>
                  </a:lnTo>
                  <a:lnTo>
                    <a:pt x="14" y="86"/>
                  </a:lnTo>
                  <a:lnTo>
                    <a:pt x="14" y="90"/>
                  </a:lnTo>
                  <a:lnTo>
                    <a:pt x="16" y="9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6" name="Freeform 608">
              <a:extLst>
                <a:ext uri="{FF2B5EF4-FFF2-40B4-BE49-F238E27FC236}">
                  <a16:creationId xmlns:a16="http://schemas.microsoft.com/office/drawing/2014/main" id="{E71230F4-FB74-4A85-9231-3CA363190540}"/>
                </a:ext>
              </a:extLst>
            </p:cNvPr>
            <p:cNvSpPr>
              <a:spLocks/>
            </p:cNvSpPr>
            <p:nvPr/>
          </p:nvSpPr>
          <p:spPr bwMode="gray">
            <a:xfrm>
              <a:off x="4560365" y="3179990"/>
              <a:ext cx="37668" cy="65920"/>
            </a:xfrm>
            <a:custGeom>
              <a:avLst/>
              <a:gdLst>
                <a:gd name="T0" fmla="*/ 2147483647 w 20"/>
                <a:gd name="T1" fmla="*/ 0 h 36"/>
                <a:gd name="T2" fmla="*/ 2147483647 w 20"/>
                <a:gd name="T3" fmla="*/ 0 h 36"/>
                <a:gd name="T4" fmla="*/ 0 w 20"/>
                <a:gd name="T5" fmla="*/ 2147483647 h 36"/>
                <a:gd name="T6" fmla="*/ 0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2147483647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2147483647 h 36"/>
                <a:gd name="T36" fmla="*/ 2147483647 w 20"/>
                <a:gd name="T37" fmla="*/ 2147483647 h 36"/>
                <a:gd name="T38" fmla="*/ 2147483647 w 20"/>
                <a:gd name="T39" fmla="*/ 0 h 36"/>
                <a:gd name="T40" fmla="*/ 2147483647 w 20"/>
                <a:gd name="T41" fmla="*/ 0 h 36"/>
                <a:gd name="T42" fmla="*/ 2147483647 w 20"/>
                <a:gd name="T43" fmla="*/ 0 h 36"/>
                <a:gd name="T44" fmla="*/ 2147483647 w 20"/>
                <a:gd name="T45" fmla="*/ 0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36"/>
                <a:gd name="T71" fmla="*/ 20 w 20"/>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36">
                  <a:moveTo>
                    <a:pt x="8" y="0"/>
                  </a:moveTo>
                  <a:lnTo>
                    <a:pt x="8" y="0"/>
                  </a:lnTo>
                  <a:lnTo>
                    <a:pt x="0" y="6"/>
                  </a:lnTo>
                  <a:lnTo>
                    <a:pt x="2" y="18"/>
                  </a:lnTo>
                  <a:lnTo>
                    <a:pt x="4" y="32"/>
                  </a:lnTo>
                  <a:lnTo>
                    <a:pt x="6" y="34"/>
                  </a:lnTo>
                  <a:lnTo>
                    <a:pt x="6" y="36"/>
                  </a:lnTo>
                  <a:lnTo>
                    <a:pt x="10" y="36"/>
                  </a:lnTo>
                  <a:lnTo>
                    <a:pt x="12" y="34"/>
                  </a:lnTo>
                  <a:lnTo>
                    <a:pt x="10" y="34"/>
                  </a:lnTo>
                  <a:lnTo>
                    <a:pt x="16" y="32"/>
                  </a:lnTo>
                  <a:lnTo>
                    <a:pt x="18" y="18"/>
                  </a:lnTo>
                  <a:lnTo>
                    <a:pt x="20" y="10"/>
                  </a:lnTo>
                  <a:lnTo>
                    <a:pt x="14" y="0"/>
                  </a:lnTo>
                  <a:lnTo>
                    <a:pt x="8"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7" name="Freeform 609">
              <a:extLst>
                <a:ext uri="{FF2B5EF4-FFF2-40B4-BE49-F238E27FC236}">
                  <a16:creationId xmlns:a16="http://schemas.microsoft.com/office/drawing/2014/main" id="{380E9CA1-41EE-4852-93B1-A8E6B884AFF3}"/>
                </a:ext>
              </a:extLst>
            </p:cNvPr>
            <p:cNvSpPr>
              <a:spLocks/>
            </p:cNvSpPr>
            <p:nvPr/>
          </p:nvSpPr>
          <p:spPr bwMode="gray">
            <a:xfrm>
              <a:off x="4527406" y="3003421"/>
              <a:ext cx="240127" cy="306057"/>
            </a:xfrm>
            <a:custGeom>
              <a:avLst/>
              <a:gdLst>
                <a:gd name="T0" fmla="*/ 2147483647 w 130"/>
                <a:gd name="T1" fmla="*/ 2147483647 h 166"/>
                <a:gd name="T2" fmla="*/ 2147483647 w 130"/>
                <a:gd name="T3" fmla="*/ 2147483647 h 166"/>
                <a:gd name="T4" fmla="*/ 2147483647 w 130"/>
                <a:gd name="T5" fmla="*/ 2147483647 h 166"/>
                <a:gd name="T6" fmla="*/ 2147483647 w 130"/>
                <a:gd name="T7" fmla="*/ 2147483647 h 166"/>
                <a:gd name="T8" fmla="*/ 2147483647 w 130"/>
                <a:gd name="T9" fmla="*/ 2147483647 h 166"/>
                <a:gd name="T10" fmla="*/ 2147483647 w 130"/>
                <a:gd name="T11" fmla="*/ 2147483647 h 166"/>
                <a:gd name="T12" fmla="*/ 2147483647 w 130"/>
                <a:gd name="T13" fmla="*/ 2147483647 h 166"/>
                <a:gd name="T14" fmla="*/ 2147483647 w 130"/>
                <a:gd name="T15" fmla="*/ 2147483647 h 166"/>
                <a:gd name="T16" fmla="*/ 2147483647 w 130"/>
                <a:gd name="T17" fmla="*/ 2147483647 h 166"/>
                <a:gd name="T18" fmla="*/ 2147483647 w 130"/>
                <a:gd name="T19" fmla="*/ 2147483647 h 166"/>
                <a:gd name="T20" fmla="*/ 2147483647 w 130"/>
                <a:gd name="T21" fmla="*/ 2147483647 h 166"/>
                <a:gd name="T22" fmla="*/ 2147483647 w 130"/>
                <a:gd name="T23" fmla="*/ 2147483647 h 166"/>
                <a:gd name="T24" fmla="*/ 2147483647 w 130"/>
                <a:gd name="T25" fmla="*/ 2147483647 h 166"/>
                <a:gd name="T26" fmla="*/ 2147483647 w 130"/>
                <a:gd name="T27" fmla="*/ 2147483647 h 166"/>
                <a:gd name="T28" fmla="*/ 2147483647 w 130"/>
                <a:gd name="T29" fmla="*/ 2147483647 h 166"/>
                <a:gd name="T30" fmla="*/ 2147483647 w 130"/>
                <a:gd name="T31" fmla="*/ 2147483647 h 166"/>
                <a:gd name="T32" fmla="*/ 2147483647 w 130"/>
                <a:gd name="T33" fmla="*/ 2147483647 h 166"/>
                <a:gd name="T34" fmla="*/ 2147483647 w 130"/>
                <a:gd name="T35" fmla="*/ 2147483647 h 166"/>
                <a:gd name="T36" fmla="*/ 2147483647 w 130"/>
                <a:gd name="T37" fmla="*/ 2147483647 h 166"/>
                <a:gd name="T38" fmla="*/ 2147483647 w 130"/>
                <a:gd name="T39" fmla="*/ 2147483647 h 166"/>
                <a:gd name="T40" fmla="*/ 2147483647 w 130"/>
                <a:gd name="T41" fmla="*/ 2147483647 h 166"/>
                <a:gd name="T42" fmla="*/ 2147483647 w 130"/>
                <a:gd name="T43" fmla="*/ 2147483647 h 166"/>
                <a:gd name="T44" fmla="*/ 2147483647 w 130"/>
                <a:gd name="T45" fmla="*/ 2147483647 h 166"/>
                <a:gd name="T46" fmla="*/ 2147483647 w 130"/>
                <a:gd name="T47" fmla="*/ 2147483647 h 166"/>
                <a:gd name="T48" fmla="*/ 2147483647 w 130"/>
                <a:gd name="T49" fmla="*/ 2147483647 h 166"/>
                <a:gd name="T50" fmla="*/ 2147483647 w 130"/>
                <a:gd name="T51" fmla="*/ 2147483647 h 166"/>
                <a:gd name="T52" fmla="*/ 2147483647 w 130"/>
                <a:gd name="T53" fmla="*/ 2147483647 h 166"/>
                <a:gd name="T54" fmla="*/ 2147483647 w 130"/>
                <a:gd name="T55" fmla="*/ 2147483647 h 166"/>
                <a:gd name="T56" fmla="*/ 2147483647 w 130"/>
                <a:gd name="T57" fmla="*/ 2147483647 h 166"/>
                <a:gd name="T58" fmla="*/ 2147483647 w 130"/>
                <a:gd name="T59" fmla="*/ 2147483647 h 166"/>
                <a:gd name="T60" fmla="*/ 2147483647 w 130"/>
                <a:gd name="T61" fmla="*/ 2147483647 h 166"/>
                <a:gd name="T62" fmla="*/ 2147483647 w 130"/>
                <a:gd name="T63" fmla="*/ 2147483647 h 166"/>
                <a:gd name="T64" fmla="*/ 2147483647 w 130"/>
                <a:gd name="T65" fmla="*/ 2147483647 h 166"/>
                <a:gd name="T66" fmla="*/ 2147483647 w 130"/>
                <a:gd name="T67" fmla="*/ 2147483647 h 166"/>
                <a:gd name="T68" fmla="*/ 2147483647 w 130"/>
                <a:gd name="T69" fmla="*/ 2147483647 h 166"/>
                <a:gd name="T70" fmla="*/ 2147483647 w 130"/>
                <a:gd name="T71" fmla="*/ 2147483647 h 166"/>
                <a:gd name="T72" fmla="*/ 2147483647 w 130"/>
                <a:gd name="T73" fmla="*/ 2147483647 h 166"/>
                <a:gd name="T74" fmla="*/ 2147483647 w 130"/>
                <a:gd name="T75" fmla="*/ 2147483647 h 166"/>
                <a:gd name="T76" fmla="*/ 2147483647 w 130"/>
                <a:gd name="T77" fmla="*/ 2147483647 h 166"/>
                <a:gd name="T78" fmla="*/ 2147483647 w 130"/>
                <a:gd name="T79" fmla="*/ 2147483647 h 166"/>
                <a:gd name="T80" fmla="*/ 2147483647 w 130"/>
                <a:gd name="T81" fmla="*/ 2147483647 h 166"/>
                <a:gd name="T82" fmla="*/ 2147483647 w 130"/>
                <a:gd name="T83" fmla="*/ 2147483647 h 166"/>
                <a:gd name="T84" fmla="*/ 2147483647 w 130"/>
                <a:gd name="T85" fmla="*/ 2147483647 h 166"/>
                <a:gd name="T86" fmla="*/ 2147483647 w 130"/>
                <a:gd name="T87" fmla="*/ 2147483647 h 166"/>
                <a:gd name="T88" fmla="*/ 2147483647 w 130"/>
                <a:gd name="T89" fmla="*/ 2147483647 h 166"/>
                <a:gd name="T90" fmla="*/ 2147483647 w 130"/>
                <a:gd name="T91" fmla="*/ 2147483647 h 166"/>
                <a:gd name="T92" fmla="*/ 2147483647 w 130"/>
                <a:gd name="T93" fmla="*/ 2147483647 h 166"/>
                <a:gd name="T94" fmla="*/ 2147483647 w 130"/>
                <a:gd name="T95" fmla="*/ 2147483647 h 166"/>
                <a:gd name="T96" fmla="*/ 2147483647 w 130"/>
                <a:gd name="T97" fmla="*/ 2147483647 h 166"/>
                <a:gd name="T98" fmla="*/ 2147483647 w 130"/>
                <a:gd name="T99" fmla="*/ 2147483647 h 166"/>
                <a:gd name="T100" fmla="*/ 2147483647 w 130"/>
                <a:gd name="T101" fmla="*/ 2147483647 h 1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0"/>
                <a:gd name="T154" fmla="*/ 0 h 166"/>
                <a:gd name="T155" fmla="*/ 130 w 130"/>
                <a:gd name="T156" fmla="*/ 166 h 1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0" h="166">
                  <a:moveTo>
                    <a:pt x="6" y="56"/>
                  </a:moveTo>
                  <a:lnTo>
                    <a:pt x="6" y="56"/>
                  </a:lnTo>
                  <a:lnTo>
                    <a:pt x="10" y="56"/>
                  </a:lnTo>
                  <a:lnTo>
                    <a:pt x="14" y="54"/>
                  </a:lnTo>
                  <a:lnTo>
                    <a:pt x="16" y="50"/>
                  </a:lnTo>
                  <a:lnTo>
                    <a:pt x="18" y="48"/>
                  </a:lnTo>
                  <a:lnTo>
                    <a:pt x="20" y="46"/>
                  </a:lnTo>
                  <a:lnTo>
                    <a:pt x="20" y="44"/>
                  </a:lnTo>
                  <a:lnTo>
                    <a:pt x="24" y="44"/>
                  </a:lnTo>
                  <a:lnTo>
                    <a:pt x="26" y="44"/>
                  </a:lnTo>
                  <a:lnTo>
                    <a:pt x="32" y="48"/>
                  </a:lnTo>
                  <a:lnTo>
                    <a:pt x="36" y="52"/>
                  </a:lnTo>
                  <a:lnTo>
                    <a:pt x="42" y="64"/>
                  </a:lnTo>
                  <a:lnTo>
                    <a:pt x="48" y="74"/>
                  </a:lnTo>
                  <a:lnTo>
                    <a:pt x="54" y="84"/>
                  </a:lnTo>
                  <a:lnTo>
                    <a:pt x="58" y="84"/>
                  </a:lnTo>
                  <a:lnTo>
                    <a:pt x="64" y="90"/>
                  </a:lnTo>
                  <a:lnTo>
                    <a:pt x="72" y="98"/>
                  </a:lnTo>
                  <a:lnTo>
                    <a:pt x="80" y="100"/>
                  </a:lnTo>
                  <a:lnTo>
                    <a:pt x="86" y="104"/>
                  </a:lnTo>
                  <a:lnTo>
                    <a:pt x="86" y="106"/>
                  </a:lnTo>
                  <a:lnTo>
                    <a:pt x="90" y="108"/>
                  </a:lnTo>
                  <a:lnTo>
                    <a:pt x="92" y="108"/>
                  </a:lnTo>
                  <a:lnTo>
                    <a:pt x="92" y="112"/>
                  </a:lnTo>
                  <a:lnTo>
                    <a:pt x="92" y="114"/>
                  </a:lnTo>
                  <a:lnTo>
                    <a:pt x="96" y="116"/>
                  </a:lnTo>
                  <a:lnTo>
                    <a:pt x="100" y="118"/>
                  </a:lnTo>
                  <a:lnTo>
                    <a:pt x="102" y="120"/>
                  </a:lnTo>
                  <a:lnTo>
                    <a:pt x="104" y="130"/>
                  </a:lnTo>
                  <a:lnTo>
                    <a:pt x="104" y="136"/>
                  </a:lnTo>
                  <a:lnTo>
                    <a:pt x="102" y="136"/>
                  </a:lnTo>
                  <a:lnTo>
                    <a:pt x="100" y="142"/>
                  </a:lnTo>
                  <a:lnTo>
                    <a:pt x="100" y="148"/>
                  </a:lnTo>
                  <a:lnTo>
                    <a:pt x="82" y="148"/>
                  </a:lnTo>
                  <a:lnTo>
                    <a:pt x="66" y="148"/>
                  </a:lnTo>
                  <a:lnTo>
                    <a:pt x="66" y="150"/>
                  </a:lnTo>
                  <a:lnTo>
                    <a:pt x="66" y="152"/>
                  </a:lnTo>
                  <a:lnTo>
                    <a:pt x="80" y="160"/>
                  </a:lnTo>
                  <a:lnTo>
                    <a:pt x="92" y="166"/>
                  </a:lnTo>
                  <a:lnTo>
                    <a:pt x="94" y="152"/>
                  </a:lnTo>
                  <a:lnTo>
                    <a:pt x="94" y="148"/>
                  </a:lnTo>
                  <a:lnTo>
                    <a:pt x="100" y="150"/>
                  </a:lnTo>
                  <a:lnTo>
                    <a:pt x="106" y="150"/>
                  </a:lnTo>
                  <a:lnTo>
                    <a:pt x="112" y="140"/>
                  </a:lnTo>
                  <a:lnTo>
                    <a:pt x="116" y="132"/>
                  </a:lnTo>
                  <a:lnTo>
                    <a:pt x="116" y="126"/>
                  </a:lnTo>
                  <a:lnTo>
                    <a:pt x="110" y="120"/>
                  </a:lnTo>
                  <a:lnTo>
                    <a:pt x="110" y="118"/>
                  </a:lnTo>
                  <a:lnTo>
                    <a:pt x="110" y="116"/>
                  </a:lnTo>
                  <a:lnTo>
                    <a:pt x="112" y="110"/>
                  </a:lnTo>
                  <a:lnTo>
                    <a:pt x="116" y="110"/>
                  </a:lnTo>
                  <a:lnTo>
                    <a:pt x="126" y="114"/>
                  </a:lnTo>
                  <a:lnTo>
                    <a:pt x="126" y="118"/>
                  </a:lnTo>
                  <a:lnTo>
                    <a:pt x="128" y="118"/>
                  </a:lnTo>
                  <a:lnTo>
                    <a:pt x="130" y="116"/>
                  </a:lnTo>
                  <a:lnTo>
                    <a:pt x="128" y="112"/>
                  </a:lnTo>
                  <a:lnTo>
                    <a:pt x="124" y="106"/>
                  </a:lnTo>
                  <a:lnTo>
                    <a:pt x="116" y="98"/>
                  </a:lnTo>
                  <a:lnTo>
                    <a:pt x="110" y="98"/>
                  </a:lnTo>
                  <a:lnTo>
                    <a:pt x="108" y="96"/>
                  </a:lnTo>
                  <a:lnTo>
                    <a:pt x="106" y="94"/>
                  </a:lnTo>
                  <a:lnTo>
                    <a:pt x="106" y="92"/>
                  </a:lnTo>
                  <a:lnTo>
                    <a:pt x="106" y="90"/>
                  </a:lnTo>
                  <a:lnTo>
                    <a:pt x="106" y="86"/>
                  </a:lnTo>
                  <a:lnTo>
                    <a:pt x="90" y="84"/>
                  </a:lnTo>
                  <a:lnTo>
                    <a:pt x="86" y="80"/>
                  </a:lnTo>
                  <a:lnTo>
                    <a:pt x="82" y="76"/>
                  </a:lnTo>
                  <a:lnTo>
                    <a:pt x="80" y="70"/>
                  </a:lnTo>
                  <a:lnTo>
                    <a:pt x="80" y="64"/>
                  </a:lnTo>
                  <a:lnTo>
                    <a:pt x="76" y="60"/>
                  </a:lnTo>
                  <a:lnTo>
                    <a:pt x="70" y="56"/>
                  </a:lnTo>
                  <a:lnTo>
                    <a:pt x="60" y="50"/>
                  </a:lnTo>
                  <a:lnTo>
                    <a:pt x="60" y="42"/>
                  </a:lnTo>
                  <a:lnTo>
                    <a:pt x="66" y="34"/>
                  </a:lnTo>
                  <a:lnTo>
                    <a:pt x="64" y="32"/>
                  </a:lnTo>
                  <a:lnTo>
                    <a:pt x="62" y="32"/>
                  </a:lnTo>
                  <a:lnTo>
                    <a:pt x="62" y="28"/>
                  </a:lnTo>
                  <a:lnTo>
                    <a:pt x="78" y="26"/>
                  </a:lnTo>
                  <a:lnTo>
                    <a:pt x="76" y="24"/>
                  </a:lnTo>
                  <a:lnTo>
                    <a:pt x="76" y="22"/>
                  </a:lnTo>
                  <a:lnTo>
                    <a:pt x="76" y="18"/>
                  </a:lnTo>
                  <a:lnTo>
                    <a:pt x="76" y="14"/>
                  </a:lnTo>
                  <a:lnTo>
                    <a:pt x="74" y="12"/>
                  </a:lnTo>
                  <a:lnTo>
                    <a:pt x="72" y="12"/>
                  </a:lnTo>
                  <a:lnTo>
                    <a:pt x="72" y="8"/>
                  </a:lnTo>
                  <a:lnTo>
                    <a:pt x="74" y="6"/>
                  </a:lnTo>
                  <a:lnTo>
                    <a:pt x="66" y="6"/>
                  </a:lnTo>
                  <a:lnTo>
                    <a:pt x="64" y="6"/>
                  </a:lnTo>
                  <a:lnTo>
                    <a:pt x="62" y="6"/>
                  </a:lnTo>
                  <a:lnTo>
                    <a:pt x="60" y="4"/>
                  </a:lnTo>
                  <a:lnTo>
                    <a:pt x="56" y="4"/>
                  </a:lnTo>
                  <a:lnTo>
                    <a:pt x="54" y="4"/>
                  </a:lnTo>
                  <a:lnTo>
                    <a:pt x="52" y="2"/>
                  </a:lnTo>
                  <a:lnTo>
                    <a:pt x="50" y="0"/>
                  </a:lnTo>
                  <a:lnTo>
                    <a:pt x="50" y="2"/>
                  </a:lnTo>
                  <a:lnTo>
                    <a:pt x="48" y="4"/>
                  </a:lnTo>
                  <a:lnTo>
                    <a:pt x="46" y="2"/>
                  </a:lnTo>
                  <a:lnTo>
                    <a:pt x="42" y="2"/>
                  </a:lnTo>
                  <a:lnTo>
                    <a:pt x="42" y="4"/>
                  </a:lnTo>
                  <a:lnTo>
                    <a:pt x="42" y="6"/>
                  </a:lnTo>
                  <a:lnTo>
                    <a:pt x="40" y="6"/>
                  </a:lnTo>
                  <a:lnTo>
                    <a:pt x="42" y="6"/>
                  </a:lnTo>
                  <a:lnTo>
                    <a:pt x="42" y="8"/>
                  </a:lnTo>
                  <a:lnTo>
                    <a:pt x="40" y="10"/>
                  </a:lnTo>
                  <a:lnTo>
                    <a:pt x="38" y="10"/>
                  </a:lnTo>
                  <a:lnTo>
                    <a:pt x="36" y="10"/>
                  </a:lnTo>
                  <a:lnTo>
                    <a:pt x="34" y="12"/>
                  </a:lnTo>
                  <a:lnTo>
                    <a:pt x="32" y="14"/>
                  </a:lnTo>
                  <a:lnTo>
                    <a:pt x="30" y="14"/>
                  </a:lnTo>
                  <a:lnTo>
                    <a:pt x="28" y="16"/>
                  </a:lnTo>
                  <a:lnTo>
                    <a:pt x="30" y="20"/>
                  </a:lnTo>
                  <a:lnTo>
                    <a:pt x="28" y="20"/>
                  </a:lnTo>
                  <a:lnTo>
                    <a:pt x="26" y="20"/>
                  </a:lnTo>
                  <a:lnTo>
                    <a:pt x="22" y="18"/>
                  </a:lnTo>
                  <a:lnTo>
                    <a:pt x="20" y="18"/>
                  </a:lnTo>
                  <a:lnTo>
                    <a:pt x="18" y="16"/>
                  </a:lnTo>
                  <a:lnTo>
                    <a:pt x="18" y="14"/>
                  </a:lnTo>
                  <a:lnTo>
                    <a:pt x="16" y="14"/>
                  </a:lnTo>
                  <a:lnTo>
                    <a:pt x="16" y="18"/>
                  </a:lnTo>
                  <a:lnTo>
                    <a:pt x="16" y="20"/>
                  </a:lnTo>
                  <a:lnTo>
                    <a:pt x="12" y="20"/>
                  </a:lnTo>
                  <a:lnTo>
                    <a:pt x="8" y="24"/>
                  </a:lnTo>
                  <a:lnTo>
                    <a:pt x="6" y="28"/>
                  </a:lnTo>
                  <a:lnTo>
                    <a:pt x="4" y="30"/>
                  </a:lnTo>
                  <a:lnTo>
                    <a:pt x="4" y="32"/>
                  </a:lnTo>
                  <a:lnTo>
                    <a:pt x="2" y="32"/>
                  </a:lnTo>
                  <a:lnTo>
                    <a:pt x="0" y="34"/>
                  </a:lnTo>
                  <a:lnTo>
                    <a:pt x="0" y="36"/>
                  </a:lnTo>
                  <a:lnTo>
                    <a:pt x="0" y="38"/>
                  </a:lnTo>
                  <a:lnTo>
                    <a:pt x="2" y="38"/>
                  </a:lnTo>
                  <a:lnTo>
                    <a:pt x="2" y="40"/>
                  </a:lnTo>
                  <a:lnTo>
                    <a:pt x="2" y="42"/>
                  </a:lnTo>
                  <a:lnTo>
                    <a:pt x="2" y="46"/>
                  </a:lnTo>
                  <a:lnTo>
                    <a:pt x="2" y="48"/>
                  </a:lnTo>
                  <a:lnTo>
                    <a:pt x="4" y="48"/>
                  </a:lnTo>
                  <a:lnTo>
                    <a:pt x="6" y="48"/>
                  </a:lnTo>
                  <a:lnTo>
                    <a:pt x="8" y="48"/>
                  </a:lnTo>
                  <a:lnTo>
                    <a:pt x="8" y="50"/>
                  </a:lnTo>
                  <a:lnTo>
                    <a:pt x="4" y="52"/>
                  </a:lnTo>
                  <a:lnTo>
                    <a:pt x="4" y="54"/>
                  </a:lnTo>
                  <a:lnTo>
                    <a:pt x="6" y="54"/>
                  </a:lnTo>
                  <a:lnTo>
                    <a:pt x="6" y="5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8" name="Freeform 610">
              <a:extLst>
                <a:ext uri="{FF2B5EF4-FFF2-40B4-BE49-F238E27FC236}">
                  <a16:creationId xmlns:a16="http://schemas.microsoft.com/office/drawing/2014/main" id="{4BC65AEC-B246-4C27-803D-44796863D2D7}"/>
                </a:ext>
              </a:extLst>
            </p:cNvPr>
            <p:cNvSpPr>
              <a:spLocks noEditPoints="1"/>
            </p:cNvSpPr>
            <p:nvPr/>
          </p:nvSpPr>
          <p:spPr bwMode="gray">
            <a:xfrm>
              <a:off x="5108889" y="3417774"/>
              <a:ext cx="28251" cy="96525"/>
            </a:xfrm>
            <a:custGeom>
              <a:avLst/>
              <a:gdLst>
                <a:gd name="T0" fmla="*/ 2147483647 w 16"/>
                <a:gd name="T1" fmla="*/ 2147483647 h 52"/>
                <a:gd name="T2" fmla="*/ 2147483647 w 16"/>
                <a:gd name="T3" fmla="*/ 2147483647 h 52"/>
                <a:gd name="T4" fmla="*/ 2147483647 w 16"/>
                <a:gd name="T5" fmla="*/ 2147483647 h 52"/>
                <a:gd name="T6" fmla="*/ 2147483647 w 16"/>
                <a:gd name="T7" fmla="*/ 2147483647 h 52"/>
                <a:gd name="T8" fmla="*/ 2147483647 w 16"/>
                <a:gd name="T9" fmla="*/ 2147483647 h 52"/>
                <a:gd name="T10" fmla="*/ 2147483647 w 16"/>
                <a:gd name="T11" fmla="*/ 2147483647 h 52"/>
                <a:gd name="T12" fmla="*/ 2147483647 w 16"/>
                <a:gd name="T13" fmla="*/ 2147483647 h 52"/>
                <a:gd name="T14" fmla="*/ 2147483647 w 16"/>
                <a:gd name="T15" fmla="*/ 2147483647 h 52"/>
                <a:gd name="T16" fmla="*/ 2147483647 w 16"/>
                <a:gd name="T17" fmla="*/ 2147483647 h 52"/>
                <a:gd name="T18" fmla="*/ 2147483647 w 16"/>
                <a:gd name="T19" fmla="*/ 2147483647 h 52"/>
                <a:gd name="T20" fmla="*/ 2147483647 w 16"/>
                <a:gd name="T21" fmla="*/ 2147483647 h 52"/>
                <a:gd name="T22" fmla="*/ 2147483647 w 16"/>
                <a:gd name="T23" fmla="*/ 2147483647 h 52"/>
                <a:gd name="T24" fmla="*/ 2147483647 w 16"/>
                <a:gd name="T25" fmla="*/ 2147483647 h 52"/>
                <a:gd name="T26" fmla="*/ 2147483647 w 16"/>
                <a:gd name="T27" fmla="*/ 2147483647 h 52"/>
                <a:gd name="T28" fmla="*/ 2147483647 w 16"/>
                <a:gd name="T29" fmla="*/ 2147483647 h 52"/>
                <a:gd name="T30" fmla="*/ 2147483647 w 16"/>
                <a:gd name="T31" fmla="*/ 2147483647 h 52"/>
                <a:gd name="T32" fmla="*/ 2147483647 w 16"/>
                <a:gd name="T33" fmla="*/ 2147483647 h 52"/>
                <a:gd name="T34" fmla="*/ 2147483647 w 16"/>
                <a:gd name="T35" fmla="*/ 2147483647 h 52"/>
                <a:gd name="T36" fmla="*/ 2147483647 w 16"/>
                <a:gd name="T37" fmla="*/ 0 h 52"/>
                <a:gd name="T38" fmla="*/ 2147483647 w 16"/>
                <a:gd name="T39" fmla="*/ 0 h 52"/>
                <a:gd name="T40" fmla="*/ 2147483647 w 16"/>
                <a:gd name="T41" fmla="*/ 2147483647 h 52"/>
                <a:gd name="T42" fmla="*/ 2147483647 w 16"/>
                <a:gd name="T43" fmla="*/ 2147483647 h 52"/>
                <a:gd name="T44" fmla="*/ 2147483647 w 16"/>
                <a:gd name="T45" fmla="*/ 2147483647 h 52"/>
                <a:gd name="T46" fmla="*/ 2147483647 w 16"/>
                <a:gd name="T47" fmla="*/ 2147483647 h 52"/>
                <a:gd name="T48" fmla="*/ 2147483647 w 16"/>
                <a:gd name="T49" fmla="*/ 2147483647 h 52"/>
                <a:gd name="T50" fmla="*/ 2147483647 w 16"/>
                <a:gd name="T51" fmla="*/ 2147483647 h 52"/>
                <a:gd name="T52" fmla="*/ 2147483647 w 16"/>
                <a:gd name="T53" fmla="*/ 2147483647 h 52"/>
                <a:gd name="T54" fmla="*/ 2147483647 w 16"/>
                <a:gd name="T55" fmla="*/ 2147483647 h 52"/>
                <a:gd name="T56" fmla="*/ 2147483647 w 16"/>
                <a:gd name="T57" fmla="*/ 2147483647 h 52"/>
                <a:gd name="T58" fmla="*/ 2147483647 w 16"/>
                <a:gd name="T59" fmla="*/ 2147483647 h 52"/>
                <a:gd name="T60" fmla="*/ 2147483647 w 16"/>
                <a:gd name="T61" fmla="*/ 2147483647 h 52"/>
                <a:gd name="T62" fmla="*/ 2147483647 w 16"/>
                <a:gd name="T63" fmla="*/ 2147483647 h 52"/>
                <a:gd name="T64" fmla="*/ 2147483647 w 16"/>
                <a:gd name="T65" fmla="*/ 2147483647 h 52"/>
                <a:gd name="T66" fmla="*/ 2147483647 w 16"/>
                <a:gd name="T67" fmla="*/ 2147483647 h 52"/>
                <a:gd name="T68" fmla="*/ 2147483647 w 16"/>
                <a:gd name="T69" fmla="*/ 2147483647 h 52"/>
                <a:gd name="T70" fmla="*/ 2147483647 w 16"/>
                <a:gd name="T71" fmla="*/ 2147483647 h 52"/>
                <a:gd name="T72" fmla="*/ 2147483647 w 16"/>
                <a:gd name="T73" fmla="*/ 2147483647 h 52"/>
                <a:gd name="T74" fmla="*/ 2147483647 w 16"/>
                <a:gd name="T75" fmla="*/ 2147483647 h 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
                <a:gd name="T115" fmla="*/ 0 h 52"/>
                <a:gd name="T116" fmla="*/ 16 w 16"/>
                <a:gd name="T117" fmla="*/ 52 h 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 h="52">
                  <a:moveTo>
                    <a:pt x="4" y="16"/>
                  </a:moveTo>
                  <a:lnTo>
                    <a:pt x="4" y="16"/>
                  </a:lnTo>
                  <a:lnTo>
                    <a:pt x="0" y="18"/>
                  </a:lnTo>
                  <a:lnTo>
                    <a:pt x="2" y="22"/>
                  </a:lnTo>
                  <a:lnTo>
                    <a:pt x="6" y="18"/>
                  </a:lnTo>
                  <a:lnTo>
                    <a:pt x="4" y="16"/>
                  </a:lnTo>
                  <a:close/>
                  <a:moveTo>
                    <a:pt x="16" y="8"/>
                  </a:moveTo>
                  <a:lnTo>
                    <a:pt x="16" y="8"/>
                  </a:lnTo>
                  <a:lnTo>
                    <a:pt x="16" y="10"/>
                  </a:lnTo>
                  <a:lnTo>
                    <a:pt x="16" y="12"/>
                  </a:lnTo>
                  <a:lnTo>
                    <a:pt x="16" y="16"/>
                  </a:lnTo>
                  <a:lnTo>
                    <a:pt x="16" y="18"/>
                  </a:lnTo>
                  <a:lnTo>
                    <a:pt x="16" y="24"/>
                  </a:lnTo>
                  <a:lnTo>
                    <a:pt x="16" y="26"/>
                  </a:lnTo>
                  <a:lnTo>
                    <a:pt x="14" y="26"/>
                  </a:lnTo>
                  <a:lnTo>
                    <a:pt x="12" y="26"/>
                  </a:lnTo>
                  <a:lnTo>
                    <a:pt x="10" y="26"/>
                  </a:lnTo>
                  <a:lnTo>
                    <a:pt x="12" y="22"/>
                  </a:lnTo>
                  <a:lnTo>
                    <a:pt x="12" y="16"/>
                  </a:lnTo>
                  <a:lnTo>
                    <a:pt x="12" y="12"/>
                  </a:lnTo>
                  <a:lnTo>
                    <a:pt x="12" y="10"/>
                  </a:lnTo>
                  <a:lnTo>
                    <a:pt x="14" y="8"/>
                  </a:lnTo>
                  <a:lnTo>
                    <a:pt x="16" y="8"/>
                  </a:lnTo>
                  <a:close/>
                  <a:moveTo>
                    <a:pt x="16" y="8"/>
                  </a:moveTo>
                  <a:lnTo>
                    <a:pt x="16" y="8"/>
                  </a:lnTo>
                  <a:lnTo>
                    <a:pt x="16" y="0"/>
                  </a:lnTo>
                  <a:lnTo>
                    <a:pt x="12" y="0"/>
                  </a:lnTo>
                  <a:lnTo>
                    <a:pt x="10" y="2"/>
                  </a:lnTo>
                  <a:lnTo>
                    <a:pt x="6" y="6"/>
                  </a:lnTo>
                  <a:lnTo>
                    <a:pt x="6" y="10"/>
                  </a:lnTo>
                  <a:lnTo>
                    <a:pt x="6" y="14"/>
                  </a:lnTo>
                  <a:lnTo>
                    <a:pt x="4" y="16"/>
                  </a:lnTo>
                  <a:lnTo>
                    <a:pt x="6" y="18"/>
                  </a:lnTo>
                  <a:lnTo>
                    <a:pt x="2" y="22"/>
                  </a:lnTo>
                  <a:lnTo>
                    <a:pt x="4" y="28"/>
                  </a:lnTo>
                  <a:lnTo>
                    <a:pt x="6" y="48"/>
                  </a:lnTo>
                  <a:lnTo>
                    <a:pt x="4" y="52"/>
                  </a:lnTo>
                  <a:lnTo>
                    <a:pt x="10" y="46"/>
                  </a:lnTo>
                  <a:lnTo>
                    <a:pt x="14" y="40"/>
                  </a:lnTo>
                  <a:lnTo>
                    <a:pt x="14" y="38"/>
                  </a:lnTo>
                  <a:lnTo>
                    <a:pt x="14" y="30"/>
                  </a:lnTo>
                  <a:lnTo>
                    <a:pt x="16" y="26"/>
                  </a:lnTo>
                  <a:lnTo>
                    <a:pt x="14" y="26"/>
                  </a:lnTo>
                  <a:lnTo>
                    <a:pt x="12" y="26"/>
                  </a:lnTo>
                  <a:lnTo>
                    <a:pt x="10" y="26"/>
                  </a:lnTo>
                  <a:lnTo>
                    <a:pt x="12" y="22"/>
                  </a:lnTo>
                  <a:lnTo>
                    <a:pt x="12" y="16"/>
                  </a:lnTo>
                  <a:lnTo>
                    <a:pt x="12" y="12"/>
                  </a:lnTo>
                  <a:lnTo>
                    <a:pt x="12" y="10"/>
                  </a:lnTo>
                  <a:lnTo>
                    <a:pt x="14" y="8"/>
                  </a:lnTo>
                  <a:lnTo>
                    <a:pt x="16"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49" name="Freeform 611">
              <a:extLst>
                <a:ext uri="{FF2B5EF4-FFF2-40B4-BE49-F238E27FC236}">
                  <a16:creationId xmlns:a16="http://schemas.microsoft.com/office/drawing/2014/main" id="{4AD0AB6A-6ED6-4EAB-9D90-81EC8D44B285}"/>
                </a:ext>
              </a:extLst>
            </p:cNvPr>
            <p:cNvSpPr>
              <a:spLocks noEditPoints="1"/>
            </p:cNvSpPr>
            <p:nvPr/>
          </p:nvSpPr>
          <p:spPr bwMode="gray">
            <a:xfrm>
              <a:off x="4176632" y="2732676"/>
              <a:ext cx="80043" cy="129485"/>
            </a:xfrm>
            <a:custGeom>
              <a:avLst/>
              <a:gdLst>
                <a:gd name="T0" fmla="*/ 2147483647 w 44"/>
                <a:gd name="T1" fmla="*/ 2147483647 h 70"/>
                <a:gd name="T2" fmla="*/ 2147483647 w 44"/>
                <a:gd name="T3" fmla="*/ 2147483647 h 70"/>
                <a:gd name="T4" fmla="*/ 2147483647 w 44"/>
                <a:gd name="T5" fmla="*/ 2147483647 h 70"/>
                <a:gd name="T6" fmla="*/ 2147483647 w 44"/>
                <a:gd name="T7" fmla="*/ 2147483647 h 70"/>
                <a:gd name="T8" fmla="*/ 2147483647 w 44"/>
                <a:gd name="T9" fmla="*/ 2147483647 h 70"/>
                <a:gd name="T10" fmla="*/ 2147483647 w 44"/>
                <a:gd name="T11" fmla="*/ 2147483647 h 70"/>
                <a:gd name="T12" fmla="*/ 2147483647 w 44"/>
                <a:gd name="T13" fmla="*/ 2147483647 h 70"/>
                <a:gd name="T14" fmla="*/ 2147483647 w 44"/>
                <a:gd name="T15" fmla="*/ 2147483647 h 70"/>
                <a:gd name="T16" fmla="*/ 2147483647 w 44"/>
                <a:gd name="T17" fmla="*/ 2147483647 h 70"/>
                <a:gd name="T18" fmla="*/ 2147483647 w 44"/>
                <a:gd name="T19" fmla="*/ 2147483647 h 70"/>
                <a:gd name="T20" fmla="*/ 2147483647 w 44"/>
                <a:gd name="T21" fmla="*/ 2147483647 h 70"/>
                <a:gd name="T22" fmla="*/ 0 w 44"/>
                <a:gd name="T23" fmla="*/ 2147483647 h 70"/>
                <a:gd name="T24" fmla="*/ 2147483647 w 44"/>
                <a:gd name="T25" fmla="*/ 2147483647 h 70"/>
                <a:gd name="T26" fmla="*/ 2147483647 w 44"/>
                <a:gd name="T27" fmla="*/ 2147483647 h 70"/>
                <a:gd name="T28" fmla="*/ 0 w 44"/>
                <a:gd name="T29" fmla="*/ 2147483647 h 70"/>
                <a:gd name="T30" fmla="*/ 2147483647 w 44"/>
                <a:gd name="T31" fmla="*/ 2147483647 h 70"/>
                <a:gd name="T32" fmla="*/ 2147483647 w 44"/>
                <a:gd name="T33" fmla="*/ 2147483647 h 70"/>
                <a:gd name="T34" fmla="*/ 2147483647 w 44"/>
                <a:gd name="T35" fmla="*/ 2147483647 h 70"/>
                <a:gd name="T36" fmla="*/ 2147483647 w 44"/>
                <a:gd name="T37" fmla="*/ 2147483647 h 70"/>
                <a:gd name="T38" fmla="*/ 2147483647 w 44"/>
                <a:gd name="T39" fmla="*/ 2147483647 h 70"/>
                <a:gd name="T40" fmla="*/ 2147483647 w 44"/>
                <a:gd name="T41" fmla="*/ 2147483647 h 70"/>
                <a:gd name="T42" fmla="*/ 2147483647 w 44"/>
                <a:gd name="T43" fmla="*/ 2147483647 h 70"/>
                <a:gd name="T44" fmla="*/ 2147483647 w 44"/>
                <a:gd name="T45" fmla="*/ 2147483647 h 70"/>
                <a:gd name="T46" fmla="*/ 2147483647 w 44"/>
                <a:gd name="T47" fmla="*/ 2147483647 h 70"/>
                <a:gd name="T48" fmla="*/ 2147483647 w 44"/>
                <a:gd name="T49" fmla="*/ 2147483647 h 70"/>
                <a:gd name="T50" fmla="*/ 2147483647 w 44"/>
                <a:gd name="T51" fmla="*/ 2147483647 h 70"/>
                <a:gd name="T52" fmla="*/ 2147483647 w 44"/>
                <a:gd name="T53" fmla="*/ 2147483647 h 70"/>
                <a:gd name="T54" fmla="*/ 2147483647 w 44"/>
                <a:gd name="T55" fmla="*/ 2147483647 h 70"/>
                <a:gd name="T56" fmla="*/ 2147483647 w 44"/>
                <a:gd name="T57" fmla="*/ 2147483647 h 70"/>
                <a:gd name="T58" fmla="*/ 2147483647 w 44"/>
                <a:gd name="T59" fmla="*/ 2147483647 h 70"/>
                <a:gd name="T60" fmla="*/ 2147483647 w 44"/>
                <a:gd name="T61" fmla="*/ 2147483647 h 70"/>
                <a:gd name="T62" fmla="*/ 2147483647 w 44"/>
                <a:gd name="T63" fmla="*/ 2147483647 h 70"/>
                <a:gd name="T64" fmla="*/ 2147483647 w 44"/>
                <a:gd name="T65" fmla="*/ 2147483647 h 70"/>
                <a:gd name="T66" fmla="*/ 2147483647 w 44"/>
                <a:gd name="T67" fmla="*/ 2147483647 h 70"/>
                <a:gd name="T68" fmla="*/ 2147483647 w 44"/>
                <a:gd name="T69" fmla="*/ 2147483647 h 70"/>
                <a:gd name="T70" fmla="*/ 2147483647 w 44"/>
                <a:gd name="T71" fmla="*/ 2147483647 h 70"/>
                <a:gd name="T72" fmla="*/ 2147483647 w 44"/>
                <a:gd name="T73" fmla="*/ 2147483647 h 70"/>
                <a:gd name="T74" fmla="*/ 2147483647 w 44"/>
                <a:gd name="T75" fmla="*/ 2147483647 h 70"/>
                <a:gd name="T76" fmla="*/ 2147483647 w 44"/>
                <a:gd name="T77" fmla="*/ 2147483647 h 70"/>
                <a:gd name="T78" fmla="*/ 2147483647 w 44"/>
                <a:gd name="T79" fmla="*/ 2147483647 h 70"/>
                <a:gd name="T80" fmla="*/ 2147483647 w 44"/>
                <a:gd name="T81" fmla="*/ 2147483647 h 70"/>
                <a:gd name="T82" fmla="*/ 2147483647 w 44"/>
                <a:gd name="T83" fmla="*/ 2147483647 h 7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
                <a:gd name="T127" fmla="*/ 0 h 70"/>
                <a:gd name="T128" fmla="*/ 44 w 44"/>
                <a:gd name="T129" fmla="*/ 70 h 7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 h="70">
                  <a:moveTo>
                    <a:pt x="36" y="6"/>
                  </a:moveTo>
                  <a:lnTo>
                    <a:pt x="36" y="6"/>
                  </a:lnTo>
                  <a:lnTo>
                    <a:pt x="36" y="2"/>
                  </a:lnTo>
                  <a:lnTo>
                    <a:pt x="36" y="0"/>
                  </a:lnTo>
                  <a:lnTo>
                    <a:pt x="34" y="0"/>
                  </a:lnTo>
                  <a:lnTo>
                    <a:pt x="30" y="6"/>
                  </a:lnTo>
                  <a:lnTo>
                    <a:pt x="30" y="4"/>
                  </a:lnTo>
                  <a:lnTo>
                    <a:pt x="28" y="4"/>
                  </a:lnTo>
                  <a:lnTo>
                    <a:pt x="24" y="4"/>
                  </a:lnTo>
                  <a:lnTo>
                    <a:pt x="24" y="8"/>
                  </a:lnTo>
                  <a:lnTo>
                    <a:pt x="20" y="10"/>
                  </a:lnTo>
                  <a:lnTo>
                    <a:pt x="24" y="10"/>
                  </a:lnTo>
                  <a:lnTo>
                    <a:pt x="24" y="14"/>
                  </a:lnTo>
                  <a:lnTo>
                    <a:pt x="20" y="14"/>
                  </a:lnTo>
                  <a:lnTo>
                    <a:pt x="18" y="18"/>
                  </a:lnTo>
                  <a:lnTo>
                    <a:pt x="14" y="20"/>
                  </a:lnTo>
                  <a:lnTo>
                    <a:pt x="10" y="20"/>
                  </a:lnTo>
                  <a:lnTo>
                    <a:pt x="8" y="20"/>
                  </a:lnTo>
                  <a:lnTo>
                    <a:pt x="6" y="18"/>
                  </a:lnTo>
                  <a:lnTo>
                    <a:pt x="6" y="24"/>
                  </a:lnTo>
                  <a:lnTo>
                    <a:pt x="8" y="24"/>
                  </a:lnTo>
                  <a:lnTo>
                    <a:pt x="8" y="26"/>
                  </a:lnTo>
                  <a:lnTo>
                    <a:pt x="8" y="28"/>
                  </a:lnTo>
                  <a:lnTo>
                    <a:pt x="10" y="30"/>
                  </a:lnTo>
                  <a:lnTo>
                    <a:pt x="2" y="30"/>
                  </a:lnTo>
                  <a:lnTo>
                    <a:pt x="0" y="34"/>
                  </a:lnTo>
                  <a:lnTo>
                    <a:pt x="4" y="38"/>
                  </a:lnTo>
                  <a:lnTo>
                    <a:pt x="12" y="38"/>
                  </a:lnTo>
                  <a:lnTo>
                    <a:pt x="8" y="48"/>
                  </a:lnTo>
                  <a:lnTo>
                    <a:pt x="4" y="60"/>
                  </a:lnTo>
                  <a:lnTo>
                    <a:pt x="0" y="60"/>
                  </a:lnTo>
                  <a:lnTo>
                    <a:pt x="0" y="62"/>
                  </a:lnTo>
                  <a:lnTo>
                    <a:pt x="2" y="66"/>
                  </a:lnTo>
                  <a:lnTo>
                    <a:pt x="6" y="66"/>
                  </a:lnTo>
                  <a:lnTo>
                    <a:pt x="4" y="70"/>
                  </a:lnTo>
                  <a:lnTo>
                    <a:pt x="8" y="70"/>
                  </a:lnTo>
                  <a:lnTo>
                    <a:pt x="8" y="68"/>
                  </a:lnTo>
                  <a:lnTo>
                    <a:pt x="10" y="68"/>
                  </a:lnTo>
                  <a:lnTo>
                    <a:pt x="10" y="66"/>
                  </a:lnTo>
                  <a:lnTo>
                    <a:pt x="12" y="66"/>
                  </a:lnTo>
                  <a:lnTo>
                    <a:pt x="14" y="68"/>
                  </a:lnTo>
                  <a:lnTo>
                    <a:pt x="14" y="70"/>
                  </a:lnTo>
                  <a:lnTo>
                    <a:pt x="18" y="70"/>
                  </a:lnTo>
                  <a:lnTo>
                    <a:pt x="18" y="68"/>
                  </a:lnTo>
                  <a:lnTo>
                    <a:pt x="24" y="62"/>
                  </a:lnTo>
                  <a:lnTo>
                    <a:pt x="26" y="62"/>
                  </a:lnTo>
                  <a:lnTo>
                    <a:pt x="30" y="62"/>
                  </a:lnTo>
                  <a:lnTo>
                    <a:pt x="30" y="58"/>
                  </a:lnTo>
                  <a:lnTo>
                    <a:pt x="36" y="58"/>
                  </a:lnTo>
                  <a:lnTo>
                    <a:pt x="36" y="54"/>
                  </a:lnTo>
                  <a:lnTo>
                    <a:pt x="38" y="56"/>
                  </a:lnTo>
                  <a:lnTo>
                    <a:pt x="40" y="56"/>
                  </a:lnTo>
                  <a:lnTo>
                    <a:pt x="40" y="54"/>
                  </a:lnTo>
                  <a:lnTo>
                    <a:pt x="38" y="54"/>
                  </a:lnTo>
                  <a:lnTo>
                    <a:pt x="38" y="52"/>
                  </a:lnTo>
                  <a:lnTo>
                    <a:pt x="42" y="48"/>
                  </a:lnTo>
                  <a:lnTo>
                    <a:pt x="42" y="44"/>
                  </a:lnTo>
                  <a:lnTo>
                    <a:pt x="38" y="36"/>
                  </a:lnTo>
                  <a:lnTo>
                    <a:pt x="40" y="26"/>
                  </a:lnTo>
                  <a:lnTo>
                    <a:pt x="44" y="22"/>
                  </a:lnTo>
                  <a:lnTo>
                    <a:pt x="38" y="24"/>
                  </a:lnTo>
                  <a:lnTo>
                    <a:pt x="36" y="22"/>
                  </a:lnTo>
                  <a:lnTo>
                    <a:pt x="32" y="24"/>
                  </a:lnTo>
                  <a:lnTo>
                    <a:pt x="30" y="22"/>
                  </a:lnTo>
                  <a:lnTo>
                    <a:pt x="30" y="20"/>
                  </a:lnTo>
                  <a:lnTo>
                    <a:pt x="28" y="20"/>
                  </a:lnTo>
                  <a:lnTo>
                    <a:pt x="26" y="18"/>
                  </a:lnTo>
                  <a:lnTo>
                    <a:pt x="26" y="16"/>
                  </a:lnTo>
                  <a:lnTo>
                    <a:pt x="28" y="14"/>
                  </a:lnTo>
                  <a:lnTo>
                    <a:pt x="30" y="14"/>
                  </a:lnTo>
                  <a:lnTo>
                    <a:pt x="30" y="12"/>
                  </a:lnTo>
                  <a:lnTo>
                    <a:pt x="32" y="10"/>
                  </a:lnTo>
                  <a:lnTo>
                    <a:pt x="34" y="8"/>
                  </a:lnTo>
                  <a:lnTo>
                    <a:pt x="36" y="6"/>
                  </a:lnTo>
                  <a:close/>
                  <a:moveTo>
                    <a:pt x="14" y="34"/>
                  </a:moveTo>
                  <a:lnTo>
                    <a:pt x="14" y="34"/>
                  </a:lnTo>
                  <a:lnTo>
                    <a:pt x="16" y="36"/>
                  </a:lnTo>
                  <a:lnTo>
                    <a:pt x="14" y="38"/>
                  </a:lnTo>
                  <a:lnTo>
                    <a:pt x="12" y="38"/>
                  </a:lnTo>
                  <a:lnTo>
                    <a:pt x="12" y="36"/>
                  </a:lnTo>
                  <a:lnTo>
                    <a:pt x="12" y="34"/>
                  </a:lnTo>
                  <a:lnTo>
                    <a:pt x="14" y="34"/>
                  </a:lnTo>
                  <a:close/>
                  <a:moveTo>
                    <a:pt x="14" y="48"/>
                  </a:moveTo>
                  <a:lnTo>
                    <a:pt x="14" y="50"/>
                  </a:lnTo>
                  <a:lnTo>
                    <a:pt x="12" y="50"/>
                  </a:lnTo>
                  <a:lnTo>
                    <a:pt x="14" y="4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0" name="Freeform 612">
              <a:extLst>
                <a:ext uri="{FF2B5EF4-FFF2-40B4-BE49-F238E27FC236}">
                  <a16:creationId xmlns:a16="http://schemas.microsoft.com/office/drawing/2014/main" id="{009C6675-E4E2-4F3A-BF87-6C433060CE31}"/>
                </a:ext>
              </a:extLst>
            </p:cNvPr>
            <p:cNvSpPr>
              <a:spLocks/>
            </p:cNvSpPr>
            <p:nvPr/>
          </p:nvSpPr>
          <p:spPr bwMode="gray">
            <a:xfrm>
              <a:off x="5205411" y="3290641"/>
              <a:ext cx="207168" cy="223656"/>
            </a:xfrm>
            <a:custGeom>
              <a:avLst/>
              <a:gdLst>
                <a:gd name="T0" fmla="*/ 2147483647 w 112"/>
                <a:gd name="T1" fmla="*/ 2147483647 h 120"/>
                <a:gd name="T2" fmla="*/ 2147483647 w 112"/>
                <a:gd name="T3" fmla="*/ 2147483647 h 120"/>
                <a:gd name="T4" fmla="*/ 2147483647 w 112"/>
                <a:gd name="T5" fmla="*/ 2147483647 h 120"/>
                <a:gd name="T6" fmla="*/ 2147483647 w 112"/>
                <a:gd name="T7" fmla="*/ 2147483647 h 120"/>
                <a:gd name="T8" fmla="*/ 2147483647 w 112"/>
                <a:gd name="T9" fmla="*/ 2147483647 h 120"/>
                <a:gd name="T10" fmla="*/ 2147483647 w 112"/>
                <a:gd name="T11" fmla="*/ 2147483647 h 120"/>
                <a:gd name="T12" fmla="*/ 2147483647 w 112"/>
                <a:gd name="T13" fmla="*/ 2147483647 h 120"/>
                <a:gd name="T14" fmla="*/ 2147483647 w 112"/>
                <a:gd name="T15" fmla="*/ 2147483647 h 120"/>
                <a:gd name="T16" fmla="*/ 2147483647 w 112"/>
                <a:gd name="T17" fmla="*/ 2147483647 h 120"/>
                <a:gd name="T18" fmla="*/ 2147483647 w 112"/>
                <a:gd name="T19" fmla="*/ 2147483647 h 120"/>
                <a:gd name="T20" fmla="*/ 2147483647 w 112"/>
                <a:gd name="T21" fmla="*/ 2147483647 h 120"/>
                <a:gd name="T22" fmla="*/ 2147483647 w 112"/>
                <a:gd name="T23" fmla="*/ 2147483647 h 120"/>
                <a:gd name="T24" fmla="*/ 2147483647 w 112"/>
                <a:gd name="T25" fmla="*/ 2147483647 h 120"/>
                <a:gd name="T26" fmla="*/ 2147483647 w 112"/>
                <a:gd name="T27" fmla="*/ 2147483647 h 120"/>
                <a:gd name="T28" fmla="*/ 2147483647 w 112"/>
                <a:gd name="T29" fmla="*/ 2147483647 h 120"/>
                <a:gd name="T30" fmla="*/ 2147483647 w 112"/>
                <a:gd name="T31" fmla="*/ 2147483647 h 120"/>
                <a:gd name="T32" fmla="*/ 2147483647 w 112"/>
                <a:gd name="T33" fmla="*/ 2147483647 h 120"/>
                <a:gd name="T34" fmla="*/ 2147483647 w 112"/>
                <a:gd name="T35" fmla="*/ 2147483647 h 120"/>
                <a:gd name="T36" fmla="*/ 2147483647 w 112"/>
                <a:gd name="T37" fmla="*/ 2147483647 h 120"/>
                <a:gd name="T38" fmla="*/ 2147483647 w 112"/>
                <a:gd name="T39" fmla="*/ 2147483647 h 120"/>
                <a:gd name="T40" fmla="*/ 2147483647 w 112"/>
                <a:gd name="T41" fmla="*/ 2147483647 h 120"/>
                <a:gd name="T42" fmla="*/ 2147483647 w 112"/>
                <a:gd name="T43" fmla="*/ 2147483647 h 120"/>
                <a:gd name="T44" fmla="*/ 2147483647 w 112"/>
                <a:gd name="T45" fmla="*/ 2147483647 h 120"/>
                <a:gd name="T46" fmla="*/ 2147483647 w 112"/>
                <a:gd name="T47" fmla="*/ 2147483647 h 120"/>
                <a:gd name="T48" fmla="*/ 2147483647 w 112"/>
                <a:gd name="T49" fmla="*/ 2147483647 h 120"/>
                <a:gd name="T50" fmla="*/ 2147483647 w 112"/>
                <a:gd name="T51" fmla="*/ 2147483647 h 120"/>
                <a:gd name="T52" fmla="*/ 2147483647 w 112"/>
                <a:gd name="T53" fmla="*/ 0 h 120"/>
                <a:gd name="T54" fmla="*/ 2147483647 w 112"/>
                <a:gd name="T55" fmla="*/ 2147483647 h 120"/>
                <a:gd name="T56" fmla="*/ 2147483647 w 112"/>
                <a:gd name="T57" fmla="*/ 2147483647 h 120"/>
                <a:gd name="T58" fmla="*/ 2147483647 w 112"/>
                <a:gd name="T59" fmla="*/ 2147483647 h 120"/>
                <a:gd name="T60" fmla="*/ 2147483647 w 112"/>
                <a:gd name="T61" fmla="*/ 2147483647 h 120"/>
                <a:gd name="T62" fmla="*/ 2147483647 w 112"/>
                <a:gd name="T63" fmla="*/ 2147483647 h 120"/>
                <a:gd name="T64" fmla="*/ 2147483647 w 112"/>
                <a:gd name="T65" fmla="*/ 2147483647 h 120"/>
                <a:gd name="T66" fmla="*/ 2147483647 w 112"/>
                <a:gd name="T67" fmla="*/ 2147483647 h 120"/>
                <a:gd name="T68" fmla="*/ 2147483647 w 112"/>
                <a:gd name="T69" fmla="*/ 2147483647 h 120"/>
                <a:gd name="T70" fmla="*/ 2147483647 w 112"/>
                <a:gd name="T71" fmla="*/ 2147483647 h 120"/>
                <a:gd name="T72" fmla="*/ 2147483647 w 112"/>
                <a:gd name="T73" fmla="*/ 2147483647 h 120"/>
                <a:gd name="T74" fmla="*/ 2147483647 w 112"/>
                <a:gd name="T75" fmla="*/ 2147483647 h 120"/>
                <a:gd name="T76" fmla="*/ 2147483647 w 112"/>
                <a:gd name="T77" fmla="*/ 2147483647 h 120"/>
                <a:gd name="T78" fmla="*/ 2147483647 w 112"/>
                <a:gd name="T79" fmla="*/ 2147483647 h 120"/>
                <a:gd name="T80" fmla="*/ 2147483647 w 112"/>
                <a:gd name="T81" fmla="*/ 2147483647 h 120"/>
                <a:gd name="T82" fmla="*/ 2147483647 w 112"/>
                <a:gd name="T83" fmla="*/ 2147483647 h 120"/>
                <a:gd name="T84" fmla="*/ 2147483647 w 112"/>
                <a:gd name="T85" fmla="*/ 2147483647 h 120"/>
                <a:gd name="T86" fmla="*/ 2147483647 w 112"/>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2"/>
                <a:gd name="T133" fmla="*/ 0 h 120"/>
                <a:gd name="T134" fmla="*/ 112 w 112"/>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2" h="120">
                  <a:moveTo>
                    <a:pt x="112" y="104"/>
                  </a:moveTo>
                  <a:lnTo>
                    <a:pt x="108" y="102"/>
                  </a:lnTo>
                  <a:lnTo>
                    <a:pt x="108" y="96"/>
                  </a:lnTo>
                  <a:lnTo>
                    <a:pt x="106" y="96"/>
                  </a:lnTo>
                  <a:lnTo>
                    <a:pt x="104" y="90"/>
                  </a:lnTo>
                  <a:lnTo>
                    <a:pt x="104" y="86"/>
                  </a:lnTo>
                  <a:lnTo>
                    <a:pt x="104" y="82"/>
                  </a:lnTo>
                  <a:lnTo>
                    <a:pt x="102" y="80"/>
                  </a:lnTo>
                  <a:lnTo>
                    <a:pt x="98" y="72"/>
                  </a:lnTo>
                  <a:lnTo>
                    <a:pt x="96" y="70"/>
                  </a:lnTo>
                  <a:lnTo>
                    <a:pt x="92" y="70"/>
                  </a:lnTo>
                  <a:lnTo>
                    <a:pt x="90" y="70"/>
                  </a:lnTo>
                  <a:lnTo>
                    <a:pt x="92" y="70"/>
                  </a:lnTo>
                  <a:lnTo>
                    <a:pt x="92" y="68"/>
                  </a:lnTo>
                  <a:lnTo>
                    <a:pt x="88" y="62"/>
                  </a:lnTo>
                  <a:lnTo>
                    <a:pt x="82" y="60"/>
                  </a:lnTo>
                  <a:lnTo>
                    <a:pt x="82" y="58"/>
                  </a:lnTo>
                  <a:lnTo>
                    <a:pt x="80" y="54"/>
                  </a:lnTo>
                  <a:lnTo>
                    <a:pt x="78" y="50"/>
                  </a:lnTo>
                  <a:lnTo>
                    <a:pt x="76" y="46"/>
                  </a:lnTo>
                  <a:lnTo>
                    <a:pt x="74" y="44"/>
                  </a:lnTo>
                  <a:lnTo>
                    <a:pt x="74" y="42"/>
                  </a:lnTo>
                  <a:lnTo>
                    <a:pt x="76" y="42"/>
                  </a:lnTo>
                  <a:lnTo>
                    <a:pt x="76" y="40"/>
                  </a:lnTo>
                  <a:lnTo>
                    <a:pt x="76" y="38"/>
                  </a:lnTo>
                  <a:lnTo>
                    <a:pt x="76" y="36"/>
                  </a:lnTo>
                  <a:lnTo>
                    <a:pt x="76" y="38"/>
                  </a:lnTo>
                  <a:lnTo>
                    <a:pt x="78" y="38"/>
                  </a:lnTo>
                  <a:lnTo>
                    <a:pt x="80" y="36"/>
                  </a:lnTo>
                  <a:lnTo>
                    <a:pt x="80" y="34"/>
                  </a:lnTo>
                  <a:lnTo>
                    <a:pt x="80" y="30"/>
                  </a:lnTo>
                  <a:lnTo>
                    <a:pt x="80" y="28"/>
                  </a:lnTo>
                  <a:lnTo>
                    <a:pt x="84" y="28"/>
                  </a:lnTo>
                  <a:lnTo>
                    <a:pt x="86" y="26"/>
                  </a:lnTo>
                  <a:lnTo>
                    <a:pt x="84" y="26"/>
                  </a:lnTo>
                  <a:lnTo>
                    <a:pt x="84" y="24"/>
                  </a:lnTo>
                  <a:lnTo>
                    <a:pt x="82" y="26"/>
                  </a:lnTo>
                  <a:lnTo>
                    <a:pt x="78" y="24"/>
                  </a:lnTo>
                  <a:lnTo>
                    <a:pt x="76" y="24"/>
                  </a:lnTo>
                  <a:lnTo>
                    <a:pt x="74" y="24"/>
                  </a:lnTo>
                  <a:lnTo>
                    <a:pt x="72" y="22"/>
                  </a:lnTo>
                  <a:lnTo>
                    <a:pt x="70" y="22"/>
                  </a:lnTo>
                  <a:lnTo>
                    <a:pt x="68" y="20"/>
                  </a:lnTo>
                  <a:lnTo>
                    <a:pt x="68" y="18"/>
                  </a:lnTo>
                  <a:lnTo>
                    <a:pt x="66" y="16"/>
                  </a:lnTo>
                  <a:lnTo>
                    <a:pt x="66" y="14"/>
                  </a:lnTo>
                  <a:lnTo>
                    <a:pt x="64" y="12"/>
                  </a:lnTo>
                  <a:lnTo>
                    <a:pt x="64" y="8"/>
                  </a:lnTo>
                  <a:lnTo>
                    <a:pt x="62" y="2"/>
                  </a:lnTo>
                  <a:lnTo>
                    <a:pt x="58" y="2"/>
                  </a:lnTo>
                  <a:lnTo>
                    <a:pt x="54" y="4"/>
                  </a:lnTo>
                  <a:lnTo>
                    <a:pt x="54" y="0"/>
                  </a:lnTo>
                  <a:lnTo>
                    <a:pt x="50" y="0"/>
                  </a:lnTo>
                  <a:lnTo>
                    <a:pt x="48" y="2"/>
                  </a:lnTo>
                  <a:lnTo>
                    <a:pt x="46" y="4"/>
                  </a:lnTo>
                  <a:lnTo>
                    <a:pt x="44" y="2"/>
                  </a:lnTo>
                  <a:lnTo>
                    <a:pt x="42" y="2"/>
                  </a:lnTo>
                  <a:lnTo>
                    <a:pt x="40" y="2"/>
                  </a:lnTo>
                  <a:lnTo>
                    <a:pt x="38" y="2"/>
                  </a:lnTo>
                  <a:lnTo>
                    <a:pt x="38" y="6"/>
                  </a:lnTo>
                  <a:lnTo>
                    <a:pt x="36" y="10"/>
                  </a:lnTo>
                  <a:lnTo>
                    <a:pt x="32" y="12"/>
                  </a:lnTo>
                  <a:lnTo>
                    <a:pt x="30" y="16"/>
                  </a:lnTo>
                  <a:lnTo>
                    <a:pt x="30" y="20"/>
                  </a:lnTo>
                  <a:lnTo>
                    <a:pt x="30" y="22"/>
                  </a:lnTo>
                  <a:lnTo>
                    <a:pt x="28" y="26"/>
                  </a:lnTo>
                  <a:lnTo>
                    <a:pt x="28" y="28"/>
                  </a:lnTo>
                  <a:lnTo>
                    <a:pt x="28" y="30"/>
                  </a:lnTo>
                  <a:lnTo>
                    <a:pt x="30" y="32"/>
                  </a:lnTo>
                  <a:lnTo>
                    <a:pt x="28" y="36"/>
                  </a:lnTo>
                  <a:lnTo>
                    <a:pt x="26" y="42"/>
                  </a:lnTo>
                  <a:lnTo>
                    <a:pt x="24" y="46"/>
                  </a:lnTo>
                  <a:lnTo>
                    <a:pt x="0" y="64"/>
                  </a:lnTo>
                  <a:lnTo>
                    <a:pt x="6" y="84"/>
                  </a:lnTo>
                  <a:lnTo>
                    <a:pt x="38" y="102"/>
                  </a:lnTo>
                  <a:lnTo>
                    <a:pt x="38" y="106"/>
                  </a:lnTo>
                  <a:lnTo>
                    <a:pt x="46" y="106"/>
                  </a:lnTo>
                  <a:lnTo>
                    <a:pt x="48" y="114"/>
                  </a:lnTo>
                  <a:lnTo>
                    <a:pt x="56" y="118"/>
                  </a:lnTo>
                  <a:lnTo>
                    <a:pt x="78" y="120"/>
                  </a:lnTo>
                  <a:lnTo>
                    <a:pt x="82" y="118"/>
                  </a:lnTo>
                  <a:lnTo>
                    <a:pt x="88" y="112"/>
                  </a:lnTo>
                  <a:lnTo>
                    <a:pt x="92" y="106"/>
                  </a:lnTo>
                  <a:lnTo>
                    <a:pt x="94" y="104"/>
                  </a:lnTo>
                  <a:lnTo>
                    <a:pt x="96" y="104"/>
                  </a:lnTo>
                  <a:lnTo>
                    <a:pt x="100" y="104"/>
                  </a:lnTo>
                  <a:lnTo>
                    <a:pt x="104" y="104"/>
                  </a:lnTo>
                  <a:lnTo>
                    <a:pt x="110" y="108"/>
                  </a:lnTo>
                  <a:lnTo>
                    <a:pt x="110" y="106"/>
                  </a:lnTo>
                  <a:lnTo>
                    <a:pt x="112" y="10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1" name="Freeform 613">
              <a:extLst>
                <a:ext uri="{FF2B5EF4-FFF2-40B4-BE49-F238E27FC236}">
                  <a16:creationId xmlns:a16="http://schemas.microsoft.com/office/drawing/2014/main" id="{EF1F1AF5-F891-4944-9166-F83E206C79F4}"/>
                </a:ext>
              </a:extLst>
            </p:cNvPr>
            <p:cNvSpPr>
              <a:spLocks noEditPoints="1"/>
            </p:cNvSpPr>
            <p:nvPr/>
          </p:nvSpPr>
          <p:spPr bwMode="gray">
            <a:xfrm>
              <a:off x="5311349" y="3220013"/>
              <a:ext cx="407274" cy="411999"/>
            </a:xfrm>
            <a:custGeom>
              <a:avLst/>
              <a:gdLst>
                <a:gd name="T0" fmla="*/ 2147483647 w 220"/>
                <a:gd name="T1" fmla="*/ 2147483647 h 222"/>
                <a:gd name="T2" fmla="*/ 2147483647 w 220"/>
                <a:gd name="T3" fmla="*/ 2147483647 h 222"/>
                <a:gd name="T4" fmla="*/ 2147483647 w 220"/>
                <a:gd name="T5" fmla="*/ 2147483647 h 222"/>
                <a:gd name="T6" fmla="*/ 2147483647 w 220"/>
                <a:gd name="T7" fmla="*/ 2147483647 h 222"/>
                <a:gd name="T8" fmla="*/ 2147483647 w 220"/>
                <a:gd name="T9" fmla="*/ 2147483647 h 222"/>
                <a:gd name="T10" fmla="*/ 2147483647 w 220"/>
                <a:gd name="T11" fmla="*/ 2147483647 h 222"/>
                <a:gd name="T12" fmla="*/ 2147483647 w 220"/>
                <a:gd name="T13" fmla="*/ 2147483647 h 222"/>
                <a:gd name="T14" fmla="*/ 2147483647 w 220"/>
                <a:gd name="T15" fmla="*/ 2147483647 h 222"/>
                <a:gd name="T16" fmla="*/ 2147483647 w 220"/>
                <a:gd name="T17" fmla="*/ 2147483647 h 222"/>
                <a:gd name="T18" fmla="*/ 2147483647 w 220"/>
                <a:gd name="T19" fmla="*/ 2147483647 h 222"/>
                <a:gd name="T20" fmla="*/ 2147483647 w 220"/>
                <a:gd name="T21" fmla="*/ 2147483647 h 222"/>
                <a:gd name="T22" fmla="*/ 2147483647 w 220"/>
                <a:gd name="T23" fmla="*/ 2147483647 h 222"/>
                <a:gd name="T24" fmla="*/ 2147483647 w 220"/>
                <a:gd name="T25" fmla="*/ 2147483647 h 222"/>
                <a:gd name="T26" fmla="*/ 2147483647 w 220"/>
                <a:gd name="T27" fmla="*/ 2147483647 h 222"/>
                <a:gd name="T28" fmla="*/ 2147483647 w 220"/>
                <a:gd name="T29" fmla="*/ 2147483647 h 222"/>
                <a:gd name="T30" fmla="*/ 2147483647 w 220"/>
                <a:gd name="T31" fmla="*/ 2147483647 h 222"/>
                <a:gd name="T32" fmla="*/ 2147483647 w 220"/>
                <a:gd name="T33" fmla="*/ 2147483647 h 222"/>
                <a:gd name="T34" fmla="*/ 2147483647 w 220"/>
                <a:gd name="T35" fmla="*/ 2147483647 h 222"/>
                <a:gd name="T36" fmla="*/ 2147483647 w 220"/>
                <a:gd name="T37" fmla="*/ 2147483647 h 222"/>
                <a:gd name="T38" fmla="*/ 2147483647 w 220"/>
                <a:gd name="T39" fmla="*/ 0 h 222"/>
                <a:gd name="T40" fmla="*/ 2147483647 w 220"/>
                <a:gd name="T41" fmla="*/ 2147483647 h 222"/>
                <a:gd name="T42" fmla="*/ 2147483647 w 220"/>
                <a:gd name="T43" fmla="*/ 2147483647 h 222"/>
                <a:gd name="T44" fmla="*/ 2147483647 w 220"/>
                <a:gd name="T45" fmla="*/ 2147483647 h 222"/>
                <a:gd name="T46" fmla="*/ 2147483647 w 220"/>
                <a:gd name="T47" fmla="*/ 2147483647 h 222"/>
                <a:gd name="T48" fmla="*/ 2147483647 w 220"/>
                <a:gd name="T49" fmla="*/ 2147483647 h 222"/>
                <a:gd name="T50" fmla="*/ 2147483647 w 220"/>
                <a:gd name="T51" fmla="*/ 2147483647 h 222"/>
                <a:gd name="T52" fmla="*/ 2147483647 w 220"/>
                <a:gd name="T53" fmla="*/ 2147483647 h 222"/>
                <a:gd name="T54" fmla="*/ 0 w 220"/>
                <a:gd name="T55" fmla="*/ 2147483647 h 222"/>
                <a:gd name="T56" fmla="*/ 2147483647 w 220"/>
                <a:gd name="T57" fmla="*/ 2147483647 h 222"/>
                <a:gd name="T58" fmla="*/ 2147483647 w 220"/>
                <a:gd name="T59" fmla="*/ 2147483647 h 222"/>
                <a:gd name="T60" fmla="*/ 2147483647 w 220"/>
                <a:gd name="T61" fmla="*/ 2147483647 h 222"/>
                <a:gd name="T62" fmla="*/ 2147483647 w 220"/>
                <a:gd name="T63" fmla="*/ 2147483647 h 222"/>
                <a:gd name="T64" fmla="*/ 2147483647 w 220"/>
                <a:gd name="T65" fmla="*/ 2147483647 h 222"/>
                <a:gd name="T66" fmla="*/ 2147483647 w 220"/>
                <a:gd name="T67" fmla="*/ 2147483647 h 222"/>
                <a:gd name="T68" fmla="*/ 2147483647 w 220"/>
                <a:gd name="T69" fmla="*/ 2147483647 h 222"/>
                <a:gd name="T70" fmla="*/ 2147483647 w 220"/>
                <a:gd name="T71" fmla="*/ 2147483647 h 222"/>
                <a:gd name="T72" fmla="*/ 2147483647 w 220"/>
                <a:gd name="T73" fmla="*/ 2147483647 h 222"/>
                <a:gd name="T74" fmla="*/ 2147483647 w 220"/>
                <a:gd name="T75" fmla="*/ 2147483647 h 222"/>
                <a:gd name="T76" fmla="*/ 2147483647 w 220"/>
                <a:gd name="T77" fmla="*/ 2147483647 h 222"/>
                <a:gd name="T78" fmla="*/ 2147483647 w 220"/>
                <a:gd name="T79" fmla="*/ 2147483647 h 222"/>
                <a:gd name="T80" fmla="*/ 2147483647 w 220"/>
                <a:gd name="T81" fmla="*/ 2147483647 h 222"/>
                <a:gd name="T82" fmla="*/ 2147483647 w 220"/>
                <a:gd name="T83" fmla="*/ 2147483647 h 222"/>
                <a:gd name="T84" fmla="*/ 2147483647 w 220"/>
                <a:gd name="T85" fmla="*/ 2147483647 h 222"/>
                <a:gd name="T86" fmla="*/ 2147483647 w 220"/>
                <a:gd name="T87" fmla="*/ 2147483647 h 222"/>
                <a:gd name="T88" fmla="*/ 2147483647 w 220"/>
                <a:gd name="T89" fmla="*/ 2147483647 h 222"/>
                <a:gd name="T90" fmla="*/ 2147483647 w 220"/>
                <a:gd name="T91" fmla="*/ 2147483647 h 222"/>
                <a:gd name="T92" fmla="*/ 2147483647 w 220"/>
                <a:gd name="T93" fmla="*/ 2147483647 h 222"/>
                <a:gd name="T94" fmla="*/ 2147483647 w 220"/>
                <a:gd name="T95" fmla="*/ 2147483647 h 222"/>
                <a:gd name="T96" fmla="*/ 2147483647 w 220"/>
                <a:gd name="T97" fmla="*/ 2147483647 h 222"/>
                <a:gd name="T98" fmla="*/ 2147483647 w 220"/>
                <a:gd name="T99" fmla="*/ 2147483647 h 222"/>
                <a:gd name="T100" fmla="*/ 2147483647 w 220"/>
                <a:gd name="T101" fmla="*/ 2147483647 h 222"/>
                <a:gd name="T102" fmla="*/ 2147483647 w 220"/>
                <a:gd name="T103" fmla="*/ 2147483647 h 222"/>
                <a:gd name="T104" fmla="*/ 2147483647 w 220"/>
                <a:gd name="T105" fmla="*/ 2147483647 h 222"/>
                <a:gd name="T106" fmla="*/ 2147483647 w 220"/>
                <a:gd name="T107" fmla="*/ 2147483647 h 222"/>
                <a:gd name="T108" fmla="*/ 2147483647 w 220"/>
                <a:gd name="T109" fmla="*/ 2147483647 h 222"/>
                <a:gd name="T110" fmla="*/ 2147483647 w 220"/>
                <a:gd name="T111" fmla="*/ 2147483647 h 222"/>
                <a:gd name="T112" fmla="*/ 2147483647 w 220"/>
                <a:gd name="T113" fmla="*/ 2147483647 h 222"/>
                <a:gd name="T114" fmla="*/ 2147483647 w 220"/>
                <a:gd name="T115" fmla="*/ 2147483647 h 222"/>
                <a:gd name="T116" fmla="*/ 2147483647 w 220"/>
                <a:gd name="T117" fmla="*/ 2147483647 h 2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0"/>
                <a:gd name="T178" fmla="*/ 0 h 222"/>
                <a:gd name="T179" fmla="*/ 220 w 220"/>
                <a:gd name="T180" fmla="*/ 222 h 2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0" h="222">
                  <a:moveTo>
                    <a:pt x="194" y="222"/>
                  </a:moveTo>
                  <a:lnTo>
                    <a:pt x="196" y="210"/>
                  </a:lnTo>
                  <a:lnTo>
                    <a:pt x="202" y="200"/>
                  </a:lnTo>
                  <a:lnTo>
                    <a:pt x="208" y="198"/>
                  </a:lnTo>
                  <a:lnTo>
                    <a:pt x="216" y="196"/>
                  </a:lnTo>
                  <a:lnTo>
                    <a:pt x="220" y="194"/>
                  </a:lnTo>
                  <a:lnTo>
                    <a:pt x="220" y="188"/>
                  </a:lnTo>
                  <a:lnTo>
                    <a:pt x="216" y="186"/>
                  </a:lnTo>
                  <a:lnTo>
                    <a:pt x="214" y="180"/>
                  </a:lnTo>
                  <a:lnTo>
                    <a:pt x="212" y="174"/>
                  </a:lnTo>
                  <a:lnTo>
                    <a:pt x="206" y="172"/>
                  </a:lnTo>
                  <a:lnTo>
                    <a:pt x="202" y="166"/>
                  </a:lnTo>
                  <a:lnTo>
                    <a:pt x="200" y="162"/>
                  </a:lnTo>
                  <a:lnTo>
                    <a:pt x="202" y="158"/>
                  </a:lnTo>
                  <a:lnTo>
                    <a:pt x="196" y="146"/>
                  </a:lnTo>
                  <a:lnTo>
                    <a:pt x="208" y="132"/>
                  </a:lnTo>
                  <a:lnTo>
                    <a:pt x="208" y="128"/>
                  </a:lnTo>
                  <a:lnTo>
                    <a:pt x="206" y="126"/>
                  </a:lnTo>
                  <a:lnTo>
                    <a:pt x="196" y="124"/>
                  </a:lnTo>
                  <a:lnTo>
                    <a:pt x="196" y="122"/>
                  </a:lnTo>
                  <a:lnTo>
                    <a:pt x="196" y="116"/>
                  </a:lnTo>
                  <a:lnTo>
                    <a:pt x="192" y="108"/>
                  </a:lnTo>
                  <a:lnTo>
                    <a:pt x="188" y="104"/>
                  </a:lnTo>
                  <a:lnTo>
                    <a:pt x="188" y="98"/>
                  </a:lnTo>
                  <a:lnTo>
                    <a:pt x="192" y="94"/>
                  </a:lnTo>
                  <a:lnTo>
                    <a:pt x="188" y="92"/>
                  </a:lnTo>
                  <a:lnTo>
                    <a:pt x="188" y="90"/>
                  </a:lnTo>
                  <a:lnTo>
                    <a:pt x="188" y="82"/>
                  </a:lnTo>
                  <a:lnTo>
                    <a:pt x="192" y="76"/>
                  </a:lnTo>
                  <a:lnTo>
                    <a:pt x="194" y="74"/>
                  </a:lnTo>
                  <a:lnTo>
                    <a:pt x="198" y="74"/>
                  </a:lnTo>
                  <a:lnTo>
                    <a:pt x="200" y="70"/>
                  </a:lnTo>
                  <a:lnTo>
                    <a:pt x="202" y="66"/>
                  </a:lnTo>
                  <a:lnTo>
                    <a:pt x="204" y="60"/>
                  </a:lnTo>
                  <a:lnTo>
                    <a:pt x="202" y="54"/>
                  </a:lnTo>
                  <a:lnTo>
                    <a:pt x="202" y="50"/>
                  </a:lnTo>
                  <a:lnTo>
                    <a:pt x="196" y="48"/>
                  </a:lnTo>
                  <a:lnTo>
                    <a:pt x="194" y="44"/>
                  </a:lnTo>
                  <a:lnTo>
                    <a:pt x="192" y="40"/>
                  </a:lnTo>
                  <a:lnTo>
                    <a:pt x="188" y="36"/>
                  </a:lnTo>
                  <a:lnTo>
                    <a:pt x="182" y="32"/>
                  </a:lnTo>
                  <a:lnTo>
                    <a:pt x="174" y="30"/>
                  </a:lnTo>
                  <a:lnTo>
                    <a:pt x="166" y="26"/>
                  </a:lnTo>
                  <a:lnTo>
                    <a:pt x="164" y="24"/>
                  </a:lnTo>
                  <a:lnTo>
                    <a:pt x="156" y="24"/>
                  </a:lnTo>
                  <a:lnTo>
                    <a:pt x="142" y="20"/>
                  </a:lnTo>
                  <a:lnTo>
                    <a:pt x="136" y="22"/>
                  </a:lnTo>
                  <a:lnTo>
                    <a:pt x="132" y="24"/>
                  </a:lnTo>
                  <a:lnTo>
                    <a:pt x="126" y="24"/>
                  </a:lnTo>
                  <a:lnTo>
                    <a:pt x="124" y="26"/>
                  </a:lnTo>
                  <a:lnTo>
                    <a:pt x="120" y="30"/>
                  </a:lnTo>
                  <a:lnTo>
                    <a:pt x="120" y="32"/>
                  </a:lnTo>
                  <a:lnTo>
                    <a:pt x="118" y="36"/>
                  </a:lnTo>
                  <a:lnTo>
                    <a:pt x="110" y="36"/>
                  </a:lnTo>
                  <a:lnTo>
                    <a:pt x="110" y="48"/>
                  </a:lnTo>
                  <a:lnTo>
                    <a:pt x="108" y="48"/>
                  </a:lnTo>
                  <a:lnTo>
                    <a:pt x="108" y="46"/>
                  </a:lnTo>
                  <a:lnTo>
                    <a:pt x="106" y="44"/>
                  </a:lnTo>
                  <a:lnTo>
                    <a:pt x="104" y="44"/>
                  </a:lnTo>
                  <a:lnTo>
                    <a:pt x="100" y="46"/>
                  </a:lnTo>
                  <a:lnTo>
                    <a:pt x="92" y="48"/>
                  </a:lnTo>
                  <a:lnTo>
                    <a:pt x="84" y="48"/>
                  </a:lnTo>
                  <a:lnTo>
                    <a:pt x="76" y="44"/>
                  </a:lnTo>
                  <a:lnTo>
                    <a:pt x="70" y="40"/>
                  </a:lnTo>
                  <a:lnTo>
                    <a:pt x="70" y="38"/>
                  </a:lnTo>
                  <a:lnTo>
                    <a:pt x="66" y="38"/>
                  </a:lnTo>
                  <a:lnTo>
                    <a:pt x="64" y="38"/>
                  </a:lnTo>
                  <a:lnTo>
                    <a:pt x="62" y="40"/>
                  </a:lnTo>
                  <a:lnTo>
                    <a:pt x="60" y="38"/>
                  </a:lnTo>
                  <a:lnTo>
                    <a:pt x="58" y="36"/>
                  </a:lnTo>
                  <a:lnTo>
                    <a:pt x="56" y="28"/>
                  </a:lnTo>
                  <a:lnTo>
                    <a:pt x="54" y="22"/>
                  </a:lnTo>
                  <a:lnTo>
                    <a:pt x="52" y="20"/>
                  </a:lnTo>
                  <a:lnTo>
                    <a:pt x="52" y="18"/>
                  </a:lnTo>
                  <a:lnTo>
                    <a:pt x="48" y="14"/>
                  </a:lnTo>
                  <a:lnTo>
                    <a:pt x="46" y="12"/>
                  </a:lnTo>
                  <a:lnTo>
                    <a:pt x="44" y="10"/>
                  </a:lnTo>
                  <a:lnTo>
                    <a:pt x="44" y="8"/>
                  </a:lnTo>
                  <a:lnTo>
                    <a:pt x="46" y="6"/>
                  </a:lnTo>
                  <a:lnTo>
                    <a:pt x="48" y="6"/>
                  </a:lnTo>
                  <a:lnTo>
                    <a:pt x="50" y="4"/>
                  </a:lnTo>
                  <a:lnTo>
                    <a:pt x="48" y="2"/>
                  </a:lnTo>
                  <a:lnTo>
                    <a:pt x="44" y="0"/>
                  </a:lnTo>
                  <a:lnTo>
                    <a:pt x="42" y="0"/>
                  </a:lnTo>
                  <a:lnTo>
                    <a:pt x="42" y="2"/>
                  </a:lnTo>
                  <a:lnTo>
                    <a:pt x="40" y="2"/>
                  </a:lnTo>
                  <a:lnTo>
                    <a:pt x="36" y="6"/>
                  </a:lnTo>
                  <a:lnTo>
                    <a:pt x="34" y="8"/>
                  </a:lnTo>
                  <a:lnTo>
                    <a:pt x="32" y="10"/>
                  </a:lnTo>
                  <a:lnTo>
                    <a:pt x="26" y="12"/>
                  </a:lnTo>
                  <a:lnTo>
                    <a:pt x="22" y="14"/>
                  </a:lnTo>
                  <a:lnTo>
                    <a:pt x="20" y="12"/>
                  </a:lnTo>
                  <a:lnTo>
                    <a:pt x="18" y="10"/>
                  </a:lnTo>
                  <a:lnTo>
                    <a:pt x="16" y="8"/>
                  </a:lnTo>
                  <a:lnTo>
                    <a:pt x="14" y="6"/>
                  </a:lnTo>
                  <a:lnTo>
                    <a:pt x="12" y="2"/>
                  </a:lnTo>
                  <a:lnTo>
                    <a:pt x="10" y="6"/>
                  </a:lnTo>
                  <a:lnTo>
                    <a:pt x="8" y="6"/>
                  </a:lnTo>
                  <a:lnTo>
                    <a:pt x="6" y="4"/>
                  </a:lnTo>
                  <a:lnTo>
                    <a:pt x="4" y="4"/>
                  </a:lnTo>
                  <a:lnTo>
                    <a:pt x="2" y="6"/>
                  </a:lnTo>
                  <a:lnTo>
                    <a:pt x="0" y="10"/>
                  </a:lnTo>
                  <a:lnTo>
                    <a:pt x="2" y="12"/>
                  </a:lnTo>
                  <a:lnTo>
                    <a:pt x="2" y="14"/>
                  </a:lnTo>
                  <a:lnTo>
                    <a:pt x="2" y="16"/>
                  </a:lnTo>
                  <a:lnTo>
                    <a:pt x="2" y="18"/>
                  </a:lnTo>
                  <a:lnTo>
                    <a:pt x="0" y="20"/>
                  </a:lnTo>
                  <a:lnTo>
                    <a:pt x="0" y="26"/>
                  </a:lnTo>
                  <a:lnTo>
                    <a:pt x="2" y="30"/>
                  </a:lnTo>
                  <a:lnTo>
                    <a:pt x="4" y="32"/>
                  </a:lnTo>
                  <a:lnTo>
                    <a:pt x="6" y="36"/>
                  </a:lnTo>
                  <a:lnTo>
                    <a:pt x="6" y="40"/>
                  </a:lnTo>
                  <a:lnTo>
                    <a:pt x="4" y="40"/>
                  </a:lnTo>
                  <a:lnTo>
                    <a:pt x="6" y="46"/>
                  </a:lnTo>
                  <a:lnTo>
                    <a:pt x="6" y="50"/>
                  </a:lnTo>
                  <a:lnTo>
                    <a:pt x="8" y="52"/>
                  </a:lnTo>
                  <a:lnTo>
                    <a:pt x="8" y="54"/>
                  </a:lnTo>
                  <a:lnTo>
                    <a:pt x="10" y="56"/>
                  </a:lnTo>
                  <a:lnTo>
                    <a:pt x="10" y="58"/>
                  </a:lnTo>
                  <a:lnTo>
                    <a:pt x="12" y="60"/>
                  </a:lnTo>
                  <a:lnTo>
                    <a:pt x="14" y="60"/>
                  </a:lnTo>
                  <a:lnTo>
                    <a:pt x="16" y="62"/>
                  </a:lnTo>
                  <a:lnTo>
                    <a:pt x="18" y="62"/>
                  </a:lnTo>
                  <a:lnTo>
                    <a:pt x="20" y="62"/>
                  </a:lnTo>
                  <a:lnTo>
                    <a:pt x="24" y="64"/>
                  </a:lnTo>
                  <a:lnTo>
                    <a:pt x="26" y="62"/>
                  </a:lnTo>
                  <a:lnTo>
                    <a:pt x="26" y="64"/>
                  </a:lnTo>
                  <a:lnTo>
                    <a:pt x="28" y="64"/>
                  </a:lnTo>
                  <a:lnTo>
                    <a:pt x="26" y="66"/>
                  </a:lnTo>
                  <a:lnTo>
                    <a:pt x="22" y="66"/>
                  </a:lnTo>
                  <a:lnTo>
                    <a:pt x="22" y="68"/>
                  </a:lnTo>
                  <a:lnTo>
                    <a:pt x="22" y="72"/>
                  </a:lnTo>
                  <a:lnTo>
                    <a:pt x="22" y="74"/>
                  </a:lnTo>
                  <a:lnTo>
                    <a:pt x="20" y="76"/>
                  </a:lnTo>
                  <a:lnTo>
                    <a:pt x="18" y="76"/>
                  </a:lnTo>
                  <a:lnTo>
                    <a:pt x="18" y="74"/>
                  </a:lnTo>
                  <a:lnTo>
                    <a:pt x="18" y="76"/>
                  </a:lnTo>
                  <a:lnTo>
                    <a:pt x="18" y="78"/>
                  </a:lnTo>
                  <a:lnTo>
                    <a:pt x="18" y="80"/>
                  </a:lnTo>
                  <a:lnTo>
                    <a:pt x="16" y="80"/>
                  </a:lnTo>
                  <a:lnTo>
                    <a:pt x="16" y="82"/>
                  </a:lnTo>
                  <a:lnTo>
                    <a:pt x="18" y="84"/>
                  </a:lnTo>
                  <a:lnTo>
                    <a:pt x="20" y="88"/>
                  </a:lnTo>
                  <a:lnTo>
                    <a:pt x="22" y="92"/>
                  </a:lnTo>
                  <a:lnTo>
                    <a:pt x="24" y="96"/>
                  </a:lnTo>
                  <a:lnTo>
                    <a:pt x="24" y="98"/>
                  </a:lnTo>
                  <a:lnTo>
                    <a:pt x="30" y="100"/>
                  </a:lnTo>
                  <a:lnTo>
                    <a:pt x="34" y="106"/>
                  </a:lnTo>
                  <a:lnTo>
                    <a:pt x="34" y="108"/>
                  </a:lnTo>
                  <a:lnTo>
                    <a:pt x="32" y="108"/>
                  </a:lnTo>
                  <a:lnTo>
                    <a:pt x="34" y="108"/>
                  </a:lnTo>
                  <a:lnTo>
                    <a:pt x="38" y="108"/>
                  </a:lnTo>
                  <a:lnTo>
                    <a:pt x="40" y="110"/>
                  </a:lnTo>
                  <a:lnTo>
                    <a:pt x="44" y="118"/>
                  </a:lnTo>
                  <a:lnTo>
                    <a:pt x="46" y="120"/>
                  </a:lnTo>
                  <a:lnTo>
                    <a:pt x="46" y="124"/>
                  </a:lnTo>
                  <a:lnTo>
                    <a:pt x="46" y="128"/>
                  </a:lnTo>
                  <a:lnTo>
                    <a:pt x="48" y="134"/>
                  </a:lnTo>
                  <a:lnTo>
                    <a:pt x="50" y="134"/>
                  </a:lnTo>
                  <a:lnTo>
                    <a:pt x="50" y="140"/>
                  </a:lnTo>
                  <a:lnTo>
                    <a:pt x="54" y="142"/>
                  </a:lnTo>
                  <a:lnTo>
                    <a:pt x="58" y="146"/>
                  </a:lnTo>
                  <a:lnTo>
                    <a:pt x="64" y="148"/>
                  </a:lnTo>
                  <a:lnTo>
                    <a:pt x="68" y="144"/>
                  </a:lnTo>
                  <a:lnTo>
                    <a:pt x="78" y="166"/>
                  </a:lnTo>
                  <a:lnTo>
                    <a:pt x="80" y="168"/>
                  </a:lnTo>
                  <a:lnTo>
                    <a:pt x="80" y="172"/>
                  </a:lnTo>
                  <a:lnTo>
                    <a:pt x="80" y="174"/>
                  </a:lnTo>
                  <a:lnTo>
                    <a:pt x="84" y="174"/>
                  </a:lnTo>
                  <a:lnTo>
                    <a:pt x="86" y="176"/>
                  </a:lnTo>
                  <a:lnTo>
                    <a:pt x="86" y="180"/>
                  </a:lnTo>
                  <a:lnTo>
                    <a:pt x="86" y="182"/>
                  </a:lnTo>
                  <a:lnTo>
                    <a:pt x="92" y="186"/>
                  </a:lnTo>
                  <a:lnTo>
                    <a:pt x="92" y="188"/>
                  </a:lnTo>
                  <a:lnTo>
                    <a:pt x="92" y="192"/>
                  </a:lnTo>
                  <a:lnTo>
                    <a:pt x="102" y="198"/>
                  </a:lnTo>
                  <a:lnTo>
                    <a:pt x="106" y="200"/>
                  </a:lnTo>
                  <a:lnTo>
                    <a:pt x="114" y="202"/>
                  </a:lnTo>
                  <a:lnTo>
                    <a:pt x="120" y="202"/>
                  </a:lnTo>
                  <a:lnTo>
                    <a:pt x="138" y="194"/>
                  </a:lnTo>
                  <a:lnTo>
                    <a:pt x="136" y="192"/>
                  </a:lnTo>
                  <a:lnTo>
                    <a:pt x="138" y="192"/>
                  </a:lnTo>
                  <a:lnTo>
                    <a:pt x="140" y="192"/>
                  </a:lnTo>
                  <a:lnTo>
                    <a:pt x="144" y="194"/>
                  </a:lnTo>
                  <a:lnTo>
                    <a:pt x="146" y="196"/>
                  </a:lnTo>
                  <a:lnTo>
                    <a:pt x="148" y="200"/>
                  </a:lnTo>
                  <a:lnTo>
                    <a:pt x="148" y="204"/>
                  </a:lnTo>
                  <a:lnTo>
                    <a:pt x="148" y="208"/>
                  </a:lnTo>
                  <a:lnTo>
                    <a:pt x="150" y="212"/>
                  </a:lnTo>
                  <a:lnTo>
                    <a:pt x="154" y="216"/>
                  </a:lnTo>
                  <a:lnTo>
                    <a:pt x="158" y="216"/>
                  </a:lnTo>
                  <a:lnTo>
                    <a:pt x="168" y="218"/>
                  </a:lnTo>
                  <a:lnTo>
                    <a:pt x="178" y="218"/>
                  </a:lnTo>
                  <a:lnTo>
                    <a:pt x="186" y="218"/>
                  </a:lnTo>
                  <a:lnTo>
                    <a:pt x="190" y="222"/>
                  </a:lnTo>
                  <a:lnTo>
                    <a:pt x="194" y="222"/>
                  </a:lnTo>
                  <a:close/>
                  <a:moveTo>
                    <a:pt x="10" y="26"/>
                  </a:moveTo>
                  <a:lnTo>
                    <a:pt x="10" y="26"/>
                  </a:lnTo>
                  <a:lnTo>
                    <a:pt x="16" y="28"/>
                  </a:lnTo>
                  <a:lnTo>
                    <a:pt x="20" y="34"/>
                  </a:lnTo>
                  <a:lnTo>
                    <a:pt x="24" y="46"/>
                  </a:lnTo>
                  <a:lnTo>
                    <a:pt x="18" y="50"/>
                  </a:lnTo>
                  <a:lnTo>
                    <a:pt x="10" y="36"/>
                  </a:lnTo>
                  <a:lnTo>
                    <a:pt x="10" y="34"/>
                  </a:lnTo>
                  <a:lnTo>
                    <a:pt x="10" y="32"/>
                  </a:lnTo>
                  <a:lnTo>
                    <a:pt x="12" y="30"/>
                  </a:lnTo>
                  <a:lnTo>
                    <a:pt x="10" y="30"/>
                  </a:lnTo>
                  <a:lnTo>
                    <a:pt x="8" y="28"/>
                  </a:lnTo>
                  <a:lnTo>
                    <a:pt x="8" y="26"/>
                  </a:lnTo>
                  <a:lnTo>
                    <a:pt x="6" y="26"/>
                  </a:lnTo>
                  <a:lnTo>
                    <a:pt x="10" y="2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2" name="Freeform 614">
              <a:extLst>
                <a:ext uri="{FF2B5EF4-FFF2-40B4-BE49-F238E27FC236}">
                  <a16:creationId xmlns:a16="http://schemas.microsoft.com/office/drawing/2014/main" id="{DD93805D-AC8E-4022-95C9-CAAC997D833B}"/>
                </a:ext>
              </a:extLst>
            </p:cNvPr>
            <p:cNvSpPr>
              <a:spLocks noEditPoints="1"/>
            </p:cNvSpPr>
            <p:nvPr/>
          </p:nvSpPr>
          <p:spPr bwMode="gray">
            <a:xfrm>
              <a:off x="6375439" y="4138186"/>
              <a:ext cx="951089" cy="444961"/>
            </a:xfrm>
            <a:custGeom>
              <a:avLst/>
              <a:gdLst>
                <a:gd name="T0" fmla="*/ 2147483647 w 514"/>
                <a:gd name="T1" fmla="*/ 2147483647 h 240"/>
                <a:gd name="T2" fmla="*/ 2147483647 w 514"/>
                <a:gd name="T3" fmla="*/ 2147483647 h 240"/>
                <a:gd name="T4" fmla="*/ 2147483647 w 514"/>
                <a:gd name="T5" fmla="*/ 2147483647 h 240"/>
                <a:gd name="T6" fmla="*/ 2147483647 w 514"/>
                <a:gd name="T7" fmla="*/ 2147483647 h 240"/>
                <a:gd name="T8" fmla="*/ 2147483647 w 514"/>
                <a:gd name="T9" fmla="*/ 2147483647 h 240"/>
                <a:gd name="T10" fmla="*/ 2147483647 w 514"/>
                <a:gd name="T11" fmla="*/ 2147483647 h 240"/>
                <a:gd name="T12" fmla="*/ 2147483647 w 514"/>
                <a:gd name="T13" fmla="*/ 2147483647 h 240"/>
                <a:gd name="T14" fmla="*/ 2147483647 w 514"/>
                <a:gd name="T15" fmla="*/ 2147483647 h 240"/>
                <a:gd name="T16" fmla="*/ 2147483647 w 514"/>
                <a:gd name="T17" fmla="*/ 2147483647 h 240"/>
                <a:gd name="T18" fmla="*/ 2147483647 w 514"/>
                <a:gd name="T19" fmla="*/ 2147483647 h 240"/>
                <a:gd name="T20" fmla="*/ 2147483647 w 514"/>
                <a:gd name="T21" fmla="*/ 2147483647 h 240"/>
                <a:gd name="T22" fmla="*/ 2147483647 w 514"/>
                <a:gd name="T23" fmla="*/ 2147483647 h 240"/>
                <a:gd name="T24" fmla="*/ 2147483647 w 514"/>
                <a:gd name="T25" fmla="*/ 2147483647 h 240"/>
                <a:gd name="T26" fmla="*/ 2147483647 w 514"/>
                <a:gd name="T27" fmla="*/ 2147483647 h 240"/>
                <a:gd name="T28" fmla="*/ 2147483647 w 514"/>
                <a:gd name="T29" fmla="*/ 2147483647 h 240"/>
                <a:gd name="T30" fmla="*/ 2147483647 w 514"/>
                <a:gd name="T31" fmla="*/ 2147483647 h 240"/>
                <a:gd name="T32" fmla="*/ 2147483647 w 514"/>
                <a:gd name="T33" fmla="*/ 2147483647 h 240"/>
                <a:gd name="T34" fmla="*/ 2147483647 w 514"/>
                <a:gd name="T35" fmla="*/ 2147483647 h 240"/>
                <a:gd name="T36" fmla="*/ 2147483647 w 514"/>
                <a:gd name="T37" fmla="*/ 2147483647 h 240"/>
                <a:gd name="T38" fmla="*/ 2147483647 w 514"/>
                <a:gd name="T39" fmla="*/ 2147483647 h 240"/>
                <a:gd name="T40" fmla="*/ 2147483647 w 514"/>
                <a:gd name="T41" fmla="*/ 2147483647 h 240"/>
                <a:gd name="T42" fmla="*/ 2147483647 w 514"/>
                <a:gd name="T43" fmla="*/ 2147483647 h 240"/>
                <a:gd name="T44" fmla="*/ 2147483647 w 514"/>
                <a:gd name="T45" fmla="*/ 2147483647 h 240"/>
                <a:gd name="T46" fmla="*/ 2147483647 w 514"/>
                <a:gd name="T47" fmla="*/ 2147483647 h 240"/>
                <a:gd name="T48" fmla="*/ 2147483647 w 514"/>
                <a:gd name="T49" fmla="*/ 2147483647 h 240"/>
                <a:gd name="T50" fmla="*/ 2147483647 w 514"/>
                <a:gd name="T51" fmla="*/ 2147483647 h 240"/>
                <a:gd name="T52" fmla="*/ 2147483647 w 514"/>
                <a:gd name="T53" fmla="*/ 2147483647 h 240"/>
                <a:gd name="T54" fmla="*/ 2147483647 w 514"/>
                <a:gd name="T55" fmla="*/ 2147483647 h 240"/>
                <a:gd name="T56" fmla="*/ 2147483647 w 514"/>
                <a:gd name="T57" fmla="*/ 2147483647 h 240"/>
                <a:gd name="T58" fmla="*/ 2147483647 w 514"/>
                <a:gd name="T59" fmla="*/ 2147483647 h 240"/>
                <a:gd name="T60" fmla="*/ 2147483647 w 514"/>
                <a:gd name="T61" fmla="*/ 2147483647 h 240"/>
                <a:gd name="T62" fmla="*/ 2147483647 w 514"/>
                <a:gd name="T63" fmla="*/ 2147483647 h 240"/>
                <a:gd name="T64" fmla="*/ 2147483647 w 514"/>
                <a:gd name="T65" fmla="*/ 2147483647 h 240"/>
                <a:gd name="T66" fmla="*/ 2147483647 w 514"/>
                <a:gd name="T67" fmla="*/ 2147483647 h 240"/>
                <a:gd name="T68" fmla="*/ 2147483647 w 514"/>
                <a:gd name="T69" fmla="*/ 2147483647 h 240"/>
                <a:gd name="T70" fmla="*/ 2147483647 w 514"/>
                <a:gd name="T71" fmla="*/ 2147483647 h 240"/>
                <a:gd name="T72" fmla="*/ 2147483647 w 514"/>
                <a:gd name="T73" fmla="*/ 2147483647 h 240"/>
                <a:gd name="T74" fmla="*/ 2147483647 w 514"/>
                <a:gd name="T75" fmla="*/ 2147483647 h 240"/>
                <a:gd name="T76" fmla="*/ 2147483647 w 514"/>
                <a:gd name="T77" fmla="*/ 2147483647 h 240"/>
                <a:gd name="T78" fmla="*/ 2147483647 w 514"/>
                <a:gd name="T79" fmla="*/ 2147483647 h 240"/>
                <a:gd name="T80" fmla="*/ 2147483647 w 514"/>
                <a:gd name="T81" fmla="*/ 2147483647 h 240"/>
                <a:gd name="T82" fmla="*/ 2147483647 w 514"/>
                <a:gd name="T83" fmla="*/ 2147483647 h 240"/>
                <a:gd name="T84" fmla="*/ 2147483647 w 514"/>
                <a:gd name="T85" fmla="*/ 2147483647 h 240"/>
                <a:gd name="T86" fmla="*/ 2147483647 w 514"/>
                <a:gd name="T87" fmla="*/ 2147483647 h 240"/>
                <a:gd name="T88" fmla="*/ 2147483647 w 514"/>
                <a:gd name="T89" fmla="*/ 2147483647 h 240"/>
                <a:gd name="T90" fmla="*/ 2147483647 w 514"/>
                <a:gd name="T91" fmla="*/ 2147483647 h 240"/>
                <a:gd name="T92" fmla="*/ 2147483647 w 514"/>
                <a:gd name="T93" fmla="*/ 2147483647 h 240"/>
                <a:gd name="T94" fmla="*/ 2147483647 w 514"/>
                <a:gd name="T95" fmla="*/ 2147483647 h 240"/>
                <a:gd name="T96" fmla="*/ 2147483647 w 514"/>
                <a:gd name="T97" fmla="*/ 2147483647 h 240"/>
                <a:gd name="T98" fmla="*/ 2147483647 w 514"/>
                <a:gd name="T99" fmla="*/ 2147483647 h 240"/>
                <a:gd name="T100" fmla="*/ 2147483647 w 514"/>
                <a:gd name="T101" fmla="*/ 2147483647 h 240"/>
                <a:gd name="T102" fmla="*/ 2147483647 w 514"/>
                <a:gd name="T103" fmla="*/ 2147483647 h 240"/>
                <a:gd name="T104" fmla="*/ 2147483647 w 514"/>
                <a:gd name="T105" fmla="*/ 2147483647 h 240"/>
                <a:gd name="T106" fmla="*/ 2147483647 w 514"/>
                <a:gd name="T107" fmla="*/ 2147483647 h 240"/>
                <a:gd name="T108" fmla="*/ 2147483647 w 514"/>
                <a:gd name="T109" fmla="*/ 2147483647 h 240"/>
                <a:gd name="T110" fmla="*/ 2147483647 w 514"/>
                <a:gd name="T111" fmla="*/ 2147483647 h 240"/>
                <a:gd name="T112" fmla="*/ 2147483647 w 514"/>
                <a:gd name="T113" fmla="*/ 2147483647 h 240"/>
                <a:gd name="T114" fmla="*/ 2147483647 w 514"/>
                <a:gd name="T115" fmla="*/ 2147483647 h 240"/>
                <a:gd name="T116" fmla="*/ 2147483647 w 514"/>
                <a:gd name="T117" fmla="*/ 2147483647 h 240"/>
                <a:gd name="T118" fmla="*/ 2147483647 w 514"/>
                <a:gd name="T119" fmla="*/ 0 h 2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4"/>
                <a:gd name="T181" fmla="*/ 0 h 240"/>
                <a:gd name="T182" fmla="*/ 514 w 514"/>
                <a:gd name="T183" fmla="*/ 240 h 2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4" h="240">
                  <a:moveTo>
                    <a:pt x="514" y="216"/>
                  </a:moveTo>
                  <a:lnTo>
                    <a:pt x="514" y="186"/>
                  </a:lnTo>
                  <a:lnTo>
                    <a:pt x="512" y="182"/>
                  </a:lnTo>
                  <a:lnTo>
                    <a:pt x="514" y="178"/>
                  </a:lnTo>
                  <a:lnTo>
                    <a:pt x="512" y="126"/>
                  </a:lnTo>
                  <a:lnTo>
                    <a:pt x="512" y="124"/>
                  </a:lnTo>
                  <a:lnTo>
                    <a:pt x="510" y="122"/>
                  </a:lnTo>
                  <a:lnTo>
                    <a:pt x="504" y="122"/>
                  </a:lnTo>
                  <a:lnTo>
                    <a:pt x="498" y="122"/>
                  </a:lnTo>
                  <a:lnTo>
                    <a:pt x="494" y="120"/>
                  </a:lnTo>
                  <a:lnTo>
                    <a:pt x="488" y="116"/>
                  </a:lnTo>
                  <a:lnTo>
                    <a:pt x="482" y="112"/>
                  </a:lnTo>
                  <a:lnTo>
                    <a:pt x="476" y="112"/>
                  </a:lnTo>
                  <a:lnTo>
                    <a:pt x="474" y="116"/>
                  </a:lnTo>
                  <a:lnTo>
                    <a:pt x="472" y="120"/>
                  </a:lnTo>
                  <a:lnTo>
                    <a:pt x="468" y="120"/>
                  </a:lnTo>
                  <a:lnTo>
                    <a:pt x="464" y="122"/>
                  </a:lnTo>
                  <a:lnTo>
                    <a:pt x="462" y="128"/>
                  </a:lnTo>
                  <a:lnTo>
                    <a:pt x="460" y="132"/>
                  </a:lnTo>
                  <a:lnTo>
                    <a:pt x="456" y="132"/>
                  </a:lnTo>
                  <a:lnTo>
                    <a:pt x="450" y="134"/>
                  </a:lnTo>
                  <a:lnTo>
                    <a:pt x="446" y="122"/>
                  </a:lnTo>
                  <a:lnTo>
                    <a:pt x="444" y="124"/>
                  </a:lnTo>
                  <a:lnTo>
                    <a:pt x="442" y="124"/>
                  </a:lnTo>
                  <a:lnTo>
                    <a:pt x="440" y="118"/>
                  </a:lnTo>
                  <a:lnTo>
                    <a:pt x="440" y="112"/>
                  </a:lnTo>
                  <a:lnTo>
                    <a:pt x="442" y="100"/>
                  </a:lnTo>
                  <a:lnTo>
                    <a:pt x="434" y="96"/>
                  </a:lnTo>
                  <a:lnTo>
                    <a:pt x="430" y="98"/>
                  </a:lnTo>
                  <a:lnTo>
                    <a:pt x="424" y="96"/>
                  </a:lnTo>
                  <a:lnTo>
                    <a:pt x="422" y="94"/>
                  </a:lnTo>
                  <a:lnTo>
                    <a:pt x="418" y="94"/>
                  </a:lnTo>
                  <a:lnTo>
                    <a:pt x="416" y="98"/>
                  </a:lnTo>
                  <a:lnTo>
                    <a:pt x="416" y="100"/>
                  </a:lnTo>
                  <a:lnTo>
                    <a:pt x="410" y="100"/>
                  </a:lnTo>
                  <a:lnTo>
                    <a:pt x="406" y="100"/>
                  </a:lnTo>
                  <a:lnTo>
                    <a:pt x="406" y="106"/>
                  </a:lnTo>
                  <a:lnTo>
                    <a:pt x="406" y="110"/>
                  </a:lnTo>
                  <a:lnTo>
                    <a:pt x="410" y="110"/>
                  </a:lnTo>
                  <a:lnTo>
                    <a:pt x="416" y="110"/>
                  </a:lnTo>
                  <a:lnTo>
                    <a:pt x="416" y="114"/>
                  </a:lnTo>
                  <a:lnTo>
                    <a:pt x="416" y="118"/>
                  </a:lnTo>
                  <a:lnTo>
                    <a:pt x="434" y="118"/>
                  </a:lnTo>
                  <a:lnTo>
                    <a:pt x="436" y="118"/>
                  </a:lnTo>
                  <a:lnTo>
                    <a:pt x="436" y="120"/>
                  </a:lnTo>
                  <a:lnTo>
                    <a:pt x="434" y="122"/>
                  </a:lnTo>
                  <a:lnTo>
                    <a:pt x="416" y="124"/>
                  </a:lnTo>
                  <a:lnTo>
                    <a:pt x="428" y="126"/>
                  </a:lnTo>
                  <a:lnTo>
                    <a:pt x="424" y="128"/>
                  </a:lnTo>
                  <a:lnTo>
                    <a:pt x="418" y="128"/>
                  </a:lnTo>
                  <a:lnTo>
                    <a:pt x="416" y="128"/>
                  </a:lnTo>
                  <a:lnTo>
                    <a:pt x="420" y="126"/>
                  </a:lnTo>
                  <a:lnTo>
                    <a:pt x="430" y="140"/>
                  </a:lnTo>
                  <a:lnTo>
                    <a:pt x="430" y="136"/>
                  </a:lnTo>
                  <a:lnTo>
                    <a:pt x="432" y="134"/>
                  </a:lnTo>
                  <a:lnTo>
                    <a:pt x="434" y="134"/>
                  </a:lnTo>
                  <a:lnTo>
                    <a:pt x="436" y="136"/>
                  </a:lnTo>
                  <a:lnTo>
                    <a:pt x="440" y="138"/>
                  </a:lnTo>
                  <a:lnTo>
                    <a:pt x="444" y="140"/>
                  </a:lnTo>
                  <a:lnTo>
                    <a:pt x="446" y="142"/>
                  </a:lnTo>
                  <a:lnTo>
                    <a:pt x="446" y="144"/>
                  </a:lnTo>
                  <a:lnTo>
                    <a:pt x="446" y="146"/>
                  </a:lnTo>
                  <a:lnTo>
                    <a:pt x="446" y="148"/>
                  </a:lnTo>
                  <a:lnTo>
                    <a:pt x="452" y="148"/>
                  </a:lnTo>
                  <a:lnTo>
                    <a:pt x="458" y="150"/>
                  </a:lnTo>
                  <a:lnTo>
                    <a:pt x="464" y="150"/>
                  </a:lnTo>
                  <a:lnTo>
                    <a:pt x="470" y="152"/>
                  </a:lnTo>
                  <a:lnTo>
                    <a:pt x="470" y="156"/>
                  </a:lnTo>
                  <a:lnTo>
                    <a:pt x="470" y="160"/>
                  </a:lnTo>
                  <a:lnTo>
                    <a:pt x="472" y="160"/>
                  </a:lnTo>
                  <a:lnTo>
                    <a:pt x="472" y="158"/>
                  </a:lnTo>
                  <a:lnTo>
                    <a:pt x="474" y="158"/>
                  </a:lnTo>
                  <a:lnTo>
                    <a:pt x="484" y="162"/>
                  </a:lnTo>
                  <a:lnTo>
                    <a:pt x="488" y="180"/>
                  </a:lnTo>
                  <a:lnTo>
                    <a:pt x="492" y="198"/>
                  </a:lnTo>
                  <a:lnTo>
                    <a:pt x="488" y="198"/>
                  </a:lnTo>
                  <a:lnTo>
                    <a:pt x="484" y="198"/>
                  </a:lnTo>
                  <a:lnTo>
                    <a:pt x="482" y="202"/>
                  </a:lnTo>
                  <a:lnTo>
                    <a:pt x="478" y="206"/>
                  </a:lnTo>
                  <a:lnTo>
                    <a:pt x="490" y="204"/>
                  </a:lnTo>
                  <a:lnTo>
                    <a:pt x="490" y="202"/>
                  </a:lnTo>
                  <a:lnTo>
                    <a:pt x="498" y="202"/>
                  </a:lnTo>
                  <a:lnTo>
                    <a:pt x="506" y="202"/>
                  </a:lnTo>
                  <a:lnTo>
                    <a:pt x="512" y="216"/>
                  </a:lnTo>
                  <a:lnTo>
                    <a:pt x="514" y="216"/>
                  </a:lnTo>
                  <a:close/>
                  <a:moveTo>
                    <a:pt x="144" y="26"/>
                  </a:moveTo>
                  <a:lnTo>
                    <a:pt x="144" y="26"/>
                  </a:lnTo>
                  <a:lnTo>
                    <a:pt x="144" y="28"/>
                  </a:lnTo>
                  <a:lnTo>
                    <a:pt x="144" y="30"/>
                  </a:lnTo>
                  <a:lnTo>
                    <a:pt x="146" y="32"/>
                  </a:lnTo>
                  <a:lnTo>
                    <a:pt x="148" y="28"/>
                  </a:lnTo>
                  <a:lnTo>
                    <a:pt x="148" y="26"/>
                  </a:lnTo>
                  <a:lnTo>
                    <a:pt x="144" y="26"/>
                  </a:lnTo>
                  <a:close/>
                  <a:moveTo>
                    <a:pt x="8" y="42"/>
                  </a:moveTo>
                  <a:lnTo>
                    <a:pt x="10" y="46"/>
                  </a:lnTo>
                  <a:lnTo>
                    <a:pt x="12" y="46"/>
                  </a:lnTo>
                  <a:lnTo>
                    <a:pt x="12" y="44"/>
                  </a:lnTo>
                  <a:lnTo>
                    <a:pt x="8" y="42"/>
                  </a:lnTo>
                  <a:close/>
                  <a:moveTo>
                    <a:pt x="374" y="52"/>
                  </a:moveTo>
                  <a:lnTo>
                    <a:pt x="374" y="52"/>
                  </a:lnTo>
                  <a:lnTo>
                    <a:pt x="376" y="56"/>
                  </a:lnTo>
                  <a:lnTo>
                    <a:pt x="376" y="60"/>
                  </a:lnTo>
                  <a:lnTo>
                    <a:pt x="380" y="60"/>
                  </a:lnTo>
                  <a:lnTo>
                    <a:pt x="380" y="56"/>
                  </a:lnTo>
                  <a:lnTo>
                    <a:pt x="378" y="52"/>
                  </a:lnTo>
                  <a:lnTo>
                    <a:pt x="374" y="52"/>
                  </a:lnTo>
                  <a:close/>
                  <a:moveTo>
                    <a:pt x="76" y="52"/>
                  </a:moveTo>
                  <a:lnTo>
                    <a:pt x="76" y="56"/>
                  </a:lnTo>
                  <a:lnTo>
                    <a:pt x="76" y="54"/>
                  </a:lnTo>
                  <a:lnTo>
                    <a:pt x="76" y="52"/>
                  </a:lnTo>
                  <a:close/>
                  <a:moveTo>
                    <a:pt x="368" y="56"/>
                  </a:moveTo>
                  <a:lnTo>
                    <a:pt x="368" y="56"/>
                  </a:lnTo>
                  <a:lnTo>
                    <a:pt x="364" y="64"/>
                  </a:lnTo>
                  <a:lnTo>
                    <a:pt x="364" y="68"/>
                  </a:lnTo>
                  <a:lnTo>
                    <a:pt x="362" y="72"/>
                  </a:lnTo>
                  <a:lnTo>
                    <a:pt x="366" y="76"/>
                  </a:lnTo>
                  <a:lnTo>
                    <a:pt x="368" y="82"/>
                  </a:lnTo>
                  <a:lnTo>
                    <a:pt x="374" y="82"/>
                  </a:lnTo>
                  <a:lnTo>
                    <a:pt x="376" y="82"/>
                  </a:lnTo>
                  <a:lnTo>
                    <a:pt x="378" y="82"/>
                  </a:lnTo>
                  <a:lnTo>
                    <a:pt x="378" y="80"/>
                  </a:lnTo>
                  <a:lnTo>
                    <a:pt x="374" y="80"/>
                  </a:lnTo>
                  <a:lnTo>
                    <a:pt x="374" y="78"/>
                  </a:lnTo>
                  <a:lnTo>
                    <a:pt x="376" y="76"/>
                  </a:lnTo>
                  <a:lnTo>
                    <a:pt x="380" y="74"/>
                  </a:lnTo>
                  <a:lnTo>
                    <a:pt x="382" y="72"/>
                  </a:lnTo>
                  <a:lnTo>
                    <a:pt x="380" y="70"/>
                  </a:lnTo>
                  <a:lnTo>
                    <a:pt x="374" y="68"/>
                  </a:lnTo>
                  <a:lnTo>
                    <a:pt x="374" y="70"/>
                  </a:lnTo>
                  <a:lnTo>
                    <a:pt x="374" y="74"/>
                  </a:lnTo>
                  <a:lnTo>
                    <a:pt x="370" y="74"/>
                  </a:lnTo>
                  <a:lnTo>
                    <a:pt x="372" y="70"/>
                  </a:lnTo>
                  <a:lnTo>
                    <a:pt x="372" y="66"/>
                  </a:lnTo>
                  <a:lnTo>
                    <a:pt x="372" y="60"/>
                  </a:lnTo>
                  <a:lnTo>
                    <a:pt x="372" y="56"/>
                  </a:lnTo>
                  <a:lnTo>
                    <a:pt x="368" y="56"/>
                  </a:lnTo>
                  <a:close/>
                  <a:moveTo>
                    <a:pt x="82" y="60"/>
                  </a:moveTo>
                  <a:lnTo>
                    <a:pt x="84" y="64"/>
                  </a:lnTo>
                  <a:lnTo>
                    <a:pt x="86" y="64"/>
                  </a:lnTo>
                  <a:lnTo>
                    <a:pt x="86" y="62"/>
                  </a:lnTo>
                  <a:lnTo>
                    <a:pt x="82" y="60"/>
                  </a:lnTo>
                  <a:close/>
                  <a:moveTo>
                    <a:pt x="22" y="62"/>
                  </a:moveTo>
                  <a:lnTo>
                    <a:pt x="22" y="62"/>
                  </a:lnTo>
                  <a:lnTo>
                    <a:pt x="32" y="70"/>
                  </a:lnTo>
                  <a:lnTo>
                    <a:pt x="32" y="68"/>
                  </a:lnTo>
                  <a:lnTo>
                    <a:pt x="28" y="62"/>
                  </a:lnTo>
                  <a:lnTo>
                    <a:pt x="22" y="62"/>
                  </a:lnTo>
                  <a:close/>
                  <a:moveTo>
                    <a:pt x="334" y="64"/>
                  </a:moveTo>
                  <a:lnTo>
                    <a:pt x="334" y="64"/>
                  </a:lnTo>
                  <a:lnTo>
                    <a:pt x="332" y="68"/>
                  </a:lnTo>
                  <a:lnTo>
                    <a:pt x="328" y="72"/>
                  </a:lnTo>
                  <a:lnTo>
                    <a:pt x="324" y="74"/>
                  </a:lnTo>
                  <a:lnTo>
                    <a:pt x="318" y="74"/>
                  </a:lnTo>
                  <a:lnTo>
                    <a:pt x="310" y="74"/>
                  </a:lnTo>
                  <a:lnTo>
                    <a:pt x="296" y="72"/>
                  </a:lnTo>
                  <a:lnTo>
                    <a:pt x="296" y="68"/>
                  </a:lnTo>
                  <a:lnTo>
                    <a:pt x="290" y="70"/>
                  </a:lnTo>
                  <a:lnTo>
                    <a:pt x="286" y="74"/>
                  </a:lnTo>
                  <a:lnTo>
                    <a:pt x="284" y="74"/>
                  </a:lnTo>
                  <a:lnTo>
                    <a:pt x="284" y="72"/>
                  </a:lnTo>
                  <a:lnTo>
                    <a:pt x="282" y="72"/>
                  </a:lnTo>
                  <a:lnTo>
                    <a:pt x="282" y="76"/>
                  </a:lnTo>
                  <a:lnTo>
                    <a:pt x="278" y="80"/>
                  </a:lnTo>
                  <a:lnTo>
                    <a:pt x="276" y="84"/>
                  </a:lnTo>
                  <a:lnTo>
                    <a:pt x="278" y="88"/>
                  </a:lnTo>
                  <a:lnTo>
                    <a:pt x="280" y="94"/>
                  </a:lnTo>
                  <a:lnTo>
                    <a:pt x="276" y="96"/>
                  </a:lnTo>
                  <a:lnTo>
                    <a:pt x="274" y="98"/>
                  </a:lnTo>
                  <a:lnTo>
                    <a:pt x="274" y="104"/>
                  </a:lnTo>
                  <a:lnTo>
                    <a:pt x="274" y="110"/>
                  </a:lnTo>
                  <a:lnTo>
                    <a:pt x="272" y="118"/>
                  </a:lnTo>
                  <a:lnTo>
                    <a:pt x="268" y="124"/>
                  </a:lnTo>
                  <a:lnTo>
                    <a:pt x="268" y="130"/>
                  </a:lnTo>
                  <a:lnTo>
                    <a:pt x="268" y="132"/>
                  </a:lnTo>
                  <a:lnTo>
                    <a:pt x="272" y="132"/>
                  </a:lnTo>
                  <a:lnTo>
                    <a:pt x="276" y="134"/>
                  </a:lnTo>
                  <a:lnTo>
                    <a:pt x="272" y="162"/>
                  </a:lnTo>
                  <a:lnTo>
                    <a:pt x="284" y="160"/>
                  </a:lnTo>
                  <a:lnTo>
                    <a:pt x="288" y="156"/>
                  </a:lnTo>
                  <a:lnTo>
                    <a:pt x="288" y="148"/>
                  </a:lnTo>
                  <a:lnTo>
                    <a:pt x="284" y="144"/>
                  </a:lnTo>
                  <a:lnTo>
                    <a:pt x="284" y="142"/>
                  </a:lnTo>
                  <a:lnTo>
                    <a:pt x="286" y="140"/>
                  </a:lnTo>
                  <a:lnTo>
                    <a:pt x="286" y="142"/>
                  </a:lnTo>
                  <a:lnTo>
                    <a:pt x="288" y="132"/>
                  </a:lnTo>
                  <a:lnTo>
                    <a:pt x="290" y="128"/>
                  </a:lnTo>
                  <a:lnTo>
                    <a:pt x="292" y="128"/>
                  </a:lnTo>
                  <a:lnTo>
                    <a:pt x="294" y="132"/>
                  </a:lnTo>
                  <a:lnTo>
                    <a:pt x="298" y="144"/>
                  </a:lnTo>
                  <a:lnTo>
                    <a:pt x="300" y="154"/>
                  </a:lnTo>
                  <a:lnTo>
                    <a:pt x="304" y="154"/>
                  </a:lnTo>
                  <a:lnTo>
                    <a:pt x="306" y="154"/>
                  </a:lnTo>
                  <a:lnTo>
                    <a:pt x="306" y="148"/>
                  </a:lnTo>
                  <a:lnTo>
                    <a:pt x="316" y="146"/>
                  </a:lnTo>
                  <a:lnTo>
                    <a:pt x="318" y="146"/>
                  </a:lnTo>
                  <a:lnTo>
                    <a:pt x="318" y="144"/>
                  </a:lnTo>
                  <a:lnTo>
                    <a:pt x="312" y="140"/>
                  </a:lnTo>
                  <a:lnTo>
                    <a:pt x="308" y="136"/>
                  </a:lnTo>
                  <a:lnTo>
                    <a:pt x="308" y="134"/>
                  </a:lnTo>
                  <a:lnTo>
                    <a:pt x="310" y="132"/>
                  </a:lnTo>
                  <a:lnTo>
                    <a:pt x="312" y="132"/>
                  </a:lnTo>
                  <a:lnTo>
                    <a:pt x="310" y="130"/>
                  </a:lnTo>
                  <a:lnTo>
                    <a:pt x="306" y="128"/>
                  </a:lnTo>
                  <a:lnTo>
                    <a:pt x="304" y="126"/>
                  </a:lnTo>
                  <a:lnTo>
                    <a:pt x="302" y="122"/>
                  </a:lnTo>
                  <a:lnTo>
                    <a:pt x="302" y="118"/>
                  </a:lnTo>
                  <a:lnTo>
                    <a:pt x="294" y="116"/>
                  </a:lnTo>
                  <a:lnTo>
                    <a:pt x="294" y="112"/>
                  </a:lnTo>
                  <a:lnTo>
                    <a:pt x="300" y="112"/>
                  </a:lnTo>
                  <a:lnTo>
                    <a:pt x="304" y="112"/>
                  </a:lnTo>
                  <a:lnTo>
                    <a:pt x="308" y="108"/>
                  </a:lnTo>
                  <a:lnTo>
                    <a:pt x="310" y="106"/>
                  </a:lnTo>
                  <a:lnTo>
                    <a:pt x="312" y="106"/>
                  </a:lnTo>
                  <a:lnTo>
                    <a:pt x="312" y="110"/>
                  </a:lnTo>
                  <a:lnTo>
                    <a:pt x="316" y="110"/>
                  </a:lnTo>
                  <a:lnTo>
                    <a:pt x="320" y="108"/>
                  </a:lnTo>
                  <a:lnTo>
                    <a:pt x="316" y="106"/>
                  </a:lnTo>
                  <a:lnTo>
                    <a:pt x="314" y="104"/>
                  </a:lnTo>
                  <a:lnTo>
                    <a:pt x="320" y="96"/>
                  </a:lnTo>
                  <a:lnTo>
                    <a:pt x="308" y="96"/>
                  </a:lnTo>
                  <a:lnTo>
                    <a:pt x="298" y="96"/>
                  </a:lnTo>
                  <a:lnTo>
                    <a:pt x="296" y="98"/>
                  </a:lnTo>
                  <a:lnTo>
                    <a:pt x="294" y="100"/>
                  </a:lnTo>
                  <a:lnTo>
                    <a:pt x="292" y="100"/>
                  </a:lnTo>
                  <a:lnTo>
                    <a:pt x="292" y="96"/>
                  </a:lnTo>
                  <a:lnTo>
                    <a:pt x="286" y="96"/>
                  </a:lnTo>
                  <a:lnTo>
                    <a:pt x="288" y="80"/>
                  </a:lnTo>
                  <a:lnTo>
                    <a:pt x="312" y="82"/>
                  </a:lnTo>
                  <a:lnTo>
                    <a:pt x="322" y="84"/>
                  </a:lnTo>
                  <a:lnTo>
                    <a:pt x="332" y="80"/>
                  </a:lnTo>
                  <a:lnTo>
                    <a:pt x="338" y="70"/>
                  </a:lnTo>
                  <a:lnTo>
                    <a:pt x="340" y="64"/>
                  </a:lnTo>
                  <a:lnTo>
                    <a:pt x="338" y="62"/>
                  </a:lnTo>
                  <a:lnTo>
                    <a:pt x="334" y="64"/>
                  </a:lnTo>
                  <a:close/>
                  <a:moveTo>
                    <a:pt x="398" y="88"/>
                  </a:moveTo>
                  <a:lnTo>
                    <a:pt x="398" y="88"/>
                  </a:lnTo>
                  <a:lnTo>
                    <a:pt x="394" y="92"/>
                  </a:lnTo>
                  <a:lnTo>
                    <a:pt x="406" y="92"/>
                  </a:lnTo>
                  <a:lnTo>
                    <a:pt x="408" y="92"/>
                  </a:lnTo>
                  <a:lnTo>
                    <a:pt x="402" y="90"/>
                  </a:lnTo>
                  <a:lnTo>
                    <a:pt x="398" y="88"/>
                  </a:lnTo>
                  <a:close/>
                  <a:moveTo>
                    <a:pt x="364" y="94"/>
                  </a:moveTo>
                  <a:lnTo>
                    <a:pt x="364" y="98"/>
                  </a:lnTo>
                  <a:lnTo>
                    <a:pt x="368" y="98"/>
                  </a:lnTo>
                  <a:lnTo>
                    <a:pt x="364" y="94"/>
                  </a:lnTo>
                  <a:close/>
                  <a:moveTo>
                    <a:pt x="42" y="100"/>
                  </a:moveTo>
                  <a:lnTo>
                    <a:pt x="42" y="100"/>
                  </a:lnTo>
                  <a:lnTo>
                    <a:pt x="42" y="104"/>
                  </a:lnTo>
                  <a:lnTo>
                    <a:pt x="44" y="110"/>
                  </a:lnTo>
                  <a:lnTo>
                    <a:pt x="48" y="110"/>
                  </a:lnTo>
                  <a:lnTo>
                    <a:pt x="50" y="108"/>
                  </a:lnTo>
                  <a:lnTo>
                    <a:pt x="48" y="106"/>
                  </a:lnTo>
                  <a:lnTo>
                    <a:pt x="46" y="102"/>
                  </a:lnTo>
                  <a:lnTo>
                    <a:pt x="46" y="100"/>
                  </a:lnTo>
                  <a:lnTo>
                    <a:pt x="44" y="100"/>
                  </a:lnTo>
                  <a:lnTo>
                    <a:pt x="42" y="100"/>
                  </a:lnTo>
                  <a:close/>
                  <a:moveTo>
                    <a:pt x="400" y="104"/>
                  </a:moveTo>
                  <a:lnTo>
                    <a:pt x="402" y="106"/>
                  </a:lnTo>
                  <a:lnTo>
                    <a:pt x="404" y="108"/>
                  </a:lnTo>
                  <a:lnTo>
                    <a:pt x="406" y="106"/>
                  </a:lnTo>
                  <a:lnTo>
                    <a:pt x="404" y="104"/>
                  </a:lnTo>
                  <a:lnTo>
                    <a:pt x="400" y="104"/>
                  </a:lnTo>
                  <a:close/>
                  <a:moveTo>
                    <a:pt x="116" y="108"/>
                  </a:moveTo>
                  <a:lnTo>
                    <a:pt x="116" y="108"/>
                  </a:lnTo>
                  <a:lnTo>
                    <a:pt x="118" y="112"/>
                  </a:lnTo>
                  <a:lnTo>
                    <a:pt x="116" y="116"/>
                  </a:lnTo>
                  <a:lnTo>
                    <a:pt x="122" y="116"/>
                  </a:lnTo>
                  <a:lnTo>
                    <a:pt x="124" y="122"/>
                  </a:lnTo>
                  <a:lnTo>
                    <a:pt x="124" y="124"/>
                  </a:lnTo>
                  <a:lnTo>
                    <a:pt x="128" y="126"/>
                  </a:lnTo>
                  <a:lnTo>
                    <a:pt x="130" y="126"/>
                  </a:lnTo>
                  <a:lnTo>
                    <a:pt x="130" y="120"/>
                  </a:lnTo>
                  <a:lnTo>
                    <a:pt x="128" y="114"/>
                  </a:lnTo>
                  <a:lnTo>
                    <a:pt x="126" y="110"/>
                  </a:lnTo>
                  <a:lnTo>
                    <a:pt x="122" y="110"/>
                  </a:lnTo>
                  <a:lnTo>
                    <a:pt x="116" y="108"/>
                  </a:lnTo>
                  <a:close/>
                  <a:moveTo>
                    <a:pt x="330" y="108"/>
                  </a:moveTo>
                  <a:lnTo>
                    <a:pt x="330" y="108"/>
                  </a:lnTo>
                  <a:lnTo>
                    <a:pt x="328" y="112"/>
                  </a:lnTo>
                  <a:lnTo>
                    <a:pt x="336" y="112"/>
                  </a:lnTo>
                  <a:lnTo>
                    <a:pt x="330" y="108"/>
                  </a:lnTo>
                  <a:close/>
                  <a:moveTo>
                    <a:pt x="394" y="108"/>
                  </a:moveTo>
                  <a:lnTo>
                    <a:pt x="394" y="108"/>
                  </a:lnTo>
                  <a:lnTo>
                    <a:pt x="394" y="112"/>
                  </a:lnTo>
                  <a:lnTo>
                    <a:pt x="396" y="114"/>
                  </a:lnTo>
                  <a:lnTo>
                    <a:pt x="398" y="114"/>
                  </a:lnTo>
                  <a:lnTo>
                    <a:pt x="398" y="112"/>
                  </a:lnTo>
                  <a:lnTo>
                    <a:pt x="394" y="108"/>
                  </a:lnTo>
                  <a:close/>
                  <a:moveTo>
                    <a:pt x="56" y="120"/>
                  </a:moveTo>
                  <a:lnTo>
                    <a:pt x="58" y="124"/>
                  </a:lnTo>
                  <a:lnTo>
                    <a:pt x="58" y="122"/>
                  </a:lnTo>
                  <a:lnTo>
                    <a:pt x="56" y="120"/>
                  </a:lnTo>
                  <a:close/>
                  <a:moveTo>
                    <a:pt x="142" y="120"/>
                  </a:moveTo>
                  <a:lnTo>
                    <a:pt x="142" y="120"/>
                  </a:lnTo>
                  <a:lnTo>
                    <a:pt x="142" y="130"/>
                  </a:lnTo>
                  <a:lnTo>
                    <a:pt x="146" y="130"/>
                  </a:lnTo>
                  <a:lnTo>
                    <a:pt x="150" y="122"/>
                  </a:lnTo>
                  <a:lnTo>
                    <a:pt x="146" y="122"/>
                  </a:lnTo>
                  <a:lnTo>
                    <a:pt x="142" y="120"/>
                  </a:lnTo>
                  <a:close/>
                  <a:moveTo>
                    <a:pt x="374" y="128"/>
                  </a:moveTo>
                  <a:lnTo>
                    <a:pt x="374" y="128"/>
                  </a:lnTo>
                  <a:lnTo>
                    <a:pt x="372" y="134"/>
                  </a:lnTo>
                  <a:lnTo>
                    <a:pt x="382" y="132"/>
                  </a:lnTo>
                  <a:lnTo>
                    <a:pt x="390" y="134"/>
                  </a:lnTo>
                  <a:lnTo>
                    <a:pt x="396" y="136"/>
                  </a:lnTo>
                  <a:lnTo>
                    <a:pt x="400" y="136"/>
                  </a:lnTo>
                  <a:lnTo>
                    <a:pt x="400" y="134"/>
                  </a:lnTo>
                  <a:lnTo>
                    <a:pt x="402" y="134"/>
                  </a:lnTo>
                  <a:lnTo>
                    <a:pt x="390" y="130"/>
                  </a:lnTo>
                  <a:lnTo>
                    <a:pt x="374" y="128"/>
                  </a:lnTo>
                  <a:close/>
                  <a:moveTo>
                    <a:pt x="348" y="130"/>
                  </a:moveTo>
                  <a:lnTo>
                    <a:pt x="354" y="138"/>
                  </a:lnTo>
                  <a:lnTo>
                    <a:pt x="358" y="138"/>
                  </a:lnTo>
                  <a:lnTo>
                    <a:pt x="360" y="136"/>
                  </a:lnTo>
                  <a:lnTo>
                    <a:pt x="362" y="134"/>
                  </a:lnTo>
                  <a:lnTo>
                    <a:pt x="362" y="130"/>
                  </a:lnTo>
                  <a:lnTo>
                    <a:pt x="348" y="130"/>
                  </a:lnTo>
                  <a:close/>
                  <a:moveTo>
                    <a:pt x="318" y="148"/>
                  </a:moveTo>
                  <a:lnTo>
                    <a:pt x="318" y="148"/>
                  </a:lnTo>
                  <a:lnTo>
                    <a:pt x="316" y="150"/>
                  </a:lnTo>
                  <a:lnTo>
                    <a:pt x="316" y="154"/>
                  </a:lnTo>
                  <a:lnTo>
                    <a:pt x="314" y="152"/>
                  </a:lnTo>
                  <a:lnTo>
                    <a:pt x="312" y="150"/>
                  </a:lnTo>
                  <a:lnTo>
                    <a:pt x="312" y="154"/>
                  </a:lnTo>
                  <a:lnTo>
                    <a:pt x="310" y="158"/>
                  </a:lnTo>
                  <a:lnTo>
                    <a:pt x="314" y="160"/>
                  </a:lnTo>
                  <a:lnTo>
                    <a:pt x="316" y="162"/>
                  </a:lnTo>
                  <a:lnTo>
                    <a:pt x="320" y="162"/>
                  </a:lnTo>
                  <a:lnTo>
                    <a:pt x="320" y="160"/>
                  </a:lnTo>
                  <a:lnTo>
                    <a:pt x="320" y="156"/>
                  </a:lnTo>
                  <a:lnTo>
                    <a:pt x="320" y="150"/>
                  </a:lnTo>
                  <a:lnTo>
                    <a:pt x="320" y="148"/>
                  </a:lnTo>
                  <a:lnTo>
                    <a:pt x="318" y="148"/>
                  </a:lnTo>
                  <a:close/>
                  <a:moveTo>
                    <a:pt x="124" y="162"/>
                  </a:moveTo>
                  <a:lnTo>
                    <a:pt x="124" y="162"/>
                  </a:lnTo>
                  <a:lnTo>
                    <a:pt x="116" y="178"/>
                  </a:lnTo>
                  <a:lnTo>
                    <a:pt x="130" y="180"/>
                  </a:lnTo>
                  <a:lnTo>
                    <a:pt x="128" y="182"/>
                  </a:lnTo>
                  <a:lnTo>
                    <a:pt x="126" y="184"/>
                  </a:lnTo>
                  <a:lnTo>
                    <a:pt x="128" y="186"/>
                  </a:lnTo>
                  <a:lnTo>
                    <a:pt x="132" y="186"/>
                  </a:lnTo>
                  <a:lnTo>
                    <a:pt x="136" y="186"/>
                  </a:lnTo>
                  <a:lnTo>
                    <a:pt x="138" y="184"/>
                  </a:lnTo>
                  <a:lnTo>
                    <a:pt x="144" y="186"/>
                  </a:lnTo>
                  <a:lnTo>
                    <a:pt x="144" y="188"/>
                  </a:lnTo>
                  <a:lnTo>
                    <a:pt x="148" y="190"/>
                  </a:lnTo>
                  <a:lnTo>
                    <a:pt x="152" y="190"/>
                  </a:lnTo>
                  <a:lnTo>
                    <a:pt x="158" y="190"/>
                  </a:lnTo>
                  <a:lnTo>
                    <a:pt x="162" y="188"/>
                  </a:lnTo>
                  <a:lnTo>
                    <a:pt x="168" y="188"/>
                  </a:lnTo>
                  <a:lnTo>
                    <a:pt x="176" y="192"/>
                  </a:lnTo>
                  <a:lnTo>
                    <a:pt x="184" y="196"/>
                  </a:lnTo>
                  <a:lnTo>
                    <a:pt x="190" y="196"/>
                  </a:lnTo>
                  <a:lnTo>
                    <a:pt x="196" y="196"/>
                  </a:lnTo>
                  <a:lnTo>
                    <a:pt x="208" y="196"/>
                  </a:lnTo>
                  <a:lnTo>
                    <a:pt x="212" y="200"/>
                  </a:lnTo>
                  <a:lnTo>
                    <a:pt x="214" y="202"/>
                  </a:lnTo>
                  <a:lnTo>
                    <a:pt x="220" y="204"/>
                  </a:lnTo>
                  <a:lnTo>
                    <a:pt x="224" y="204"/>
                  </a:lnTo>
                  <a:lnTo>
                    <a:pt x="220" y="198"/>
                  </a:lnTo>
                  <a:lnTo>
                    <a:pt x="220" y="194"/>
                  </a:lnTo>
                  <a:lnTo>
                    <a:pt x="222" y="188"/>
                  </a:lnTo>
                  <a:lnTo>
                    <a:pt x="216" y="186"/>
                  </a:lnTo>
                  <a:lnTo>
                    <a:pt x="202" y="186"/>
                  </a:lnTo>
                  <a:lnTo>
                    <a:pt x="204" y="182"/>
                  </a:lnTo>
                  <a:lnTo>
                    <a:pt x="204" y="178"/>
                  </a:lnTo>
                  <a:lnTo>
                    <a:pt x="202" y="174"/>
                  </a:lnTo>
                  <a:lnTo>
                    <a:pt x="192" y="172"/>
                  </a:lnTo>
                  <a:lnTo>
                    <a:pt x="184" y="172"/>
                  </a:lnTo>
                  <a:lnTo>
                    <a:pt x="182" y="170"/>
                  </a:lnTo>
                  <a:lnTo>
                    <a:pt x="180" y="168"/>
                  </a:lnTo>
                  <a:lnTo>
                    <a:pt x="176" y="174"/>
                  </a:lnTo>
                  <a:lnTo>
                    <a:pt x="166" y="174"/>
                  </a:lnTo>
                  <a:lnTo>
                    <a:pt x="160" y="172"/>
                  </a:lnTo>
                  <a:lnTo>
                    <a:pt x="156" y="168"/>
                  </a:lnTo>
                  <a:lnTo>
                    <a:pt x="152" y="164"/>
                  </a:lnTo>
                  <a:lnTo>
                    <a:pt x="148" y="162"/>
                  </a:lnTo>
                  <a:lnTo>
                    <a:pt x="140" y="164"/>
                  </a:lnTo>
                  <a:lnTo>
                    <a:pt x="134" y="166"/>
                  </a:lnTo>
                  <a:lnTo>
                    <a:pt x="128" y="164"/>
                  </a:lnTo>
                  <a:lnTo>
                    <a:pt x="124" y="162"/>
                  </a:lnTo>
                  <a:close/>
                  <a:moveTo>
                    <a:pt x="440" y="164"/>
                  </a:moveTo>
                  <a:lnTo>
                    <a:pt x="440" y="164"/>
                  </a:lnTo>
                  <a:lnTo>
                    <a:pt x="440" y="170"/>
                  </a:lnTo>
                  <a:lnTo>
                    <a:pt x="440" y="178"/>
                  </a:lnTo>
                  <a:lnTo>
                    <a:pt x="438" y="178"/>
                  </a:lnTo>
                  <a:lnTo>
                    <a:pt x="436" y="180"/>
                  </a:lnTo>
                  <a:lnTo>
                    <a:pt x="438" y="186"/>
                  </a:lnTo>
                  <a:lnTo>
                    <a:pt x="442" y="186"/>
                  </a:lnTo>
                  <a:lnTo>
                    <a:pt x="442" y="184"/>
                  </a:lnTo>
                  <a:lnTo>
                    <a:pt x="442" y="182"/>
                  </a:lnTo>
                  <a:lnTo>
                    <a:pt x="440" y="178"/>
                  </a:lnTo>
                  <a:lnTo>
                    <a:pt x="442" y="178"/>
                  </a:lnTo>
                  <a:lnTo>
                    <a:pt x="444" y="178"/>
                  </a:lnTo>
                  <a:lnTo>
                    <a:pt x="446" y="168"/>
                  </a:lnTo>
                  <a:lnTo>
                    <a:pt x="440" y="164"/>
                  </a:lnTo>
                  <a:close/>
                  <a:moveTo>
                    <a:pt x="206" y="176"/>
                  </a:moveTo>
                  <a:lnTo>
                    <a:pt x="214" y="178"/>
                  </a:lnTo>
                  <a:lnTo>
                    <a:pt x="216" y="176"/>
                  </a:lnTo>
                  <a:lnTo>
                    <a:pt x="206" y="176"/>
                  </a:lnTo>
                  <a:close/>
                  <a:moveTo>
                    <a:pt x="408" y="188"/>
                  </a:moveTo>
                  <a:lnTo>
                    <a:pt x="408" y="188"/>
                  </a:lnTo>
                  <a:lnTo>
                    <a:pt x="406" y="196"/>
                  </a:lnTo>
                  <a:lnTo>
                    <a:pt x="406" y="198"/>
                  </a:lnTo>
                  <a:lnTo>
                    <a:pt x="406" y="200"/>
                  </a:lnTo>
                  <a:lnTo>
                    <a:pt x="410" y="192"/>
                  </a:lnTo>
                  <a:lnTo>
                    <a:pt x="410" y="188"/>
                  </a:lnTo>
                  <a:lnTo>
                    <a:pt x="408" y="188"/>
                  </a:lnTo>
                  <a:close/>
                  <a:moveTo>
                    <a:pt x="486" y="188"/>
                  </a:moveTo>
                  <a:lnTo>
                    <a:pt x="488" y="192"/>
                  </a:lnTo>
                  <a:lnTo>
                    <a:pt x="488" y="190"/>
                  </a:lnTo>
                  <a:lnTo>
                    <a:pt x="486" y="188"/>
                  </a:lnTo>
                  <a:close/>
                  <a:moveTo>
                    <a:pt x="224" y="196"/>
                  </a:moveTo>
                  <a:lnTo>
                    <a:pt x="224" y="196"/>
                  </a:lnTo>
                  <a:lnTo>
                    <a:pt x="228" y="202"/>
                  </a:lnTo>
                  <a:lnTo>
                    <a:pt x="228" y="204"/>
                  </a:lnTo>
                  <a:lnTo>
                    <a:pt x="228" y="206"/>
                  </a:lnTo>
                  <a:lnTo>
                    <a:pt x="230" y="206"/>
                  </a:lnTo>
                  <a:lnTo>
                    <a:pt x="230" y="204"/>
                  </a:lnTo>
                  <a:lnTo>
                    <a:pt x="232" y="204"/>
                  </a:lnTo>
                  <a:lnTo>
                    <a:pt x="232" y="202"/>
                  </a:lnTo>
                  <a:lnTo>
                    <a:pt x="232" y="200"/>
                  </a:lnTo>
                  <a:lnTo>
                    <a:pt x="234" y="198"/>
                  </a:lnTo>
                  <a:lnTo>
                    <a:pt x="232" y="198"/>
                  </a:lnTo>
                  <a:lnTo>
                    <a:pt x="230" y="198"/>
                  </a:lnTo>
                  <a:lnTo>
                    <a:pt x="230" y="200"/>
                  </a:lnTo>
                  <a:lnTo>
                    <a:pt x="228" y="200"/>
                  </a:lnTo>
                  <a:lnTo>
                    <a:pt x="226" y="198"/>
                  </a:lnTo>
                  <a:lnTo>
                    <a:pt x="224" y="196"/>
                  </a:lnTo>
                  <a:close/>
                  <a:moveTo>
                    <a:pt x="348" y="196"/>
                  </a:moveTo>
                  <a:lnTo>
                    <a:pt x="348" y="196"/>
                  </a:lnTo>
                  <a:lnTo>
                    <a:pt x="348" y="200"/>
                  </a:lnTo>
                  <a:lnTo>
                    <a:pt x="358" y="198"/>
                  </a:lnTo>
                  <a:lnTo>
                    <a:pt x="348" y="196"/>
                  </a:lnTo>
                  <a:close/>
                  <a:moveTo>
                    <a:pt x="244" y="198"/>
                  </a:moveTo>
                  <a:lnTo>
                    <a:pt x="244" y="198"/>
                  </a:lnTo>
                  <a:lnTo>
                    <a:pt x="242" y="200"/>
                  </a:lnTo>
                  <a:lnTo>
                    <a:pt x="240" y="202"/>
                  </a:lnTo>
                  <a:lnTo>
                    <a:pt x="238" y="206"/>
                  </a:lnTo>
                  <a:lnTo>
                    <a:pt x="246" y="206"/>
                  </a:lnTo>
                  <a:lnTo>
                    <a:pt x="246" y="204"/>
                  </a:lnTo>
                  <a:lnTo>
                    <a:pt x="246" y="200"/>
                  </a:lnTo>
                  <a:lnTo>
                    <a:pt x="246" y="198"/>
                  </a:lnTo>
                  <a:lnTo>
                    <a:pt x="244" y="198"/>
                  </a:lnTo>
                  <a:close/>
                  <a:moveTo>
                    <a:pt x="258" y="200"/>
                  </a:moveTo>
                  <a:lnTo>
                    <a:pt x="258" y="200"/>
                  </a:lnTo>
                  <a:lnTo>
                    <a:pt x="258" y="202"/>
                  </a:lnTo>
                  <a:lnTo>
                    <a:pt x="256" y="202"/>
                  </a:lnTo>
                  <a:lnTo>
                    <a:pt x="260" y="204"/>
                  </a:lnTo>
                  <a:lnTo>
                    <a:pt x="262" y="206"/>
                  </a:lnTo>
                  <a:lnTo>
                    <a:pt x="260" y="208"/>
                  </a:lnTo>
                  <a:lnTo>
                    <a:pt x="256" y="208"/>
                  </a:lnTo>
                  <a:lnTo>
                    <a:pt x="250" y="204"/>
                  </a:lnTo>
                  <a:lnTo>
                    <a:pt x="248" y="214"/>
                  </a:lnTo>
                  <a:lnTo>
                    <a:pt x="274" y="210"/>
                  </a:lnTo>
                  <a:lnTo>
                    <a:pt x="272" y="208"/>
                  </a:lnTo>
                  <a:lnTo>
                    <a:pt x="272" y="206"/>
                  </a:lnTo>
                  <a:lnTo>
                    <a:pt x="272" y="204"/>
                  </a:lnTo>
                  <a:lnTo>
                    <a:pt x="266" y="204"/>
                  </a:lnTo>
                  <a:lnTo>
                    <a:pt x="264" y="204"/>
                  </a:lnTo>
                  <a:lnTo>
                    <a:pt x="264" y="202"/>
                  </a:lnTo>
                  <a:lnTo>
                    <a:pt x="258" y="200"/>
                  </a:lnTo>
                  <a:close/>
                  <a:moveTo>
                    <a:pt x="286" y="202"/>
                  </a:moveTo>
                  <a:lnTo>
                    <a:pt x="286" y="202"/>
                  </a:lnTo>
                  <a:lnTo>
                    <a:pt x="282" y="202"/>
                  </a:lnTo>
                  <a:lnTo>
                    <a:pt x="280" y="204"/>
                  </a:lnTo>
                  <a:lnTo>
                    <a:pt x="280" y="206"/>
                  </a:lnTo>
                  <a:lnTo>
                    <a:pt x="282" y="206"/>
                  </a:lnTo>
                  <a:lnTo>
                    <a:pt x="286" y="210"/>
                  </a:lnTo>
                  <a:lnTo>
                    <a:pt x="292" y="212"/>
                  </a:lnTo>
                  <a:lnTo>
                    <a:pt x="296" y="212"/>
                  </a:lnTo>
                  <a:lnTo>
                    <a:pt x="300" y="210"/>
                  </a:lnTo>
                  <a:lnTo>
                    <a:pt x="308" y="208"/>
                  </a:lnTo>
                  <a:lnTo>
                    <a:pt x="312" y="208"/>
                  </a:lnTo>
                  <a:lnTo>
                    <a:pt x="316" y="210"/>
                  </a:lnTo>
                  <a:lnTo>
                    <a:pt x="316" y="202"/>
                  </a:lnTo>
                  <a:lnTo>
                    <a:pt x="306" y="204"/>
                  </a:lnTo>
                  <a:lnTo>
                    <a:pt x="296" y="204"/>
                  </a:lnTo>
                  <a:lnTo>
                    <a:pt x="286" y="202"/>
                  </a:lnTo>
                  <a:close/>
                  <a:moveTo>
                    <a:pt x="358" y="204"/>
                  </a:moveTo>
                  <a:lnTo>
                    <a:pt x="358" y="204"/>
                  </a:lnTo>
                  <a:lnTo>
                    <a:pt x="348" y="210"/>
                  </a:lnTo>
                  <a:lnTo>
                    <a:pt x="344" y="210"/>
                  </a:lnTo>
                  <a:lnTo>
                    <a:pt x="340" y="208"/>
                  </a:lnTo>
                  <a:lnTo>
                    <a:pt x="336" y="210"/>
                  </a:lnTo>
                  <a:lnTo>
                    <a:pt x="336" y="216"/>
                  </a:lnTo>
                  <a:lnTo>
                    <a:pt x="332" y="216"/>
                  </a:lnTo>
                  <a:lnTo>
                    <a:pt x="330" y="218"/>
                  </a:lnTo>
                  <a:lnTo>
                    <a:pt x="330" y="220"/>
                  </a:lnTo>
                  <a:lnTo>
                    <a:pt x="324" y="222"/>
                  </a:lnTo>
                  <a:lnTo>
                    <a:pt x="322" y="226"/>
                  </a:lnTo>
                  <a:lnTo>
                    <a:pt x="320" y="230"/>
                  </a:lnTo>
                  <a:lnTo>
                    <a:pt x="316" y="232"/>
                  </a:lnTo>
                  <a:lnTo>
                    <a:pt x="312" y="232"/>
                  </a:lnTo>
                  <a:lnTo>
                    <a:pt x="312" y="234"/>
                  </a:lnTo>
                  <a:lnTo>
                    <a:pt x="312" y="236"/>
                  </a:lnTo>
                  <a:lnTo>
                    <a:pt x="310" y="238"/>
                  </a:lnTo>
                  <a:lnTo>
                    <a:pt x="314" y="238"/>
                  </a:lnTo>
                  <a:lnTo>
                    <a:pt x="314" y="240"/>
                  </a:lnTo>
                  <a:lnTo>
                    <a:pt x="322" y="232"/>
                  </a:lnTo>
                  <a:lnTo>
                    <a:pt x="332" y="228"/>
                  </a:lnTo>
                  <a:lnTo>
                    <a:pt x="334" y="228"/>
                  </a:lnTo>
                  <a:lnTo>
                    <a:pt x="338" y="228"/>
                  </a:lnTo>
                  <a:lnTo>
                    <a:pt x="340" y="224"/>
                  </a:lnTo>
                  <a:lnTo>
                    <a:pt x="342" y="220"/>
                  </a:lnTo>
                  <a:lnTo>
                    <a:pt x="356" y="212"/>
                  </a:lnTo>
                  <a:lnTo>
                    <a:pt x="364" y="206"/>
                  </a:lnTo>
                  <a:lnTo>
                    <a:pt x="362" y="204"/>
                  </a:lnTo>
                  <a:lnTo>
                    <a:pt x="358" y="204"/>
                  </a:lnTo>
                  <a:close/>
                  <a:moveTo>
                    <a:pt x="276" y="220"/>
                  </a:moveTo>
                  <a:lnTo>
                    <a:pt x="276" y="220"/>
                  </a:lnTo>
                  <a:lnTo>
                    <a:pt x="274" y="226"/>
                  </a:lnTo>
                  <a:lnTo>
                    <a:pt x="282" y="228"/>
                  </a:lnTo>
                  <a:lnTo>
                    <a:pt x="292" y="230"/>
                  </a:lnTo>
                  <a:lnTo>
                    <a:pt x="292" y="226"/>
                  </a:lnTo>
                  <a:lnTo>
                    <a:pt x="276" y="220"/>
                  </a:lnTo>
                  <a:close/>
                  <a:moveTo>
                    <a:pt x="82" y="66"/>
                  </a:moveTo>
                  <a:lnTo>
                    <a:pt x="82" y="66"/>
                  </a:lnTo>
                  <a:lnTo>
                    <a:pt x="84" y="70"/>
                  </a:lnTo>
                  <a:lnTo>
                    <a:pt x="86" y="70"/>
                  </a:lnTo>
                  <a:lnTo>
                    <a:pt x="84" y="68"/>
                  </a:lnTo>
                  <a:lnTo>
                    <a:pt x="82" y="66"/>
                  </a:lnTo>
                  <a:close/>
                  <a:moveTo>
                    <a:pt x="166" y="56"/>
                  </a:moveTo>
                  <a:lnTo>
                    <a:pt x="166" y="56"/>
                  </a:lnTo>
                  <a:lnTo>
                    <a:pt x="158" y="68"/>
                  </a:lnTo>
                  <a:lnTo>
                    <a:pt x="156" y="74"/>
                  </a:lnTo>
                  <a:lnTo>
                    <a:pt x="158" y="82"/>
                  </a:lnTo>
                  <a:lnTo>
                    <a:pt x="160" y="96"/>
                  </a:lnTo>
                  <a:lnTo>
                    <a:pt x="162" y="98"/>
                  </a:lnTo>
                  <a:lnTo>
                    <a:pt x="160" y="102"/>
                  </a:lnTo>
                  <a:lnTo>
                    <a:pt x="164" y="100"/>
                  </a:lnTo>
                  <a:lnTo>
                    <a:pt x="168" y="98"/>
                  </a:lnTo>
                  <a:lnTo>
                    <a:pt x="174" y="124"/>
                  </a:lnTo>
                  <a:lnTo>
                    <a:pt x="184" y="126"/>
                  </a:lnTo>
                  <a:lnTo>
                    <a:pt x="190" y="124"/>
                  </a:lnTo>
                  <a:lnTo>
                    <a:pt x="192" y="124"/>
                  </a:lnTo>
                  <a:lnTo>
                    <a:pt x="192" y="130"/>
                  </a:lnTo>
                  <a:lnTo>
                    <a:pt x="200" y="132"/>
                  </a:lnTo>
                  <a:lnTo>
                    <a:pt x="204" y="128"/>
                  </a:lnTo>
                  <a:lnTo>
                    <a:pt x="218" y="128"/>
                  </a:lnTo>
                  <a:lnTo>
                    <a:pt x="224" y="132"/>
                  </a:lnTo>
                  <a:lnTo>
                    <a:pt x="222" y="132"/>
                  </a:lnTo>
                  <a:lnTo>
                    <a:pt x="224" y="134"/>
                  </a:lnTo>
                  <a:lnTo>
                    <a:pt x="232" y="130"/>
                  </a:lnTo>
                  <a:lnTo>
                    <a:pt x="238" y="130"/>
                  </a:lnTo>
                  <a:lnTo>
                    <a:pt x="240" y="126"/>
                  </a:lnTo>
                  <a:lnTo>
                    <a:pt x="240" y="120"/>
                  </a:lnTo>
                  <a:lnTo>
                    <a:pt x="244" y="116"/>
                  </a:lnTo>
                  <a:lnTo>
                    <a:pt x="250" y="116"/>
                  </a:lnTo>
                  <a:lnTo>
                    <a:pt x="246" y="106"/>
                  </a:lnTo>
                  <a:lnTo>
                    <a:pt x="248" y="104"/>
                  </a:lnTo>
                  <a:lnTo>
                    <a:pt x="250" y="102"/>
                  </a:lnTo>
                  <a:lnTo>
                    <a:pt x="252" y="100"/>
                  </a:lnTo>
                  <a:lnTo>
                    <a:pt x="252" y="80"/>
                  </a:lnTo>
                  <a:lnTo>
                    <a:pt x="260" y="74"/>
                  </a:lnTo>
                  <a:lnTo>
                    <a:pt x="266" y="74"/>
                  </a:lnTo>
                  <a:lnTo>
                    <a:pt x="266" y="72"/>
                  </a:lnTo>
                  <a:lnTo>
                    <a:pt x="266" y="68"/>
                  </a:lnTo>
                  <a:lnTo>
                    <a:pt x="260" y="66"/>
                  </a:lnTo>
                  <a:lnTo>
                    <a:pt x="258" y="66"/>
                  </a:lnTo>
                  <a:lnTo>
                    <a:pt x="256" y="64"/>
                  </a:lnTo>
                  <a:lnTo>
                    <a:pt x="256" y="56"/>
                  </a:lnTo>
                  <a:lnTo>
                    <a:pt x="256" y="50"/>
                  </a:lnTo>
                  <a:lnTo>
                    <a:pt x="252" y="42"/>
                  </a:lnTo>
                  <a:lnTo>
                    <a:pt x="252" y="38"/>
                  </a:lnTo>
                  <a:lnTo>
                    <a:pt x="252" y="36"/>
                  </a:lnTo>
                  <a:lnTo>
                    <a:pt x="254" y="34"/>
                  </a:lnTo>
                  <a:lnTo>
                    <a:pt x="254" y="36"/>
                  </a:lnTo>
                  <a:lnTo>
                    <a:pt x="252" y="30"/>
                  </a:lnTo>
                  <a:lnTo>
                    <a:pt x="244" y="30"/>
                  </a:lnTo>
                  <a:lnTo>
                    <a:pt x="236" y="28"/>
                  </a:lnTo>
                  <a:lnTo>
                    <a:pt x="234" y="32"/>
                  </a:lnTo>
                  <a:lnTo>
                    <a:pt x="232" y="40"/>
                  </a:lnTo>
                  <a:lnTo>
                    <a:pt x="230" y="44"/>
                  </a:lnTo>
                  <a:lnTo>
                    <a:pt x="226" y="48"/>
                  </a:lnTo>
                  <a:lnTo>
                    <a:pt x="224" y="50"/>
                  </a:lnTo>
                  <a:lnTo>
                    <a:pt x="220" y="52"/>
                  </a:lnTo>
                  <a:lnTo>
                    <a:pt x="220" y="56"/>
                  </a:lnTo>
                  <a:lnTo>
                    <a:pt x="218" y="62"/>
                  </a:lnTo>
                  <a:lnTo>
                    <a:pt x="216" y="66"/>
                  </a:lnTo>
                  <a:lnTo>
                    <a:pt x="212" y="68"/>
                  </a:lnTo>
                  <a:lnTo>
                    <a:pt x="204" y="68"/>
                  </a:lnTo>
                  <a:lnTo>
                    <a:pt x="202" y="66"/>
                  </a:lnTo>
                  <a:lnTo>
                    <a:pt x="196" y="68"/>
                  </a:lnTo>
                  <a:lnTo>
                    <a:pt x="194" y="70"/>
                  </a:lnTo>
                  <a:lnTo>
                    <a:pt x="186" y="72"/>
                  </a:lnTo>
                  <a:lnTo>
                    <a:pt x="180" y="72"/>
                  </a:lnTo>
                  <a:lnTo>
                    <a:pt x="176" y="72"/>
                  </a:lnTo>
                  <a:lnTo>
                    <a:pt x="172" y="70"/>
                  </a:lnTo>
                  <a:lnTo>
                    <a:pt x="168" y="68"/>
                  </a:lnTo>
                  <a:lnTo>
                    <a:pt x="166" y="62"/>
                  </a:lnTo>
                  <a:lnTo>
                    <a:pt x="166" y="56"/>
                  </a:lnTo>
                  <a:close/>
                  <a:moveTo>
                    <a:pt x="2" y="0"/>
                  </a:moveTo>
                  <a:lnTo>
                    <a:pt x="2" y="0"/>
                  </a:lnTo>
                  <a:lnTo>
                    <a:pt x="0" y="4"/>
                  </a:lnTo>
                  <a:lnTo>
                    <a:pt x="0" y="10"/>
                  </a:lnTo>
                  <a:lnTo>
                    <a:pt x="4" y="16"/>
                  </a:lnTo>
                  <a:lnTo>
                    <a:pt x="10" y="22"/>
                  </a:lnTo>
                  <a:lnTo>
                    <a:pt x="20" y="32"/>
                  </a:lnTo>
                  <a:lnTo>
                    <a:pt x="24" y="36"/>
                  </a:lnTo>
                  <a:lnTo>
                    <a:pt x="26" y="42"/>
                  </a:lnTo>
                  <a:lnTo>
                    <a:pt x="32" y="52"/>
                  </a:lnTo>
                  <a:lnTo>
                    <a:pt x="38" y="54"/>
                  </a:lnTo>
                  <a:lnTo>
                    <a:pt x="44" y="58"/>
                  </a:lnTo>
                  <a:lnTo>
                    <a:pt x="44" y="64"/>
                  </a:lnTo>
                  <a:lnTo>
                    <a:pt x="46" y="68"/>
                  </a:lnTo>
                  <a:lnTo>
                    <a:pt x="46" y="74"/>
                  </a:lnTo>
                  <a:lnTo>
                    <a:pt x="48" y="80"/>
                  </a:lnTo>
                  <a:lnTo>
                    <a:pt x="54" y="86"/>
                  </a:lnTo>
                  <a:lnTo>
                    <a:pt x="62" y="94"/>
                  </a:lnTo>
                  <a:lnTo>
                    <a:pt x="64" y="100"/>
                  </a:lnTo>
                  <a:lnTo>
                    <a:pt x="68" y="108"/>
                  </a:lnTo>
                  <a:lnTo>
                    <a:pt x="70" y="116"/>
                  </a:lnTo>
                  <a:lnTo>
                    <a:pt x="74" y="122"/>
                  </a:lnTo>
                  <a:lnTo>
                    <a:pt x="80" y="130"/>
                  </a:lnTo>
                  <a:lnTo>
                    <a:pt x="84" y="142"/>
                  </a:lnTo>
                  <a:lnTo>
                    <a:pt x="86" y="146"/>
                  </a:lnTo>
                  <a:lnTo>
                    <a:pt x="88" y="150"/>
                  </a:lnTo>
                  <a:lnTo>
                    <a:pt x="94" y="152"/>
                  </a:lnTo>
                  <a:lnTo>
                    <a:pt x="100" y="154"/>
                  </a:lnTo>
                  <a:lnTo>
                    <a:pt x="100" y="158"/>
                  </a:lnTo>
                  <a:lnTo>
                    <a:pt x="104" y="160"/>
                  </a:lnTo>
                  <a:lnTo>
                    <a:pt x="110" y="162"/>
                  </a:lnTo>
                  <a:lnTo>
                    <a:pt x="108" y="160"/>
                  </a:lnTo>
                  <a:lnTo>
                    <a:pt x="110" y="160"/>
                  </a:lnTo>
                  <a:lnTo>
                    <a:pt x="112" y="158"/>
                  </a:lnTo>
                  <a:lnTo>
                    <a:pt x="122" y="160"/>
                  </a:lnTo>
                  <a:lnTo>
                    <a:pt x="122" y="150"/>
                  </a:lnTo>
                  <a:lnTo>
                    <a:pt x="122" y="146"/>
                  </a:lnTo>
                  <a:lnTo>
                    <a:pt x="118" y="144"/>
                  </a:lnTo>
                  <a:lnTo>
                    <a:pt x="118" y="142"/>
                  </a:lnTo>
                  <a:lnTo>
                    <a:pt x="124" y="140"/>
                  </a:lnTo>
                  <a:lnTo>
                    <a:pt x="126" y="130"/>
                  </a:lnTo>
                  <a:lnTo>
                    <a:pt x="120" y="124"/>
                  </a:lnTo>
                  <a:lnTo>
                    <a:pt x="120" y="118"/>
                  </a:lnTo>
                  <a:lnTo>
                    <a:pt x="114" y="118"/>
                  </a:lnTo>
                  <a:lnTo>
                    <a:pt x="110" y="118"/>
                  </a:lnTo>
                  <a:lnTo>
                    <a:pt x="108" y="114"/>
                  </a:lnTo>
                  <a:lnTo>
                    <a:pt x="108" y="108"/>
                  </a:lnTo>
                  <a:lnTo>
                    <a:pt x="108" y="100"/>
                  </a:lnTo>
                  <a:lnTo>
                    <a:pt x="96" y="98"/>
                  </a:lnTo>
                  <a:lnTo>
                    <a:pt x="98" y="90"/>
                  </a:lnTo>
                  <a:lnTo>
                    <a:pt x="98" y="92"/>
                  </a:lnTo>
                  <a:lnTo>
                    <a:pt x="100" y="94"/>
                  </a:lnTo>
                  <a:lnTo>
                    <a:pt x="100" y="86"/>
                  </a:lnTo>
                  <a:lnTo>
                    <a:pt x="98" y="80"/>
                  </a:lnTo>
                  <a:lnTo>
                    <a:pt x="92" y="78"/>
                  </a:lnTo>
                  <a:lnTo>
                    <a:pt x="92" y="74"/>
                  </a:lnTo>
                  <a:lnTo>
                    <a:pt x="88" y="74"/>
                  </a:lnTo>
                  <a:lnTo>
                    <a:pt x="90" y="72"/>
                  </a:lnTo>
                  <a:lnTo>
                    <a:pt x="90" y="70"/>
                  </a:lnTo>
                  <a:lnTo>
                    <a:pt x="90" y="66"/>
                  </a:lnTo>
                  <a:lnTo>
                    <a:pt x="82" y="74"/>
                  </a:lnTo>
                  <a:lnTo>
                    <a:pt x="82" y="68"/>
                  </a:lnTo>
                  <a:lnTo>
                    <a:pt x="80" y="64"/>
                  </a:lnTo>
                  <a:lnTo>
                    <a:pt x="76" y="62"/>
                  </a:lnTo>
                  <a:lnTo>
                    <a:pt x="74" y="60"/>
                  </a:lnTo>
                  <a:lnTo>
                    <a:pt x="72" y="56"/>
                  </a:lnTo>
                  <a:lnTo>
                    <a:pt x="70" y="52"/>
                  </a:lnTo>
                  <a:lnTo>
                    <a:pt x="68" y="50"/>
                  </a:lnTo>
                  <a:lnTo>
                    <a:pt x="68" y="52"/>
                  </a:lnTo>
                  <a:lnTo>
                    <a:pt x="68" y="54"/>
                  </a:lnTo>
                  <a:lnTo>
                    <a:pt x="64" y="52"/>
                  </a:lnTo>
                  <a:lnTo>
                    <a:pt x="62" y="50"/>
                  </a:lnTo>
                  <a:lnTo>
                    <a:pt x="60" y="46"/>
                  </a:lnTo>
                  <a:lnTo>
                    <a:pt x="62" y="40"/>
                  </a:lnTo>
                  <a:lnTo>
                    <a:pt x="56" y="40"/>
                  </a:lnTo>
                  <a:lnTo>
                    <a:pt x="56" y="36"/>
                  </a:lnTo>
                  <a:lnTo>
                    <a:pt x="48" y="32"/>
                  </a:lnTo>
                  <a:lnTo>
                    <a:pt x="46" y="28"/>
                  </a:lnTo>
                  <a:lnTo>
                    <a:pt x="46" y="24"/>
                  </a:lnTo>
                  <a:lnTo>
                    <a:pt x="34" y="18"/>
                  </a:lnTo>
                  <a:lnTo>
                    <a:pt x="34" y="12"/>
                  </a:lnTo>
                  <a:lnTo>
                    <a:pt x="32" y="8"/>
                  </a:lnTo>
                  <a:lnTo>
                    <a:pt x="28" y="6"/>
                  </a:lnTo>
                  <a:lnTo>
                    <a:pt x="22" y="6"/>
                  </a:lnTo>
                  <a:lnTo>
                    <a:pt x="12" y="6"/>
                  </a:lnTo>
                  <a:lnTo>
                    <a:pt x="8" y="0"/>
                  </a:lnTo>
                  <a:lnTo>
                    <a:pt x="6"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3" name="Freeform 615">
              <a:extLst>
                <a:ext uri="{FF2B5EF4-FFF2-40B4-BE49-F238E27FC236}">
                  <a16:creationId xmlns:a16="http://schemas.microsoft.com/office/drawing/2014/main" id="{6111466C-BE2E-4C6F-A41C-8E0B8A25060B}"/>
                </a:ext>
              </a:extLst>
            </p:cNvPr>
            <p:cNvSpPr>
              <a:spLocks/>
            </p:cNvSpPr>
            <p:nvPr/>
          </p:nvSpPr>
          <p:spPr bwMode="gray">
            <a:xfrm>
              <a:off x="5815143" y="3328311"/>
              <a:ext cx="614441" cy="758079"/>
            </a:xfrm>
            <a:custGeom>
              <a:avLst/>
              <a:gdLst>
                <a:gd name="T0" fmla="*/ 2147483647 w 332"/>
                <a:gd name="T1" fmla="*/ 2147483647 h 410"/>
                <a:gd name="T2" fmla="*/ 2147483647 w 332"/>
                <a:gd name="T3" fmla="*/ 2147483647 h 410"/>
                <a:gd name="T4" fmla="*/ 2147483647 w 332"/>
                <a:gd name="T5" fmla="*/ 2147483647 h 410"/>
                <a:gd name="T6" fmla="*/ 2147483647 w 332"/>
                <a:gd name="T7" fmla="*/ 2147483647 h 410"/>
                <a:gd name="T8" fmla="*/ 2147483647 w 332"/>
                <a:gd name="T9" fmla="*/ 2147483647 h 410"/>
                <a:gd name="T10" fmla="*/ 2147483647 w 332"/>
                <a:gd name="T11" fmla="*/ 2147483647 h 410"/>
                <a:gd name="T12" fmla="*/ 2147483647 w 332"/>
                <a:gd name="T13" fmla="*/ 2147483647 h 410"/>
                <a:gd name="T14" fmla="*/ 2147483647 w 332"/>
                <a:gd name="T15" fmla="*/ 2147483647 h 410"/>
                <a:gd name="T16" fmla="*/ 2147483647 w 332"/>
                <a:gd name="T17" fmla="*/ 2147483647 h 410"/>
                <a:gd name="T18" fmla="*/ 2147483647 w 332"/>
                <a:gd name="T19" fmla="*/ 2147483647 h 410"/>
                <a:gd name="T20" fmla="*/ 2147483647 w 332"/>
                <a:gd name="T21" fmla="*/ 2147483647 h 410"/>
                <a:gd name="T22" fmla="*/ 2147483647 w 332"/>
                <a:gd name="T23" fmla="*/ 2147483647 h 410"/>
                <a:gd name="T24" fmla="*/ 2147483647 w 332"/>
                <a:gd name="T25" fmla="*/ 2147483647 h 410"/>
                <a:gd name="T26" fmla="*/ 2147483647 w 332"/>
                <a:gd name="T27" fmla="*/ 2147483647 h 410"/>
                <a:gd name="T28" fmla="*/ 2147483647 w 332"/>
                <a:gd name="T29" fmla="*/ 2147483647 h 410"/>
                <a:gd name="T30" fmla="*/ 2147483647 w 332"/>
                <a:gd name="T31" fmla="*/ 2147483647 h 410"/>
                <a:gd name="T32" fmla="*/ 2147483647 w 332"/>
                <a:gd name="T33" fmla="*/ 2147483647 h 410"/>
                <a:gd name="T34" fmla="*/ 2147483647 w 332"/>
                <a:gd name="T35" fmla="*/ 2147483647 h 410"/>
                <a:gd name="T36" fmla="*/ 2147483647 w 332"/>
                <a:gd name="T37" fmla="*/ 2147483647 h 410"/>
                <a:gd name="T38" fmla="*/ 2147483647 w 332"/>
                <a:gd name="T39" fmla="*/ 2147483647 h 410"/>
                <a:gd name="T40" fmla="*/ 2147483647 w 332"/>
                <a:gd name="T41" fmla="*/ 2147483647 h 410"/>
                <a:gd name="T42" fmla="*/ 2147483647 w 332"/>
                <a:gd name="T43" fmla="*/ 2147483647 h 410"/>
                <a:gd name="T44" fmla="*/ 2147483647 w 332"/>
                <a:gd name="T45" fmla="*/ 2147483647 h 410"/>
                <a:gd name="T46" fmla="*/ 2147483647 w 332"/>
                <a:gd name="T47" fmla="*/ 2147483647 h 410"/>
                <a:gd name="T48" fmla="*/ 2147483647 w 332"/>
                <a:gd name="T49" fmla="*/ 2147483647 h 410"/>
                <a:gd name="T50" fmla="*/ 2147483647 w 332"/>
                <a:gd name="T51" fmla="*/ 2147483647 h 410"/>
                <a:gd name="T52" fmla="*/ 2147483647 w 332"/>
                <a:gd name="T53" fmla="*/ 2147483647 h 410"/>
                <a:gd name="T54" fmla="*/ 2147483647 w 332"/>
                <a:gd name="T55" fmla="*/ 2147483647 h 410"/>
                <a:gd name="T56" fmla="*/ 2147483647 w 332"/>
                <a:gd name="T57" fmla="*/ 2147483647 h 410"/>
                <a:gd name="T58" fmla="*/ 2147483647 w 332"/>
                <a:gd name="T59" fmla="*/ 2147483647 h 410"/>
                <a:gd name="T60" fmla="*/ 2147483647 w 332"/>
                <a:gd name="T61" fmla="*/ 2147483647 h 410"/>
                <a:gd name="T62" fmla="*/ 2147483647 w 332"/>
                <a:gd name="T63" fmla="*/ 2147483647 h 410"/>
                <a:gd name="T64" fmla="*/ 2147483647 w 332"/>
                <a:gd name="T65" fmla="*/ 2147483647 h 410"/>
                <a:gd name="T66" fmla="*/ 2147483647 w 332"/>
                <a:gd name="T67" fmla="*/ 2147483647 h 410"/>
                <a:gd name="T68" fmla="*/ 2147483647 w 332"/>
                <a:gd name="T69" fmla="*/ 2147483647 h 410"/>
                <a:gd name="T70" fmla="*/ 2147483647 w 332"/>
                <a:gd name="T71" fmla="*/ 2147483647 h 410"/>
                <a:gd name="T72" fmla="*/ 2147483647 w 332"/>
                <a:gd name="T73" fmla="*/ 2147483647 h 410"/>
                <a:gd name="T74" fmla="*/ 2147483647 w 332"/>
                <a:gd name="T75" fmla="*/ 2147483647 h 410"/>
                <a:gd name="T76" fmla="*/ 2147483647 w 332"/>
                <a:gd name="T77" fmla="*/ 2147483647 h 410"/>
                <a:gd name="T78" fmla="*/ 2147483647 w 332"/>
                <a:gd name="T79" fmla="*/ 2147483647 h 410"/>
                <a:gd name="T80" fmla="*/ 2147483647 w 332"/>
                <a:gd name="T81" fmla="*/ 2147483647 h 410"/>
                <a:gd name="T82" fmla="*/ 2147483647 w 332"/>
                <a:gd name="T83" fmla="*/ 2147483647 h 410"/>
                <a:gd name="T84" fmla="*/ 2147483647 w 332"/>
                <a:gd name="T85" fmla="*/ 2147483647 h 410"/>
                <a:gd name="T86" fmla="*/ 2147483647 w 332"/>
                <a:gd name="T87" fmla="*/ 2147483647 h 410"/>
                <a:gd name="T88" fmla="*/ 2147483647 w 332"/>
                <a:gd name="T89" fmla="*/ 2147483647 h 410"/>
                <a:gd name="T90" fmla="*/ 2147483647 w 332"/>
                <a:gd name="T91" fmla="*/ 2147483647 h 410"/>
                <a:gd name="T92" fmla="*/ 2147483647 w 332"/>
                <a:gd name="T93" fmla="*/ 2147483647 h 410"/>
                <a:gd name="T94" fmla="*/ 2147483647 w 332"/>
                <a:gd name="T95" fmla="*/ 2147483647 h 410"/>
                <a:gd name="T96" fmla="*/ 2147483647 w 332"/>
                <a:gd name="T97" fmla="*/ 2147483647 h 410"/>
                <a:gd name="T98" fmla="*/ 2147483647 w 332"/>
                <a:gd name="T99" fmla="*/ 2147483647 h 410"/>
                <a:gd name="T100" fmla="*/ 2147483647 w 332"/>
                <a:gd name="T101" fmla="*/ 2147483647 h 410"/>
                <a:gd name="T102" fmla="*/ 2147483647 w 332"/>
                <a:gd name="T103" fmla="*/ 2147483647 h 410"/>
                <a:gd name="T104" fmla="*/ 2147483647 w 332"/>
                <a:gd name="T105" fmla="*/ 2147483647 h 410"/>
                <a:gd name="T106" fmla="*/ 2147483647 w 332"/>
                <a:gd name="T107" fmla="*/ 2147483647 h 410"/>
                <a:gd name="T108" fmla="*/ 2147483647 w 332"/>
                <a:gd name="T109" fmla="*/ 2147483647 h 410"/>
                <a:gd name="T110" fmla="*/ 2147483647 w 332"/>
                <a:gd name="T111" fmla="*/ 2147483647 h 410"/>
                <a:gd name="T112" fmla="*/ 2147483647 w 332"/>
                <a:gd name="T113" fmla="*/ 2147483647 h 410"/>
                <a:gd name="T114" fmla="*/ 2147483647 w 332"/>
                <a:gd name="T115" fmla="*/ 2147483647 h 410"/>
                <a:gd name="T116" fmla="*/ 2147483647 w 332"/>
                <a:gd name="T117" fmla="*/ 2147483647 h 4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2"/>
                <a:gd name="T178" fmla="*/ 0 h 410"/>
                <a:gd name="T179" fmla="*/ 332 w 332"/>
                <a:gd name="T180" fmla="*/ 410 h 4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2" h="410">
                  <a:moveTo>
                    <a:pt x="232" y="224"/>
                  </a:moveTo>
                  <a:lnTo>
                    <a:pt x="232" y="224"/>
                  </a:lnTo>
                  <a:lnTo>
                    <a:pt x="228" y="220"/>
                  </a:lnTo>
                  <a:lnTo>
                    <a:pt x="226" y="220"/>
                  </a:lnTo>
                  <a:lnTo>
                    <a:pt x="222" y="218"/>
                  </a:lnTo>
                  <a:lnTo>
                    <a:pt x="222" y="222"/>
                  </a:lnTo>
                  <a:lnTo>
                    <a:pt x="216" y="226"/>
                  </a:lnTo>
                  <a:lnTo>
                    <a:pt x="214" y="232"/>
                  </a:lnTo>
                  <a:lnTo>
                    <a:pt x="212" y="232"/>
                  </a:lnTo>
                  <a:lnTo>
                    <a:pt x="210" y="232"/>
                  </a:lnTo>
                  <a:lnTo>
                    <a:pt x="212" y="232"/>
                  </a:lnTo>
                  <a:lnTo>
                    <a:pt x="214" y="234"/>
                  </a:lnTo>
                  <a:lnTo>
                    <a:pt x="214" y="238"/>
                  </a:lnTo>
                  <a:lnTo>
                    <a:pt x="206" y="244"/>
                  </a:lnTo>
                  <a:lnTo>
                    <a:pt x="198" y="250"/>
                  </a:lnTo>
                  <a:lnTo>
                    <a:pt x="194" y="250"/>
                  </a:lnTo>
                  <a:lnTo>
                    <a:pt x="190" y="250"/>
                  </a:lnTo>
                  <a:lnTo>
                    <a:pt x="192" y="254"/>
                  </a:lnTo>
                  <a:lnTo>
                    <a:pt x="186" y="256"/>
                  </a:lnTo>
                  <a:lnTo>
                    <a:pt x="182" y="262"/>
                  </a:lnTo>
                  <a:lnTo>
                    <a:pt x="178" y="272"/>
                  </a:lnTo>
                  <a:lnTo>
                    <a:pt x="174" y="274"/>
                  </a:lnTo>
                  <a:lnTo>
                    <a:pt x="170" y="274"/>
                  </a:lnTo>
                  <a:lnTo>
                    <a:pt x="170" y="276"/>
                  </a:lnTo>
                  <a:lnTo>
                    <a:pt x="170" y="280"/>
                  </a:lnTo>
                  <a:lnTo>
                    <a:pt x="164" y="280"/>
                  </a:lnTo>
                  <a:lnTo>
                    <a:pt x="162" y="280"/>
                  </a:lnTo>
                  <a:lnTo>
                    <a:pt x="160" y="282"/>
                  </a:lnTo>
                  <a:lnTo>
                    <a:pt x="158" y="284"/>
                  </a:lnTo>
                  <a:lnTo>
                    <a:pt x="158" y="286"/>
                  </a:lnTo>
                  <a:lnTo>
                    <a:pt x="156" y="292"/>
                  </a:lnTo>
                  <a:lnTo>
                    <a:pt x="154" y="294"/>
                  </a:lnTo>
                  <a:lnTo>
                    <a:pt x="152" y="294"/>
                  </a:lnTo>
                  <a:lnTo>
                    <a:pt x="146" y="296"/>
                  </a:lnTo>
                  <a:lnTo>
                    <a:pt x="144" y="300"/>
                  </a:lnTo>
                  <a:lnTo>
                    <a:pt x="142" y="302"/>
                  </a:lnTo>
                  <a:lnTo>
                    <a:pt x="138" y="302"/>
                  </a:lnTo>
                  <a:lnTo>
                    <a:pt x="134" y="302"/>
                  </a:lnTo>
                  <a:lnTo>
                    <a:pt x="132" y="306"/>
                  </a:lnTo>
                  <a:lnTo>
                    <a:pt x="132" y="308"/>
                  </a:lnTo>
                  <a:lnTo>
                    <a:pt x="134" y="316"/>
                  </a:lnTo>
                  <a:lnTo>
                    <a:pt x="132" y="320"/>
                  </a:lnTo>
                  <a:lnTo>
                    <a:pt x="130" y="328"/>
                  </a:lnTo>
                  <a:lnTo>
                    <a:pt x="132" y="340"/>
                  </a:lnTo>
                  <a:lnTo>
                    <a:pt x="134" y="350"/>
                  </a:lnTo>
                  <a:lnTo>
                    <a:pt x="132" y="356"/>
                  </a:lnTo>
                  <a:lnTo>
                    <a:pt x="128" y="362"/>
                  </a:lnTo>
                  <a:lnTo>
                    <a:pt x="128" y="368"/>
                  </a:lnTo>
                  <a:lnTo>
                    <a:pt x="130" y="384"/>
                  </a:lnTo>
                  <a:lnTo>
                    <a:pt x="126" y="384"/>
                  </a:lnTo>
                  <a:lnTo>
                    <a:pt x="124" y="384"/>
                  </a:lnTo>
                  <a:lnTo>
                    <a:pt x="122" y="386"/>
                  </a:lnTo>
                  <a:lnTo>
                    <a:pt x="120" y="390"/>
                  </a:lnTo>
                  <a:lnTo>
                    <a:pt x="118" y="398"/>
                  </a:lnTo>
                  <a:lnTo>
                    <a:pt x="114" y="400"/>
                  </a:lnTo>
                  <a:lnTo>
                    <a:pt x="112" y="400"/>
                  </a:lnTo>
                  <a:lnTo>
                    <a:pt x="106" y="410"/>
                  </a:lnTo>
                  <a:lnTo>
                    <a:pt x="102" y="410"/>
                  </a:lnTo>
                  <a:lnTo>
                    <a:pt x="100" y="406"/>
                  </a:lnTo>
                  <a:lnTo>
                    <a:pt x="96" y="400"/>
                  </a:lnTo>
                  <a:lnTo>
                    <a:pt x="90" y="392"/>
                  </a:lnTo>
                  <a:lnTo>
                    <a:pt x="90" y="388"/>
                  </a:lnTo>
                  <a:lnTo>
                    <a:pt x="92" y="386"/>
                  </a:lnTo>
                  <a:lnTo>
                    <a:pt x="92" y="382"/>
                  </a:lnTo>
                  <a:lnTo>
                    <a:pt x="88" y="382"/>
                  </a:lnTo>
                  <a:lnTo>
                    <a:pt x="86" y="376"/>
                  </a:lnTo>
                  <a:lnTo>
                    <a:pt x="84" y="368"/>
                  </a:lnTo>
                  <a:lnTo>
                    <a:pt x="78" y="360"/>
                  </a:lnTo>
                  <a:lnTo>
                    <a:pt x="74" y="354"/>
                  </a:lnTo>
                  <a:lnTo>
                    <a:pt x="72" y="346"/>
                  </a:lnTo>
                  <a:lnTo>
                    <a:pt x="70" y="338"/>
                  </a:lnTo>
                  <a:lnTo>
                    <a:pt x="68" y="324"/>
                  </a:lnTo>
                  <a:lnTo>
                    <a:pt x="62" y="312"/>
                  </a:lnTo>
                  <a:lnTo>
                    <a:pt x="60" y="306"/>
                  </a:lnTo>
                  <a:lnTo>
                    <a:pt x="58" y="300"/>
                  </a:lnTo>
                  <a:lnTo>
                    <a:pt x="58" y="290"/>
                  </a:lnTo>
                  <a:lnTo>
                    <a:pt x="52" y="268"/>
                  </a:lnTo>
                  <a:lnTo>
                    <a:pt x="52" y="262"/>
                  </a:lnTo>
                  <a:lnTo>
                    <a:pt x="52" y="260"/>
                  </a:lnTo>
                  <a:lnTo>
                    <a:pt x="52" y="258"/>
                  </a:lnTo>
                  <a:lnTo>
                    <a:pt x="48" y="246"/>
                  </a:lnTo>
                  <a:lnTo>
                    <a:pt x="48" y="242"/>
                  </a:lnTo>
                  <a:lnTo>
                    <a:pt x="50" y="238"/>
                  </a:lnTo>
                  <a:lnTo>
                    <a:pt x="52" y="232"/>
                  </a:lnTo>
                  <a:lnTo>
                    <a:pt x="52" y="228"/>
                  </a:lnTo>
                  <a:lnTo>
                    <a:pt x="52" y="226"/>
                  </a:lnTo>
                  <a:lnTo>
                    <a:pt x="50" y="224"/>
                  </a:lnTo>
                  <a:lnTo>
                    <a:pt x="50" y="220"/>
                  </a:lnTo>
                  <a:lnTo>
                    <a:pt x="50" y="218"/>
                  </a:lnTo>
                  <a:lnTo>
                    <a:pt x="48" y="216"/>
                  </a:lnTo>
                  <a:lnTo>
                    <a:pt x="48" y="212"/>
                  </a:lnTo>
                  <a:lnTo>
                    <a:pt x="50" y="206"/>
                  </a:lnTo>
                  <a:lnTo>
                    <a:pt x="44" y="210"/>
                  </a:lnTo>
                  <a:lnTo>
                    <a:pt x="44" y="216"/>
                  </a:lnTo>
                  <a:lnTo>
                    <a:pt x="44" y="222"/>
                  </a:lnTo>
                  <a:lnTo>
                    <a:pt x="42" y="226"/>
                  </a:lnTo>
                  <a:lnTo>
                    <a:pt x="36" y="228"/>
                  </a:lnTo>
                  <a:lnTo>
                    <a:pt x="26" y="232"/>
                  </a:lnTo>
                  <a:lnTo>
                    <a:pt x="18" y="224"/>
                  </a:lnTo>
                  <a:lnTo>
                    <a:pt x="10" y="214"/>
                  </a:lnTo>
                  <a:lnTo>
                    <a:pt x="10" y="212"/>
                  </a:lnTo>
                  <a:lnTo>
                    <a:pt x="10" y="208"/>
                  </a:lnTo>
                  <a:lnTo>
                    <a:pt x="16" y="208"/>
                  </a:lnTo>
                  <a:lnTo>
                    <a:pt x="22" y="206"/>
                  </a:lnTo>
                  <a:lnTo>
                    <a:pt x="24" y="204"/>
                  </a:lnTo>
                  <a:lnTo>
                    <a:pt x="26" y="200"/>
                  </a:lnTo>
                  <a:lnTo>
                    <a:pt x="30" y="192"/>
                  </a:lnTo>
                  <a:lnTo>
                    <a:pt x="24" y="198"/>
                  </a:lnTo>
                  <a:lnTo>
                    <a:pt x="18" y="200"/>
                  </a:lnTo>
                  <a:lnTo>
                    <a:pt x="12" y="198"/>
                  </a:lnTo>
                  <a:lnTo>
                    <a:pt x="4" y="196"/>
                  </a:lnTo>
                  <a:lnTo>
                    <a:pt x="4" y="190"/>
                  </a:lnTo>
                  <a:lnTo>
                    <a:pt x="2" y="186"/>
                  </a:lnTo>
                  <a:lnTo>
                    <a:pt x="0" y="184"/>
                  </a:lnTo>
                  <a:lnTo>
                    <a:pt x="4" y="180"/>
                  </a:lnTo>
                  <a:lnTo>
                    <a:pt x="6" y="174"/>
                  </a:lnTo>
                  <a:lnTo>
                    <a:pt x="12" y="172"/>
                  </a:lnTo>
                  <a:lnTo>
                    <a:pt x="20" y="170"/>
                  </a:lnTo>
                  <a:lnTo>
                    <a:pt x="18" y="162"/>
                  </a:lnTo>
                  <a:lnTo>
                    <a:pt x="12" y="156"/>
                  </a:lnTo>
                  <a:lnTo>
                    <a:pt x="12" y="154"/>
                  </a:lnTo>
                  <a:lnTo>
                    <a:pt x="16" y="148"/>
                  </a:lnTo>
                  <a:lnTo>
                    <a:pt x="10" y="140"/>
                  </a:lnTo>
                  <a:lnTo>
                    <a:pt x="14" y="136"/>
                  </a:lnTo>
                  <a:lnTo>
                    <a:pt x="18" y="132"/>
                  </a:lnTo>
                  <a:lnTo>
                    <a:pt x="20" y="128"/>
                  </a:lnTo>
                  <a:lnTo>
                    <a:pt x="24" y="132"/>
                  </a:lnTo>
                  <a:lnTo>
                    <a:pt x="28" y="126"/>
                  </a:lnTo>
                  <a:lnTo>
                    <a:pt x="34" y="122"/>
                  </a:lnTo>
                  <a:lnTo>
                    <a:pt x="36" y="116"/>
                  </a:lnTo>
                  <a:lnTo>
                    <a:pt x="40" y="110"/>
                  </a:lnTo>
                  <a:lnTo>
                    <a:pt x="46" y="108"/>
                  </a:lnTo>
                  <a:lnTo>
                    <a:pt x="50" y="104"/>
                  </a:lnTo>
                  <a:lnTo>
                    <a:pt x="52" y="98"/>
                  </a:lnTo>
                  <a:lnTo>
                    <a:pt x="58" y="94"/>
                  </a:lnTo>
                  <a:lnTo>
                    <a:pt x="58" y="88"/>
                  </a:lnTo>
                  <a:lnTo>
                    <a:pt x="60" y="80"/>
                  </a:lnTo>
                  <a:lnTo>
                    <a:pt x="64" y="76"/>
                  </a:lnTo>
                  <a:lnTo>
                    <a:pt x="66" y="70"/>
                  </a:lnTo>
                  <a:lnTo>
                    <a:pt x="66" y="66"/>
                  </a:lnTo>
                  <a:lnTo>
                    <a:pt x="62" y="60"/>
                  </a:lnTo>
                  <a:lnTo>
                    <a:pt x="58" y="56"/>
                  </a:lnTo>
                  <a:lnTo>
                    <a:pt x="56" y="54"/>
                  </a:lnTo>
                  <a:lnTo>
                    <a:pt x="54" y="44"/>
                  </a:lnTo>
                  <a:lnTo>
                    <a:pt x="50" y="40"/>
                  </a:lnTo>
                  <a:lnTo>
                    <a:pt x="50" y="36"/>
                  </a:lnTo>
                  <a:lnTo>
                    <a:pt x="56" y="32"/>
                  </a:lnTo>
                  <a:lnTo>
                    <a:pt x="60" y="32"/>
                  </a:lnTo>
                  <a:lnTo>
                    <a:pt x="64" y="32"/>
                  </a:lnTo>
                  <a:lnTo>
                    <a:pt x="66" y="30"/>
                  </a:lnTo>
                  <a:lnTo>
                    <a:pt x="68" y="28"/>
                  </a:lnTo>
                  <a:lnTo>
                    <a:pt x="72" y="26"/>
                  </a:lnTo>
                  <a:lnTo>
                    <a:pt x="80" y="24"/>
                  </a:lnTo>
                  <a:lnTo>
                    <a:pt x="86" y="20"/>
                  </a:lnTo>
                  <a:lnTo>
                    <a:pt x="88" y="16"/>
                  </a:lnTo>
                  <a:lnTo>
                    <a:pt x="92" y="12"/>
                  </a:lnTo>
                  <a:lnTo>
                    <a:pt x="96" y="6"/>
                  </a:lnTo>
                  <a:lnTo>
                    <a:pt x="100" y="2"/>
                  </a:lnTo>
                  <a:lnTo>
                    <a:pt x="104" y="0"/>
                  </a:lnTo>
                  <a:lnTo>
                    <a:pt x="108" y="0"/>
                  </a:lnTo>
                  <a:lnTo>
                    <a:pt x="112" y="2"/>
                  </a:lnTo>
                  <a:lnTo>
                    <a:pt x="118" y="2"/>
                  </a:lnTo>
                  <a:lnTo>
                    <a:pt x="120" y="6"/>
                  </a:lnTo>
                  <a:lnTo>
                    <a:pt x="124" y="10"/>
                  </a:lnTo>
                  <a:lnTo>
                    <a:pt x="126" y="16"/>
                  </a:lnTo>
                  <a:lnTo>
                    <a:pt x="122" y="18"/>
                  </a:lnTo>
                  <a:lnTo>
                    <a:pt x="122" y="22"/>
                  </a:lnTo>
                  <a:lnTo>
                    <a:pt x="120" y="26"/>
                  </a:lnTo>
                  <a:lnTo>
                    <a:pt x="116" y="28"/>
                  </a:lnTo>
                  <a:lnTo>
                    <a:pt x="114" y="34"/>
                  </a:lnTo>
                  <a:lnTo>
                    <a:pt x="112" y="36"/>
                  </a:lnTo>
                  <a:lnTo>
                    <a:pt x="110" y="42"/>
                  </a:lnTo>
                  <a:lnTo>
                    <a:pt x="114" y="44"/>
                  </a:lnTo>
                  <a:lnTo>
                    <a:pt x="116" y="48"/>
                  </a:lnTo>
                  <a:lnTo>
                    <a:pt x="116" y="56"/>
                  </a:lnTo>
                  <a:lnTo>
                    <a:pt x="120" y="58"/>
                  </a:lnTo>
                  <a:lnTo>
                    <a:pt x="122" y="58"/>
                  </a:lnTo>
                  <a:lnTo>
                    <a:pt x="122" y="62"/>
                  </a:lnTo>
                  <a:lnTo>
                    <a:pt x="120" y="68"/>
                  </a:lnTo>
                  <a:lnTo>
                    <a:pt x="122" y="72"/>
                  </a:lnTo>
                  <a:lnTo>
                    <a:pt x="120" y="74"/>
                  </a:lnTo>
                  <a:lnTo>
                    <a:pt x="122" y="80"/>
                  </a:lnTo>
                  <a:lnTo>
                    <a:pt x="126" y="82"/>
                  </a:lnTo>
                  <a:lnTo>
                    <a:pt x="132" y="86"/>
                  </a:lnTo>
                  <a:lnTo>
                    <a:pt x="138" y="86"/>
                  </a:lnTo>
                  <a:lnTo>
                    <a:pt x="142" y="90"/>
                  </a:lnTo>
                  <a:lnTo>
                    <a:pt x="146" y="94"/>
                  </a:lnTo>
                  <a:lnTo>
                    <a:pt x="138" y="98"/>
                  </a:lnTo>
                  <a:lnTo>
                    <a:pt x="134" y="106"/>
                  </a:lnTo>
                  <a:lnTo>
                    <a:pt x="136" y="112"/>
                  </a:lnTo>
                  <a:lnTo>
                    <a:pt x="142" y="114"/>
                  </a:lnTo>
                  <a:lnTo>
                    <a:pt x="144" y="120"/>
                  </a:lnTo>
                  <a:lnTo>
                    <a:pt x="150" y="122"/>
                  </a:lnTo>
                  <a:lnTo>
                    <a:pt x="156" y="124"/>
                  </a:lnTo>
                  <a:lnTo>
                    <a:pt x="164" y="128"/>
                  </a:lnTo>
                  <a:lnTo>
                    <a:pt x="170" y="128"/>
                  </a:lnTo>
                  <a:lnTo>
                    <a:pt x="176" y="132"/>
                  </a:lnTo>
                  <a:lnTo>
                    <a:pt x="178" y="136"/>
                  </a:lnTo>
                  <a:lnTo>
                    <a:pt x="184" y="136"/>
                  </a:lnTo>
                  <a:lnTo>
                    <a:pt x="188" y="142"/>
                  </a:lnTo>
                  <a:lnTo>
                    <a:pt x="198" y="142"/>
                  </a:lnTo>
                  <a:lnTo>
                    <a:pt x="208" y="146"/>
                  </a:lnTo>
                  <a:lnTo>
                    <a:pt x="214" y="148"/>
                  </a:lnTo>
                  <a:lnTo>
                    <a:pt x="220" y="148"/>
                  </a:lnTo>
                  <a:lnTo>
                    <a:pt x="224" y="148"/>
                  </a:lnTo>
                  <a:lnTo>
                    <a:pt x="226" y="144"/>
                  </a:lnTo>
                  <a:lnTo>
                    <a:pt x="228" y="142"/>
                  </a:lnTo>
                  <a:lnTo>
                    <a:pt x="224" y="138"/>
                  </a:lnTo>
                  <a:lnTo>
                    <a:pt x="226" y="134"/>
                  </a:lnTo>
                  <a:lnTo>
                    <a:pt x="226" y="128"/>
                  </a:lnTo>
                  <a:lnTo>
                    <a:pt x="230" y="126"/>
                  </a:lnTo>
                  <a:lnTo>
                    <a:pt x="234" y="126"/>
                  </a:lnTo>
                  <a:lnTo>
                    <a:pt x="238" y="132"/>
                  </a:lnTo>
                  <a:lnTo>
                    <a:pt x="238" y="134"/>
                  </a:lnTo>
                  <a:lnTo>
                    <a:pt x="244" y="140"/>
                  </a:lnTo>
                  <a:lnTo>
                    <a:pt x="248" y="138"/>
                  </a:lnTo>
                  <a:lnTo>
                    <a:pt x="254" y="138"/>
                  </a:lnTo>
                  <a:lnTo>
                    <a:pt x="260" y="140"/>
                  </a:lnTo>
                  <a:lnTo>
                    <a:pt x="270" y="138"/>
                  </a:lnTo>
                  <a:lnTo>
                    <a:pt x="274" y="138"/>
                  </a:lnTo>
                  <a:lnTo>
                    <a:pt x="274" y="132"/>
                  </a:lnTo>
                  <a:lnTo>
                    <a:pt x="272" y="124"/>
                  </a:lnTo>
                  <a:lnTo>
                    <a:pt x="278" y="122"/>
                  </a:lnTo>
                  <a:lnTo>
                    <a:pt x="284" y="120"/>
                  </a:lnTo>
                  <a:lnTo>
                    <a:pt x="288" y="116"/>
                  </a:lnTo>
                  <a:lnTo>
                    <a:pt x="294" y="116"/>
                  </a:lnTo>
                  <a:lnTo>
                    <a:pt x="298" y="116"/>
                  </a:lnTo>
                  <a:lnTo>
                    <a:pt x="302" y="114"/>
                  </a:lnTo>
                  <a:lnTo>
                    <a:pt x="306" y="114"/>
                  </a:lnTo>
                  <a:lnTo>
                    <a:pt x="312" y="116"/>
                  </a:lnTo>
                  <a:lnTo>
                    <a:pt x="312" y="122"/>
                  </a:lnTo>
                  <a:lnTo>
                    <a:pt x="314" y="126"/>
                  </a:lnTo>
                  <a:lnTo>
                    <a:pt x="318" y="124"/>
                  </a:lnTo>
                  <a:lnTo>
                    <a:pt x="322" y="126"/>
                  </a:lnTo>
                  <a:lnTo>
                    <a:pt x="326" y="126"/>
                  </a:lnTo>
                  <a:lnTo>
                    <a:pt x="330" y="128"/>
                  </a:lnTo>
                  <a:lnTo>
                    <a:pt x="332" y="132"/>
                  </a:lnTo>
                  <a:lnTo>
                    <a:pt x="332" y="136"/>
                  </a:lnTo>
                  <a:lnTo>
                    <a:pt x="332" y="142"/>
                  </a:lnTo>
                  <a:lnTo>
                    <a:pt x="328" y="150"/>
                  </a:lnTo>
                  <a:lnTo>
                    <a:pt x="324" y="148"/>
                  </a:lnTo>
                  <a:lnTo>
                    <a:pt x="318" y="150"/>
                  </a:lnTo>
                  <a:lnTo>
                    <a:pt x="314" y="158"/>
                  </a:lnTo>
                  <a:lnTo>
                    <a:pt x="314" y="160"/>
                  </a:lnTo>
                  <a:lnTo>
                    <a:pt x="308" y="166"/>
                  </a:lnTo>
                  <a:lnTo>
                    <a:pt x="306" y="170"/>
                  </a:lnTo>
                  <a:lnTo>
                    <a:pt x="300" y="172"/>
                  </a:lnTo>
                  <a:lnTo>
                    <a:pt x="298" y="174"/>
                  </a:lnTo>
                  <a:lnTo>
                    <a:pt x="302" y="176"/>
                  </a:lnTo>
                  <a:lnTo>
                    <a:pt x="302" y="180"/>
                  </a:lnTo>
                  <a:lnTo>
                    <a:pt x="298" y="186"/>
                  </a:lnTo>
                  <a:lnTo>
                    <a:pt x="296" y="194"/>
                  </a:lnTo>
                  <a:lnTo>
                    <a:pt x="288" y="188"/>
                  </a:lnTo>
                  <a:lnTo>
                    <a:pt x="288" y="200"/>
                  </a:lnTo>
                  <a:lnTo>
                    <a:pt x="290" y="204"/>
                  </a:lnTo>
                  <a:lnTo>
                    <a:pt x="290" y="210"/>
                  </a:lnTo>
                  <a:lnTo>
                    <a:pt x="290" y="214"/>
                  </a:lnTo>
                  <a:lnTo>
                    <a:pt x="288" y="216"/>
                  </a:lnTo>
                  <a:lnTo>
                    <a:pt x="286" y="220"/>
                  </a:lnTo>
                  <a:lnTo>
                    <a:pt x="282" y="216"/>
                  </a:lnTo>
                  <a:lnTo>
                    <a:pt x="280" y="218"/>
                  </a:lnTo>
                  <a:lnTo>
                    <a:pt x="278" y="212"/>
                  </a:lnTo>
                  <a:lnTo>
                    <a:pt x="278" y="206"/>
                  </a:lnTo>
                  <a:lnTo>
                    <a:pt x="274" y="198"/>
                  </a:lnTo>
                  <a:lnTo>
                    <a:pt x="272" y="204"/>
                  </a:lnTo>
                  <a:lnTo>
                    <a:pt x="266" y="204"/>
                  </a:lnTo>
                  <a:lnTo>
                    <a:pt x="266" y="200"/>
                  </a:lnTo>
                  <a:lnTo>
                    <a:pt x="268" y="190"/>
                  </a:lnTo>
                  <a:lnTo>
                    <a:pt x="270" y="186"/>
                  </a:lnTo>
                  <a:lnTo>
                    <a:pt x="272" y="182"/>
                  </a:lnTo>
                  <a:lnTo>
                    <a:pt x="274" y="180"/>
                  </a:lnTo>
                  <a:lnTo>
                    <a:pt x="272" y="174"/>
                  </a:lnTo>
                  <a:lnTo>
                    <a:pt x="278" y="170"/>
                  </a:lnTo>
                  <a:lnTo>
                    <a:pt x="270" y="170"/>
                  </a:lnTo>
                  <a:lnTo>
                    <a:pt x="264" y="172"/>
                  </a:lnTo>
                  <a:lnTo>
                    <a:pt x="258" y="172"/>
                  </a:lnTo>
                  <a:lnTo>
                    <a:pt x="250" y="172"/>
                  </a:lnTo>
                  <a:lnTo>
                    <a:pt x="246" y="172"/>
                  </a:lnTo>
                  <a:lnTo>
                    <a:pt x="244" y="162"/>
                  </a:lnTo>
                  <a:lnTo>
                    <a:pt x="246" y="156"/>
                  </a:lnTo>
                  <a:lnTo>
                    <a:pt x="242" y="154"/>
                  </a:lnTo>
                  <a:lnTo>
                    <a:pt x="236" y="154"/>
                  </a:lnTo>
                  <a:lnTo>
                    <a:pt x="230" y="150"/>
                  </a:lnTo>
                  <a:lnTo>
                    <a:pt x="226" y="154"/>
                  </a:lnTo>
                  <a:lnTo>
                    <a:pt x="232" y="160"/>
                  </a:lnTo>
                  <a:lnTo>
                    <a:pt x="230" y="166"/>
                  </a:lnTo>
                  <a:lnTo>
                    <a:pt x="224" y="168"/>
                  </a:lnTo>
                  <a:lnTo>
                    <a:pt x="220" y="170"/>
                  </a:lnTo>
                  <a:lnTo>
                    <a:pt x="222" y="178"/>
                  </a:lnTo>
                  <a:lnTo>
                    <a:pt x="222" y="182"/>
                  </a:lnTo>
                  <a:lnTo>
                    <a:pt x="230" y="186"/>
                  </a:lnTo>
                  <a:lnTo>
                    <a:pt x="232" y="190"/>
                  </a:lnTo>
                  <a:lnTo>
                    <a:pt x="230" y="198"/>
                  </a:lnTo>
                  <a:lnTo>
                    <a:pt x="234" y="202"/>
                  </a:lnTo>
                  <a:lnTo>
                    <a:pt x="234" y="210"/>
                  </a:lnTo>
                  <a:lnTo>
                    <a:pt x="232" y="214"/>
                  </a:lnTo>
                  <a:lnTo>
                    <a:pt x="232" y="22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4" name="Freeform 616">
              <a:extLst>
                <a:ext uri="{FF2B5EF4-FFF2-40B4-BE49-F238E27FC236}">
                  <a16:creationId xmlns:a16="http://schemas.microsoft.com/office/drawing/2014/main" id="{703295DD-2C71-4C28-9FBC-5C51FD9A3C0B}"/>
                </a:ext>
              </a:extLst>
            </p:cNvPr>
            <p:cNvSpPr>
              <a:spLocks noEditPoints="1"/>
            </p:cNvSpPr>
            <p:nvPr/>
          </p:nvSpPr>
          <p:spPr bwMode="gray">
            <a:xfrm>
              <a:off x="3882360" y="2332449"/>
              <a:ext cx="218939" cy="110651"/>
            </a:xfrm>
            <a:custGeom>
              <a:avLst/>
              <a:gdLst>
                <a:gd name="T0" fmla="*/ 2147483647 w 118"/>
                <a:gd name="T1" fmla="*/ 2147483647 h 60"/>
                <a:gd name="T2" fmla="*/ 2147483647 w 118"/>
                <a:gd name="T3" fmla="*/ 2147483647 h 60"/>
                <a:gd name="T4" fmla="*/ 2147483647 w 118"/>
                <a:gd name="T5" fmla="*/ 2147483647 h 60"/>
                <a:gd name="T6" fmla="*/ 2147483647 w 118"/>
                <a:gd name="T7" fmla="*/ 2147483647 h 60"/>
                <a:gd name="T8" fmla="*/ 2147483647 w 118"/>
                <a:gd name="T9" fmla="*/ 2147483647 h 60"/>
                <a:gd name="T10" fmla="*/ 2147483647 w 118"/>
                <a:gd name="T11" fmla="*/ 2147483647 h 60"/>
                <a:gd name="T12" fmla="*/ 2147483647 w 118"/>
                <a:gd name="T13" fmla="*/ 2147483647 h 60"/>
                <a:gd name="T14" fmla="*/ 2147483647 w 118"/>
                <a:gd name="T15" fmla="*/ 2147483647 h 60"/>
                <a:gd name="T16" fmla="*/ 2147483647 w 118"/>
                <a:gd name="T17" fmla="*/ 2147483647 h 60"/>
                <a:gd name="T18" fmla="*/ 2147483647 w 118"/>
                <a:gd name="T19" fmla="*/ 2147483647 h 60"/>
                <a:gd name="T20" fmla="*/ 2147483647 w 118"/>
                <a:gd name="T21" fmla="*/ 2147483647 h 60"/>
                <a:gd name="T22" fmla="*/ 2147483647 w 118"/>
                <a:gd name="T23" fmla="*/ 2147483647 h 60"/>
                <a:gd name="T24" fmla="*/ 2147483647 w 118"/>
                <a:gd name="T25" fmla="*/ 2147483647 h 60"/>
                <a:gd name="T26" fmla="*/ 2147483647 w 118"/>
                <a:gd name="T27" fmla="*/ 2147483647 h 60"/>
                <a:gd name="T28" fmla="*/ 2147483647 w 118"/>
                <a:gd name="T29" fmla="*/ 2147483647 h 60"/>
                <a:gd name="T30" fmla="*/ 2147483647 w 118"/>
                <a:gd name="T31" fmla="*/ 2147483647 h 60"/>
                <a:gd name="T32" fmla="*/ 2147483647 w 118"/>
                <a:gd name="T33" fmla="*/ 2147483647 h 60"/>
                <a:gd name="T34" fmla="*/ 2147483647 w 118"/>
                <a:gd name="T35" fmla="*/ 2147483647 h 60"/>
                <a:gd name="T36" fmla="*/ 2147483647 w 118"/>
                <a:gd name="T37" fmla="*/ 2147483647 h 60"/>
                <a:gd name="T38" fmla="*/ 2147483647 w 118"/>
                <a:gd name="T39" fmla="*/ 2147483647 h 60"/>
                <a:gd name="T40" fmla="*/ 2147483647 w 118"/>
                <a:gd name="T41" fmla="*/ 2147483647 h 60"/>
                <a:gd name="T42" fmla="*/ 2147483647 w 118"/>
                <a:gd name="T43" fmla="*/ 2147483647 h 60"/>
                <a:gd name="T44" fmla="*/ 2147483647 w 118"/>
                <a:gd name="T45" fmla="*/ 2147483647 h 60"/>
                <a:gd name="T46" fmla="*/ 0 w 118"/>
                <a:gd name="T47" fmla="*/ 2147483647 h 60"/>
                <a:gd name="T48" fmla="*/ 2147483647 w 118"/>
                <a:gd name="T49" fmla="*/ 2147483647 h 60"/>
                <a:gd name="T50" fmla="*/ 2147483647 w 118"/>
                <a:gd name="T51" fmla="*/ 2147483647 h 60"/>
                <a:gd name="T52" fmla="*/ 2147483647 w 118"/>
                <a:gd name="T53" fmla="*/ 2147483647 h 60"/>
                <a:gd name="T54" fmla="*/ 2147483647 w 118"/>
                <a:gd name="T55" fmla="*/ 2147483647 h 60"/>
                <a:gd name="T56" fmla="*/ 2147483647 w 118"/>
                <a:gd name="T57" fmla="*/ 2147483647 h 60"/>
                <a:gd name="T58" fmla="*/ 2147483647 w 118"/>
                <a:gd name="T59" fmla="*/ 2147483647 h 60"/>
                <a:gd name="T60" fmla="*/ 2147483647 w 118"/>
                <a:gd name="T61" fmla="*/ 2147483647 h 60"/>
                <a:gd name="T62" fmla="*/ 2147483647 w 118"/>
                <a:gd name="T63" fmla="*/ 2147483647 h 60"/>
                <a:gd name="T64" fmla="*/ 2147483647 w 118"/>
                <a:gd name="T65" fmla="*/ 2147483647 h 60"/>
                <a:gd name="T66" fmla="*/ 2147483647 w 118"/>
                <a:gd name="T67" fmla="*/ 2147483647 h 60"/>
                <a:gd name="T68" fmla="*/ 2147483647 w 118"/>
                <a:gd name="T69" fmla="*/ 2147483647 h 60"/>
                <a:gd name="T70" fmla="*/ 2147483647 w 118"/>
                <a:gd name="T71" fmla="*/ 2147483647 h 60"/>
                <a:gd name="T72" fmla="*/ 2147483647 w 118"/>
                <a:gd name="T73" fmla="*/ 2147483647 h 60"/>
                <a:gd name="T74" fmla="*/ 2147483647 w 118"/>
                <a:gd name="T75" fmla="*/ 2147483647 h 60"/>
                <a:gd name="T76" fmla="*/ 2147483647 w 118"/>
                <a:gd name="T77" fmla="*/ 2147483647 h 60"/>
                <a:gd name="T78" fmla="*/ 2147483647 w 118"/>
                <a:gd name="T79" fmla="*/ 2147483647 h 60"/>
                <a:gd name="T80" fmla="*/ 2147483647 w 118"/>
                <a:gd name="T81" fmla="*/ 2147483647 h 60"/>
                <a:gd name="T82" fmla="*/ 2147483647 w 118"/>
                <a:gd name="T83" fmla="*/ 2147483647 h 60"/>
                <a:gd name="T84" fmla="*/ 2147483647 w 118"/>
                <a:gd name="T85" fmla="*/ 2147483647 h 60"/>
                <a:gd name="T86" fmla="*/ 2147483647 w 118"/>
                <a:gd name="T87" fmla="*/ 2147483647 h 60"/>
                <a:gd name="T88" fmla="*/ 2147483647 w 118"/>
                <a:gd name="T89" fmla="*/ 2147483647 h 60"/>
                <a:gd name="T90" fmla="*/ 2147483647 w 118"/>
                <a:gd name="T91" fmla="*/ 2147483647 h 60"/>
                <a:gd name="T92" fmla="*/ 2147483647 w 118"/>
                <a:gd name="T93" fmla="*/ 2147483647 h 60"/>
                <a:gd name="T94" fmla="*/ 2147483647 w 118"/>
                <a:gd name="T95" fmla="*/ 2147483647 h 60"/>
                <a:gd name="T96" fmla="*/ 2147483647 w 118"/>
                <a:gd name="T97" fmla="*/ 2147483647 h 60"/>
                <a:gd name="T98" fmla="*/ 2147483647 w 118"/>
                <a:gd name="T99" fmla="*/ 2147483647 h 60"/>
                <a:gd name="T100" fmla="*/ 2147483647 w 118"/>
                <a:gd name="T101" fmla="*/ 2147483647 h 60"/>
                <a:gd name="T102" fmla="*/ 2147483647 w 118"/>
                <a:gd name="T103" fmla="*/ 2147483647 h 60"/>
                <a:gd name="T104" fmla="*/ 2147483647 w 118"/>
                <a:gd name="T105" fmla="*/ 2147483647 h 60"/>
                <a:gd name="T106" fmla="*/ 2147483647 w 118"/>
                <a:gd name="T107" fmla="*/ 2147483647 h 60"/>
                <a:gd name="T108" fmla="*/ 2147483647 w 118"/>
                <a:gd name="T109" fmla="*/ 2147483647 h 60"/>
                <a:gd name="T110" fmla="*/ 2147483647 w 118"/>
                <a:gd name="T111" fmla="*/ 2147483647 h 60"/>
                <a:gd name="T112" fmla="*/ 2147483647 w 118"/>
                <a:gd name="T113" fmla="*/ 2147483647 h 60"/>
                <a:gd name="T114" fmla="*/ 2147483647 w 118"/>
                <a:gd name="T115" fmla="*/ 2147483647 h 60"/>
                <a:gd name="T116" fmla="*/ 2147483647 w 118"/>
                <a:gd name="T117" fmla="*/ 2147483647 h 60"/>
                <a:gd name="T118" fmla="*/ 2147483647 w 118"/>
                <a:gd name="T119" fmla="*/ 0 h 60"/>
                <a:gd name="T120" fmla="*/ 2147483647 w 118"/>
                <a:gd name="T121" fmla="*/ 2147483647 h 60"/>
                <a:gd name="T122" fmla="*/ 2147483647 w 118"/>
                <a:gd name="T123" fmla="*/ 0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8"/>
                <a:gd name="T187" fmla="*/ 0 h 60"/>
                <a:gd name="T188" fmla="*/ 118 w 118"/>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8" h="60">
                  <a:moveTo>
                    <a:pt x="88" y="2"/>
                  </a:moveTo>
                  <a:lnTo>
                    <a:pt x="88" y="2"/>
                  </a:lnTo>
                  <a:lnTo>
                    <a:pt x="88" y="8"/>
                  </a:lnTo>
                  <a:lnTo>
                    <a:pt x="82" y="8"/>
                  </a:lnTo>
                  <a:lnTo>
                    <a:pt x="78" y="6"/>
                  </a:lnTo>
                  <a:lnTo>
                    <a:pt x="78" y="10"/>
                  </a:lnTo>
                  <a:lnTo>
                    <a:pt x="72" y="12"/>
                  </a:lnTo>
                  <a:lnTo>
                    <a:pt x="70" y="10"/>
                  </a:lnTo>
                  <a:lnTo>
                    <a:pt x="66" y="8"/>
                  </a:lnTo>
                  <a:lnTo>
                    <a:pt x="68" y="16"/>
                  </a:lnTo>
                  <a:lnTo>
                    <a:pt x="62" y="14"/>
                  </a:lnTo>
                  <a:lnTo>
                    <a:pt x="60" y="6"/>
                  </a:lnTo>
                  <a:lnTo>
                    <a:pt x="60" y="8"/>
                  </a:lnTo>
                  <a:lnTo>
                    <a:pt x="56" y="8"/>
                  </a:lnTo>
                  <a:lnTo>
                    <a:pt x="54" y="8"/>
                  </a:lnTo>
                  <a:lnTo>
                    <a:pt x="54" y="10"/>
                  </a:lnTo>
                  <a:lnTo>
                    <a:pt x="52" y="12"/>
                  </a:lnTo>
                  <a:lnTo>
                    <a:pt x="52" y="16"/>
                  </a:lnTo>
                  <a:lnTo>
                    <a:pt x="48" y="16"/>
                  </a:lnTo>
                  <a:lnTo>
                    <a:pt x="48" y="12"/>
                  </a:lnTo>
                  <a:lnTo>
                    <a:pt x="46" y="8"/>
                  </a:lnTo>
                  <a:lnTo>
                    <a:pt x="44" y="8"/>
                  </a:lnTo>
                  <a:lnTo>
                    <a:pt x="44" y="14"/>
                  </a:lnTo>
                  <a:lnTo>
                    <a:pt x="44" y="20"/>
                  </a:lnTo>
                  <a:lnTo>
                    <a:pt x="36" y="20"/>
                  </a:lnTo>
                  <a:lnTo>
                    <a:pt x="38" y="22"/>
                  </a:lnTo>
                  <a:lnTo>
                    <a:pt x="36" y="24"/>
                  </a:lnTo>
                  <a:lnTo>
                    <a:pt x="32" y="26"/>
                  </a:lnTo>
                  <a:lnTo>
                    <a:pt x="32" y="22"/>
                  </a:lnTo>
                  <a:lnTo>
                    <a:pt x="32" y="20"/>
                  </a:lnTo>
                  <a:lnTo>
                    <a:pt x="32" y="18"/>
                  </a:lnTo>
                  <a:lnTo>
                    <a:pt x="32" y="12"/>
                  </a:lnTo>
                  <a:lnTo>
                    <a:pt x="30" y="12"/>
                  </a:lnTo>
                  <a:lnTo>
                    <a:pt x="26" y="6"/>
                  </a:lnTo>
                  <a:lnTo>
                    <a:pt x="18" y="6"/>
                  </a:lnTo>
                  <a:lnTo>
                    <a:pt x="24" y="12"/>
                  </a:lnTo>
                  <a:lnTo>
                    <a:pt x="24" y="14"/>
                  </a:lnTo>
                  <a:lnTo>
                    <a:pt x="24" y="16"/>
                  </a:lnTo>
                  <a:lnTo>
                    <a:pt x="22" y="16"/>
                  </a:lnTo>
                  <a:lnTo>
                    <a:pt x="18" y="12"/>
                  </a:lnTo>
                  <a:lnTo>
                    <a:pt x="14" y="12"/>
                  </a:lnTo>
                  <a:lnTo>
                    <a:pt x="12" y="14"/>
                  </a:lnTo>
                  <a:lnTo>
                    <a:pt x="10" y="14"/>
                  </a:lnTo>
                  <a:lnTo>
                    <a:pt x="12" y="18"/>
                  </a:lnTo>
                  <a:lnTo>
                    <a:pt x="8" y="20"/>
                  </a:lnTo>
                  <a:lnTo>
                    <a:pt x="4" y="20"/>
                  </a:lnTo>
                  <a:lnTo>
                    <a:pt x="2" y="22"/>
                  </a:lnTo>
                  <a:lnTo>
                    <a:pt x="0" y="24"/>
                  </a:lnTo>
                  <a:lnTo>
                    <a:pt x="4" y="26"/>
                  </a:lnTo>
                  <a:lnTo>
                    <a:pt x="8" y="26"/>
                  </a:lnTo>
                  <a:lnTo>
                    <a:pt x="14" y="22"/>
                  </a:lnTo>
                  <a:lnTo>
                    <a:pt x="18" y="18"/>
                  </a:lnTo>
                  <a:lnTo>
                    <a:pt x="22" y="20"/>
                  </a:lnTo>
                  <a:lnTo>
                    <a:pt x="20" y="22"/>
                  </a:lnTo>
                  <a:lnTo>
                    <a:pt x="20" y="26"/>
                  </a:lnTo>
                  <a:lnTo>
                    <a:pt x="20" y="28"/>
                  </a:lnTo>
                  <a:lnTo>
                    <a:pt x="24" y="30"/>
                  </a:lnTo>
                  <a:lnTo>
                    <a:pt x="14" y="30"/>
                  </a:lnTo>
                  <a:lnTo>
                    <a:pt x="12" y="32"/>
                  </a:lnTo>
                  <a:lnTo>
                    <a:pt x="4" y="34"/>
                  </a:lnTo>
                  <a:lnTo>
                    <a:pt x="4" y="38"/>
                  </a:lnTo>
                  <a:lnTo>
                    <a:pt x="12" y="36"/>
                  </a:lnTo>
                  <a:lnTo>
                    <a:pt x="16" y="36"/>
                  </a:lnTo>
                  <a:lnTo>
                    <a:pt x="20" y="36"/>
                  </a:lnTo>
                  <a:lnTo>
                    <a:pt x="26" y="40"/>
                  </a:lnTo>
                  <a:lnTo>
                    <a:pt x="30" y="46"/>
                  </a:lnTo>
                  <a:lnTo>
                    <a:pt x="18" y="48"/>
                  </a:lnTo>
                  <a:lnTo>
                    <a:pt x="20" y="54"/>
                  </a:lnTo>
                  <a:lnTo>
                    <a:pt x="24" y="52"/>
                  </a:lnTo>
                  <a:lnTo>
                    <a:pt x="28" y="52"/>
                  </a:lnTo>
                  <a:lnTo>
                    <a:pt x="30" y="50"/>
                  </a:lnTo>
                  <a:lnTo>
                    <a:pt x="34" y="50"/>
                  </a:lnTo>
                  <a:lnTo>
                    <a:pt x="46" y="54"/>
                  </a:lnTo>
                  <a:lnTo>
                    <a:pt x="46" y="56"/>
                  </a:lnTo>
                  <a:lnTo>
                    <a:pt x="46" y="58"/>
                  </a:lnTo>
                  <a:lnTo>
                    <a:pt x="44" y="60"/>
                  </a:lnTo>
                  <a:lnTo>
                    <a:pt x="68" y="60"/>
                  </a:lnTo>
                  <a:lnTo>
                    <a:pt x="70" y="58"/>
                  </a:lnTo>
                  <a:lnTo>
                    <a:pt x="72" y="56"/>
                  </a:lnTo>
                  <a:lnTo>
                    <a:pt x="70" y="56"/>
                  </a:lnTo>
                  <a:lnTo>
                    <a:pt x="68" y="50"/>
                  </a:lnTo>
                  <a:lnTo>
                    <a:pt x="72" y="52"/>
                  </a:lnTo>
                  <a:lnTo>
                    <a:pt x="78" y="54"/>
                  </a:lnTo>
                  <a:lnTo>
                    <a:pt x="80" y="52"/>
                  </a:lnTo>
                  <a:lnTo>
                    <a:pt x="84" y="50"/>
                  </a:lnTo>
                  <a:lnTo>
                    <a:pt x="84" y="52"/>
                  </a:lnTo>
                  <a:lnTo>
                    <a:pt x="86" y="52"/>
                  </a:lnTo>
                  <a:lnTo>
                    <a:pt x="92" y="48"/>
                  </a:lnTo>
                  <a:lnTo>
                    <a:pt x="96" y="46"/>
                  </a:lnTo>
                  <a:lnTo>
                    <a:pt x="100" y="46"/>
                  </a:lnTo>
                  <a:lnTo>
                    <a:pt x="108" y="38"/>
                  </a:lnTo>
                  <a:lnTo>
                    <a:pt x="114" y="32"/>
                  </a:lnTo>
                  <a:lnTo>
                    <a:pt x="112" y="32"/>
                  </a:lnTo>
                  <a:lnTo>
                    <a:pt x="114" y="32"/>
                  </a:lnTo>
                  <a:lnTo>
                    <a:pt x="114" y="34"/>
                  </a:lnTo>
                  <a:lnTo>
                    <a:pt x="116" y="34"/>
                  </a:lnTo>
                  <a:lnTo>
                    <a:pt x="118" y="32"/>
                  </a:lnTo>
                  <a:lnTo>
                    <a:pt x="116" y="20"/>
                  </a:lnTo>
                  <a:lnTo>
                    <a:pt x="112" y="18"/>
                  </a:lnTo>
                  <a:lnTo>
                    <a:pt x="110" y="18"/>
                  </a:lnTo>
                  <a:lnTo>
                    <a:pt x="106" y="20"/>
                  </a:lnTo>
                  <a:lnTo>
                    <a:pt x="104" y="20"/>
                  </a:lnTo>
                  <a:lnTo>
                    <a:pt x="104" y="18"/>
                  </a:lnTo>
                  <a:lnTo>
                    <a:pt x="106" y="16"/>
                  </a:lnTo>
                  <a:lnTo>
                    <a:pt x="106" y="14"/>
                  </a:lnTo>
                  <a:lnTo>
                    <a:pt x="106" y="12"/>
                  </a:lnTo>
                  <a:lnTo>
                    <a:pt x="102" y="10"/>
                  </a:lnTo>
                  <a:lnTo>
                    <a:pt x="108" y="6"/>
                  </a:lnTo>
                  <a:lnTo>
                    <a:pt x="108" y="4"/>
                  </a:lnTo>
                  <a:lnTo>
                    <a:pt x="100" y="6"/>
                  </a:lnTo>
                  <a:lnTo>
                    <a:pt x="102" y="8"/>
                  </a:lnTo>
                  <a:lnTo>
                    <a:pt x="100" y="8"/>
                  </a:lnTo>
                  <a:lnTo>
                    <a:pt x="96" y="6"/>
                  </a:lnTo>
                  <a:lnTo>
                    <a:pt x="96" y="4"/>
                  </a:lnTo>
                  <a:lnTo>
                    <a:pt x="94" y="2"/>
                  </a:lnTo>
                  <a:lnTo>
                    <a:pt x="88" y="2"/>
                  </a:lnTo>
                  <a:close/>
                  <a:moveTo>
                    <a:pt x="14" y="0"/>
                  </a:moveTo>
                  <a:lnTo>
                    <a:pt x="14" y="4"/>
                  </a:lnTo>
                  <a:lnTo>
                    <a:pt x="24" y="4"/>
                  </a:lnTo>
                  <a:lnTo>
                    <a:pt x="22" y="0"/>
                  </a:lnTo>
                  <a:lnTo>
                    <a:pt x="1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5" name="Freeform 617">
              <a:extLst>
                <a:ext uri="{FF2B5EF4-FFF2-40B4-BE49-F238E27FC236}">
                  <a16:creationId xmlns:a16="http://schemas.microsoft.com/office/drawing/2014/main" id="{5AA10803-E99C-4424-B2FB-F9D50114387F}"/>
                </a:ext>
              </a:extLst>
            </p:cNvPr>
            <p:cNvSpPr>
              <a:spLocks/>
            </p:cNvSpPr>
            <p:nvPr/>
          </p:nvSpPr>
          <p:spPr bwMode="gray">
            <a:xfrm>
              <a:off x="4727513" y="2953980"/>
              <a:ext cx="150667" cy="103588"/>
            </a:xfrm>
            <a:custGeom>
              <a:avLst/>
              <a:gdLst>
                <a:gd name="T0" fmla="*/ 2147483647 w 82"/>
                <a:gd name="T1" fmla="*/ 2147483647 h 56"/>
                <a:gd name="T2" fmla="*/ 2147483647 w 82"/>
                <a:gd name="T3" fmla="*/ 2147483647 h 56"/>
                <a:gd name="T4" fmla="*/ 2147483647 w 82"/>
                <a:gd name="T5" fmla="*/ 2147483647 h 56"/>
                <a:gd name="T6" fmla="*/ 2147483647 w 82"/>
                <a:gd name="T7" fmla="*/ 2147483647 h 56"/>
                <a:gd name="T8" fmla="*/ 2147483647 w 82"/>
                <a:gd name="T9" fmla="*/ 2147483647 h 56"/>
                <a:gd name="T10" fmla="*/ 2147483647 w 82"/>
                <a:gd name="T11" fmla="*/ 2147483647 h 56"/>
                <a:gd name="T12" fmla="*/ 2147483647 w 82"/>
                <a:gd name="T13" fmla="*/ 2147483647 h 56"/>
                <a:gd name="T14" fmla="*/ 2147483647 w 82"/>
                <a:gd name="T15" fmla="*/ 2147483647 h 56"/>
                <a:gd name="T16" fmla="*/ 2147483647 w 82"/>
                <a:gd name="T17" fmla="*/ 2147483647 h 56"/>
                <a:gd name="T18" fmla="*/ 2147483647 w 82"/>
                <a:gd name="T19" fmla="*/ 2147483647 h 56"/>
                <a:gd name="T20" fmla="*/ 2147483647 w 82"/>
                <a:gd name="T21" fmla="*/ 0 h 56"/>
                <a:gd name="T22" fmla="*/ 2147483647 w 82"/>
                <a:gd name="T23" fmla="*/ 2147483647 h 56"/>
                <a:gd name="T24" fmla="*/ 2147483647 w 82"/>
                <a:gd name="T25" fmla="*/ 2147483647 h 56"/>
                <a:gd name="T26" fmla="*/ 2147483647 w 82"/>
                <a:gd name="T27" fmla="*/ 2147483647 h 56"/>
                <a:gd name="T28" fmla="*/ 2147483647 w 82"/>
                <a:gd name="T29" fmla="*/ 2147483647 h 56"/>
                <a:gd name="T30" fmla="*/ 2147483647 w 82"/>
                <a:gd name="T31" fmla="*/ 2147483647 h 56"/>
                <a:gd name="T32" fmla="*/ 2147483647 w 82"/>
                <a:gd name="T33" fmla="*/ 2147483647 h 56"/>
                <a:gd name="T34" fmla="*/ 2147483647 w 82"/>
                <a:gd name="T35" fmla="*/ 2147483647 h 56"/>
                <a:gd name="T36" fmla="*/ 2147483647 w 82"/>
                <a:gd name="T37" fmla="*/ 2147483647 h 56"/>
                <a:gd name="T38" fmla="*/ 2147483647 w 82"/>
                <a:gd name="T39" fmla="*/ 2147483647 h 56"/>
                <a:gd name="T40" fmla="*/ 2147483647 w 82"/>
                <a:gd name="T41" fmla="*/ 2147483647 h 56"/>
                <a:gd name="T42" fmla="*/ 2147483647 w 82"/>
                <a:gd name="T43" fmla="*/ 2147483647 h 56"/>
                <a:gd name="T44" fmla="*/ 2147483647 w 82"/>
                <a:gd name="T45" fmla="*/ 2147483647 h 56"/>
                <a:gd name="T46" fmla="*/ 2147483647 w 82"/>
                <a:gd name="T47" fmla="*/ 2147483647 h 56"/>
                <a:gd name="T48" fmla="*/ 2147483647 w 82"/>
                <a:gd name="T49" fmla="*/ 2147483647 h 56"/>
                <a:gd name="T50" fmla="*/ 2147483647 w 82"/>
                <a:gd name="T51" fmla="*/ 2147483647 h 56"/>
                <a:gd name="T52" fmla="*/ 2147483647 w 82"/>
                <a:gd name="T53" fmla="*/ 2147483647 h 56"/>
                <a:gd name="T54" fmla="*/ 2147483647 w 82"/>
                <a:gd name="T55" fmla="*/ 2147483647 h 56"/>
                <a:gd name="T56" fmla="*/ 2147483647 w 82"/>
                <a:gd name="T57" fmla="*/ 2147483647 h 56"/>
                <a:gd name="T58" fmla="*/ 0 w 82"/>
                <a:gd name="T59" fmla="*/ 2147483647 h 56"/>
                <a:gd name="T60" fmla="*/ 2147483647 w 82"/>
                <a:gd name="T61" fmla="*/ 2147483647 h 56"/>
                <a:gd name="T62" fmla="*/ 2147483647 w 82"/>
                <a:gd name="T63" fmla="*/ 2147483647 h 56"/>
                <a:gd name="T64" fmla="*/ 2147483647 w 82"/>
                <a:gd name="T65" fmla="*/ 2147483647 h 56"/>
                <a:gd name="T66" fmla="*/ 2147483647 w 82"/>
                <a:gd name="T67" fmla="*/ 2147483647 h 56"/>
                <a:gd name="T68" fmla="*/ 2147483647 w 82"/>
                <a:gd name="T69" fmla="*/ 2147483647 h 56"/>
                <a:gd name="T70" fmla="*/ 2147483647 w 82"/>
                <a:gd name="T71" fmla="*/ 2147483647 h 56"/>
                <a:gd name="T72" fmla="*/ 2147483647 w 82"/>
                <a:gd name="T73" fmla="*/ 2147483647 h 56"/>
                <a:gd name="T74" fmla="*/ 2147483647 w 82"/>
                <a:gd name="T75" fmla="*/ 2147483647 h 56"/>
                <a:gd name="T76" fmla="*/ 2147483647 w 82"/>
                <a:gd name="T77" fmla="*/ 2147483647 h 56"/>
                <a:gd name="T78" fmla="*/ 2147483647 w 82"/>
                <a:gd name="T79" fmla="*/ 2147483647 h 56"/>
                <a:gd name="T80" fmla="*/ 2147483647 w 82"/>
                <a:gd name="T81" fmla="*/ 2147483647 h 56"/>
                <a:gd name="T82" fmla="*/ 2147483647 w 82"/>
                <a:gd name="T83" fmla="*/ 2147483647 h 56"/>
                <a:gd name="T84" fmla="*/ 2147483647 w 82"/>
                <a:gd name="T85" fmla="*/ 2147483647 h 56"/>
                <a:gd name="T86" fmla="*/ 2147483647 w 82"/>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2"/>
                <a:gd name="T133" fmla="*/ 0 h 56"/>
                <a:gd name="T134" fmla="*/ 82 w 82"/>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2" h="56">
                  <a:moveTo>
                    <a:pt x="56" y="48"/>
                  </a:moveTo>
                  <a:lnTo>
                    <a:pt x="56" y="48"/>
                  </a:lnTo>
                  <a:lnTo>
                    <a:pt x="60" y="48"/>
                  </a:lnTo>
                  <a:lnTo>
                    <a:pt x="62" y="46"/>
                  </a:lnTo>
                  <a:lnTo>
                    <a:pt x="64" y="44"/>
                  </a:lnTo>
                  <a:lnTo>
                    <a:pt x="68" y="40"/>
                  </a:lnTo>
                  <a:lnTo>
                    <a:pt x="70" y="36"/>
                  </a:lnTo>
                  <a:lnTo>
                    <a:pt x="70" y="30"/>
                  </a:lnTo>
                  <a:lnTo>
                    <a:pt x="70" y="24"/>
                  </a:lnTo>
                  <a:lnTo>
                    <a:pt x="72" y="20"/>
                  </a:lnTo>
                  <a:lnTo>
                    <a:pt x="78" y="18"/>
                  </a:lnTo>
                  <a:lnTo>
                    <a:pt x="80" y="14"/>
                  </a:lnTo>
                  <a:lnTo>
                    <a:pt x="82" y="4"/>
                  </a:lnTo>
                  <a:lnTo>
                    <a:pt x="80" y="4"/>
                  </a:lnTo>
                  <a:lnTo>
                    <a:pt x="76" y="2"/>
                  </a:lnTo>
                  <a:lnTo>
                    <a:pt x="72" y="0"/>
                  </a:lnTo>
                  <a:lnTo>
                    <a:pt x="68" y="2"/>
                  </a:lnTo>
                  <a:lnTo>
                    <a:pt x="62" y="2"/>
                  </a:lnTo>
                  <a:lnTo>
                    <a:pt x="58" y="2"/>
                  </a:lnTo>
                  <a:lnTo>
                    <a:pt x="54" y="4"/>
                  </a:lnTo>
                  <a:lnTo>
                    <a:pt x="52" y="6"/>
                  </a:lnTo>
                  <a:lnTo>
                    <a:pt x="48" y="4"/>
                  </a:lnTo>
                  <a:lnTo>
                    <a:pt x="46" y="4"/>
                  </a:lnTo>
                  <a:lnTo>
                    <a:pt x="40" y="6"/>
                  </a:lnTo>
                  <a:lnTo>
                    <a:pt x="34" y="6"/>
                  </a:lnTo>
                  <a:lnTo>
                    <a:pt x="32" y="6"/>
                  </a:lnTo>
                  <a:lnTo>
                    <a:pt x="34" y="10"/>
                  </a:lnTo>
                  <a:lnTo>
                    <a:pt x="34" y="12"/>
                  </a:lnTo>
                  <a:lnTo>
                    <a:pt x="28" y="10"/>
                  </a:lnTo>
                  <a:lnTo>
                    <a:pt x="22" y="10"/>
                  </a:lnTo>
                  <a:lnTo>
                    <a:pt x="18" y="10"/>
                  </a:lnTo>
                  <a:lnTo>
                    <a:pt x="12" y="8"/>
                  </a:lnTo>
                  <a:lnTo>
                    <a:pt x="10" y="6"/>
                  </a:lnTo>
                  <a:lnTo>
                    <a:pt x="8" y="6"/>
                  </a:lnTo>
                  <a:lnTo>
                    <a:pt x="8" y="8"/>
                  </a:lnTo>
                  <a:lnTo>
                    <a:pt x="8" y="10"/>
                  </a:lnTo>
                  <a:lnTo>
                    <a:pt x="8" y="14"/>
                  </a:lnTo>
                  <a:lnTo>
                    <a:pt x="6" y="18"/>
                  </a:lnTo>
                  <a:lnTo>
                    <a:pt x="4" y="18"/>
                  </a:lnTo>
                  <a:lnTo>
                    <a:pt x="2" y="18"/>
                  </a:lnTo>
                  <a:lnTo>
                    <a:pt x="0" y="22"/>
                  </a:lnTo>
                  <a:lnTo>
                    <a:pt x="2" y="22"/>
                  </a:lnTo>
                  <a:lnTo>
                    <a:pt x="4" y="26"/>
                  </a:lnTo>
                  <a:lnTo>
                    <a:pt x="4" y="28"/>
                  </a:lnTo>
                  <a:lnTo>
                    <a:pt x="2" y="30"/>
                  </a:lnTo>
                  <a:lnTo>
                    <a:pt x="6" y="32"/>
                  </a:lnTo>
                  <a:lnTo>
                    <a:pt x="8" y="34"/>
                  </a:lnTo>
                  <a:lnTo>
                    <a:pt x="10" y="38"/>
                  </a:lnTo>
                  <a:lnTo>
                    <a:pt x="12" y="42"/>
                  </a:lnTo>
                  <a:lnTo>
                    <a:pt x="18" y="48"/>
                  </a:lnTo>
                  <a:lnTo>
                    <a:pt x="28" y="54"/>
                  </a:lnTo>
                  <a:lnTo>
                    <a:pt x="32" y="56"/>
                  </a:lnTo>
                  <a:lnTo>
                    <a:pt x="36" y="54"/>
                  </a:lnTo>
                  <a:lnTo>
                    <a:pt x="38" y="54"/>
                  </a:lnTo>
                  <a:lnTo>
                    <a:pt x="40" y="52"/>
                  </a:lnTo>
                  <a:lnTo>
                    <a:pt x="42" y="50"/>
                  </a:lnTo>
                  <a:lnTo>
                    <a:pt x="46" y="48"/>
                  </a:lnTo>
                  <a:lnTo>
                    <a:pt x="50" y="48"/>
                  </a:lnTo>
                  <a:lnTo>
                    <a:pt x="56" y="4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6" name="Freeform 618">
              <a:extLst>
                <a:ext uri="{FF2B5EF4-FFF2-40B4-BE49-F238E27FC236}">
                  <a16:creationId xmlns:a16="http://schemas.microsoft.com/office/drawing/2014/main" id="{54E8FBE6-8BC1-4738-87DC-39A47A41A308}"/>
                </a:ext>
              </a:extLst>
            </p:cNvPr>
            <p:cNvSpPr>
              <a:spLocks/>
            </p:cNvSpPr>
            <p:nvPr/>
          </p:nvSpPr>
          <p:spPr bwMode="gray">
            <a:xfrm>
              <a:off x="2514578" y="3872150"/>
              <a:ext cx="129480" cy="75337"/>
            </a:xfrm>
            <a:custGeom>
              <a:avLst/>
              <a:gdLst>
                <a:gd name="T0" fmla="*/ 2147483647 w 70"/>
                <a:gd name="T1" fmla="*/ 2147483647 h 40"/>
                <a:gd name="T2" fmla="*/ 2147483647 w 70"/>
                <a:gd name="T3" fmla="*/ 2147483647 h 40"/>
                <a:gd name="T4" fmla="*/ 2147483647 w 70"/>
                <a:gd name="T5" fmla="*/ 2147483647 h 40"/>
                <a:gd name="T6" fmla="*/ 2147483647 w 70"/>
                <a:gd name="T7" fmla="*/ 2147483647 h 40"/>
                <a:gd name="T8" fmla="*/ 2147483647 w 70"/>
                <a:gd name="T9" fmla="*/ 2147483647 h 40"/>
                <a:gd name="T10" fmla="*/ 2147483647 w 70"/>
                <a:gd name="T11" fmla="*/ 2147483647 h 40"/>
                <a:gd name="T12" fmla="*/ 2147483647 w 70"/>
                <a:gd name="T13" fmla="*/ 2147483647 h 40"/>
                <a:gd name="T14" fmla="*/ 2147483647 w 70"/>
                <a:gd name="T15" fmla="*/ 0 h 40"/>
                <a:gd name="T16" fmla="*/ 2147483647 w 70"/>
                <a:gd name="T17" fmla="*/ 0 h 40"/>
                <a:gd name="T18" fmla="*/ 2147483647 w 70"/>
                <a:gd name="T19" fmla="*/ 2147483647 h 40"/>
                <a:gd name="T20" fmla="*/ 2147483647 w 70"/>
                <a:gd name="T21" fmla="*/ 2147483647 h 40"/>
                <a:gd name="T22" fmla="*/ 2147483647 w 70"/>
                <a:gd name="T23" fmla="*/ 2147483647 h 40"/>
                <a:gd name="T24" fmla="*/ 2147483647 w 70"/>
                <a:gd name="T25" fmla="*/ 2147483647 h 40"/>
                <a:gd name="T26" fmla="*/ 2147483647 w 70"/>
                <a:gd name="T27" fmla="*/ 2147483647 h 40"/>
                <a:gd name="T28" fmla="*/ 2147483647 w 70"/>
                <a:gd name="T29" fmla="*/ 2147483647 h 40"/>
                <a:gd name="T30" fmla="*/ 2147483647 w 70"/>
                <a:gd name="T31" fmla="*/ 2147483647 h 40"/>
                <a:gd name="T32" fmla="*/ 2147483647 w 70"/>
                <a:gd name="T33" fmla="*/ 2147483647 h 40"/>
                <a:gd name="T34" fmla="*/ 2147483647 w 70"/>
                <a:gd name="T35" fmla="*/ 2147483647 h 40"/>
                <a:gd name="T36" fmla="*/ 2147483647 w 70"/>
                <a:gd name="T37" fmla="*/ 2147483647 h 40"/>
                <a:gd name="T38" fmla="*/ 2147483647 w 70"/>
                <a:gd name="T39" fmla="*/ 2147483647 h 40"/>
                <a:gd name="T40" fmla="*/ 2147483647 w 70"/>
                <a:gd name="T41" fmla="*/ 2147483647 h 40"/>
                <a:gd name="T42" fmla="*/ 0 w 70"/>
                <a:gd name="T43" fmla="*/ 2147483647 h 40"/>
                <a:gd name="T44" fmla="*/ 0 w 70"/>
                <a:gd name="T45" fmla="*/ 2147483647 h 40"/>
                <a:gd name="T46" fmla="*/ 0 w 70"/>
                <a:gd name="T47" fmla="*/ 2147483647 h 40"/>
                <a:gd name="T48" fmla="*/ 2147483647 w 70"/>
                <a:gd name="T49" fmla="*/ 2147483647 h 40"/>
                <a:gd name="T50" fmla="*/ 2147483647 w 70"/>
                <a:gd name="T51" fmla="*/ 2147483647 h 40"/>
                <a:gd name="T52" fmla="*/ 2147483647 w 70"/>
                <a:gd name="T53" fmla="*/ 2147483647 h 40"/>
                <a:gd name="T54" fmla="*/ 2147483647 w 70"/>
                <a:gd name="T55" fmla="*/ 2147483647 h 40"/>
                <a:gd name="T56" fmla="*/ 2147483647 w 70"/>
                <a:gd name="T57" fmla="*/ 2147483647 h 40"/>
                <a:gd name="T58" fmla="*/ 2147483647 w 70"/>
                <a:gd name="T59" fmla="*/ 2147483647 h 40"/>
                <a:gd name="T60" fmla="*/ 2147483647 w 70"/>
                <a:gd name="T61" fmla="*/ 2147483647 h 40"/>
                <a:gd name="T62" fmla="*/ 2147483647 w 70"/>
                <a:gd name="T63" fmla="*/ 2147483647 h 40"/>
                <a:gd name="T64" fmla="*/ 2147483647 w 70"/>
                <a:gd name="T65" fmla="*/ 2147483647 h 40"/>
                <a:gd name="T66" fmla="*/ 2147483647 w 70"/>
                <a:gd name="T67" fmla="*/ 2147483647 h 40"/>
                <a:gd name="T68" fmla="*/ 2147483647 w 70"/>
                <a:gd name="T69" fmla="*/ 2147483647 h 40"/>
                <a:gd name="T70" fmla="*/ 2147483647 w 70"/>
                <a:gd name="T71" fmla="*/ 2147483647 h 40"/>
                <a:gd name="T72" fmla="*/ 2147483647 w 70"/>
                <a:gd name="T73" fmla="*/ 2147483647 h 40"/>
                <a:gd name="T74" fmla="*/ 2147483647 w 70"/>
                <a:gd name="T75" fmla="*/ 2147483647 h 40"/>
                <a:gd name="T76" fmla="*/ 2147483647 w 70"/>
                <a:gd name="T77" fmla="*/ 2147483647 h 40"/>
                <a:gd name="T78" fmla="*/ 2147483647 w 70"/>
                <a:gd name="T79" fmla="*/ 2147483647 h 40"/>
                <a:gd name="T80" fmla="*/ 2147483647 w 70"/>
                <a:gd name="T81" fmla="*/ 2147483647 h 40"/>
                <a:gd name="T82" fmla="*/ 2147483647 w 70"/>
                <a:gd name="T83" fmla="*/ 2147483647 h 40"/>
                <a:gd name="T84" fmla="*/ 2147483647 w 70"/>
                <a:gd name="T85" fmla="*/ 2147483647 h 40"/>
                <a:gd name="T86" fmla="*/ 2147483647 w 70"/>
                <a:gd name="T87" fmla="*/ 2147483647 h 40"/>
                <a:gd name="T88" fmla="*/ 2147483647 w 70"/>
                <a:gd name="T89" fmla="*/ 2147483647 h 40"/>
                <a:gd name="T90" fmla="*/ 2147483647 w 70"/>
                <a:gd name="T91" fmla="*/ 2147483647 h 40"/>
                <a:gd name="T92" fmla="*/ 2147483647 w 70"/>
                <a:gd name="T93" fmla="*/ 2147483647 h 40"/>
                <a:gd name="T94" fmla="*/ 2147483647 w 70"/>
                <a:gd name="T95" fmla="*/ 2147483647 h 40"/>
                <a:gd name="T96" fmla="*/ 2147483647 w 70"/>
                <a:gd name="T97" fmla="*/ 2147483647 h 40"/>
                <a:gd name="T98" fmla="*/ 2147483647 w 70"/>
                <a:gd name="T99" fmla="*/ 2147483647 h 40"/>
                <a:gd name="T100" fmla="*/ 2147483647 w 70"/>
                <a:gd name="T101" fmla="*/ 2147483647 h 40"/>
                <a:gd name="T102" fmla="*/ 2147483647 w 70"/>
                <a:gd name="T103" fmla="*/ 2147483647 h 40"/>
                <a:gd name="T104" fmla="*/ 2147483647 w 70"/>
                <a:gd name="T105" fmla="*/ 2147483647 h 40"/>
                <a:gd name="T106" fmla="*/ 2147483647 w 70"/>
                <a:gd name="T107" fmla="*/ 2147483647 h 40"/>
                <a:gd name="T108" fmla="*/ 2147483647 w 70"/>
                <a:gd name="T109" fmla="*/ 2147483647 h 40"/>
                <a:gd name="T110" fmla="*/ 2147483647 w 70"/>
                <a:gd name="T111" fmla="*/ 2147483647 h 40"/>
                <a:gd name="T112" fmla="*/ 2147483647 w 70"/>
                <a:gd name="T113" fmla="*/ 2147483647 h 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0"/>
                <a:gd name="T172" fmla="*/ 0 h 40"/>
                <a:gd name="T173" fmla="*/ 70 w 70"/>
                <a:gd name="T174" fmla="*/ 40 h 4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0" h="40">
                  <a:moveTo>
                    <a:pt x="70" y="14"/>
                  </a:moveTo>
                  <a:lnTo>
                    <a:pt x="70" y="14"/>
                  </a:lnTo>
                  <a:lnTo>
                    <a:pt x="62" y="12"/>
                  </a:lnTo>
                  <a:lnTo>
                    <a:pt x="60" y="8"/>
                  </a:lnTo>
                  <a:lnTo>
                    <a:pt x="58" y="4"/>
                  </a:lnTo>
                  <a:lnTo>
                    <a:pt x="42" y="0"/>
                  </a:lnTo>
                  <a:lnTo>
                    <a:pt x="34" y="2"/>
                  </a:lnTo>
                  <a:lnTo>
                    <a:pt x="28" y="6"/>
                  </a:lnTo>
                  <a:lnTo>
                    <a:pt x="10" y="4"/>
                  </a:lnTo>
                  <a:lnTo>
                    <a:pt x="10" y="6"/>
                  </a:lnTo>
                  <a:lnTo>
                    <a:pt x="6" y="8"/>
                  </a:lnTo>
                  <a:lnTo>
                    <a:pt x="2" y="8"/>
                  </a:lnTo>
                  <a:lnTo>
                    <a:pt x="2" y="12"/>
                  </a:lnTo>
                  <a:lnTo>
                    <a:pt x="0" y="16"/>
                  </a:lnTo>
                  <a:lnTo>
                    <a:pt x="0" y="20"/>
                  </a:lnTo>
                  <a:lnTo>
                    <a:pt x="4" y="20"/>
                  </a:lnTo>
                  <a:lnTo>
                    <a:pt x="10" y="22"/>
                  </a:lnTo>
                  <a:lnTo>
                    <a:pt x="12" y="24"/>
                  </a:lnTo>
                  <a:lnTo>
                    <a:pt x="16" y="26"/>
                  </a:lnTo>
                  <a:lnTo>
                    <a:pt x="20" y="28"/>
                  </a:lnTo>
                  <a:lnTo>
                    <a:pt x="22" y="28"/>
                  </a:lnTo>
                  <a:lnTo>
                    <a:pt x="22" y="36"/>
                  </a:lnTo>
                  <a:lnTo>
                    <a:pt x="24" y="36"/>
                  </a:lnTo>
                  <a:lnTo>
                    <a:pt x="24" y="40"/>
                  </a:lnTo>
                  <a:lnTo>
                    <a:pt x="26" y="40"/>
                  </a:lnTo>
                  <a:lnTo>
                    <a:pt x="28" y="38"/>
                  </a:lnTo>
                  <a:lnTo>
                    <a:pt x="28" y="32"/>
                  </a:lnTo>
                  <a:lnTo>
                    <a:pt x="28" y="28"/>
                  </a:lnTo>
                  <a:lnTo>
                    <a:pt x="36" y="24"/>
                  </a:lnTo>
                  <a:lnTo>
                    <a:pt x="40" y="24"/>
                  </a:lnTo>
                  <a:lnTo>
                    <a:pt x="42" y="26"/>
                  </a:lnTo>
                  <a:lnTo>
                    <a:pt x="46" y="26"/>
                  </a:lnTo>
                  <a:lnTo>
                    <a:pt x="48" y="26"/>
                  </a:lnTo>
                  <a:lnTo>
                    <a:pt x="54" y="24"/>
                  </a:lnTo>
                  <a:lnTo>
                    <a:pt x="56" y="22"/>
                  </a:lnTo>
                  <a:lnTo>
                    <a:pt x="58" y="20"/>
                  </a:lnTo>
                  <a:lnTo>
                    <a:pt x="62" y="18"/>
                  </a:lnTo>
                  <a:lnTo>
                    <a:pt x="70" y="16"/>
                  </a:lnTo>
                  <a:lnTo>
                    <a:pt x="70" y="1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7" name="Freeform 619">
              <a:extLst>
                <a:ext uri="{FF2B5EF4-FFF2-40B4-BE49-F238E27FC236}">
                  <a16:creationId xmlns:a16="http://schemas.microsoft.com/office/drawing/2014/main" id="{75838DAC-C22B-4323-8179-0ACF945B9BAE}"/>
                </a:ext>
              </a:extLst>
            </p:cNvPr>
            <p:cNvSpPr>
              <a:spLocks noEditPoints="1"/>
            </p:cNvSpPr>
            <p:nvPr/>
          </p:nvSpPr>
          <p:spPr bwMode="gray">
            <a:xfrm>
              <a:off x="1029089" y="3709705"/>
              <a:ext cx="7547511" cy="89461"/>
            </a:xfrm>
            <a:custGeom>
              <a:avLst/>
              <a:gdLst>
                <a:gd name="T0" fmla="*/ 2147483647 w 4078"/>
                <a:gd name="T1" fmla="*/ 2147483647 h 48"/>
                <a:gd name="T2" fmla="*/ 2147483647 w 4078"/>
                <a:gd name="T3" fmla="*/ 2147483647 h 48"/>
                <a:gd name="T4" fmla="*/ 2147483647 w 4078"/>
                <a:gd name="T5" fmla="*/ 2147483647 h 48"/>
                <a:gd name="T6" fmla="*/ 2147483647 w 4078"/>
                <a:gd name="T7" fmla="*/ 2147483647 h 48"/>
                <a:gd name="T8" fmla="*/ 2147483647 w 4078"/>
                <a:gd name="T9" fmla="*/ 2147483647 h 48"/>
                <a:gd name="T10" fmla="*/ 2147483647 w 4078"/>
                <a:gd name="T11" fmla="*/ 2147483647 h 48"/>
                <a:gd name="T12" fmla="*/ 2147483647 w 4078"/>
                <a:gd name="T13" fmla="*/ 2147483647 h 48"/>
                <a:gd name="T14" fmla="*/ 2147483647 w 4078"/>
                <a:gd name="T15" fmla="*/ 2147483647 h 48"/>
                <a:gd name="T16" fmla="*/ 2147483647 w 4078"/>
                <a:gd name="T17" fmla="*/ 2147483647 h 48"/>
                <a:gd name="T18" fmla="*/ 2147483647 w 4078"/>
                <a:gd name="T19" fmla="*/ 2147483647 h 48"/>
                <a:gd name="T20" fmla="*/ 2147483647 w 4078"/>
                <a:gd name="T21" fmla="*/ 2147483647 h 48"/>
                <a:gd name="T22" fmla="*/ 2147483647 w 4078"/>
                <a:gd name="T23" fmla="*/ 2147483647 h 48"/>
                <a:gd name="T24" fmla="*/ 2147483647 w 4078"/>
                <a:gd name="T25" fmla="*/ 2147483647 h 48"/>
                <a:gd name="T26" fmla="*/ 2147483647 w 4078"/>
                <a:gd name="T27" fmla="*/ 2147483647 h 48"/>
                <a:gd name="T28" fmla="*/ 2147483647 w 4078"/>
                <a:gd name="T29" fmla="*/ 2147483647 h 48"/>
                <a:gd name="T30" fmla="*/ 2147483647 w 4078"/>
                <a:gd name="T31" fmla="*/ 2147483647 h 48"/>
                <a:gd name="T32" fmla="*/ 2147483647 w 4078"/>
                <a:gd name="T33" fmla="*/ 2147483647 h 48"/>
                <a:gd name="T34" fmla="*/ 2147483647 w 4078"/>
                <a:gd name="T35" fmla="*/ 2147483647 h 48"/>
                <a:gd name="T36" fmla="*/ 2147483647 w 4078"/>
                <a:gd name="T37" fmla="*/ 2147483647 h 48"/>
                <a:gd name="T38" fmla="*/ 2147483647 w 4078"/>
                <a:gd name="T39" fmla="*/ 2147483647 h 48"/>
                <a:gd name="T40" fmla="*/ 2147483647 w 4078"/>
                <a:gd name="T41" fmla="*/ 2147483647 h 48"/>
                <a:gd name="T42" fmla="*/ 2147483647 w 4078"/>
                <a:gd name="T43" fmla="*/ 2147483647 h 48"/>
                <a:gd name="T44" fmla="*/ 2147483647 w 4078"/>
                <a:gd name="T45" fmla="*/ 2147483647 h 48"/>
                <a:gd name="T46" fmla="*/ 2147483647 w 4078"/>
                <a:gd name="T47" fmla="*/ 2147483647 h 48"/>
                <a:gd name="T48" fmla="*/ 2147483647 w 4078"/>
                <a:gd name="T49" fmla="*/ 2147483647 h 48"/>
                <a:gd name="T50" fmla="*/ 2147483647 w 4078"/>
                <a:gd name="T51" fmla="*/ 2147483647 h 48"/>
                <a:gd name="T52" fmla="*/ 2147483647 w 4078"/>
                <a:gd name="T53" fmla="*/ 2147483647 h 48"/>
                <a:gd name="T54" fmla="*/ 2147483647 w 4078"/>
                <a:gd name="T55" fmla="*/ 2147483647 h 48"/>
                <a:gd name="T56" fmla="*/ 2147483647 w 4078"/>
                <a:gd name="T57" fmla="*/ 2147483647 h 48"/>
                <a:gd name="T58" fmla="*/ 2147483647 w 4078"/>
                <a:gd name="T59" fmla="*/ 2147483647 h 48"/>
                <a:gd name="T60" fmla="*/ 2147483647 w 4078"/>
                <a:gd name="T61" fmla="*/ 2147483647 h 48"/>
                <a:gd name="T62" fmla="*/ 2147483647 w 4078"/>
                <a:gd name="T63" fmla="*/ 2147483647 h 48"/>
                <a:gd name="T64" fmla="*/ 2147483647 w 4078"/>
                <a:gd name="T65" fmla="*/ 2147483647 h 48"/>
                <a:gd name="T66" fmla="*/ 2147483647 w 4078"/>
                <a:gd name="T67" fmla="*/ 2147483647 h 48"/>
                <a:gd name="T68" fmla="*/ 2147483647 w 4078"/>
                <a:gd name="T69" fmla="*/ 2147483647 h 48"/>
                <a:gd name="T70" fmla="*/ 2147483647 w 4078"/>
                <a:gd name="T71" fmla="*/ 2147483647 h 48"/>
                <a:gd name="T72" fmla="*/ 2147483647 w 4078"/>
                <a:gd name="T73" fmla="*/ 2147483647 h 48"/>
                <a:gd name="T74" fmla="*/ 2147483647 w 4078"/>
                <a:gd name="T75" fmla="*/ 2147483647 h 48"/>
                <a:gd name="T76" fmla="*/ 2147483647 w 4078"/>
                <a:gd name="T77" fmla="*/ 2147483647 h 48"/>
                <a:gd name="T78" fmla="*/ 2147483647 w 4078"/>
                <a:gd name="T79" fmla="*/ 2147483647 h 48"/>
                <a:gd name="T80" fmla="*/ 2147483647 w 4078"/>
                <a:gd name="T81" fmla="*/ 2147483647 h 48"/>
                <a:gd name="T82" fmla="*/ 2147483647 w 4078"/>
                <a:gd name="T83" fmla="*/ 2147483647 h 48"/>
                <a:gd name="T84" fmla="*/ 2147483647 w 4078"/>
                <a:gd name="T85" fmla="*/ 2147483647 h 48"/>
                <a:gd name="T86" fmla="*/ 2147483647 w 4078"/>
                <a:gd name="T87" fmla="*/ 2147483647 h 48"/>
                <a:gd name="T88" fmla="*/ 2147483647 w 4078"/>
                <a:gd name="T89" fmla="*/ 2147483647 h 48"/>
                <a:gd name="T90" fmla="*/ 2147483647 w 4078"/>
                <a:gd name="T91" fmla="*/ 2147483647 h 48"/>
                <a:gd name="T92" fmla="*/ 2147483647 w 4078"/>
                <a:gd name="T93" fmla="*/ 2147483647 h 48"/>
                <a:gd name="T94" fmla="*/ 2147483647 w 4078"/>
                <a:gd name="T95" fmla="*/ 2147483647 h 48"/>
                <a:gd name="T96" fmla="*/ 2147483647 w 4078"/>
                <a:gd name="T97" fmla="*/ 2147483647 h 48"/>
                <a:gd name="T98" fmla="*/ 2147483647 w 4078"/>
                <a:gd name="T99" fmla="*/ 2147483647 h 48"/>
                <a:gd name="T100" fmla="*/ 2147483647 w 4078"/>
                <a:gd name="T101" fmla="*/ 2147483647 h 48"/>
                <a:gd name="T102" fmla="*/ 2147483647 w 4078"/>
                <a:gd name="T103" fmla="*/ 0 h 48"/>
                <a:gd name="T104" fmla="*/ 2147483647 w 4078"/>
                <a:gd name="T105" fmla="*/ 0 h 48"/>
                <a:gd name="T106" fmla="*/ 0 w 4078"/>
                <a:gd name="T107" fmla="*/ 2147483647 h 48"/>
                <a:gd name="T108" fmla="*/ 0 w 4078"/>
                <a:gd name="T109" fmla="*/ 2147483647 h 48"/>
                <a:gd name="T110" fmla="*/ 2147483647 w 4078"/>
                <a:gd name="T111" fmla="*/ 2147483647 h 48"/>
                <a:gd name="T112" fmla="*/ 2147483647 w 4078"/>
                <a:gd name="T113" fmla="*/ 2147483647 h 48"/>
                <a:gd name="T114" fmla="*/ 2147483647 w 4078"/>
                <a:gd name="T115" fmla="*/ 2147483647 h 48"/>
                <a:gd name="T116" fmla="*/ 2147483647 w 4078"/>
                <a:gd name="T117" fmla="*/ 2147483647 h 48"/>
                <a:gd name="T118" fmla="*/ 2147483647 w 4078"/>
                <a:gd name="T119" fmla="*/ 0 h 48"/>
                <a:gd name="T120" fmla="*/ 2147483647 w 4078"/>
                <a:gd name="T121" fmla="*/ 0 h 48"/>
                <a:gd name="T122" fmla="*/ 2147483647 w 4078"/>
                <a:gd name="T123" fmla="*/ 0 h 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8"/>
                <a:gd name="T187" fmla="*/ 0 h 48"/>
                <a:gd name="T188" fmla="*/ 4078 w 4078"/>
                <a:gd name="T189" fmla="*/ 48 h 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8" h="48">
                  <a:moveTo>
                    <a:pt x="4074" y="14"/>
                  </a:moveTo>
                  <a:lnTo>
                    <a:pt x="4074" y="14"/>
                  </a:lnTo>
                  <a:lnTo>
                    <a:pt x="4074" y="16"/>
                  </a:lnTo>
                  <a:lnTo>
                    <a:pt x="4076" y="18"/>
                  </a:lnTo>
                  <a:lnTo>
                    <a:pt x="4078" y="16"/>
                  </a:lnTo>
                  <a:lnTo>
                    <a:pt x="4076" y="14"/>
                  </a:lnTo>
                  <a:lnTo>
                    <a:pt x="4074" y="14"/>
                  </a:lnTo>
                  <a:close/>
                  <a:moveTo>
                    <a:pt x="50" y="34"/>
                  </a:moveTo>
                  <a:lnTo>
                    <a:pt x="50" y="34"/>
                  </a:lnTo>
                  <a:lnTo>
                    <a:pt x="48" y="36"/>
                  </a:lnTo>
                  <a:lnTo>
                    <a:pt x="46" y="38"/>
                  </a:lnTo>
                  <a:lnTo>
                    <a:pt x="46" y="40"/>
                  </a:lnTo>
                  <a:lnTo>
                    <a:pt x="46" y="44"/>
                  </a:lnTo>
                  <a:lnTo>
                    <a:pt x="48" y="46"/>
                  </a:lnTo>
                  <a:lnTo>
                    <a:pt x="50" y="48"/>
                  </a:lnTo>
                  <a:lnTo>
                    <a:pt x="50" y="46"/>
                  </a:lnTo>
                  <a:lnTo>
                    <a:pt x="58" y="40"/>
                  </a:lnTo>
                  <a:lnTo>
                    <a:pt x="56" y="38"/>
                  </a:lnTo>
                  <a:lnTo>
                    <a:pt x="54" y="34"/>
                  </a:lnTo>
                  <a:lnTo>
                    <a:pt x="50" y="34"/>
                  </a:lnTo>
                  <a:close/>
                  <a:moveTo>
                    <a:pt x="40" y="18"/>
                  </a:moveTo>
                  <a:lnTo>
                    <a:pt x="40" y="18"/>
                  </a:lnTo>
                  <a:lnTo>
                    <a:pt x="42" y="24"/>
                  </a:lnTo>
                  <a:lnTo>
                    <a:pt x="44" y="22"/>
                  </a:lnTo>
                  <a:lnTo>
                    <a:pt x="44" y="20"/>
                  </a:lnTo>
                  <a:lnTo>
                    <a:pt x="40" y="18"/>
                  </a:lnTo>
                  <a:close/>
                  <a:moveTo>
                    <a:pt x="22" y="6"/>
                  </a:moveTo>
                  <a:lnTo>
                    <a:pt x="22" y="6"/>
                  </a:lnTo>
                  <a:lnTo>
                    <a:pt x="20" y="8"/>
                  </a:lnTo>
                  <a:lnTo>
                    <a:pt x="20" y="10"/>
                  </a:lnTo>
                  <a:lnTo>
                    <a:pt x="24" y="12"/>
                  </a:lnTo>
                  <a:lnTo>
                    <a:pt x="26" y="12"/>
                  </a:lnTo>
                  <a:lnTo>
                    <a:pt x="26" y="10"/>
                  </a:lnTo>
                  <a:lnTo>
                    <a:pt x="22" y="6"/>
                  </a:lnTo>
                  <a:close/>
                  <a:moveTo>
                    <a:pt x="2" y="0"/>
                  </a:moveTo>
                  <a:lnTo>
                    <a:pt x="2" y="0"/>
                  </a:lnTo>
                  <a:lnTo>
                    <a:pt x="0" y="4"/>
                  </a:lnTo>
                  <a:lnTo>
                    <a:pt x="6" y="6"/>
                  </a:lnTo>
                  <a:lnTo>
                    <a:pt x="4" y="4"/>
                  </a:lnTo>
                  <a:lnTo>
                    <a:pt x="6" y="2"/>
                  </a:lnTo>
                  <a:lnTo>
                    <a:pt x="4"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8" name="Freeform 620">
              <a:extLst>
                <a:ext uri="{FF2B5EF4-FFF2-40B4-BE49-F238E27FC236}">
                  <a16:creationId xmlns:a16="http://schemas.microsoft.com/office/drawing/2014/main" id="{91D3DD43-BCFC-45CD-9A3F-4B12026666D6}"/>
                </a:ext>
              </a:extLst>
            </p:cNvPr>
            <p:cNvSpPr>
              <a:spLocks/>
            </p:cNvSpPr>
            <p:nvPr/>
          </p:nvSpPr>
          <p:spPr bwMode="gray">
            <a:xfrm>
              <a:off x="2825332" y="3775625"/>
              <a:ext cx="58855" cy="42377"/>
            </a:xfrm>
            <a:custGeom>
              <a:avLst/>
              <a:gdLst>
                <a:gd name="T0" fmla="*/ 2147483647 w 32"/>
                <a:gd name="T1" fmla="*/ 2147483647 h 22"/>
                <a:gd name="T2" fmla="*/ 2147483647 w 32"/>
                <a:gd name="T3" fmla="*/ 2147483647 h 22"/>
                <a:gd name="T4" fmla="*/ 2147483647 w 32"/>
                <a:gd name="T5" fmla="*/ 2147483647 h 22"/>
                <a:gd name="T6" fmla="*/ 2147483647 w 32"/>
                <a:gd name="T7" fmla="*/ 2147483647 h 22"/>
                <a:gd name="T8" fmla="*/ 2147483647 w 32"/>
                <a:gd name="T9" fmla="*/ 2147483647 h 22"/>
                <a:gd name="T10" fmla="*/ 2147483647 w 32"/>
                <a:gd name="T11" fmla="*/ 2147483647 h 22"/>
                <a:gd name="T12" fmla="*/ 2147483647 w 32"/>
                <a:gd name="T13" fmla="*/ 2147483647 h 22"/>
                <a:gd name="T14" fmla="*/ 2147483647 w 32"/>
                <a:gd name="T15" fmla="*/ 0 h 22"/>
                <a:gd name="T16" fmla="*/ 2147483647 w 32"/>
                <a:gd name="T17" fmla="*/ 0 h 22"/>
                <a:gd name="T18" fmla="*/ 2147483647 w 32"/>
                <a:gd name="T19" fmla="*/ 0 h 22"/>
                <a:gd name="T20" fmla="*/ 2147483647 w 32"/>
                <a:gd name="T21" fmla="*/ 0 h 22"/>
                <a:gd name="T22" fmla="*/ 2147483647 w 32"/>
                <a:gd name="T23" fmla="*/ 2147483647 h 22"/>
                <a:gd name="T24" fmla="*/ 2147483647 w 32"/>
                <a:gd name="T25" fmla="*/ 2147483647 h 22"/>
                <a:gd name="T26" fmla="*/ 2147483647 w 32"/>
                <a:gd name="T27" fmla="*/ 2147483647 h 22"/>
                <a:gd name="T28" fmla="*/ 2147483647 w 32"/>
                <a:gd name="T29" fmla="*/ 2147483647 h 22"/>
                <a:gd name="T30" fmla="*/ 2147483647 w 32"/>
                <a:gd name="T31" fmla="*/ 2147483647 h 22"/>
                <a:gd name="T32" fmla="*/ 2147483647 w 32"/>
                <a:gd name="T33" fmla="*/ 2147483647 h 22"/>
                <a:gd name="T34" fmla="*/ 2147483647 w 32"/>
                <a:gd name="T35" fmla="*/ 2147483647 h 22"/>
                <a:gd name="T36" fmla="*/ 2147483647 w 32"/>
                <a:gd name="T37" fmla="*/ 2147483647 h 22"/>
                <a:gd name="T38" fmla="*/ 2147483647 w 32"/>
                <a:gd name="T39" fmla="*/ 2147483647 h 22"/>
                <a:gd name="T40" fmla="*/ 2147483647 w 32"/>
                <a:gd name="T41" fmla="*/ 2147483647 h 22"/>
                <a:gd name="T42" fmla="*/ 2147483647 w 32"/>
                <a:gd name="T43" fmla="*/ 2147483647 h 22"/>
                <a:gd name="T44" fmla="*/ 2147483647 w 32"/>
                <a:gd name="T45" fmla="*/ 2147483647 h 22"/>
                <a:gd name="T46" fmla="*/ 2147483647 w 32"/>
                <a:gd name="T47" fmla="*/ 2147483647 h 22"/>
                <a:gd name="T48" fmla="*/ 2147483647 w 32"/>
                <a:gd name="T49" fmla="*/ 2147483647 h 22"/>
                <a:gd name="T50" fmla="*/ 2147483647 w 32"/>
                <a:gd name="T51" fmla="*/ 2147483647 h 22"/>
                <a:gd name="T52" fmla="*/ 0 w 32"/>
                <a:gd name="T53" fmla="*/ 2147483647 h 22"/>
                <a:gd name="T54" fmla="*/ 0 w 32"/>
                <a:gd name="T55" fmla="*/ 2147483647 h 22"/>
                <a:gd name="T56" fmla="*/ 2147483647 w 32"/>
                <a:gd name="T57" fmla="*/ 2147483647 h 22"/>
                <a:gd name="T58" fmla="*/ 2147483647 w 32"/>
                <a:gd name="T59" fmla="*/ 2147483647 h 22"/>
                <a:gd name="T60" fmla="*/ 2147483647 w 32"/>
                <a:gd name="T61" fmla="*/ 2147483647 h 22"/>
                <a:gd name="T62" fmla="*/ 2147483647 w 32"/>
                <a:gd name="T63" fmla="*/ 2147483647 h 22"/>
                <a:gd name="T64" fmla="*/ 2147483647 w 32"/>
                <a:gd name="T65" fmla="*/ 2147483647 h 22"/>
                <a:gd name="T66" fmla="*/ 2147483647 w 32"/>
                <a:gd name="T67" fmla="*/ 2147483647 h 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2"/>
                <a:gd name="T103" fmla="*/ 0 h 22"/>
                <a:gd name="T104" fmla="*/ 32 w 32"/>
                <a:gd name="T105" fmla="*/ 22 h 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2" h="22">
                  <a:moveTo>
                    <a:pt x="32" y="22"/>
                  </a:moveTo>
                  <a:lnTo>
                    <a:pt x="32" y="22"/>
                  </a:lnTo>
                  <a:lnTo>
                    <a:pt x="32" y="18"/>
                  </a:lnTo>
                  <a:lnTo>
                    <a:pt x="28" y="14"/>
                  </a:lnTo>
                  <a:lnTo>
                    <a:pt x="30" y="12"/>
                  </a:lnTo>
                  <a:lnTo>
                    <a:pt x="30" y="8"/>
                  </a:lnTo>
                  <a:lnTo>
                    <a:pt x="30" y="0"/>
                  </a:lnTo>
                  <a:lnTo>
                    <a:pt x="16" y="0"/>
                  </a:lnTo>
                  <a:lnTo>
                    <a:pt x="20" y="2"/>
                  </a:lnTo>
                  <a:lnTo>
                    <a:pt x="18" y="6"/>
                  </a:lnTo>
                  <a:lnTo>
                    <a:pt x="20" y="12"/>
                  </a:lnTo>
                  <a:lnTo>
                    <a:pt x="24" y="12"/>
                  </a:lnTo>
                  <a:lnTo>
                    <a:pt x="24" y="14"/>
                  </a:lnTo>
                  <a:lnTo>
                    <a:pt x="22" y="18"/>
                  </a:lnTo>
                  <a:lnTo>
                    <a:pt x="10" y="16"/>
                  </a:lnTo>
                  <a:lnTo>
                    <a:pt x="6" y="16"/>
                  </a:lnTo>
                  <a:lnTo>
                    <a:pt x="2" y="14"/>
                  </a:lnTo>
                  <a:lnTo>
                    <a:pt x="0" y="20"/>
                  </a:lnTo>
                  <a:lnTo>
                    <a:pt x="2" y="22"/>
                  </a:lnTo>
                  <a:lnTo>
                    <a:pt x="4" y="22"/>
                  </a:lnTo>
                  <a:lnTo>
                    <a:pt x="32" y="2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59" name="Freeform 621">
              <a:extLst>
                <a:ext uri="{FF2B5EF4-FFF2-40B4-BE49-F238E27FC236}">
                  <a16:creationId xmlns:a16="http://schemas.microsoft.com/office/drawing/2014/main" id="{43ECE88B-8AD7-447F-880D-5717842D9B6A}"/>
                </a:ext>
              </a:extLst>
            </p:cNvPr>
            <p:cNvSpPr>
              <a:spLocks/>
            </p:cNvSpPr>
            <p:nvPr/>
          </p:nvSpPr>
          <p:spPr bwMode="gray">
            <a:xfrm>
              <a:off x="3086645" y="4072266"/>
              <a:ext cx="101229" cy="200114"/>
            </a:xfrm>
            <a:custGeom>
              <a:avLst/>
              <a:gdLst>
                <a:gd name="T0" fmla="*/ 2147483647 w 54"/>
                <a:gd name="T1" fmla="*/ 2147483647 h 108"/>
                <a:gd name="T2" fmla="*/ 2147483647 w 54"/>
                <a:gd name="T3" fmla="*/ 2147483647 h 108"/>
                <a:gd name="T4" fmla="*/ 2147483647 w 54"/>
                <a:gd name="T5" fmla="*/ 2147483647 h 108"/>
                <a:gd name="T6" fmla="*/ 2147483647 w 54"/>
                <a:gd name="T7" fmla="*/ 2147483647 h 108"/>
                <a:gd name="T8" fmla="*/ 2147483647 w 54"/>
                <a:gd name="T9" fmla="*/ 2147483647 h 108"/>
                <a:gd name="T10" fmla="*/ 2147483647 w 54"/>
                <a:gd name="T11" fmla="*/ 2147483647 h 108"/>
                <a:gd name="T12" fmla="*/ 2147483647 w 54"/>
                <a:gd name="T13" fmla="*/ 2147483647 h 108"/>
                <a:gd name="T14" fmla="*/ 2147483647 w 54"/>
                <a:gd name="T15" fmla="*/ 2147483647 h 108"/>
                <a:gd name="T16" fmla="*/ 2147483647 w 54"/>
                <a:gd name="T17" fmla="*/ 2147483647 h 108"/>
                <a:gd name="T18" fmla="*/ 2147483647 w 54"/>
                <a:gd name="T19" fmla="*/ 2147483647 h 108"/>
                <a:gd name="T20" fmla="*/ 2147483647 w 54"/>
                <a:gd name="T21" fmla="*/ 0 h 108"/>
                <a:gd name="T22" fmla="*/ 2147483647 w 54"/>
                <a:gd name="T23" fmla="*/ 2147483647 h 108"/>
                <a:gd name="T24" fmla="*/ 2147483647 w 54"/>
                <a:gd name="T25" fmla="*/ 2147483647 h 108"/>
                <a:gd name="T26" fmla="*/ 2147483647 w 54"/>
                <a:gd name="T27" fmla="*/ 2147483647 h 108"/>
                <a:gd name="T28" fmla="*/ 2147483647 w 54"/>
                <a:gd name="T29" fmla="*/ 2147483647 h 108"/>
                <a:gd name="T30" fmla="*/ 2147483647 w 54"/>
                <a:gd name="T31" fmla="*/ 2147483647 h 108"/>
                <a:gd name="T32" fmla="*/ 2147483647 w 54"/>
                <a:gd name="T33" fmla="*/ 2147483647 h 108"/>
                <a:gd name="T34" fmla="*/ 2147483647 w 54"/>
                <a:gd name="T35" fmla="*/ 2147483647 h 108"/>
                <a:gd name="T36" fmla="*/ 2147483647 w 54"/>
                <a:gd name="T37" fmla="*/ 2147483647 h 108"/>
                <a:gd name="T38" fmla="*/ 0 w 54"/>
                <a:gd name="T39" fmla="*/ 2147483647 h 108"/>
                <a:gd name="T40" fmla="*/ 2147483647 w 54"/>
                <a:gd name="T41" fmla="*/ 2147483647 h 108"/>
                <a:gd name="T42" fmla="*/ 2147483647 w 54"/>
                <a:gd name="T43" fmla="*/ 2147483647 h 108"/>
                <a:gd name="T44" fmla="*/ 2147483647 w 54"/>
                <a:gd name="T45" fmla="*/ 2147483647 h 108"/>
                <a:gd name="T46" fmla="*/ 2147483647 w 54"/>
                <a:gd name="T47" fmla="*/ 2147483647 h 108"/>
                <a:gd name="T48" fmla="*/ 2147483647 w 54"/>
                <a:gd name="T49" fmla="*/ 2147483647 h 108"/>
                <a:gd name="T50" fmla="*/ 2147483647 w 54"/>
                <a:gd name="T51" fmla="*/ 2147483647 h 108"/>
                <a:gd name="T52" fmla="*/ 2147483647 w 54"/>
                <a:gd name="T53" fmla="*/ 2147483647 h 108"/>
                <a:gd name="T54" fmla="*/ 2147483647 w 54"/>
                <a:gd name="T55" fmla="*/ 2147483647 h 108"/>
                <a:gd name="T56" fmla="*/ 2147483647 w 54"/>
                <a:gd name="T57" fmla="*/ 2147483647 h 108"/>
                <a:gd name="T58" fmla="*/ 2147483647 w 54"/>
                <a:gd name="T59" fmla="*/ 2147483647 h 108"/>
                <a:gd name="T60" fmla="*/ 2147483647 w 54"/>
                <a:gd name="T61" fmla="*/ 2147483647 h 108"/>
                <a:gd name="T62" fmla="*/ 2147483647 w 54"/>
                <a:gd name="T63" fmla="*/ 2147483647 h 108"/>
                <a:gd name="T64" fmla="*/ 2147483647 w 54"/>
                <a:gd name="T65" fmla="*/ 2147483647 h 108"/>
                <a:gd name="T66" fmla="*/ 2147483647 w 54"/>
                <a:gd name="T67" fmla="*/ 2147483647 h 108"/>
                <a:gd name="T68" fmla="*/ 2147483647 w 54"/>
                <a:gd name="T69" fmla="*/ 2147483647 h 108"/>
                <a:gd name="T70" fmla="*/ 2147483647 w 54"/>
                <a:gd name="T71" fmla="*/ 2147483647 h 108"/>
                <a:gd name="T72" fmla="*/ 2147483647 w 54"/>
                <a:gd name="T73" fmla="*/ 2147483647 h 108"/>
                <a:gd name="T74" fmla="*/ 2147483647 w 54"/>
                <a:gd name="T75" fmla="*/ 2147483647 h 108"/>
                <a:gd name="T76" fmla="*/ 2147483647 w 54"/>
                <a:gd name="T77" fmla="*/ 2147483647 h 108"/>
                <a:gd name="T78" fmla="*/ 2147483647 w 54"/>
                <a:gd name="T79" fmla="*/ 2147483647 h 108"/>
                <a:gd name="T80" fmla="*/ 2147483647 w 54"/>
                <a:gd name="T81" fmla="*/ 2147483647 h 108"/>
                <a:gd name="T82" fmla="*/ 2147483647 w 54"/>
                <a:gd name="T83" fmla="*/ 2147483647 h 108"/>
                <a:gd name="T84" fmla="*/ 2147483647 w 54"/>
                <a:gd name="T85" fmla="*/ 2147483647 h 108"/>
                <a:gd name="T86" fmla="*/ 2147483647 w 54"/>
                <a:gd name="T87" fmla="*/ 2147483647 h 1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
                <a:gd name="T133" fmla="*/ 0 h 108"/>
                <a:gd name="T134" fmla="*/ 54 w 54"/>
                <a:gd name="T135" fmla="*/ 108 h 10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 h="108">
                  <a:moveTo>
                    <a:pt x="54" y="36"/>
                  </a:moveTo>
                  <a:lnTo>
                    <a:pt x="54" y="36"/>
                  </a:lnTo>
                  <a:lnTo>
                    <a:pt x="54" y="30"/>
                  </a:lnTo>
                  <a:lnTo>
                    <a:pt x="54" y="28"/>
                  </a:lnTo>
                  <a:lnTo>
                    <a:pt x="54" y="26"/>
                  </a:lnTo>
                  <a:lnTo>
                    <a:pt x="50" y="26"/>
                  </a:lnTo>
                  <a:lnTo>
                    <a:pt x="48" y="26"/>
                  </a:lnTo>
                  <a:lnTo>
                    <a:pt x="44" y="20"/>
                  </a:lnTo>
                  <a:lnTo>
                    <a:pt x="40" y="22"/>
                  </a:lnTo>
                  <a:lnTo>
                    <a:pt x="38" y="22"/>
                  </a:lnTo>
                  <a:lnTo>
                    <a:pt x="38" y="30"/>
                  </a:lnTo>
                  <a:lnTo>
                    <a:pt x="36" y="30"/>
                  </a:lnTo>
                  <a:lnTo>
                    <a:pt x="34" y="28"/>
                  </a:lnTo>
                  <a:lnTo>
                    <a:pt x="32" y="30"/>
                  </a:lnTo>
                  <a:lnTo>
                    <a:pt x="36" y="20"/>
                  </a:lnTo>
                  <a:lnTo>
                    <a:pt x="38" y="10"/>
                  </a:lnTo>
                  <a:lnTo>
                    <a:pt x="34" y="10"/>
                  </a:lnTo>
                  <a:lnTo>
                    <a:pt x="32" y="10"/>
                  </a:lnTo>
                  <a:lnTo>
                    <a:pt x="32" y="6"/>
                  </a:lnTo>
                  <a:lnTo>
                    <a:pt x="26" y="6"/>
                  </a:lnTo>
                  <a:lnTo>
                    <a:pt x="26" y="2"/>
                  </a:lnTo>
                  <a:lnTo>
                    <a:pt x="24" y="0"/>
                  </a:lnTo>
                  <a:lnTo>
                    <a:pt x="20" y="0"/>
                  </a:lnTo>
                  <a:lnTo>
                    <a:pt x="20" y="4"/>
                  </a:lnTo>
                  <a:lnTo>
                    <a:pt x="18" y="6"/>
                  </a:lnTo>
                  <a:lnTo>
                    <a:pt x="12" y="8"/>
                  </a:lnTo>
                  <a:lnTo>
                    <a:pt x="8" y="10"/>
                  </a:lnTo>
                  <a:lnTo>
                    <a:pt x="8" y="12"/>
                  </a:lnTo>
                  <a:lnTo>
                    <a:pt x="10" y="14"/>
                  </a:lnTo>
                  <a:lnTo>
                    <a:pt x="12" y="16"/>
                  </a:lnTo>
                  <a:lnTo>
                    <a:pt x="12" y="20"/>
                  </a:lnTo>
                  <a:lnTo>
                    <a:pt x="14" y="20"/>
                  </a:lnTo>
                  <a:lnTo>
                    <a:pt x="16" y="20"/>
                  </a:lnTo>
                  <a:lnTo>
                    <a:pt x="16" y="22"/>
                  </a:lnTo>
                  <a:lnTo>
                    <a:pt x="14" y="24"/>
                  </a:lnTo>
                  <a:lnTo>
                    <a:pt x="12" y="26"/>
                  </a:lnTo>
                  <a:lnTo>
                    <a:pt x="6" y="26"/>
                  </a:lnTo>
                  <a:lnTo>
                    <a:pt x="4" y="26"/>
                  </a:lnTo>
                  <a:lnTo>
                    <a:pt x="4" y="28"/>
                  </a:lnTo>
                  <a:lnTo>
                    <a:pt x="6" y="32"/>
                  </a:lnTo>
                  <a:lnTo>
                    <a:pt x="0" y="34"/>
                  </a:lnTo>
                  <a:lnTo>
                    <a:pt x="10" y="48"/>
                  </a:lnTo>
                  <a:lnTo>
                    <a:pt x="14" y="50"/>
                  </a:lnTo>
                  <a:lnTo>
                    <a:pt x="20" y="50"/>
                  </a:lnTo>
                  <a:lnTo>
                    <a:pt x="22" y="52"/>
                  </a:lnTo>
                  <a:lnTo>
                    <a:pt x="22" y="54"/>
                  </a:lnTo>
                  <a:lnTo>
                    <a:pt x="18" y="58"/>
                  </a:lnTo>
                  <a:lnTo>
                    <a:pt x="24" y="60"/>
                  </a:lnTo>
                  <a:lnTo>
                    <a:pt x="26" y="60"/>
                  </a:lnTo>
                  <a:lnTo>
                    <a:pt x="24" y="62"/>
                  </a:lnTo>
                  <a:lnTo>
                    <a:pt x="24" y="64"/>
                  </a:lnTo>
                  <a:lnTo>
                    <a:pt x="24" y="66"/>
                  </a:lnTo>
                  <a:lnTo>
                    <a:pt x="26" y="68"/>
                  </a:lnTo>
                  <a:lnTo>
                    <a:pt x="24" y="70"/>
                  </a:lnTo>
                  <a:lnTo>
                    <a:pt x="18" y="74"/>
                  </a:lnTo>
                  <a:lnTo>
                    <a:pt x="18" y="82"/>
                  </a:lnTo>
                  <a:lnTo>
                    <a:pt x="18" y="92"/>
                  </a:lnTo>
                  <a:lnTo>
                    <a:pt x="18" y="94"/>
                  </a:lnTo>
                  <a:lnTo>
                    <a:pt x="18" y="96"/>
                  </a:lnTo>
                  <a:lnTo>
                    <a:pt x="20" y="100"/>
                  </a:lnTo>
                  <a:lnTo>
                    <a:pt x="24" y="102"/>
                  </a:lnTo>
                  <a:lnTo>
                    <a:pt x="26" y="104"/>
                  </a:lnTo>
                  <a:lnTo>
                    <a:pt x="28" y="106"/>
                  </a:lnTo>
                  <a:lnTo>
                    <a:pt x="30" y="108"/>
                  </a:lnTo>
                  <a:lnTo>
                    <a:pt x="34" y="106"/>
                  </a:lnTo>
                  <a:lnTo>
                    <a:pt x="34" y="104"/>
                  </a:lnTo>
                  <a:lnTo>
                    <a:pt x="36" y="104"/>
                  </a:lnTo>
                  <a:lnTo>
                    <a:pt x="38" y="104"/>
                  </a:lnTo>
                  <a:lnTo>
                    <a:pt x="38" y="102"/>
                  </a:lnTo>
                  <a:lnTo>
                    <a:pt x="38" y="100"/>
                  </a:lnTo>
                  <a:lnTo>
                    <a:pt x="40" y="100"/>
                  </a:lnTo>
                  <a:lnTo>
                    <a:pt x="42" y="98"/>
                  </a:lnTo>
                  <a:lnTo>
                    <a:pt x="44" y="98"/>
                  </a:lnTo>
                  <a:lnTo>
                    <a:pt x="48" y="98"/>
                  </a:lnTo>
                  <a:lnTo>
                    <a:pt x="50" y="98"/>
                  </a:lnTo>
                  <a:lnTo>
                    <a:pt x="48" y="92"/>
                  </a:lnTo>
                  <a:lnTo>
                    <a:pt x="46" y="82"/>
                  </a:lnTo>
                  <a:lnTo>
                    <a:pt x="48" y="78"/>
                  </a:lnTo>
                  <a:lnTo>
                    <a:pt x="46" y="74"/>
                  </a:lnTo>
                  <a:lnTo>
                    <a:pt x="44" y="72"/>
                  </a:lnTo>
                  <a:lnTo>
                    <a:pt x="44" y="64"/>
                  </a:lnTo>
                  <a:lnTo>
                    <a:pt x="44" y="58"/>
                  </a:lnTo>
                  <a:lnTo>
                    <a:pt x="42" y="56"/>
                  </a:lnTo>
                  <a:lnTo>
                    <a:pt x="44" y="56"/>
                  </a:lnTo>
                  <a:lnTo>
                    <a:pt x="46" y="52"/>
                  </a:lnTo>
                  <a:lnTo>
                    <a:pt x="50" y="50"/>
                  </a:lnTo>
                  <a:lnTo>
                    <a:pt x="50" y="42"/>
                  </a:lnTo>
                  <a:lnTo>
                    <a:pt x="54" y="3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0" name="Freeform 622">
              <a:extLst>
                <a:ext uri="{FF2B5EF4-FFF2-40B4-BE49-F238E27FC236}">
                  <a16:creationId xmlns:a16="http://schemas.microsoft.com/office/drawing/2014/main" id="{33167181-0140-423E-8E01-DFC16559DDC0}"/>
                </a:ext>
              </a:extLst>
            </p:cNvPr>
            <p:cNvSpPr>
              <a:spLocks/>
            </p:cNvSpPr>
            <p:nvPr/>
          </p:nvSpPr>
          <p:spPr bwMode="gray">
            <a:xfrm>
              <a:off x="4035382" y="3956904"/>
              <a:ext cx="58855" cy="49440"/>
            </a:xfrm>
            <a:custGeom>
              <a:avLst/>
              <a:gdLst>
                <a:gd name="T0" fmla="*/ 2147483647 w 32"/>
                <a:gd name="T1" fmla="*/ 2147483647 h 26"/>
                <a:gd name="T2" fmla="*/ 2147483647 w 32"/>
                <a:gd name="T3" fmla="*/ 2147483647 h 26"/>
                <a:gd name="T4" fmla="*/ 2147483647 w 32"/>
                <a:gd name="T5" fmla="*/ 2147483647 h 26"/>
                <a:gd name="T6" fmla="*/ 2147483647 w 32"/>
                <a:gd name="T7" fmla="*/ 2147483647 h 26"/>
                <a:gd name="T8" fmla="*/ 2147483647 w 32"/>
                <a:gd name="T9" fmla="*/ 2147483647 h 26"/>
                <a:gd name="T10" fmla="*/ 2147483647 w 32"/>
                <a:gd name="T11" fmla="*/ 2147483647 h 26"/>
                <a:gd name="T12" fmla="*/ 2147483647 w 32"/>
                <a:gd name="T13" fmla="*/ 2147483647 h 26"/>
                <a:gd name="T14" fmla="*/ 2147483647 w 32"/>
                <a:gd name="T15" fmla="*/ 2147483647 h 26"/>
                <a:gd name="T16" fmla="*/ 2147483647 w 32"/>
                <a:gd name="T17" fmla="*/ 2147483647 h 26"/>
                <a:gd name="T18" fmla="*/ 2147483647 w 32"/>
                <a:gd name="T19" fmla="*/ 2147483647 h 26"/>
                <a:gd name="T20" fmla="*/ 2147483647 w 32"/>
                <a:gd name="T21" fmla="*/ 2147483647 h 26"/>
                <a:gd name="T22" fmla="*/ 2147483647 w 32"/>
                <a:gd name="T23" fmla="*/ 2147483647 h 26"/>
                <a:gd name="T24" fmla="*/ 2147483647 w 32"/>
                <a:gd name="T25" fmla="*/ 2147483647 h 26"/>
                <a:gd name="T26" fmla="*/ 2147483647 w 32"/>
                <a:gd name="T27" fmla="*/ 2147483647 h 26"/>
                <a:gd name="T28" fmla="*/ 2147483647 w 32"/>
                <a:gd name="T29" fmla="*/ 2147483647 h 26"/>
                <a:gd name="T30" fmla="*/ 2147483647 w 32"/>
                <a:gd name="T31" fmla="*/ 2147483647 h 26"/>
                <a:gd name="T32" fmla="*/ 2147483647 w 32"/>
                <a:gd name="T33" fmla="*/ 2147483647 h 26"/>
                <a:gd name="T34" fmla="*/ 2147483647 w 32"/>
                <a:gd name="T35" fmla="*/ 2147483647 h 26"/>
                <a:gd name="T36" fmla="*/ 2147483647 w 32"/>
                <a:gd name="T37" fmla="*/ 2147483647 h 26"/>
                <a:gd name="T38" fmla="*/ 2147483647 w 32"/>
                <a:gd name="T39" fmla="*/ 2147483647 h 26"/>
                <a:gd name="T40" fmla="*/ 2147483647 w 32"/>
                <a:gd name="T41" fmla="*/ 2147483647 h 26"/>
                <a:gd name="T42" fmla="*/ 2147483647 w 32"/>
                <a:gd name="T43" fmla="*/ 2147483647 h 26"/>
                <a:gd name="T44" fmla="*/ 2147483647 w 32"/>
                <a:gd name="T45" fmla="*/ 2147483647 h 26"/>
                <a:gd name="T46" fmla="*/ 2147483647 w 32"/>
                <a:gd name="T47" fmla="*/ 2147483647 h 26"/>
                <a:gd name="T48" fmla="*/ 2147483647 w 32"/>
                <a:gd name="T49" fmla="*/ 2147483647 h 26"/>
                <a:gd name="T50" fmla="*/ 2147483647 w 32"/>
                <a:gd name="T51" fmla="*/ 2147483647 h 26"/>
                <a:gd name="T52" fmla="*/ 2147483647 w 32"/>
                <a:gd name="T53" fmla="*/ 2147483647 h 26"/>
                <a:gd name="T54" fmla="*/ 2147483647 w 32"/>
                <a:gd name="T55" fmla="*/ 2147483647 h 26"/>
                <a:gd name="T56" fmla="*/ 2147483647 w 32"/>
                <a:gd name="T57" fmla="*/ 2147483647 h 26"/>
                <a:gd name="T58" fmla="*/ 2147483647 w 32"/>
                <a:gd name="T59" fmla="*/ 2147483647 h 26"/>
                <a:gd name="T60" fmla="*/ 2147483647 w 32"/>
                <a:gd name="T61" fmla="*/ 2147483647 h 26"/>
                <a:gd name="T62" fmla="*/ 2147483647 w 32"/>
                <a:gd name="T63" fmla="*/ 0 h 26"/>
                <a:gd name="T64" fmla="*/ 2147483647 w 32"/>
                <a:gd name="T65" fmla="*/ 0 h 26"/>
                <a:gd name="T66" fmla="*/ 2147483647 w 32"/>
                <a:gd name="T67" fmla="*/ 0 h 26"/>
                <a:gd name="T68" fmla="*/ 2147483647 w 32"/>
                <a:gd name="T69" fmla="*/ 2147483647 h 26"/>
                <a:gd name="T70" fmla="*/ 0 w 32"/>
                <a:gd name="T71" fmla="*/ 2147483647 h 26"/>
                <a:gd name="T72" fmla="*/ 2147483647 w 32"/>
                <a:gd name="T73" fmla="*/ 2147483647 h 2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
                <a:gd name="T112" fmla="*/ 0 h 26"/>
                <a:gd name="T113" fmla="*/ 32 w 32"/>
                <a:gd name="T114" fmla="*/ 26 h 2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 h="26">
                  <a:moveTo>
                    <a:pt x="2" y="8"/>
                  </a:moveTo>
                  <a:lnTo>
                    <a:pt x="2" y="12"/>
                  </a:lnTo>
                  <a:lnTo>
                    <a:pt x="6" y="14"/>
                  </a:lnTo>
                  <a:lnTo>
                    <a:pt x="10" y="14"/>
                  </a:lnTo>
                  <a:lnTo>
                    <a:pt x="12" y="20"/>
                  </a:lnTo>
                  <a:lnTo>
                    <a:pt x="12" y="24"/>
                  </a:lnTo>
                  <a:lnTo>
                    <a:pt x="16" y="24"/>
                  </a:lnTo>
                  <a:lnTo>
                    <a:pt x="18" y="24"/>
                  </a:lnTo>
                  <a:lnTo>
                    <a:pt x="18" y="26"/>
                  </a:lnTo>
                  <a:lnTo>
                    <a:pt x="20" y="24"/>
                  </a:lnTo>
                  <a:lnTo>
                    <a:pt x="20" y="20"/>
                  </a:lnTo>
                  <a:lnTo>
                    <a:pt x="24" y="20"/>
                  </a:lnTo>
                  <a:lnTo>
                    <a:pt x="28" y="18"/>
                  </a:lnTo>
                  <a:lnTo>
                    <a:pt x="30" y="16"/>
                  </a:lnTo>
                  <a:lnTo>
                    <a:pt x="30" y="14"/>
                  </a:lnTo>
                  <a:lnTo>
                    <a:pt x="30" y="12"/>
                  </a:lnTo>
                  <a:lnTo>
                    <a:pt x="28" y="8"/>
                  </a:lnTo>
                  <a:lnTo>
                    <a:pt x="32" y="8"/>
                  </a:lnTo>
                  <a:lnTo>
                    <a:pt x="32" y="6"/>
                  </a:lnTo>
                  <a:lnTo>
                    <a:pt x="32" y="4"/>
                  </a:lnTo>
                  <a:lnTo>
                    <a:pt x="32" y="0"/>
                  </a:lnTo>
                  <a:lnTo>
                    <a:pt x="14" y="0"/>
                  </a:lnTo>
                  <a:lnTo>
                    <a:pt x="8" y="4"/>
                  </a:lnTo>
                  <a:lnTo>
                    <a:pt x="0" y="6"/>
                  </a:lnTo>
                  <a:lnTo>
                    <a:pt x="2"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1" name="Freeform 623">
              <a:extLst>
                <a:ext uri="{FF2B5EF4-FFF2-40B4-BE49-F238E27FC236}">
                  <a16:creationId xmlns:a16="http://schemas.microsoft.com/office/drawing/2014/main" id="{8B36CB6F-B9D6-40F6-A821-4A5E7A7E5102}"/>
                </a:ext>
              </a:extLst>
            </p:cNvPr>
            <p:cNvSpPr>
              <a:spLocks/>
            </p:cNvSpPr>
            <p:nvPr/>
          </p:nvSpPr>
          <p:spPr bwMode="gray">
            <a:xfrm>
              <a:off x="4068340" y="3956904"/>
              <a:ext cx="160084" cy="141257"/>
            </a:xfrm>
            <a:custGeom>
              <a:avLst/>
              <a:gdLst>
                <a:gd name="T0" fmla="*/ 2147483647 w 86"/>
                <a:gd name="T1" fmla="*/ 2147483647 h 76"/>
                <a:gd name="T2" fmla="*/ 2147483647 w 86"/>
                <a:gd name="T3" fmla="*/ 2147483647 h 76"/>
                <a:gd name="T4" fmla="*/ 2147483647 w 86"/>
                <a:gd name="T5" fmla="*/ 2147483647 h 76"/>
                <a:gd name="T6" fmla="*/ 2147483647 w 86"/>
                <a:gd name="T7" fmla="*/ 2147483647 h 76"/>
                <a:gd name="T8" fmla="*/ 2147483647 w 86"/>
                <a:gd name="T9" fmla="*/ 2147483647 h 76"/>
                <a:gd name="T10" fmla="*/ 2147483647 w 86"/>
                <a:gd name="T11" fmla="*/ 2147483647 h 76"/>
                <a:gd name="T12" fmla="*/ 2147483647 w 86"/>
                <a:gd name="T13" fmla="*/ 2147483647 h 76"/>
                <a:gd name="T14" fmla="*/ 2147483647 w 86"/>
                <a:gd name="T15" fmla="*/ 2147483647 h 76"/>
                <a:gd name="T16" fmla="*/ 2147483647 w 86"/>
                <a:gd name="T17" fmla="*/ 2147483647 h 76"/>
                <a:gd name="T18" fmla="*/ 2147483647 w 86"/>
                <a:gd name="T19" fmla="*/ 2147483647 h 76"/>
                <a:gd name="T20" fmla="*/ 2147483647 w 86"/>
                <a:gd name="T21" fmla="*/ 2147483647 h 76"/>
                <a:gd name="T22" fmla="*/ 2147483647 w 86"/>
                <a:gd name="T23" fmla="*/ 2147483647 h 76"/>
                <a:gd name="T24" fmla="*/ 2147483647 w 86"/>
                <a:gd name="T25" fmla="*/ 2147483647 h 76"/>
                <a:gd name="T26" fmla="*/ 2147483647 w 86"/>
                <a:gd name="T27" fmla="*/ 2147483647 h 76"/>
                <a:gd name="T28" fmla="*/ 2147483647 w 86"/>
                <a:gd name="T29" fmla="*/ 2147483647 h 76"/>
                <a:gd name="T30" fmla="*/ 2147483647 w 86"/>
                <a:gd name="T31" fmla="*/ 2147483647 h 76"/>
                <a:gd name="T32" fmla="*/ 2147483647 w 86"/>
                <a:gd name="T33" fmla="*/ 2147483647 h 76"/>
                <a:gd name="T34" fmla="*/ 2147483647 w 86"/>
                <a:gd name="T35" fmla="*/ 2147483647 h 76"/>
                <a:gd name="T36" fmla="*/ 2147483647 w 86"/>
                <a:gd name="T37" fmla="*/ 2147483647 h 76"/>
                <a:gd name="T38" fmla="*/ 2147483647 w 86"/>
                <a:gd name="T39" fmla="*/ 2147483647 h 76"/>
                <a:gd name="T40" fmla="*/ 2147483647 w 86"/>
                <a:gd name="T41" fmla="*/ 2147483647 h 76"/>
                <a:gd name="T42" fmla="*/ 2147483647 w 86"/>
                <a:gd name="T43" fmla="*/ 2147483647 h 76"/>
                <a:gd name="T44" fmla="*/ 2147483647 w 86"/>
                <a:gd name="T45" fmla="*/ 2147483647 h 76"/>
                <a:gd name="T46" fmla="*/ 2147483647 w 86"/>
                <a:gd name="T47" fmla="*/ 2147483647 h 76"/>
                <a:gd name="T48" fmla="*/ 2147483647 w 86"/>
                <a:gd name="T49" fmla="*/ 2147483647 h 76"/>
                <a:gd name="T50" fmla="*/ 2147483647 w 86"/>
                <a:gd name="T51" fmla="*/ 2147483647 h 76"/>
                <a:gd name="T52" fmla="*/ 2147483647 w 86"/>
                <a:gd name="T53" fmla="*/ 2147483647 h 76"/>
                <a:gd name="T54" fmla="*/ 2147483647 w 86"/>
                <a:gd name="T55" fmla="*/ 2147483647 h 76"/>
                <a:gd name="T56" fmla="*/ 2147483647 w 86"/>
                <a:gd name="T57" fmla="*/ 2147483647 h 76"/>
                <a:gd name="T58" fmla="*/ 2147483647 w 86"/>
                <a:gd name="T59" fmla="*/ 2147483647 h 76"/>
                <a:gd name="T60" fmla="*/ 2147483647 w 86"/>
                <a:gd name="T61" fmla="*/ 2147483647 h 76"/>
                <a:gd name="T62" fmla="*/ 2147483647 w 86"/>
                <a:gd name="T63" fmla="*/ 2147483647 h 76"/>
                <a:gd name="T64" fmla="*/ 2147483647 w 86"/>
                <a:gd name="T65" fmla="*/ 2147483647 h 76"/>
                <a:gd name="T66" fmla="*/ 2147483647 w 86"/>
                <a:gd name="T67" fmla="*/ 2147483647 h 76"/>
                <a:gd name="T68" fmla="*/ 2147483647 w 86"/>
                <a:gd name="T69" fmla="*/ 2147483647 h 76"/>
                <a:gd name="T70" fmla="*/ 2147483647 w 86"/>
                <a:gd name="T71" fmla="*/ 2147483647 h 76"/>
                <a:gd name="T72" fmla="*/ 2147483647 w 86"/>
                <a:gd name="T73" fmla="*/ 2147483647 h 76"/>
                <a:gd name="T74" fmla="*/ 2147483647 w 86"/>
                <a:gd name="T75" fmla="*/ 2147483647 h 76"/>
                <a:gd name="T76" fmla="*/ 2147483647 w 86"/>
                <a:gd name="T77" fmla="*/ 2147483647 h 76"/>
                <a:gd name="T78" fmla="*/ 2147483647 w 86"/>
                <a:gd name="T79" fmla="*/ 2147483647 h 76"/>
                <a:gd name="T80" fmla="*/ 2147483647 w 86"/>
                <a:gd name="T81" fmla="*/ 0 h 76"/>
                <a:gd name="T82" fmla="*/ 2147483647 w 86"/>
                <a:gd name="T83" fmla="*/ 2147483647 h 76"/>
                <a:gd name="T84" fmla="*/ 2147483647 w 86"/>
                <a:gd name="T85" fmla="*/ 2147483647 h 76"/>
                <a:gd name="T86" fmla="*/ 2147483647 w 86"/>
                <a:gd name="T87" fmla="*/ 2147483647 h 76"/>
                <a:gd name="T88" fmla="*/ 2147483647 w 86"/>
                <a:gd name="T89" fmla="*/ 2147483647 h 76"/>
                <a:gd name="T90" fmla="*/ 2147483647 w 86"/>
                <a:gd name="T91" fmla="*/ 2147483647 h 76"/>
                <a:gd name="T92" fmla="*/ 2147483647 w 86"/>
                <a:gd name="T93" fmla="*/ 2147483647 h 76"/>
                <a:gd name="T94" fmla="*/ 2147483647 w 86"/>
                <a:gd name="T95" fmla="*/ 2147483647 h 76"/>
                <a:gd name="T96" fmla="*/ 2147483647 w 86"/>
                <a:gd name="T97" fmla="*/ 2147483647 h 76"/>
                <a:gd name="T98" fmla="*/ 2147483647 w 86"/>
                <a:gd name="T99" fmla="*/ 2147483647 h 76"/>
                <a:gd name="T100" fmla="*/ 2147483647 w 86"/>
                <a:gd name="T101" fmla="*/ 2147483647 h 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6"/>
                <a:gd name="T154" fmla="*/ 0 h 76"/>
                <a:gd name="T155" fmla="*/ 86 w 86"/>
                <a:gd name="T156" fmla="*/ 76 h 7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6" h="76">
                  <a:moveTo>
                    <a:pt x="18" y="54"/>
                  </a:moveTo>
                  <a:lnTo>
                    <a:pt x="18" y="54"/>
                  </a:lnTo>
                  <a:lnTo>
                    <a:pt x="22" y="52"/>
                  </a:lnTo>
                  <a:lnTo>
                    <a:pt x="24" y="50"/>
                  </a:lnTo>
                  <a:lnTo>
                    <a:pt x="24" y="48"/>
                  </a:lnTo>
                  <a:lnTo>
                    <a:pt x="26" y="44"/>
                  </a:lnTo>
                  <a:lnTo>
                    <a:pt x="28" y="38"/>
                  </a:lnTo>
                  <a:lnTo>
                    <a:pt x="30" y="36"/>
                  </a:lnTo>
                  <a:lnTo>
                    <a:pt x="36" y="38"/>
                  </a:lnTo>
                  <a:lnTo>
                    <a:pt x="40" y="38"/>
                  </a:lnTo>
                  <a:lnTo>
                    <a:pt x="42" y="38"/>
                  </a:lnTo>
                  <a:lnTo>
                    <a:pt x="46" y="40"/>
                  </a:lnTo>
                  <a:lnTo>
                    <a:pt x="46" y="44"/>
                  </a:lnTo>
                  <a:lnTo>
                    <a:pt x="46" y="46"/>
                  </a:lnTo>
                  <a:lnTo>
                    <a:pt x="48" y="46"/>
                  </a:lnTo>
                  <a:lnTo>
                    <a:pt x="50" y="50"/>
                  </a:lnTo>
                  <a:lnTo>
                    <a:pt x="52" y="54"/>
                  </a:lnTo>
                  <a:lnTo>
                    <a:pt x="52" y="58"/>
                  </a:lnTo>
                  <a:lnTo>
                    <a:pt x="50" y="62"/>
                  </a:lnTo>
                  <a:lnTo>
                    <a:pt x="56" y="60"/>
                  </a:lnTo>
                  <a:lnTo>
                    <a:pt x="58" y="60"/>
                  </a:lnTo>
                  <a:lnTo>
                    <a:pt x="60" y="60"/>
                  </a:lnTo>
                  <a:lnTo>
                    <a:pt x="62" y="58"/>
                  </a:lnTo>
                  <a:lnTo>
                    <a:pt x="62" y="56"/>
                  </a:lnTo>
                  <a:lnTo>
                    <a:pt x="66" y="64"/>
                  </a:lnTo>
                  <a:lnTo>
                    <a:pt x="66" y="66"/>
                  </a:lnTo>
                  <a:lnTo>
                    <a:pt x="66" y="70"/>
                  </a:lnTo>
                  <a:lnTo>
                    <a:pt x="64" y="72"/>
                  </a:lnTo>
                  <a:lnTo>
                    <a:pt x="66" y="76"/>
                  </a:lnTo>
                  <a:lnTo>
                    <a:pt x="70" y="68"/>
                  </a:lnTo>
                  <a:lnTo>
                    <a:pt x="72" y="68"/>
                  </a:lnTo>
                  <a:lnTo>
                    <a:pt x="74" y="68"/>
                  </a:lnTo>
                  <a:lnTo>
                    <a:pt x="76" y="70"/>
                  </a:lnTo>
                  <a:lnTo>
                    <a:pt x="78" y="66"/>
                  </a:lnTo>
                  <a:lnTo>
                    <a:pt x="78" y="62"/>
                  </a:lnTo>
                  <a:lnTo>
                    <a:pt x="80" y="62"/>
                  </a:lnTo>
                  <a:lnTo>
                    <a:pt x="82" y="60"/>
                  </a:lnTo>
                  <a:lnTo>
                    <a:pt x="84" y="58"/>
                  </a:lnTo>
                  <a:lnTo>
                    <a:pt x="86" y="56"/>
                  </a:lnTo>
                  <a:lnTo>
                    <a:pt x="84" y="54"/>
                  </a:lnTo>
                  <a:lnTo>
                    <a:pt x="82" y="50"/>
                  </a:lnTo>
                  <a:lnTo>
                    <a:pt x="82" y="48"/>
                  </a:lnTo>
                  <a:lnTo>
                    <a:pt x="82" y="46"/>
                  </a:lnTo>
                  <a:lnTo>
                    <a:pt x="86" y="44"/>
                  </a:lnTo>
                  <a:lnTo>
                    <a:pt x="84" y="44"/>
                  </a:lnTo>
                  <a:lnTo>
                    <a:pt x="82" y="44"/>
                  </a:lnTo>
                  <a:lnTo>
                    <a:pt x="78" y="42"/>
                  </a:lnTo>
                  <a:lnTo>
                    <a:pt x="76" y="36"/>
                  </a:lnTo>
                  <a:lnTo>
                    <a:pt x="74" y="36"/>
                  </a:lnTo>
                  <a:lnTo>
                    <a:pt x="72" y="36"/>
                  </a:lnTo>
                  <a:lnTo>
                    <a:pt x="70" y="34"/>
                  </a:lnTo>
                  <a:lnTo>
                    <a:pt x="68" y="34"/>
                  </a:lnTo>
                  <a:lnTo>
                    <a:pt x="66" y="34"/>
                  </a:lnTo>
                  <a:lnTo>
                    <a:pt x="64" y="32"/>
                  </a:lnTo>
                  <a:lnTo>
                    <a:pt x="72" y="26"/>
                  </a:lnTo>
                  <a:lnTo>
                    <a:pt x="70" y="28"/>
                  </a:lnTo>
                  <a:lnTo>
                    <a:pt x="68" y="26"/>
                  </a:lnTo>
                  <a:lnTo>
                    <a:pt x="68" y="22"/>
                  </a:lnTo>
                  <a:lnTo>
                    <a:pt x="64" y="20"/>
                  </a:lnTo>
                  <a:lnTo>
                    <a:pt x="64" y="18"/>
                  </a:lnTo>
                  <a:lnTo>
                    <a:pt x="66" y="18"/>
                  </a:lnTo>
                  <a:lnTo>
                    <a:pt x="66" y="12"/>
                  </a:lnTo>
                  <a:lnTo>
                    <a:pt x="64" y="6"/>
                  </a:lnTo>
                  <a:lnTo>
                    <a:pt x="60" y="6"/>
                  </a:lnTo>
                  <a:lnTo>
                    <a:pt x="58" y="6"/>
                  </a:lnTo>
                  <a:lnTo>
                    <a:pt x="56" y="6"/>
                  </a:lnTo>
                  <a:lnTo>
                    <a:pt x="54" y="4"/>
                  </a:lnTo>
                  <a:lnTo>
                    <a:pt x="54" y="6"/>
                  </a:lnTo>
                  <a:lnTo>
                    <a:pt x="52" y="8"/>
                  </a:lnTo>
                  <a:lnTo>
                    <a:pt x="50" y="6"/>
                  </a:lnTo>
                  <a:lnTo>
                    <a:pt x="46" y="6"/>
                  </a:lnTo>
                  <a:lnTo>
                    <a:pt x="44" y="6"/>
                  </a:lnTo>
                  <a:lnTo>
                    <a:pt x="42" y="6"/>
                  </a:lnTo>
                  <a:lnTo>
                    <a:pt x="40" y="6"/>
                  </a:lnTo>
                  <a:lnTo>
                    <a:pt x="40" y="2"/>
                  </a:lnTo>
                  <a:lnTo>
                    <a:pt x="34" y="4"/>
                  </a:lnTo>
                  <a:lnTo>
                    <a:pt x="28" y="4"/>
                  </a:lnTo>
                  <a:lnTo>
                    <a:pt x="26" y="2"/>
                  </a:lnTo>
                  <a:lnTo>
                    <a:pt x="22" y="2"/>
                  </a:lnTo>
                  <a:lnTo>
                    <a:pt x="18" y="2"/>
                  </a:lnTo>
                  <a:lnTo>
                    <a:pt x="14" y="0"/>
                  </a:lnTo>
                  <a:lnTo>
                    <a:pt x="14" y="4"/>
                  </a:lnTo>
                  <a:lnTo>
                    <a:pt x="14" y="6"/>
                  </a:lnTo>
                  <a:lnTo>
                    <a:pt x="14" y="8"/>
                  </a:lnTo>
                  <a:lnTo>
                    <a:pt x="10" y="8"/>
                  </a:lnTo>
                  <a:lnTo>
                    <a:pt x="12" y="12"/>
                  </a:lnTo>
                  <a:lnTo>
                    <a:pt x="12" y="14"/>
                  </a:lnTo>
                  <a:lnTo>
                    <a:pt x="12" y="16"/>
                  </a:lnTo>
                  <a:lnTo>
                    <a:pt x="10" y="18"/>
                  </a:lnTo>
                  <a:lnTo>
                    <a:pt x="6" y="20"/>
                  </a:lnTo>
                  <a:lnTo>
                    <a:pt x="2" y="20"/>
                  </a:lnTo>
                  <a:lnTo>
                    <a:pt x="2" y="22"/>
                  </a:lnTo>
                  <a:lnTo>
                    <a:pt x="0" y="24"/>
                  </a:lnTo>
                  <a:lnTo>
                    <a:pt x="6" y="40"/>
                  </a:lnTo>
                  <a:lnTo>
                    <a:pt x="12" y="40"/>
                  </a:lnTo>
                  <a:lnTo>
                    <a:pt x="10" y="42"/>
                  </a:lnTo>
                  <a:lnTo>
                    <a:pt x="10" y="48"/>
                  </a:lnTo>
                  <a:lnTo>
                    <a:pt x="14" y="52"/>
                  </a:lnTo>
                  <a:lnTo>
                    <a:pt x="16" y="54"/>
                  </a:lnTo>
                  <a:lnTo>
                    <a:pt x="18" y="5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2" name="Freeform 624">
              <a:extLst>
                <a:ext uri="{FF2B5EF4-FFF2-40B4-BE49-F238E27FC236}">
                  <a16:creationId xmlns:a16="http://schemas.microsoft.com/office/drawing/2014/main" id="{2912436E-E55A-4BA1-B5CE-B88B249F03E6}"/>
                </a:ext>
              </a:extLst>
            </p:cNvPr>
            <p:cNvSpPr>
              <a:spLocks/>
            </p:cNvSpPr>
            <p:nvPr/>
          </p:nvSpPr>
          <p:spPr bwMode="gray">
            <a:xfrm>
              <a:off x="2443953" y="3818002"/>
              <a:ext cx="89457" cy="110651"/>
            </a:xfrm>
            <a:custGeom>
              <a:avLst/>
              <a:gdLst>
                <a:gd name="T0" fmla="*/ 2147483647 w 48"/>
                <a:gd name="T1" fmla="*/ 2147483647 h 60"/>
                <a:gd name="T2" fmla="*/ 2147483647 w 48"/>
                <a:gd name="T3" fmla="*/ 2147483647 h 60"/>
                <a:gd name="T4" fmla="*/ 2147483647 w 48"/>
                <a:gd name="T5" fmla="*/ 2147483647 h 60"/>
                <a:gd name="T6" fmla="*/ 2147483647 w 48"/>
                <a:gd name="T7" fmla="*/ 2147483647 h 60"/>
                <a:gd name="T8" fmla="*/ 2147483647 w 48"/>
                <a:gd name="T9" fmla="*/ 2147483647 h 60"/>
                <a:gd name="T10" fmla="*/ 2147483647 w 48"/>
                <a:gd name="T11" fmla="*/ 2147483647 h 60"/>
                <a:gd name="T12" fmla="*/ 2147483647 w 48"/>
                <a:gd name="T13" fmla="*/ 2147483647 h 60"/>
                <a:gd name="T14" fmla="*/ 2147483647 w 48"/>
                <a:gd name="T15" fmla="*/ 2147483647 h 60"/>
                <a:gd name="T16" fmla="*/ 2147483647 w 48"/>
                <a:gd name="T17" fmla="*/ 2147483647 h 60"/>
                <a:gd name="T18" fmla="*/ 2147483647 w 48"/>
                <a:gd name="T19" fmla="*/ 2147483647 h 60"/>
                <a:gd name="T20" fmla="*/ 2147483647 w 48"/>
                <a:gd name="T21" fmla="*/ 2147483647 h 60"/>
                <a:gd name="T22" fmla="*/ 2147483647 w 48"/>
                <a:gd name="T23" fmla="*/ 2147483647 h 60"/>
                <a:gd name="T24" fmla="*/ 2147483647 w 48"/>
                <a:gd name="T25" fmla="*/ 2147483647 h 60"/>
                <a:gd name="T26" fmla="*/ 2147483647 w 48"/>
                <a:gd name="T27" fmla="*/ 2147483647 h 60"/>
                <a:gd name="T28" fmla="*/ 2147483647 w 48"/>
                <a:gd name="T29" fmla="*/ 2147483647 h 60"/>
                <a:gd name="T30" fmla="*/ 2147483647 w 48"/>
                <a:gd name="T31" fmla="*/ 2147483647 h 60"/>
                <a:gd name="T32" fmla="*/ 2147483647 w 48"/>
                <a:gd name="T33" fmla="*/ 2147483647 h 60"/>
                <a:gd name="T34" fmla="*/ 2147483647 w 48"/>
                <a:gd name="T35" fmla="*/ 2147483647 h 60"/>
                <a:gd name="T36" fmla="*/ 2147483647 w 48"/>
                <a:gd name="T37" fmla="*/ 2147483647 h 60"/>
                <a:gd name="T38" fmla="*/ 2147483647 w 48"/>
                <a:gd name="T39" fmla="*/ 2147483647 h 60"/>
                <a:gd name="T40" fmla="*/ 2147483647 w 48"/>
                <a:gd name="T41" fmla="*/ 2147483647 h 60"/>
                <a:gd name="T42" fmla="*/ 2147483647 w 48"/>
                <a:gd name="T43" fmla="*/ 2147483647 h 60"/>
                <a:gd name="T44" fmla="*/ 2147483647 w 48"/>
                <a:gd name="T45" fmla="*/ 2147483647 h 60"/>
                <a:gd name="T46" fmla="*/ 2147483647 w 48"/>
                <a:gd name="T47" fmla="*/ 2147483647 h 60"/>
                <a:gd name="T48" fmla="*/ 2147483647 w 48"/>
                <a:gd name="T49" fmla="*/ 2147483647 h 60"/>
                <a:gd name="T50" fmla="*/ 2147483647 w 48"/>
                <a:gd name="T51" fmla="*/ 2147483647 h 60"/>
                <a:gd name="T52" fmla="*/ 0 w 48"/>
                <a:gd name="T53" fmla="*/ 2147483647 h 60"/>
                <a:gd name="T54" fmla="*/ 0 w 48"/>
                <a:gd name="T55" fmla="*/ 2147483647 h 60"/>
                <a:gd name="T56" fmla="*/ 2147483647 w 48"/>
                <a:gd name="T57" fmla="*/ 2147483647 h 60"/>
                <a:gd name="T58" fmla="*/ 2147483647 w 48"/>
                <a:gd name="T59" fmla="*/ 2147483647 h 60"/>
                <a:gd name="T60" fmla="*/ 2147483647 w 48"/>
                <a:gd name="T61" fmla="*/ 2147483647 h 60"/>
                <a:gd name="T62" fmla="*/ 2147483647 w 48"/>
                <a:gd name="T63" fmla="*/ 2147483647 h 60"/>
                <a:gd name="T64" fmla="*/ 2147483647 w 48"/>
                <a:gd name="T65" fmla="*/ 2147483647 h 60"/>
                <a:gd name="T66" fmla="*/ 2147483647 w 48"/>
                <a:gd name="T67" fmla="*/ 2147483647 h 60"/>
                <a:gd name="T68" fmla="*/ 2147483647 w 48"/>
                <a:gd name="T69" fmla="*/ 2147483647 h 60"/>
                <a:gd name="T70" fmla="*/ 2147483647 w 48"/>
                <a:gd name="T71" fmla="*/ 2147483647 h 60"/>
                <a:gd name="T72" fmla="*/ 2147483647 w 48"/>
                <a:gd name="T73" fmla="*/ 2147483647 h 60"/>
                <a:gd name="T74" fmla="*/ 2147483647 w 48"/>
                <a:gd name="T75" fmla="*/ 2147483647 h 60"/>
                <a:gd name="T76" fmla="*/ 2147483647 w 48"/>
                <a:gd name="T77" fmla="*/ 2147483647 h 60"/>
                <a:gd name="T78" fmla="*/ 2147483647 w 48"/>
                <a:gd name="T79" fmla="*/ 2147483647 h 60"/>
                <a:gd name="T80" fmla="*/ 2147483647 w 48"/>
                <a:gd name="T81" fmla="*/ 2147483647 h 60"/>
                <a:gd name="T82" fmla="*/ 2147483647 w 48"/>
                <a:gd name="T83" fmla="*/ 2147483647 h 60"/>
                <a:gd name="T84" fmla="*/ 2147483647 w 48"/>
                <a:gd name="T85" fmla="*/ 2147483647 h 60"/>
                <a:gd name="T86" fmla="*/ 2147483647 w 48"/>
                <a:gd name="T87" fmla="*/ 2147483647 h 60"/>
                <a:gd name="T88" fmla="*/ 2147483647 w 48"/>
                <a:gd name="T89" fmla="*/ 0 h 60"/>
                <a:gd name="T90" fmla="*/ 2147483647 w 48"/>
                <a:gd name="T91" fmla="*/ 0 h 60"/>
                <a:gd name="T92" fmla="*/ 2147483647 w 48"/>
                <a:gd name="T93" fmla="*/ 2147483647 h 60"/>
                <a:gd name="T94" fmla="*/ 2147483647 w 48"/>
                <a:gd name="T95" fmla="*/ 2147483647 h 60"/>
                <a:gd name="T96" fmla="*/ 2147483647 w 48"/>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
                <a:gd name="T148" fmla="*/ 0 h 60"/>
                <a:gd name="T149" fmla="*/ 48 w 48"/>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 h="60">
                  <a:moveTo>
                    <a:pt x="44" y="34"/>
                  </a:moveTo>
                  <a:lnTo>
                    <a:pt x="48" y="34"/>
                  </a:lnTo>
                  <a:lnTo>
                    <a:pt x="48" y="36"/>
                  </a:lnTo>
                  <a:lnTo>
                    <a:pt x="44" y="38"/>
                  </a:lnTo>
                  <a:lnTo>
                    <a:pt x="40" y="38"/>
                  </a:lnTo>
                  <a:lnTo>
                    <a:pt x="40" y="42"/>
                  </a:lnTo>
                  <a:lnTo>
                    <a:pt x="38" y="46"/>
                  </a:lnTo>
                  <a:lnTo>
                    <a:pt x="38" y="50"/>
                  </a:lnTo>
                  <a:lnTo>
                    <a:pt x="34" y="52"/>
                  </a:lnTo>
                  <a:lnTo>
                    <a:pt x="32" y="54"/>
                  </a:lnTo>
                  <a:lnTo>
                    <a:pt x="32" y="56"/>
                  </a:lnTo>
                  <a:lnTo>
                    <a:pt x="30" y="58"/>
                  </a:lnTo>
                  <a:lnTo>
                    <a:pt x="28" y="58"/>
                  </a:lnTo>
                  <a:lnTo>
                    <a:pt x="26" y="58"/>
                  </a:lnTo>
                  <a:lnTo>
                    <a:pt x="24" y="60"/>
                  </a:lnTo>
                  <a:lnTo>
                    <a:pt x="20" y="60"/>
                  </a:lnTo>
                  <a:lnTo>
                    <a:pt x="16" y="56"/>
                  </a:lnTo>
                  <a:lnTo>
                    <a:pt x="10" y="52"/>
                  </a:lnTo>
                  <a:lnTo>
                    <a:pt x="0" y="40"/>
                  </a:lnTo>
                  <a:lnTo>
                    <a:pt x="2" y="38"/>
                  </a:lnTo>
                  <a:lnTo>
                    <a:pt x="4" y="36"/>
                  </a:lnTo>
                  <a:lnTo>
                    <a:pt x="2" y="36"/>
                  </a:lnTo>
                  <a:lnTo>
                    <a:pt x="4" y="32"/>
                  </a:lnTo>
                  <a:lnTo>
                    <a:pt x="6" y="28"/>
                  </a:lnTo>
                  <a:lnTo>
                    <a:pt x="10" y="24"/>
                  </a:lnTo>
                  <a:lnTo>
                    <a:pt x="24" y="24"/>
                  </a:lnTo>
                  <a:lnTo>
                    <a:pt x="22" y="22"/>
                  </a:lnTo>
                  <a:lnTo>
                    <a:pt x="20" y="18"/>
                  </a:lnTo>
                  <a:lnTo>
                    <a:pt x="16" y="14"/>
                  </a:lnTo>
                  <a:lnTo>
                    <a:pt x="14" y="10"/>
                  </a:lnTo>
                  <a:lnTo>
                    <a:pt x="14" y="6"/>
                  </a:lnTo>
                  <a:lnTo>
                    <a:pt x="18" y="6"/>
                  </a:lnTo>
                  <a:lnTo>
                    <a:pt x="20" y="0"/>
                  </a:lnTo>
                  <a:lnTo>
                    <a:pt x="40" y="0"/>
                  </a:lnTo>
                  <a:lnTo>
                    <a:pt x="40" y="32"/>
                  </a:lnTo>
                  <a:lnTo>
                    <a:pt x="46" y="32"/>
                  </a:lnTo>
                  <a:lnTo>
                    <a:pt x="44" y="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3" name="Freeform 625">
              <a:extLst>
                <a:ext uri="{FF2B5EF4-FFF2-40B4-BE49-F238E27FC236}">
                  <a16:creationId xmlns:a16="http://schemas.microsoft.com/office/drawing/2014/main" id="{38CD760C-9525-4EF9-AD90-FAB691F6B576}"/>
                </a:ext>
              </a:extLst>
            </p:cNvPr>
            <p:cNvSpPr>
              <a:spLocks noEditPoints="1"/>
            </p:cNvSpPr>
            <p:nvPr/>
          </p:nvSpPr>
          <p:spPr bwMode="gray">
            <a:xfrm>
              <a:off x="2872414" y="1602619"/>
              <a:ext cx="1261843" cy="974675"/>
            </a:xfrm>
            <a:custGeom>
              <a:avLst/>
              <a:gdLst>
                <a:gd name="T0" fmla="*/ 2147483647 w 682"/>
                <a:gd name="T1" fmla="*/ 2147483647 h 526"/>
                <a:gd name="T2" fmla="*/ 2147483647 w 682"/>
                <a:gd name="T3" fmla="*/ 2147483647 h 526"/>
                <a:gd name="T4" fmla="*/ 2147483647 w 682"/>
                <a:gd name="T5" fmla="*/ 2147483647 h 526"/>
                <a:gd name="T6" fmla="*/ 2147483647 w 682"/>
                <a:gd name="T7" fmla="*/ 2147483647 h 526"/>
                <a:gd name="T8" fmla="*/ 2147483647 w 682"/>
                <a:gd name="T9" fmla="*/ 2147483647 h 526"/>
                <a:gd name="T10" fmla="*/ 2147483647 w 682"/>
                <a:gd name="T11" fmla="*/ 2147483647 h 526"/>
                <a:gd name="T12" fmla="*/ 2147483647 w 682"/>
                <a:gd name="T13" fmla="*/ 2147483647 h 526"/>
                <a:gd name="T14" fmla="*/ 2147483647 w 682"/>
                <a:gd name="T15" fmla="*/ 2147483647 h 526"/>
                <a:gd name="T16" fmla="*/ 2147483647 w 682"/>
                <a:gd name="T17" fmla="*/ 2147483647 h 526"/>
                <a:gd name="T18" fmla="*/ 2147483647 w 682"/>
                <a:gd name="T19" fmla="*/ 2147483647 h 526"/>
                <a:gd name="T20" fmla="*/ 2147483647 w 682"/>
                <a:gd name="T21" fmla="*/ 2147483647 h 526"/>
                <a:gd name="T22" fmla="*/ 2147483647 w 682"/>
                <a:gd name="T23" fmla="*/ 2147483647 h 526"/>
                <a:gd name="T24" fmla="*/ 2147483647 w 682"/>
                <a:gd name="T25" fmla="*/ 2147483647 h 526"/>
                <a:gd name="T26" fmla="*/ 2147483647 w 682"/>
                <a:gd name="T27" fmla="*/ 2147483647 h 526"/>
                <a:gd name="T28" fmla="*/ 2147483647 w 682"/>
                <a:gd name="T29" fmla="*/ 2147483647 h 526"/>
                <a:gd name="T30" fmla="*/ 2147483647 w 682"/>
                <a:gd name="T31" fmla="*/ 2147483647 h 526"/>
                <a:gd name="T32" fmla="*/ 2147483647 w 682"/>
                <a:gd name="T33" fmla="*/ 2147483647 h 526"/>
                <a:gd name="T34" fmla="*/ 2147483647 w 682"/>
                <a:gd name="T35" fmla="*/ 2147483647 h 526"/>
                <a:gd name="T36" fmla="*/ 2147483647 w 682"/>
                <a:gd name="T37" fmla="*/ 2147483647 h 526"/>
                <a:gd name="T38" fmla="*/ 2147483647 w 682"/>
                <a:gd name="T39" fmla="*/ 2147483647 h 526"/>
                <a:gd name="T40" fmla="*/ 2147483647 w 682"/>
                <a:gd name="T41" fmla="*/ 2147483647 h 526"/>
                <a:gd name="T42" fmla="*/ 2147483647 w 682"/>
                <a:gd name="T43" fmla="*/ 2147483647 h 526"/>
                <a:gd name="T44" fmla="*/ 2147483647 w 682"/>
                <a:gd name="T45" fmla="*/ 2147483647 h 526"/>
                <a:gd name="T46" fmla="*/ 2147483647 w 682"/>
                <a:gd name="T47" fmla="*/ 2147483647 h 526"/>
                <a:gd name="T48" fmla="*/ 2147483647 w 682"/>
                <a:gd name="T49" fmla="*/ 2147483647 h 526"/>
                <a:gd name="T50" fmla="*/ 2147483647 w 682"/>
                <a:gd name="T51" fmla="*/ 2147483647 h 526"/>
                <a:gd name="T52" fmla="*/ 2147483647 w 682"/>
                <a:gd name="T53" fmla="*/ 2147483647 h 526"/>
                <a:gd name="T54" fmla="*/ 2147483647 w 682"/>
                <a:gd name="T55" fmla="*/ 2147483647 h 526"/>
                <a:gd name="T56" fmla="*/ 2147483647 w 682"/>
                <a:gd name="T57" fmla="*/ 2147483647 h 526"/>
                <a:gd name="T58" fmla="*/ 2147483647 w 682"/>
                <a:gd name="T59" fmla="*/ 2147483647 h 526"/>
                <a:gd name="T60" fmla="*/ 2147483647 w 682"/>
                <a:gd name="T61" fmla="*/ 2147483647 h 526"/>
                <a:gd name="T62" fmla="*/ 2147483647 w 682"/>
                <a:gd name="T63" fmla="*/ 2147483647 h 526"/>
                <a:gd name="T64" fmla="*/ 2147483647 w 682"/>
                <a:gd name="T65" fmla="*/ 2147483647 h 526"/>
                <a:gd name="T66" fmla="*/ 2147483647 w 682"/>
                <a:gd name="T67" fmla="*/ 2147483647 h 526"/>
                <a:gd name="T68" fmla="*/ 2147483647 w 682"/>
                <a:gd name="T69" fmla="*/ 2147483647 h 526"/>
                <a:gd name="T70" fmla="*/ 2147483647 w 682"/>
                <a:gd name="T71" fmla="*/ 2147483647 h 526"/>
                <a:gd name="T72" fmla="*/ 2147483647 w 682"/>
                <a:gd name="T73" fmla="*/ 2147483647 h 526"/>
                <a:gd name="T74" fmla="*/ 2147483647 w 682"/>
                <a:gd name="T75" fmla="*/ 2147483647 h 526"/>
                <a:gd name="T76" fmla="*/ 2147483647 w 682"/>
                <a:gd name="T77" fmla="*/ 2147483647 h 526"/>
                <a:gd name="T78" fmla="*/ 2147483647 w 682"/>
                <a:gd name="T79" fmla="*/ 2147483647 h 526"/>
                <a:gd name="T80" fmla="*/ 2147483647 w 682"/>
                <a:gd name="T81" fmla="*/ 2147483647 h 526"/>
                <a:gd name="T82" fmla="*/ 2147483647 w 682"/>
                <a:gd name="T83" fmla="*/ 2147483647 h 526"/>
                <a:gd name="T84" fmla="*/ 2147483647 w 682"/>
                <a:gd name="T85" fmla="*/ 2147483647 h 526"/>
                <a:gd name="T86" fmla="*/ 2147483647 w 682"/>
                <a:gd name="T87" fmla="*/ 2147483647 h 526"/>
                <a:gd name="T88" fmla="*/ 2147483647 w 682"/>
                <a:gd name="T89" fmla="*/ 2147483647 h 526"/>
                <a:gd name="T90" fmla="*/ 2147483647 w 682"/>
                <a:gd name="T91" fmla="*/ 2147483647 h 526"/>
                <a:gd name="T92" fmla="*/ 2147483647 w 682"/>
                <a:gd name="T93" fmla="*/ 2147483647 h 526"/>
                <a:gd name="T94" fmla="*/ 2147483647 w 682"/>
                <a:gd name="T95" fmla="*/ 2147483647 h 526"/>
                <a:gd name="T96" fmla="*/ 2147483647 w 682"/>
                <a:gd name="T97" fmla="*/ 2147483647 h 526"/>
                <a:gd name="T98" fmla="*/ 2147483647 w 682"/>
                <a:gd name="T99" fmla="*/ 2147483647 h 526"/>
                <a:gd name="T100" fmla="*/ 2147483647 w 682"/>
                <a:gd name="T101" fmla="*/ 2147483647 h 526"/>
                <a:gd name="T102" fmla="*/ 2147483647 w 682"/>
                <a:gd name="T103" fmla="*/ 2147483647 h 526"/>
                <a:gd name="T104" fmla="*/ 2147483647 w 682"/>
                <a:gd name="T105" fmla="*/ 2147483647 h 526"/>
                <a:gd name="T106" fmla="*/ 2147483647 w 682"/>
                <a:gd name="T107" fmla="*/ 2147483647 h 526"/>
                <a:gd name="T108" fmla="*/ 2147483647 w 682"/>
                <a:gd name="T109" fmla="*/ 2147483647 h 526"/>
                <a:gd name="T110" fmla="*/ 2147483647 w 682"/>
                <a:gd name="T111" fmla="*/ 2147483647 h 526"/>
                <a:gd name="T112" fmla="*/ 2147483647 w 682"/>
                <a:gd name="T113" fmla="*/ 2147483647 h 526"/>
                <a:gd name="T114" fmla="*/ 2147483647 w 682"/>
                <a:gd name="T115" fmla="*/ 2147483647 h 526"/>
                <a:gd name="T116" fmla="*/ 2147483647 w 682"/>
                <a:gd name="T117" fmla="*/ 2147483647 h 526"/>
                <a:gd name="T118" fmla="*/ 2147483647 w 682"/>
                <a:gd name="T119" fmla="*/ 2147483647 h 526"/>
                <a:gd name="T120" fmla="*/ 2147483647 w 682"/>
                <a:gd name="T121" fmla="*/ 2147483647 h 526"/>
                <a:gd name="T122" fmla="*/ 2147483647 w 682"/>
                <a:gd name="T123" fmla="*/ 2147483647 h 5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82"/>
                <a:gd name="T187" fmla="*/ 0 h 526"/>
                <a:gd name="T188" fmla="*/ 682 w 682"/>
                <a:gd name="T189" fmla="*/ 526 h 5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82" h="526">
                  <a:moveTo>
                    <a:pt x="250" y="66"/>
                  </a:moveTo>
                  <a:lnTo>
                    <a:pt x="250" y="66"/>
                  </a:lnTo>
                  <a:lnTo>
                    <a:pt x="220" y="54"/>
                  </a:lnTo>
                  <a:lnTo>
                    <a:pt x="210" y="66"/>
                  </a:lnTo>
                  <a:lnTo>
                    <a:pt x="208" y="52"/>
                  </a:lnTo>
                  <a:lnTo>
                    <a:pt x="206" y="42"/>
                  </a:lnTo>
                  <a:lnTo>
                    <a:pt x="192" y="44"/>
                  </a:lnTo>
                  <a:lnTo>
                    <a:pt x="192" y="48"/>
                  </a:lnTo>
                  <a:lnTo>
                    <a:pt x="190" y="48"/>
                  </a:lnTo>
                  <a:lnTo>
                    <a:pt x="188" y="44"/>
                  </a:lnTo>
                  <a:lnTo>
                    <a:pt x="184" y="44"/>
                  </a:lnTo>
                  <a:lnTo>
                    <a:pt x="184" y="46"/>
                  </a:lnTo>
                  <a:lnTo>
                    <a:pt x="182" y="48"/>
                  </a:lnTo>
                  <a:lnTo>
                    <a:pt x="180" y="48"/>
                  </a:lnTo>
                  <a:lnTo>
                    <a:pt x="176" y="46"/>
                  </a:lnTo>
                  <a:lnTo>
                    <a:pt x="170" y="44"/>
                  </a:lnTo>
                  <a:lnTo>
                    <a:pt x="154" y="48"/>
                  </a:lnTo>
                  <a:lnTo>
                    <a:pt x="136" y="54"/>
                  </a:lnTo>
                  <a:lnTo>
                    <a:pt x="140" y="66"/>
                  </a:lnTo>
                  <a:lnTo>
                    <a:pt x="136" y="60"/>
                  </a:lnTo>
                  <a:lnTo>
                    <a:pt x="130" y="54"/>
                  </a:lnTo>
                  <a:lnTo>
                    <a:pt x="128" y="54"/>
                  </a:lnTo>
                  <a:lnTo>
                    <a:pt x="124" y="54"/>
                  </a:lnTo>
                  <a:lnTo>
                    <a:pt x="116" y="70"/>
                  </a:lnTo>
                  <a:lnTo>
                    <a:pt x="120" y="72"/>
                  </a:lnTo>
                  <a:lnTo>
                    <a:pt x="122" y="74"/>
                  </a:lnTo>
                  <a:lnTo>
                    <a:pt x="114" y="72"/>
                  </a:lnTo>
                  <a:lnTo>
                    <a:pt x="108" y="70"/>
                  </a:lnTo>
                  <a:lnTo>
                    <a:pt x="104" y="70"/>
                  </a:lnTo>
                  <a:lnTo>
                    <a:pt x="98" y="72"/>
                  </a:lnTo>
                  <a:lnTo>
                    <a:pt x="88" y="76"/>
                  </a:lnTo>
                  <a:lnTo>
                    <a:pt x="76" y="80"/>
                  </a:lnTo>
                  <a:lnTo>
                    <a:pt x="66" y="82"/>
                  </a:lnTo>
                  <a:lnTo>
                    <a:pt x="62" y="82"/>
                  </a:lnTo>
                  <a:lnTo>
                    <a:pt x="58" y="86"/>
                  </a:lnTo>
                  <a:lnTo>
                    <a:pt x="56" y="88"/>
                  </a:lnTo>
                  <a:lnTo>
                    <a:pt x="56" y="92"/>
                  </a:lnTo>
                  <a:lnTo>
                    <a:pt x="54" y="92"/>
                  </a:lnTo>
                  <a:lnTo>
                    <a:pt x="54" y="94"/>
                  </a:lnTo>
                  <a:lnTo>
                    <a:pt x="56" y="98"/>
                  </a:lnTo>
                  <a:lnTo>
                    <a:pt x="60" y="98"/>
                  </a:lnTo>
                  <a:lnTo>
                    <a:pt x="62" y="96"/>
                  </a:lnTo>
                  <a:lnTo>
                    <a:pt x="66" y="94"/>
                  </a:lnTo>
                  <a:lnTo>
                    <a:pt x="68" y="94"/>
                  </a:lnTo>
                  <a:lnTo>
                    <a:pt x="70" y="96"/>
                  </a:lnTo>
                  <a:lnTo>
                    <a:pt x="72" y="98"/>
                  </a:lnTo>
                  <a:lnTo>
                    <a:pt x="76" y="98"/>
                  </a:lnTo>
                  <a:lnTo>
                    <a:pt x="82" y="96"/>
                  </a:lnTo>
                  <a:lnTo>
                    <a:pt x="94" y="94"/>
                  </a:lnTo>
                  <a:lnTo>
                    <a:pt x="90" y="98"/>
                  </a:lnTo>
                  <a:lnTo>
                    <a:pt x="94" y="98"/>
                  </a:lnTo>
                  <a:lnTo>
                    <a:pt x="94" y="100"/>
                  </a:lnTo>
                  <a:lnTo>
                    <a:pt x="90" y="106"/>
                  </a:lnTo>
                  <a:lnTo>
                    <a:pt x="92" y="108"/>
                  </a:lnTo>
                  <a:lnTo>
                    <a:pt x="92" y="110"/>
                  </a:lnTo>
                  <a:lnTo>
                    <a:pt x="92" y="112"/>
                  </a:lnTo>
                  <a:lnTo>
                    <a:pt x="90" y="114"/>
                  </a:lnTo>
                  <a:lnTo>
                    <a:pt x="84" y="118"/>
                  </a:lnTo>
                  <a:lnTo>
                    <a:pt x="74" y="124"/>
                  </a:lnTo>
                  <a:lnTo>
                    <a:pt x="64" y="122"/>
                  </a:lnTo>
                  <a:lnTo>
                    <a:pt x="52" y="122"/>
                  </a:lnTo>
                  <a:lnTo>
                    <a:pt x="44" y="126"/>
                  </a:lnTo>
                  <a:lnTo>
                    <a:pt x="40" y="126"/>
                  </a:lnTo>
                  <a:lnTo>
                    <a:pt x="34" y="126"/>
                  </a:lnTo>
                  <a:lnTo>
                    <a:pt x="6" y="128"/>
                  </a:lnTo>
                  <a:lnTo>
                    <a:pt x="4" y="132"/>
                  </a:lnTo>
                  <a:lnTo>
                    <a:pt x="2" y="134"/>
                  </a:lnTo>
                  <a:lnTo>
                    <a:pt x="4" y="140"/>
                  </a:lnTo>
                  <a:lnTo>
                    <a:pt x="6" y="144"/>
                  </a:lnTo>
                  <a:lnTo>
                    <a:pt x="8" y="146"/>
                  </a:lnTo>
                  <a:lnTo>
                    <a:pt x="10" y="146"/>
                  </a:lnTo>
                  <a:lnTo>
                    <a:pt x="16" y="148"/>
                  </a:lnTo>
                  <a:lnTo>
                    <a:pt x="20" y="154"/>
                  </a:lnTo>
                  <a:lnTo>
                    <a:pt x="26" y="154"/>
                  </a:lnTo>
                  <a:lnTo>
                    <a:pt x="34" y="154"/>
                  </a:lnTo>
                  <a:lnTo>
                    <a:pt x="36" y="148"/>
                  </a:lnTo>
                  <a:lnTo>
                    <a:pt x="40" y="154"/>
                  </a:lnTo>
                  <a:lnTo>
                    <a:pt x="48" y="156"/>
                  </a:lnTo>
                  <a:lnTo>
                    <a:pt x="56" y="154"/>
                  </a:lnTo>
                  <a:lnTo>
                    <a:pt x="74" y="154"/>
                  </a:lnTo>
                  <a:lnTo>
                    <a:pt x="72" y="160"/>
                  </a:lnTo>
                  <a:lnTo>
                    <a:pt x="50" y="158"/>
                  </a:lnTo>
                  <a:lnTo>
                    <a:pt x="42" y="160"/>
                  </a:lnTo>
                  <a:lnTo>
                    <a:pt x="32" y="162"/>
                  </a:lnTo>
                  <a:lnTo>
                    <a:pt x="28" y="166"/>
                  </a:lnTo>
                  <a:lnTo>
                    <a:pt x="30" y="166"/>
                  </a:lnTo>
                  <a:lnTo>
                    <a:pt x="32" y="166"/>
                  </a:lnTo>
                  <a:lnTo>
                    <a:pt x="32" y="168"/>
                  </a:lnTo>
                  <a:lnTo>
                    <a:pt x="26" y="166"/>
                  </a:lnTo>
                  <a:lnTo>
                    <a:pt x="22" y="166"/>
                  </a:lnTo>
                  <a:lnTo>
                    <a:pt x="20" y="164"/>
                  </a:lnTo>
                  <a:lnTo>
                    <a:pt x="14" y="164"/>
                  </a:lnTo>
                  <a:lnTo>
                    <a:pt x="8" y="166"/>
                  </a:lnTo>
                  <a:lnTo>
                    <a:pt x="10" y="168"/>
                  </a:lnTo>
                  <a:lnTo>
                    <a:pt x="12" y="172"/>
                  </a:lnTo>
                  <a:lnTo>
                    <a:pt x="12" y="174"/>
                  </a:lnTo>
                  <a:lnTo>
                    <a:pt x="18" y="174"/>
                  </a:lnTo>
                  <a:lnTo>
                    <a:pt x="24" y="176"/>
                  </a:lnTo>
                  <a:lnTo>
                    <a:pt x="28" y="178"/>
                  </a:lnTo>
                  <a:lnTo>
                    <a:pt x="28" y="180"/>
                  </a:lnTo>
                  <a:lnTo>
                    <a:pt x="24" y="180"/>
                  </a:lnTo>
                  <a:lnTo>
                    <a:pt x="30" y="186"/>
                  </a:lnTo>
                  <a:lnTo>
                    <a:pt x="40" y="190"/>
                  </a:lnTo>
                  <a:lnTo>
                    <a:pt x="48" y="192"/>
                  </a:lnTo>
                  <a:lnTo>
                    <a:pt x="50" y="190"/>
                  </a:lnTo>
                  <a:lnTo>
                    <a:pt x="50" y="186"/>
                  </a:lnTo>
                  <a:lnTo>
                    <a:pt x="50" y="180"/>
                  </a:lnTo>
                  <a:lnTo>
                    <a:pt x="60" y="186"/>
                  </a:lnTo>
                  <a:lnTo>
                    <a:pt x="60" y="184"/>
                  </a:lnTo>
                  <a:lnTo>
                    <a:pt x="62" y="180"/>
                  </a:lnTo>
                  <a:lnTo>
                    <a:pt x="68" y="180"/>
                  </a:lnTo>
                  <a:lnTo>
                    <a:pt x="72" y="180"/>
                  </a:lnTo>
                  <a:lnTo>
                    <a:pt x="74" y="184"/>
                  </a:lnTo>
                  <a:lnTo>
                    <a:pt x="74" y="186"/>
                  </a:lnTo>
                  <a:lnTo>
                    <a:pt x="74" y="188"/>
                  </a:lnTo>
                  <a:lnTo>
                    <a:pt x="78" y="188"/>
                  </a:lnTo>
                  <a:lnTo>
                    <a:pt x="80" y="186"/>
                  </a:lnTo>
                  <a:lnTo>
                    <a:pt x="80" y="182"/>
                  </a:lnTo>
                  <a:lnTo>
                    <a:pt x="88" y="184"/>
                  </a:lnTo>
                  <a:lnTo>
                    <a:pt x="92" y="184"/>
                  </a:lnTo>
                  <a:lnTo>
                    <a:pt x="98" y="182"/>
                  </a:lnTo>
                  <a:lnTo>
                    <a:pt x="102" y="178"/>
                  </a:lnTo>
                  <a:lnTo>
                    <a:pt x="104" y="178"/>
                  </a:lnTo>
                  <a:lnTo>
                    <a:pt x="104" y="180"/>
                  </a:lnTo>
                  <a:lnTo>
                    <a:pt x="104" y="184"/>
                  </a:lnTo>
                  <a:lnTo>
                    <a:pt x="112" y="180"/>
                  </a:lnTo>
                  <a:lnTo>
                    <a:pt x="136" y="186"/>
                  </a:lnTo>
                  <a:lnTo>
                    <a:pt x="140" y="190"/>
                  </a:lnTo>
                  <a:lnTo>
                    <a:pt x="142" y="194"/>
                  </a:lnTo>
                  <a:lnTo>
                    <a:pt x="150" y="194"/>
                  </a:lnTo>
                  <a:lnTo>
                    <a:pt x="152" y="194"/>
                  </a:lnTo>
                  <a:lnTo>
                    <a:pt x="156" y="194"/>
                  </a:lnTo>
                  <a:lnTo>
                    <a:pt x="156" y="196"/>
                  </a:lnTo>
                  <a:lnTo>
                    <a:pt x="158" y="200"/>
                  </a:lnTo>
                  <a:lnTo>
                    <a:pt x="158" y="206"/>
                  </a:lnTo>
                  <a:lnTo>
                    <a:pt x="166" y="208"/>
                  </a:lnTo>
                  <a:lnTo>
                    <a:pt x="170" y="212"/>
                  </a:lnTo>
                  <a:lnTo>
                    <a:pt x="174" y="218"/>
                  </a:lnTo>
                  <a:lnTo>
                    <a:pt x="182" y="218"/>
                  </a:lnTo>
                  <a:lnTo>
                    <a:pt x="182" y="220"/>
                  </a:lnTo>
                  <a:lnTo>
                    <a:pt x="184" y="222"/>
                  </a:lnTo>
                  <a:lnTo>
                    <a:pt x="180" y="222"/>
                  </a:lnTo>
                  <a:lnTo>
                    <a:pt x="180" y="224"/>
                  </a:lnTo>
                  <a:lnTo>
                    <a:pt x="180" y="226"/>
                  </a:lnTo>
                  <a:lnTo>
                    <a:pt x="180" y="228"/>
                  </a:lnTo>
                  <a:lnTo>
                    <a:pt x="172" y="232"/>
                  </a:lnTo>
                  <a:lnTo>
                    <a:pt x="178" y="232"/>
                  </a:lnTo>
                  <a:lnTo>
                    <a:pt x="184" y="230"/>
                  </a:lnTo>
                  <a:lnTo>
                    <a:pt x="186" y="238"/>
                  </a:lnTo>
                  <a:lnTo>
                    <a:pt x="190" y="238"/>
                  </a:lnTo>
                  <a:lnTo>
                    <a:pt x="190" y="240"/>
                  </a:lnTo>
                  <a:lnTo>
                    <a:pt x="190" y="242"/>
                  </a:lnTo>
                  <a:lnTo>
                    <a:pt x="188" y="242"/>
                  </a:lnTo>
                  <a:lnTo>
                    <a:pt x="188" y="244"/>
                  </a:lnTo>
                  <a:lnTo>
                    <a:pt x="194" y="248"/>
                  </a:lnTo>
                  <a:lnTo>
                    <a:pt x="194" y="250"/>
                  </a:lnTo>
                  <a:lnTo>
                    <a:pt x="194" y="254"/>
                  </a:lnTo>
                  <a:lnTo>
                    <a:pt x="198" y="254"/>
                  </a:lnTo>
                  <a:lnTo>
                    <a:pt x="198" y="258"/>
                  </a:lnTo>
                  <a:lnTo>
                    <a:pt x="198" y="262"/>
                  </a:lnTo>
                  <a:lnTo>
                    <a:pt x="190" y="264"/>
                  </a:lnTo>
                  <a:lnTo>
                    <a:pt x="192" y="266"/>
                  </a:lnTo>
                  <a:lnTo>
                    <a:pt x="192" y="270"/>
                  </a:lnTo>
                  <a:lnTo>
                    <a:pt x="188" y="272"/>
                  </a:lnTo>
                  <a:lnTo>
                    <a:pt x="188" y="274"/>
                  </a:lnTo>
                  <a:lnTo>
                    <a:pt x="188" y="276"/>
                  </a:lnTo>
                  <a:lnTo>
                    <a:pt x="192" y="278"/>
                  </a:lnTo>
                  <a:lnTo>
                    <a:pt x="188" y="282"/>
                  </a:lnTo>
                  <a:lnTo>
                    <a:pt x="186" y="284"/>
                  </a:lnTo>
                  <a:lnTo>
                    <a:pt x="188" y="286"/>
                  </a:lnTo>
                  <a:lnTo>
                    <a:pt x="202" y="288"/>
                  </a:lnTo>
                  <a:lnTo>
                    <a:pt x="202" y="282"/>
                  </a:lnTo>
                  <a:lnTo>
                    <a:pt x="204" y="276"/>
                  </a:lnTo>
                  <a:lnTo>
                    <a:pt x="208" y="278"/>
                  </a:lnTo>
                  <a:lnTo>
                    <a:pt x="208" y="282"/>
                  </a:lnTo>
                  <a:lnTo>
                    <a:pt x="216" y="282"/>
                  </a:lnTo>
                  <a:lnTo>
                    <a:pt x="226" y="284"/>
                  </a:lnTo>
                  <a:lnTo>
                    <a:pt x="226" y="286"/>
                  </a:lnTo>
                  <a:lnTo>
                    <a:pt x="224" y="290"/>
                  </a:lnTo>
                  <a:lnTo>
                    <a:pt x="230" y="288"/>
                  </a:lnTo>
                  <a:lnTo>
                    <a:pt x="236" y="288"/>
                  </a:lnTo>
                  <a:lnTo>
                    <a:pt x="234" y="290"/>
                  </a:lnTo>
                  <a:lnTo>
                    <a:pt x="232" y="290"/>
                  </a:lnTo>
                  <a:lnTo>
                    <a:pt x="246" y="292"/>
                  </a:lnTo>
                  <a:lnTo>
                    <a:pt x="242" y="294"/>
                  </a:lnTo>
                  <a:lnTo>
                    <a:pt x="240" y="296"/>
                  </a:lnTo>
                  <a:lnTo>
                    <a:pt x="240" y="298"/>
                  </a:lnTo>
                  <a:lnTo>
                    <a:pt x="244" y="298"/>
                  </a:lnTo>
                  <a:lnTo>
                    <a:pt x="238" y="300"/>
                  </a:lnTo>
                  <a:lnTo>
                    <a:pt x="238" y="304"/>
                  </a:lnTo>
                  <a:lnTo>
                    <a:pt x="244" y="304"/>
                  </a:lnTo>
                  <a:lnTo>
                    <a:pt x="246" y="304"/>
                  </a:lnTo>
                  <a:lnTo>
                    <a:pt x="244" y="304"/>
                  </a:lnTo>
                  <a:lnTo>
                    <a:pt x="238" y="304"/>
                  </a:lnTo>
                  <a:lnTo>
                    <a:pt x="238" y="308"/>
                  </a:lnTo>
                  <a:lnTo>
                    <a:pt x="246" y="312"/>
                  </a:lnTo>
                  <a:lnTo>
                    <a:pt x="244" y="312"/>
                  </a:lnTo>
                  <a:lnTo>
                    <a:pt x="234" y="310"/>
                  </a:lnTo>
                  <a:lnTo>
                    <a:pt x="228" y="306"/>
                  </a:lnTo>
                  <a:lnTo>
                    <a:pt x="224" y="304"/>
                  </a:lnTo>
                  <a:lnTo>
                    <a:pt x="218" y="302"/>
                  </a:lnTo>
                  <a:lnTo>
                    <a:pt x="210" y="302"/>
                  </a:lnTo>
                  <a:lnTo>
                    <a:pt x="196" y="304"/>
                  </a:lnTo>
                  <a:lnTo>
                    <a:pt x="198" y="306"/>
                  </a:lnTo>
                  <a:lnTo>
                    <a:pt x="198" y="308"/>
                  </a:lnTo>
                  <a:lnTo>
                    <a:pt x="204" y="310"/>
                  </a:lnTo>
                  <a:lnTo>
                    <a:pt x="208" y="310"/>
                  </a:lnTo>
                  <a:lnTo>
                    <a:pt x="210" y="316"/>
                  </a:lnTo>
                  <a:lnTo>
                    <a:pt x="196" y="314"/>
                  </a:lnTo>
                  <a:lnTo>
                    <a:pt x="194" y="324"/>
                  </a:lnTo>
                  <a:lnTo>
                    <a:pt x="190" y="330"/>
                  </a:lnTo>
                  <a:lnTo>
                    <a:pt x="192" y="332"/>
                  </a:lnTo>
                  <a:lnTo>
                    <a:pt x="194" y="334"/>
                  </a:lnTo>
                  <a:lnTo>
                    <a:pt x="208" y="334"/>
                  </a:lnTo>
                  <a:lnTo>
                    <a:pt x="208" y="338"/>
                  </a:lnTo>
                  <a:lnTo>
                    <a:pt x="196" y="338"/>
                  </a:lnTo>
                  <a:lnTo>
                    <a:pt x="200" y="344"/>
                  </a:lnTo>
                  <a:lnTo>
                    <a:pt x="206" y="344"/>
                  </a:lnTo>
                  <a:lnTo>
                    <a:pt x="212" y="342"/>
                  </a:lnTo>
                  <a:lnTo>
                    <a:pt x="222" y="338"/>
                  </a:lnTo>
                  <a:lnTo>
                    <a:pt x="224" y="336"/>
                  </a:lnTo>
                  <a:lnTo>
                    <a:pt x="228" y="336"/>
                  </a:lnTo>
                  <a:lnTo>
                    <a:pt x="228" y="332"/>
                  </a:lnTo>
                  <a:lnTo>
                    <a:pt x="228" y="330"/>
                  </a:lnTo>
                  <a:lnTo>
                    <a:pt x="220" y="322"/>
                  </a:lnTo>
                  <a:lnTo>
                    <a:pt x="210" y="316"/>
                  </a:lnTo>
                  <a:lnTo>
                    <a:pt x="210" y="312"/>
                  </a:lnTo>
                  <a:lnTo>
                    <a:pt x="216" y="312"/>
                  </a:lnTo>
                  <a:lnTo>
                    <a:pt x="220" y="314"/>
                  </a:lnTo>
                  <a:lnTo>
                    <a:pt x="222" y="318"/>
                  </a:lnTo>
                  <a:lnTo>
                    <a:pt x="224" y="320"/>
                  </a:lnTo>
                  <a:lnTo>
                    <a:pt x="230" y="320"/>
                  </a:lnTo>
                  <a:lnTo>
                    <a:pt x="234" y="318"/>
                  </a:lnTo>
                  <a:lnTo>
                    <a:pt x="236" y="320"/>
                  </a:lnTo>
                  <a:lnTo>
                    <a:pt x="238" y="322"/>
                  </a:lnTo>
                  <a:lnTo>
                    <a:pt x="240" y="322"/>
                  </a:lnTo>
                  <a:lnTo>
                    <a:pt x="246" y="320"/>
                  </a:lnTo>
                  <a:lnTo>
                    <a:pt x="242" y="336"/>
                  </a:lnTo>
                  <a:lnTo>
                    <a:pt x="250" y="336"/>
                  </a:lnTo>
                  <a:lnTo>
                    <a:pt x="248" y="340"/>
                  </a:lnTo>
                  <a:lnTo>
                    <a:pt x="248" y="342"/>
                  </a:lnTo>
                  <a:lnTo>
                    <a:pt x="250" y="344"/>
                  </a:lnTo>
                  <a:lnTo>
                    <a:pt x="248" y="346"/>
                  </a:lnTo>
                  <a:lnTo>
                    <a:pt x="246" y="348"/>
                  </a:lnTo>
                  <a:lnTo>
                    <a:pt x="244" y="346"/>
                  </a:lnTo>
                  <a:lnTo>
                    <a:pt x="240" y="344"/>
                  </a:lnTo>
                  <a:lnTo>
                    <a:pt x="240" y="346"/>
                  </a:lnTo>
                  <a:lnTo>
                    <a:pt x="242" y="358"/>
                  </a:lnTo>
                  <a:lnTo>
                    <a:pt x="230" y="358"/>
                  </a:lnTo>
                  <a:lnTo>
                    <a:pt x="228" y="360"/>
                  </a:lnTo>
                  <a:lnTo>
                    <a:pt x="226" y="362"/>
                  </a:lnTo>
                  <a:lnTo>
                    <a:pt x="222" y="362"/>
                  </a:lnTo>
                  <a:lnTo>
                    <a:pt x="222" y="364"/>
                  </a:lnTo>
                  <a:lnTo>
                    <a:pt x="228" y="366"/>
                  </a:lnTo>
                  <a:lnTo>
                    <a:pt x="234" y="366"/>
                  </a:lnTo>
                  <a:lnTo>
                    <a:pt x="238" y="364"/>
                  </a:lnTo>
                  <a:lnTo>
                    <a:pt x="244" y="360"/>
                  </a:lnTo>
                  <a:lnTo>
                    <a:pt x="244" y="368"/>
                  </a:lnTo>
                  <a:lnTo>
                    <a:pt x="228" y="370"/>
                  </a:lnTo>
                  <a:lnTo>
                    <a:pt x="226" y="366"/>
                  </a:lnTo>
                  <a:lnTo>
                    <a:pt x="224" y="366"/>
                  </a:lnTo>
                  <a:lnTo>
                    <a:pt x="220" y="366"/>
                  </a:lnTo>
                  <a:lnTo>
                    <a:pt x="222" y="370"/>
                  </a:lnTo>
                  <a:lnTo>
                    <a:pt x="210" y="376"/>
                  </a:lnTo>
                  <a:lnTo>
                    <a:pt x="210" y="382"/>
                  </a:lnTo>
                  <a:lnTo>
                    <a:pt x="214" y="382"/>
                  </a:lnTo>
                  <a:lnTo>
                    <a:pt x="216" y="382"/>
                  </a:lnTo>
                  <a:lnTo>
                    <a:pt x="210" y="386"/>
                  </a:lnTo>
                  <a:lnTo>
                    <a:pt x="214" y="394"/>
                  </a:lnTo>
                  <a:lnTo>
                    <a:pt x="218" y="394"/>
                  </a:lnTo>
                  <a:lnTo>
                    <a:pt x="218" y="396"/>
                  </a:lnTo>
                  <a:lnTo>
                    <a:pt x="218" y="400"/>
                  </a:lnTo>
                  <a:lnTo>
                    <a:pt x="214" y="404"/>
                  </a:lnTo>
                  <a:lnTo>
                    <a:pt x="218" y="404"/>
                  </a:lnTo>
                  <a:lnTo>
                    <a:pt x="218" y="406"/>
                  </a:lnTo>
                  <a:lnTo>
                    <a:pt x="212" y="406"/>
                  </a:lnTo>
                  <a:lnTo>
                    <a:pt x="210" y="410"/>
                  </a:lnTo>
                  <a:lnTo>
                    <a:pt x="220" y="412"/>
                  </a:lnTo>
                  <a:lnTo>
                    <a:pt x="218" y="414"/>
                  </a:lnTo>
                  <a:lnTo>
                    <a:pt x="216" y="414"/>
                  </a:lnTo>
                  <a:lnTo>
                    <a:pt x="214" y="416"/>
                  </a:lnTo>
                  <a:lnTo>
                    <a:pt x="216" y="416"/>
                  </a:lnTo>
                  <a:lnTo>
                    <a:pt x="222" y="416"/>
                  </a:lnTo>
                  <a:lnTo>
                    <a:pt x="226" y="416"/>
                  </a:lnTo>
                  <a:lnTo>
                    <a:pt x="226" y="422"/>
                  </a:lnTo>
                  <a:lnTo>
                    <a:pt x="226" y="426"/>
                  </a:lnTo>
                  <a:lnTo>
                    <a:pt x="232" y="434"/>
                  </a:lnTo>
                  <a:lnTo>
                    <a:pt x="230" y="434"/>
                  </a:lnTo>
                  <a:lnTo>
                    <a:pt x="230" y="436"/>
                  </a:lnTo>
                  <a:lnTo>
                    <a:pt x="230" y="440"/>
                  </a:lnTo>
                  <a:lnTo>
                    <a:pt x="238" y="436"/>
                  </a:lnTo>
                  <a:lnTo>
                    <a:pt x="248" y="432"/>
                  </a:lnTo>
                  <a:lnTo>
                    <a:pt x="248" y="434"/>
                  </a:lnTo>
                  <a:lnTo>
                    <a:pt x="248" y="438"/>
                  </a:lnTo>
                  <a:lnTo>
                    <a:pt x="244" y="438"/>
                  </a:lnTo>
                  <a:lnTo>
                    <a:pt x="244" y="442"/>
                  </a:lnTo>
                  <a:lnTo>
                    <a:pt x="238" y="444"/>
                  </a:lnTo>
                  <a:lnTo>
                    <a:pt x="234" y="444"/>
                  </a:lnTo>
                  <a:lnTo>
                    <a:pt x="240" y="446"/>
                  </a:lnTo>
                  <a:lnTo>
                    <a:pt x="238" y="448"/>
                  </a:lnTo>
                  <a:lnTo>
                    <a:pt x="232" y="448"/>
                  </a:lnTo>
                  <a:lnTo>
                    <a:pt x="234" y="452"/>
                  </a:lnTo>
                  <a:lnTo>
                    <a:pt x="236" y="454"/>
                  </a:lnTo>
                  <a:lnTo>
                    <a:pt x="236" y="456"/>
                  </a:lnTo>
                  <a:lnTo>
                    <a:pt x="242" y="456"/>
                  </a:lnTo>
                  <a:lnTo>
                    <a:pt x="242" y="458"/>
                  </a:lnTo>
                  <a:lnTo>
                    <a:pt x="242" y="460"/>
                  </a:lnTo>
                  <a:lnTo>
                    <a:pt x="240" y="462"/>
                  </a:lnTo>
                  <a:lnTo>
                    <a:pt x="240" y="464"/>
                  </a:lnTo>
                  <a:lnTo>
                    <a:pt x="244" y="468"/>
                  </a:lnTo>
                  <a:lnTo>
                    <a:pt x="246" y="466"/>
                  </a:lnTo>
                  <a:lnTo>
                    <a:pt x="248" y="464"/>
                  </a:lnTo>
                  <a:lnTo>
                    <a:pt x="250" y="466"/>
                  </a:lnTo>
                  <a:lnTo>
                    <a:pt x="250" y="468"/>
                  </a:lnTo>
                  <a:lnTo>
                    <a:pt x="248" y="470"/>
                  </a:lnTo>
                  <a:lnTo>
                    <a:pt x="250" y="474"/>
                  </a:lnTo>
                  <a:lnTo>
                    <a:pt x="254" y="472"/>
                  </a:lnTo>
                  <a:lnTo>
                    <a:pt x="254" y="480"/>
                  </a:lnTo>
                  <a:lnTo>
                    <a:pt x="260" y="478"/>
                  </a:lnTo>
                  <a:lnTo>
                    <a:pt x="262" y="476"/>
                  </a:lnTo>
                  <a:lnTo>
                    <a:pt x="266" y="476"/>
                  </a:lnTo>
                  <a:lnTo>
                    <a:pt x="264" y="482"/>
                  </a:lnTo>
                  <a:lnTo>
                    <a:pt x="268" y="482"/>
                  </a:lnTo>
                  <a:lnTo>
                    <a:pt x="268" y="494"/>
                  </a:lnTo>
                  <a:lnTo>
                    <a:pt x="270" y="494"/>
                  </a:lnTo>
                  <a:lnTo>
                    <a:pt x="272" y="494"/>
                  </a:lnTo>
                  <a:lnTo>
                    <a:pt x="276" y="492"/>
                  </a:lnTo>
                  <a:lnTo>
                    <a:pt x="274" y="492"/>
                  </a:lnTo>
                  <a:lnTo>
                    <a:pt x="274" y="494"/>
                  </a:lnTo>
                  <a:lnTo>
                    <a:pt x="272" y="494"/>
                  </a:lnTo>
                  <a:lnTo>
                    <a:pt x="272" y="496"/>
                  </a:lnTo>
                  <a:lnTo>
                    <a:pt x="276" y="496"/>
                  </a:lnTo>
                  <a:lnTo>
                    <a:pt x="274" y="500"/>
                  </a:lnTo>
                  <a:lnTo>
                    <a:pt x="276" y="502"/>
                  </a:lnTo>
                  <a:lnTo>
                    <a:pt x="276" y="504"/>
                  </a:lnTo>
                  <a:lnTo>
                    <a:pt x="278" y="508"/>
                  </a:lnTo>
                  <a:lnTo>
                    <a:pt x="290" y="504"/>
                  </a:lnTo>
                  <a:lnTo>
                    <a:pt x="294" y="500"/>
                  </a:lnTo>
                  <a:lnTo>
                    <a:pt x="298" y="494"/>
                  </a:lnTo>
                  <a:lnTo>
                    <a:pt x="298" y="504"/>
                  </a:lnTo>
                  <a:lnTo>
                    <a:pt x="298" y="506"/>
                  </a:lnTo>
                  <a:lnTo>
                    <a:pt x="300" y="508"/>
                  </a:lnTo>
                  <a:lnTo>
                    <a:pt x="306" y="508"/>
                  </a:lnTo>
                  <a:lnTo>
                    <a:pt x="316" y="508"/>
                  </a:lnTo>
                  <a:lnTo>
                    <a:pt x="310" y="516"/>
                  </a:lnTo>
                  <a:lnTo>
                    <a:pt x="318" y="510"/>
                  </a:lnTo>
                  <a:lnTo>
                    <a:pt x="316" y="514"/>
                  </a:lnTo>
                  <a:lnTo>
                    <a:pt x="314" y="516"/>
                  </a:lnTo>
                  <a:lnTo>
                    <a:pt x="316" y="516"/>
                  </a:lnTo>
                  <a:lnTo>
                    <a:pt x="320" y="518"/>
                  </a:lnTo>
                  <a:lnTo>
                    <a:pt x="320" y="514"/>
                  </a:lnTo>
                  <a:lnTo>
                    <a:pt x="322" y="512"/>
                  </a:lnTo>
                  <a:lnTo>
                    <a:pt x="322" y="516"/>
                  </a:lnTo>
                  <a:lnTo>
                    <a:pt x="322" y="520"/>
                  </a:lnTo>
                  <a:lnTo>
                    <a:pt x="326" y="522"/>
                  </a:lnTo>
                  <a:lnTo>
                    <a:pt x="334" y="522"/>
                  </a:lnTo>
                  <a:lnTo>
                    <a:pt x="332" y="520"/>
                  </a:lnTo>
                  <a:lnTo>
                    <a:pt x="330" y="518"/>
                  </a:lnTo>
                  <a:lnTo>
                    <a:pt x="336" y="516"/>
                  </a:lnTo>
                  <a:lnTo>
                    <a:pt x="336" y="514"/>
                  </a:lnTo>
                  <a:lnTo>
                    <a:pt x="332" y="512"/>
                  </a:lnTo>
                  <a:lnTo>
                    <a:pt x="334" y="512"/>
                  </a:lnTo>
                  <a:lnTo>
                    <a:pt x="334" y="508"/>
                  </a:lnTo>
                  <a:lnTo>
                    <a:pt x="330" y="508"/>
                  </a:lnTo>
                  <a:lnTo>
                    <a:pt x="326" y="508"/>
                  </a:lnTo>
                  <a:lnTo>
                    <a:pt x="328" y="506"/>
                  </a:lnTo>
                  <a:lnTo>
                    <a:pt x="330" y="506"/>
                  </a:lnTo>
                  <a:lnTo>
                    <a:pt x="332" y="506"/>
                  </a:lnTo>
                  <a:lnTo>
                    <a:pt x="332" y="504"/>
                  </a:lnTo>
                  <a:lnTo>
                    <a:pt x="334" y="502"/>
                  </a:lnTo>
                  <a:lnTo>
                    <a:pt x="334" y="500"/>
                  </a:lnTo>
                  <a:lnTo>
                    <a:pt x="334" y="496"/>
                  </a:lnTo>
                  <a:lnTo>
                    <a:pt x="338" y="494"/>
                  </a:lnTo>
                  <a:lnTo>
                    <a:pt x="338" y="490"/>
                  </a:lnTo>
                  <a:lnTo>
                    <a:pt x="336" y="490"/>
                  </a:lnTo>
                  <a:lnTo>
                    <a:pt x="336" y="488"/>
                  </a:lnTo>
                  <a:lnTo>
                    <a:pt x="342" y="482"/>
                  </a:lnTo>
                  <a:lnTo>
                    <a:pt x="340" y="480"/>
                  </a:lnTo>
                  <a:lnTo>
                    <a:pt x="340" y="474"/>
                  </a:lnTo>
                  <a:lnTo>
                    <a:pt x="344" y="472"/>
                  </a:lnTo>
                  <a:lnTo>
                    <a:pt x="346" y="470"/>
                  </a:lnTo>
                  <a:lnTo>
                    <a:pt x="344" y="468"/>
                  </a:lnTo>
                  <a:lnTo>
                    <a:pt x="342" y="468"/>
                  </a:lnTo>
                  <a:lnTo>
                    <a:pt x="344" y="466"/>
                  </a:lnTo>
                  <a:lnTo>
                    <a:pt x="344" y="464"/>
                  </a:lnTo>
                  <a:lnTo>
                    <a:pt x="346" y="464"/>
                  </a:lnTo>
                  <a:lnTo>
                    <a:pt x="348" y="466"/>
                  </a:lnTo>
                  <a:lnTo>
                    <a:pt x="352" y="462"/>
                  </a:lnTo>
                  <a:lnTo>
                    <a:pt x="352" y="458"/>
                  </a:lnTo>
                  <a:lnTo>
                    <a:pt x="352" y="454"/>
                  </a:lnTo>
                  <a:lnTo>
                    <a:pt x="358" y="454"/>
                  </a:lnTo>
                  <a:lnTo>
                    <a:pt x="358" y="452"/>
                  </a:lnTo>
                  <a:lnTo>
                    <a:pt x="356" y="450"/>
                  </a:lnTo>
                  <a:lnTo>
                    <a:pt x="356" y="448"/>
                  </a:lnTo>
                  <a:lnTo>
                    <a:pt x="356" y="446"/>
                  </a:lnTo>
                  <a:lnTo>
                    <a:pt x="358" y="444"/>
                  </a:lnTo>
                  <a:lnTo>
                    <a:pt x="360" y="440"/>
                  </a:lnTo>
                  <a:lnTo>
                    <a:pt x="352" y="440"/>
                  </a:lnTo>
                  <a:lnTo>
                    <a:pt x="350" y="438"/>
                  </a:lnTo>
                  <a:lnTo>
                    <a:pt x="360" y="440"/>
                  </a:lnTo>
                  <a:lnTo>
                    <a:pt x="360" y="430"/>
                  </a:lnTo>
                  <a:lnTo>
                    <a:pt x="358" y="422"/>
                  </a:lnTo>
                  <a:lnTo>
                    <a:pt x="360" y="422"/>
                  </a:lnTo>
                  <a:lnTo>
                    <a:pt x="364" y="422"/>
                  </a:lnTo>
                  <a:lnTo>
                    <a:pt x="366" y="418"/>
                  </a:lnTo>
                  <a:lnTo>
                    <a:pt x="368" y="416"/>
                  </a:lnTo>
                  <a:lnTo>
                    <a:pt x="366" y="414"/>
                  </a:lnTo>
                  <a:lnTo>
                    <a:pt x="366" y="412"/>
                  </a:lnTo>
                  <a:lnTo>
                    <a:pt x="382" y="412"/>
                  </a:lnTo>
                  <a:lnTo>
                    <a:pt x="388" y="410"/>
                  </a:lnTo>
                  <a:lnTo>
                    <a:pt x="394" y="406"/>
                  </a:lnTo>
                  <a:lnTo>
                    <a:pt x="394" y="412"/>
                  </a:lnTo>
                  <a:lnTo>
                    <a:pt x="400" y="414"/>
                  </a:lnTo>
                  <a:lnTo>
                    <a:pt x="404" y="408"/>
                  </a:lnTo>
                  <a:lnTo>
                    <a:pt x="406" y="406"/>
                  </a:lnTo>
                  <a:lnTo>
                    <a:pt x="410" y="406"/>
                  </a:lnTo>
                  <a:lnTo>
                    <a:pt x="410" y="408"/>
                  </a:lnTo>
                  <a:lnTo>
                    <a:pt x="414" y="410"/>
                  </a:lnTo>
                  <a:lnTo>
                    <a:pt x="418" y="400"/>
                  </a:lnTo>
                  <a:lnTo>
                    <a:pt x="422" y="392"/>
                  </a:lnTo>
                  <a:lnTo>
                    <a:pt x="426" y="390"/>
                  </a:lnTo>
                  <a:lnTo>
                    <a:pt x="428" y="390"/>
                  </a:lnTo>
                  <a:lnTo>
                    <a:pt x="436" y="386"/>
                  </a:lnTo>
                  <a:lnTo>
                    <a:pt x="440" y="382"/>
                  </a:lnTo>
                  <a:lnTo>
                    <a:pt x="442" y="376"/>
                  </a:lnTo>
                  <a:lnTo>
                    <a:pt x="448" y="376"/>
                  </a:lnTo>
                  <a:lnTo>
                    <a:pt x="452" y="374"/>
                  </a:lnTo>
                  <a:lnTo>
                    <a:pt x="452" y="370"/>
                  </a:lnTo>
                  <a:lnTo>
                    <a:pt x="454" y="366"/>
                  </a:lnTo>
                  <a:lnTo>
                    <a:pt x="448" y="358"/>
                  </a:lnTo>
                  <a:lnTo>
                    <a:pt x="454" y="362"/>
                  </a:lnTo>
                  <a:lnTo>
                    <a:pt x="460" y="364"/>
                  </a:lnTo>
                  <a:lnTo>
                    <a:pt x="476" y="364"/>
                  </a:lnTo>
                  <a:lnTo>
                    <a:pt x="474" y="358"/>
                  </a:lnTo>
                  <a:lnTo>
                    <a:pt x="478" y="360"/>
                  </a:lnTo>
                  <a:lnTo>
                    <a:pt x="482" y="362"/>
                  </a:lnTo>
                  <a:lnTo>
                    <a:pt x="486" y="358"/>
                  </a:lnTo>
                  <a:lnTo>
                    <a:pt x="490" y="358"/>
                  </a:lnTo>
                  <a:lnTo>
                    <a:pt x="492" y="360"/>
                  </a:lnTo>
                  <a:lnTo>
                    <a:pt x="506" y="358"/>
                  </a:lnTo>
                  <a:lnTo>
                    <a:pt x="508" y="354"/>
                  </a:lnTo>
                  <a:lnTo>
                    <a:pt x="512" y="354"/>
                  </a:lnTo>
                  <a:lnTo>
                    <a:pt x="516" y="354"/>
                  </a:lnTo>
                  <a:lnTo>
                    <a:pt x="522" y="350"/>
                  </a:lnTo>
                  <a:lnTo>
                    <a:pt x="522" y="344"/>
                  </a:lnTo>
                  <a:lnTo>
                    <a:pt x="524" y="344"/>
                  </a:lnTo>
                  <a:lnTo>
                    <a:pt x="526" y="346"/>
                  </a:lnTo>
                  <a:lnTo>
                    <a:pt x="528" y="346"/>
                  </a:lnTo>
                  <a:lnTo>
                    <a:pt x="530" y="346"/>
                  </a:lnTo>
                  <a:lnTo>
                    <a:pt x="530" y="342"/>
                  </a:lnTo>
                  <a:lnTo>
                    <a:pt x="534" y="340"/>
                  </a:lnTo>
                  <a:lnTo>
                    <a:pt x="536" y="340"/>
                  </a:lnTo>
                  <a:lnTo>
                    <a:pt x="538" y="342"/>
                  </a:lnTo>
                  <a:lnTo>
                    <a:pt x="540" y="342"/>
                  </a:lnTo>
                  <a:lnTo>
                    <a:pt x="544" y="336"/>
                  </a:lnTo>
                  <a:lnTo>
                    <a:pt x="558" y="336"/>
                  </a:lnTo>
                  <a:lnTo>
                    <a:pt x="560" y="334"/>
                  </a:lnTo>
                  <a:lnTo>
                    <a:pt x="558" y="330"/>
                  </a:lnTo>
                  <a:lnTo>
                    <a:pt x="560" y="330"/>
                  </a:lnTo>
                  <a:lnTo>
                    <a:pt x="564" y="330"/>
                  </a:lnTo>
                  <a:lnTo>
                    <a:pt x="564" y="324"/>
                  </a:lnTo>
                  <a:lnTo>
                    <a:pt x="566" y="320"/>
                  </a:lnTo>
                  <a:lnTo>
                    <a:pt x="572" y="320"/>
                  </a:lnTo>
                  <a:lnTo>
                    <a:pt x="576" y="318"/>
                  </a:lnTo>
                  <a:lnTo>
                    <a:pt x="576" y="316"/>
                  </a:lnTo>
                  <a:lnTo>
                    <a:pt x="566" y="316"/>
                  </a:lnTo>
                  <a:lnTo>
                    <a:pt x="562" y="316"/>
                  </a:lnTo>
                  <a:lnTo>
                    <a:pt x="556" y="316"/>
                  </a:lnTo>
                  <a:lnTo>
                    <a:pt x="552" y="312"/>
                  </a:lnTo>
                  <a:lnTo>
                    <a:pt x="548" y="310"/>
                  </a:lnTo>
                  <a:lnTo>
                    <a:pt x="544" y="310"/>
                  </a:lnTo>
                  <a:lnTo>
                    <a:pt x="542" y="312"/>
                  </a:lnTo>
                  <a:lnTo>
                    <a:pt x="538" y="316"/>
                  </a:lnTo>
                  <a:lnTo>
                    <a:pt x="530" y="314"/>
                  </a:lnTo>
                  <a:lnTo>
                    <a:pt x="524" y="314"/>
                  </a:lnTo>
                  <a:lnTo>
                    <a:pt x="526" y="312"/>
                  </a:lnTo>
                  <a:lnTo>
                    <a:pt x="528" y="310"/>
                  </a:lnTo>
                  <a:lnTo>
                    <a:pt x="526" y="308"/>
                  </a:lnTo>
                  <a:lnTo>
                    <a:pt x="536" y="306"/>
                  </a:lnTo>
                  <a:lnTo>
                    <a:pt x="536" y="304"/>
                  </a:lnTo>
                  <a:lnTo>
                    <a:pt x="536" y="300"/>
                  </a:lnTo>
                  <a:lnTo>
                    <a:pt x="530" y="298"/>
                  </a:lnTo>
                  <a:lnTo>
                    <a:pt x="520" y="300"/>
                  </a:lnTo>
                  <a:lnTo>
                    <a:pt x="504" y="302"/>
                  </a:lnTo>
                  <a:lnTo>
                    <a:pt x="508" y="296"/>
                  </a:lnTo>
                  <a:lnTo>
                    <a:pt x="522" y="298"/>
                  </a:lnTo>
                  <a:lnTo>
                    <a:pt x="538" y="296"/>
                  </a:lnTo>
                  <a:lnTo>
                    <a:pt x="538" y="290"/>
                  </a:lnTo>
                  <a:lnTo>
                    <a:pt x="530" y="290"/>
                  </a:lnTo>
                  <a:lnTo>
                    <a:pt x="528" y="288"/>
                  </a:lnTo>
                  <a:lnTo>
                    <a:pt x="522" y="286"/>
                  </a:lnTo>
                  <a:lnTo>
                    <a:pt x="514" y="288"/>
                  </a:lnTo>
                  <a:lnTo>
                    <a:pt x="502" y="290"/>
                  </a:lnTo>
                  <a:lnTo>
                    <a:pt x="506" y="286"/>
                  </a:lnTo>
                  <a:lnTo>
                    <a:pt x="506" y="284"/>
                  </a:lnTo>
                  <a:lnTo>
                    <a:pt x="504" y="282"/>
                  </a:lnTo>
                  <a:lnTo>
                    <a:pt x="508" y="280"/>
                  </a:lnTo>
                  <a:lnTo>
                    <a:pt x="510" y="282"/>
                  </a:lnTo>
                  <a:lnTo>
                    <a:pt x="510" y="284"/>
                  </a:lnTo>
                  <a:lnTo>
                    <a:pt x="514" y="284"/>
                  </a:lnTo>
                  <a:lnTo>
                    <a:pt x="516" y="284"/>
                  </a:lnTo>
                  <a:lnTo>
                    <a:pt x="522" y="282"/>
                  </a:lnTo>
                  <a:lnTo>
                    <a:pt x="546" y="290"/>
                  </a:lnTo>
                  <a:lnTo>
                    <a:pt x="548" y="294"/>
                  </a:lnTo>
                  <a:lnTo>
                    <a:pt x="550" y="298"/>
                  </a:lnTo>
                  <a:lnTo>
                    <a:pt x="554" y="304"/>
                  </a:lnTo>
                  <a:lnTo>
                    <a:pt x="560" y="308"/>
                  </a:lnTo>
                  <a:lnTo>
                    <a:pt x="566" y="310"/>
                  </a:lnTo>
                  <a:lnTo>
                    <a:pt x="574" y="312"/>
                  </a:lnTo>
                  <a:lnTo>
                    <a:pt x="576" y="312"/>
                  </a:lnTo>
                  <a:lnTo>
                    <a:pt x="580" y="314"/>
                  </a:lnTo>
                  <a:lnTo>
                    <a:pt x="582" y="308"/>
                  </a:lnTo>
                  <a:lnTo>
                    <a:pt x="580" y="308"/>
                  </a:lnTo>
                  <a:lnTo>
                    <a:pt x="578" y="308"/>
                  </a:lnTo>
                  <a:lnTo>
                    <a:pt x="578" y="306"/>
                  </a:lnTo>
                  <a:lnTo>
                    <a:pt x="582" y="298"/>
                  </a:lnTo>
                  <a:lnTo>
                    <a:pt x="578" y="298"/>
                  </a:lnTo>
                  <a:lnTo>
                    <a:pt x="578" y="296"/>
                  </a:lnTo>
                  <a:lnTo>
                    <a:pt x="578" y="294"/>
                  </a:lnTo>
                  <a:lnTo>
                    <a:pt x="578" y="290"/>
                  </a:lnTo>
                  <a:lnTo>
                    <a:pt x="574" y="288"/>
                  </a:lnTo>
                  <a:lnTo>
                    <a:pt x="572" y="290"/>
                  </a:lnTo>
                  <a:lnTo>
                    <a:pt x="572" y="286"/>
                  </a:lnTo>
                  <a:lnTo>
                    <a:pt x="566" y="286"/>
                  </a:lnTo>
                  <a:lnTo>
                    <a:pt x="568" y="282"/>
                  </a:lnTo>
                  <a:lnTo>
                    <a:pt x="564" y="278"/>
                  </a:lnTo>
                  <a:lnTo>
                    <a:pt x="558" y="276"/>
                  </a:lnTo>
                  <a:lnTo>
                    <a:pt x="558" y="274"/>
                  </a:lnTo>
                  <a:lnTo>
                    <a:pt x="560" y="276"/>
                  </a:lnTo>
                  <a:lnTo>
                    <a:pt x="570" y="280"/>
                  </a:lnTo>
                  <a:lnTo>
                    <a:pt x="576" y="282"/>
                  </a:lnTo>
                  <a:lnTo>
                    <a:pt x="580" y="282"/>
                  </a:lnTo>
                  <a:lnTo>
                    <a:pt x="578" y="280"/>
                  </a:lnTo>
                  <a:lnTo>
                    <a:pt x="574" y="276"/>
                  </a:lnTo>
                  <a:lnTo>
                    <a:pt x="576" y="276"/>
                  </a:lnTo>
                  <a:lnTo>
                    <a:pt x="578" y="274"/>
                  </a:lnTo>
                  <a:lnTo>
                    <a:pt x="572" y="272"/>
                  </a:lnTo>
                  <a:lnTo>
                    <a:pt x="578" y="268"/>
                  </a:lnTo>
                  <a:lnTo>
                    <a:pt x="578" y="266"/>
                  </a:lnTo>
                  <a:lnTo>
                    <a:pt x="578" y="264"/>
                  </a:lnTo>
                  <a:lnTo>
                    <a:pt x="578" y="262"/>
                  </a:lnTo>
                  <a:lnTo>
                    <a:pt x="572" y="262"/>
                  </a:lnTo>
                  <a:lnTo>
                    <a:pt x="572" y="260"/>
                  </a:lnTo>
                  <a:lnTo>
                    <a:pt x="570" y="260"/>
                  </a:lnTo>
                  <a:lnTo>
                    <a:pt x="568" y="260"/>
                  </a:lnTo>
                  <a:lnTo>
                    <a:pt x="570" y="256"/>
                  </a:lnTo>
                  <a:lnTo>
                    <a:pt x="560" y="252"/>
                  </a:lnTo>
                  <a:lnTo>
                    <a:pt x="552" y="248"/>
                  </a:lnTo>
                  <a:lnTo>
                    <a:pt x="564" y="250"/>
                  </a:lnTo>
                  <a:lnTo>
                    <a:pt x="576" y="250"/>
                  </a:lnTo>
                  <a:lnTo>
                    <a:pt x="582" y="248"/>
                  </a:lnTo>
                  <a:lnTo>
                    <a:pt x="582" y="246"/>
                  </a:lnTo>
                  <a:lnTo>
                    <a:pt x="586" y="244"/>
                  </a:lnTo>
                  <a:lnTo>
                    <a:pt x="592" y="244"/>
                  </a:lnTo>
                  <a:lnTo>
                    <a:pt x="590" y="240"/>
                  </a:lnTo>
                  <a:lnTo>
                    <a:pt x="592" y="236"/>
                  </a:lnTo>
                  <a:lnTo>
                    <a:pt x="580" y="234"/>
                  </a:lnTo>
                  <a:lnTo>
                    <a:pt x="580" y="238"/>
                  </a:lnTo>
                  <a:lnTo>
                    <a:pt x="578" y="240"/>
                  </a:lnTo>
                  <a:lnTo>
                    <a:pt x="578" y="236"/>
                  </a:lnTo>
                  <a:lnTo>
                    <a:pt x="574" y="234"/>
                  </a:lnTo>
                  <a:lnTo>
                    <a:pt x="572" y="234"/>
                  </a:lnTo>
                  <a:lnTo>
                    <a:pt x="572" y="230"/>
                  </a:lnTo>
                  <a:lnTo>
                    <a:pt x="572" y="228"/>
                  </a:lnTo>
                  <a:lnTo>
                    <a:pt x="574" y="228"/>
                  </a:lnTo>
                  <a:lnTo>
                    <a:pt x="574" y="222"/>
                  </a:lnTo>
                  <a:lnTo>
                    <a:pt x="576" y="222"/>
                  </a:lnTo>
                  <a:lnTo>
                    <a:pt x="578" y="222"/>
                  </a:lnTo>
                  <a:lnTo>
                    <a:pt x="578" y="224"/>
                  </a:lnTo>
                  <a:lnTo>
                    <a:pt x="576" y="224"/>
                  </a:lnTo>
                  <a:lnTo>
                    <a:pt x="576" y="226"/>
                  </a:lnTo>
                  <a:lnTo>
                    <a:pt x="576" y="232"/>
                  </a:lnTo>
                  <a:lnTo>
                    <a:pt x="582" y="232"/>
                  </a:lnTo>
                  <a:lnTo>
                    <a:pt x="588" y="232"/>
                  </a:lnTo>
                  <a:lnTo>
                    <a:pt x="588" y="228"/>
                  </a:lnTo>
                  <a:lnTo>
                    <a:pt x="578" y="224"/>
                  </a:lnTo>
                  <a:lnTo>
                    <a:pt x="582" y="224"/>
                  </a:lnTo>
                  <a:lnTo>
                    <a:pt x="596" y="226"/>
                  </a:lnTo>
                  <a:lnTo>
                    <a:pt x="598" y="230"/>
                  </a:lnTo>
                  <a:lnTo>
                    <a:pt x="604" y="230"/>
                  </a:lnTo>
                  <a:lnTo>
                    <a:pt x="608" y="228"/>
                  </a:lnTo>
                  <a:lnTo>
                    <a:pt x="606" y="222"/>
                  </a:lnTo>
                  <a:lnTo>
                    <a:pt x="590" y="224"/>
                  </a:lnTo>
                  <a:lnTo>
                    <a:pt x="590" y="220"/>
                  </a:lnTo>
                  <a:lnTo>
                    <a:pt x="592" y="216"/>
                  </a:lnTo>
                  <a:lnTo>
                    <a:pt x="588" y="216"/>
                  </a:lnTo>
                  <a:lnTo>
                    <a:pt x="586" y="220"/>
                  </a:lnTo>
                  <a:lnTo>
                    <a:pt x="584" y="220"/>
                  </a:lnTo>
                  <a:lnTo>
                    <a:pt x="584" y="218"/>
                  </a:lnTo>
                  <a:lnTo>
                    <a:pt x="586" y="216"/>
                  </a:lnTo>
                  <a:lnTo>
                    <a:pt x="586" y="212"/>
                  </a:lnTo>
                  <a:lnTo>
                    <a:pt x="586" y="210"/>
                  </a:lnTo>
                  <a:lnTo>
                    <a:pt x="586" y="208"/>
                  </a:lnTo>
                  <a:lnTo>
                    <a:pt x="580" y="206"/>
                  </a:lnTo>
                  <a:lnTo>
                    <a:pt x="578" y="204"/>
                  </a:lnTo>
                  <a:lnTo>
                    <a:pt x="582" y="204"/>
                  </a:lnTo>
                  <a:lnTo>
                    <a:pt x="592" y="204"/>
                  </a:lnTo>
                  <a:lnTo>
                    <a:pt x="596" y="208"/>
                  </a:lnTo>
                  <a:lnTo>
                    <a:pt x="600" y="208"/>
                  </a:lnTo>
                  <a:lnTo>
                    <a:pt x="600" y="206"/>
                  </a:lnTo>
                  <a:lnTo>
                    <a:pt x="602" y="206"/>
                  </a:lnTo>
                  <a:lnTo>
                    <a:pt x="598" y="190"/>
                  </a:lnTo>
                  <a:lnTo>
                    <a:pt x="594" y="190"/>
                  </a:lnTo>
                  <a:lnTo>
                    <a:pt x="596" y="188"/>
                  </a:lnTo>
                  <a:lnTo>
                    <a:pt x="596" y="184"/>
                  </a:lnTo>
                  <a:lnTo>
                    <a:pt x="596" y="182"/>
                  </a:lnTo>
                  <a:lnTo>
                    <a:pt x="588" y="180"/>
                  </a:lnTo>
                  <a:lnTo>
                    <a:pt x="588" y="184"/>
                  </a:lnTo>
                  <a:lnTo>
                    <a:pt x="584" y="186"/>
                  </a:lnTo>
                  <a:lnTo>
                    <a:pt x="584" y="184"/>
                  </a:lnTo>
                  <a:lnTo>
                    <a:pt x="576" y="186"/>
                  </a:lnTo>
                  <a:lnTo>
                    <a:pt x="578" y="184"/>
                  </a:lnTo>
                  <a:lnTo>
                    <a:pt x="588" y="178"/>
                  </a:lnTo>
                  <a:lnTo>
                    <a:pt x="586" y="174"/>
                  </a:lnTo>
                  <a:lnTo>
                    <a:pt x="584" y="168"/>
                  </a:lnTo>
                  <a:lnTo>
                    <a:pt x="600" y="170"/>
                  </a:lnTo>
                  <a:lnTo>
                    <a:pt x="616" y="174"/>
                  </a:lnTo>
                  <a:lnTo>
                    <a:pt x="616" y="166"/>
                  </a:lnTo>
                  <a:lnTo>
                    <a:pt x="612" y="166"/>
                  </a:lnTo>
                  <a:lnTo>
                    <a:pt x="610" y="158"/>
                  </a:lnTo>
                  <a:lnTo>
                    <a:pt x="606" y="158"/>
                  </a:lnTo>
                  <a:lnTo>
                    <a:pt x="604" y="158"/>
                  </a:lnTo>
                  <a:lnTo>
                    <a:pt x="606" y="160"/>
                  </a:lnTo>
                  <a:lnTo>
                    <a:pt x="602" y="160"/>
                  </a:lnTo>
                  <a:lnTo>
                    <a:pt x="594" y="158"/>
                  </a:lnTo>
                  <a:lnTo>
                    <a:pt x="592" y="158"/>
                  </a:lnTo>
                  <a:lnTo>
                    <a:pt x="592" y="156"/>
                  </a:lnTo>
                  <a:lnTo>
                    <a:pt x="592" y="152"/>
                  </a:lnTo>
                  <a:lnTo>
                    <a:pt x="598" y="152"/>
                  </a:lnTo>
                  <a:lnTo>
                    <a:pt x="604" y="154"/>
                  </a:lnTo>
                  <a:lnTo>
                    <a:pt x="602" y="150"/>
                  </a:lnTo>
                  <a:lnTo>
                    <a:pt x="602" y="148"/>
                  </a:lnTo>
                  <a:lnTo>
                    <a:pt x="596" y="146"/>
                  </a:lnTo>
                  <a:lnTo>
                    <a:pt x="592" y="146"/>
                  </a:lnTo>
                  <a:lnTo>
                    <a:pt x="584" y="144"/>
                  </a:lnTo>
                  <a:lnTo>
                    <a:pt x="578" y="144"/>
                  </a:lnTo>
                  <a:lnTo>
                    <a:pt x="578" y="140"/>
                  </a:lnTo>
                  <a:lnTo>
                    <a:pt x="578" y="138"/>
                  </a:lnTo>
                  <a:lnTo>
                    <a:pt x="592" y="140"/>
                  </a:lnTo>
                  <a:lnTo>
                    <a:pt x="590" y="140"/>
                  </a:lnTo>
                  <a:lnTo>
                    <a:pt x="592" y="142"/>
                  </a:lnTo>
                  <a:lnTo>
                    <a:pt x="594" y="142"/>
                  </a:lnTo>
                  <a:lnTo>
                    <a:pt x="596" y="138"/>
                  </a:lnTo>
                  <a:lnTo>
                    <a:pt x="596" y="134"/>
                  </a:lnTo>
                  <a:lnTo>
                    <a:pt x="600" y="130"/>
                  </a:lnTo>
                  <a:lnTo>
                    <a:pt x="606" y="126"/>
                  </a:lnTo>
                  <a:lnTo>
                    <a:pt x="606" y="112"/>
                  </a:lnTo>
                  <a:lnTo>
                    <a:pt x="620" y="112"/>
                  </a:lnTo>
                  <a:lnTo>
                    <a:pt x="620" y="104"/>
                  </a:lnTo>
                  <a:lnTo>
                    <a:pt x="624" y="102"/>
                  </a:lnTo>
                  <a:lnTo>
                    <a:pt x="626" y="100"/>
                  </a:lnTo>
                  <a:lnTo>
                    <a:pt x="622" y="98"/>
                  </a:lnTo>
                  <a:lnTo>
                    <a:pt x="616" y="96"/>
                  </a:lnTo>
                  <a:lnTo>
                    <a:pt x="606" y="96"/>
                  </a:lnTo>
                  <a:lnTo>
                    <a:pt x="604" y="98"/>
                  </a:lnTo>
                  <a:lnTo>
                    <a:pt x="600" y="100"/>
                  </a:lnTo>
                  <a:lnTo>
                    <a:pt x="598" y="100"/>
                  </a:lnTo>
                  <a:lnTo>
                    <a:pt x="594" y="96"/>
                  </a:lnTo>
                  <a:lnTo>
                    <a:pt x="594" y="92"/>
                  </a:lnTo>
                  <a:lnTo>
                    <a:pt x="594" y="90"/>
                  </a:lnTo>
                  <a:lnTo>
                    <a:pt x="596" y="90"/>
                  </a:lnTo>
                  <a:lnTo>
                    <a:pt x="600" y="90"/>
                  </a:lnTo>
                  <a:lnTo>
                    <a:pt x="606" y="88"/>
                  </a:lnTo>
                  <a:lnTo>
                    <a:pt x="624" y="92"/>
                  </a:lnTo>
                  <a:lnTo>
                    <a:pt x="632" y="92"/>
                  </a:lnTo>
                  <a:lnTo>
                    <a:pt x="638" y="90"/>
                  </a:lnTo>
                  <a:lnTo>
                    <a:pt x="642" y="86"/>
                  </a:lnTo>
                  <a:lnTo>
                    <a:pt x="644" y="84"/>
                  </a:lnTo>
                  <a:lnTo>
                    <a:pt x="646" y="84"/>
                  </a:lnTo>
                  <a:lnTo>
                    <a:pt x="646" y="80"/>
                  </a:lnTo>
                  <a:lnTo>
                    <a:pt x="638" y="78"/>
                  </a:lnTo>
                  <a:lnTo>
                    <a:pt x="620" y="84"/>
                  </a:lnTo>
                  <a:lnTo>
                    <a:pt x="612" y="82"/>
                  </a:lnTo>
                  <a:lnTo>
                    <a:pt x="610" y="82"/>
                  </a:lnTo>
                  <a:lnTo>
                    <a:pt x="612" y="80"/>
                  </a:lnTo>
                  <a:lnTo>
                    <a:pt x="620" y="78"/>
                  </a:lnTo>
                  <a:lnTo>
                    <a:pt x="634" y="78"/>
                  </a:lnTo>
                  <a:lnTo>
                    <a:pt x="648" y="78"/>
                  </a:lnTo>
                  <a:lnTo>
                    <a:pt x="648" y="74"/>
                  </a:lnTo>
                  <a:lnTo>
                    <a:pt x="654" y="74"/>
                  </a:lnTo>
                  <a:lnTo>
                    <a:pt x="660" y="72"/>
                  </a:lnTo>
                  <a:lnTo>
                    <a:pt x="662" y="70"/>
                  </a:lnTo>
                  <a:lnTo>
                    <a:pt x="662" y="68"/>
                  </a:lnTo>
                  <a:lnTo>
                    <a:pt x="672" y="66"/>
                  </a:lnTo>
                  <a:lnTo>
                    <a:pt x="680" y="64"/>
                  </a:lnTo>
                  <a:lnTo>
                    <a:pt x="682" y="60"/>
                  </a:lnTo>
                  <a:lnTo>
                    <a:pt x="676" y="56"/>
                  </a:lnTo>
                  <a:lnTo>
                    <a:pt x="650" y="54"/>
                  </a:lnTo>
                  <a:lnTo>
                    <a:pt x="622" y="54"/>
                  </a:lnTo>
                  <a:lnTo>
                    <a:pt x="622" y="58"/>
                  </a:lnTo>
                  <a:lnTo>
                    <a:pt x="610" y="60"/>
                  </a:lnTo>
                  <a:lnTo>
                    <a:pt x="598" y="58"/>
                  </a:lnTo>
                  <a:lnTo>
                    <a:pt x="598" y="62"/>
                  </a:lnTo>
                  <a:lnTo>
                    <a:pt x="596" y="62"/>
                  </a:lnTo>
                  <a:lnTo>
                    <a:pt x="596" y="58"/>
                  </a:lnTo>
                  <a:lnTo>
                    <a:pt x="592" y="56"/>
                  </a:lnTo>
                  <a:lnTo>
                    <a:pt x="588" y="60"/>
                  </a:lnTo>
                  <a:lnTo>
                    <a:pt x="584" y="64"/>
                  </a:lnTo>
                  <a:lnTo>
                    <a:pt x="580" y="64"/>
                  </a:lnTo>
                  <a:lnTo>
                    <a:pt x="578" y="64"/>
                  </a:lnTo>
                  <a:lnTo>
                    <a:pt x="572" y="72"/>
                  </a:lnTo>
                  <a:lnTo>
                    <a:pt x="566" y="72"/>
                  </a:lnTo>
                  <a:lnTo>
                    <a:pt x="558" y="74"/>
                  </a:lnTo>
                  <a:lnTo>
                    <a:pt x="546" y="72"/>
                  </a:lnTo>
                  <a:lnTo>
                    <a:pt x="544" y="70"/>
                  </a:lnTo>
                  <a:lnTo>
                    <a:pt x="550" y="66"/>
                  </a:lnTo>
                  <a:lnTo>
                    <a:pt x="552" y="66"/>
                  </a:lnTo>
                  <a:lnTo>
                    <a:pt x="554" y="66"/>
                  </a:lnTo>
                  <a:lnTo>
                    <a:pt x="556" y="68"/>
                  </a:lnTo>
                  <a:lnTo>
                    <a:pt x="558" y="68"/>
                  </a:lnTo>
                  <a:lnTo>
                    <a:pt x="560" y="64"/>
                  </a:lnTo>
                  <a:lnTo>
                    <a:pt x="568" y="58"/>
                  </a:lnTo>
                  <a:lnTo>
                    <a:pt x="574" y="50"/>
                  </a:lnTo>
                  <a:lnTo>
                    <a:pt x="564" y="48"/>
                  </a:lnTo>
                  <a:lnTo>
                    <a:pt x="556" y="48"/>
                  </a:lnTo>
                  <a:lnTo>
                    <a:pt x="550" y="48"/>
                  </a:lnTo>
                  <a:lnTo>
                    <a:pt x="550" y="50"/>
                  </a:lnTo>
                  <a:lnTo>
                    <a:pt x="550" y="52"/>
                  </a:lnTo>
                  <a:lnTo>
                    <a:pt x="550" y="56"/>
                  </a:lnTo>
                  <a:lnTo>
                    <a:pt x="546" y="58"/>
                  </a:lnTo>
                  <a:lnTo>
                    <a:pt x="536" y="58"/>
                  </a:lnTo>
                  <a:lnTo>
                    <a:pt x="524" y="58"/>
                  </a:lnTo>
                  <a:lnTo>
                    <a:pt x="526" y="56"/>
                  </a:lnTo>
                  <a:lnTo>
                    <a:pt x="526" y="54"/>
                  </a:lnTo>
                  <a:lnTo>
                    <a:pt x="526" y="50"/>
                  </a:lnTo>
                  <a:lnTo>
                    <a:pt x="524" y="48"/>
                  </a:lnTo>
                  <a:lnTo>
                    <a:pt x="518" y="48"/>
                  </a:lnTo>
                  <a:lnTo>
                    <a:pt x="510" y="48"/>
                  </a:lnTo>
                  <a:lnTo>
                    <a:pt x="496" y="50"/>
                  </a:lnTo>
                  <a:lnTo>
                    <a:pt x="486" y="50"/>
                  </a:lnTo>
                  <a:lnTo>
                    <a:pt x="478" y="48"/>
                  </a:lnTo>
                  <a:lnTo>
                    <a:pt x="468" y="52"/>
                  </a:lnTo>
                  <a:lnTo>
                    <a:pt x="458" y="56"/>
                  </a:lnTo>
                  <a:lnTo>
                    <a:pt x="448" y="56"/>
                  </a:lnTo>
                  <a:lnTo>
                    <a:pt x="470" y="48"/>
                  </a:lnTo>
                  <a:lnTo>
                    <a:pt x="470" y="44"/>
                  </a:lnTo>
                  <a:lnTo>
                    <a:pt x="476" y="44"/>
                  </a:lnTo>
                  <a:lnTo>
                    <a:pt x="488" y="42"/>
                  </a:lnTo>
                  <a:lnTo>
                    <a:pt x="502" y="42"/>
                  </a:lnTo>
                  <a:lnTo>
                    <a:pt x="522" y="44"/>
                  </a:lnTo>
                  <a:lnTo>
                    <a:pt x="528" y="44"/>
                  </a:lnTo>
                  <a:lnTo>
                    <a:pt x="542" y="44"/>
                  </a:lnTo>
                  <a:lnTo>
                    <a:pt x="556" y="44"/>
                  </a:lnTo>
                  <a:lnTo>
                    <a:pt x="568" y="44"/>
                  </a:lnTo>
                  <a:lnTo>
                    <a:pt x="578" y="44"/>
                  </a:lnTo>
                  <a:lnTo>
                    <a:pt x="592" y="34"/>
                  </a:lnTo>
                  <a:lnTo>
                    <a:pt x="580" y="28"/>
                  </a:lnTo>
                  <a:lnTo>
                    <a:pt x="576" y="28"/>
                  </a:lnTo>
                  <a:lnTo>
                    <a:pt x="572" y="28"/>
                  </a:lnTo>
                  <a:lnTo>
                    <a:pt x="566" y="30"/>
                  </a:lnTo>
                  <a:lnTo>
                    <a:pt x="566" y="28"/>
                  </a:lnTo>
                  <a:lnTo>
                    <a:pt x="564" y="24"/>
                  </a:lnTo>
                  <a:lnTo>
                    <a:pt x="552" y="24"/>
                  </a:lnTo>
                  <a:lnTo>
                    <a:pt x="538" y="28"/>
                  </a:lnTo>
                  <a:lnTo>
                    <a:pt x="548" y="24"/>
                  </a:lnTo>
                  <a:lnTo>
                    <a:pt x="546" y="16"/>
                  </a:lnTo>
                  <a:lnTo>
                    <a:pt x="540" y="12"/>
                  </a:lnTo>
                  <a:lnTo>
                    <a:pt x="536" y="12"/>
                  </a:lnTo>
                  <a:lnTo>
                    <a:pt x="534" y="14"/>
                  </a:lnTo>
                  <a:lnTo>
                    <a:pt x="530" y="18"/>
                  </a:lnTo>
                  <a:lnTo>
                    <a:pt x="524" y="18"/>
                  </a:lnTo>
                  <a:lnTo>
                    <a:pt x="516" y="18"/>
                  </a:lnTo>
                  <a:lnTo>
                    <a:pt x="528" y="10"/>
                  </a:lnTo>
                  <a:lnTo>
                    <a:pt x="528" y="6"/>
                  </a:lnTo>
                  <a:lnTo>
                    <a:pt x="516" y="6"/>
                  </a:lnTo>
                  <a:lnTo>
                    <a:pt x="504" y="6"/>
                  </a:lnTo>
                  <a:lnTo>
                    <a:pt x="494" y="4"/>
                  </a:lnTo>
                  <a:lnTo>
                    <a:pt x="484" y="6"/>
                  </a:lnTo>
                  <a:lnTo>
                    <a:pt x="480" y="6"/>
                  </a:lnTo>
                  <a:lnTo>
                    <a:pt x="474" y="6"/>
                  </a:lnTo>
                  <a:lnTo>
                    <a:pt x="474" y="4"/>
                  </a:lnTo>
                  <a:lnTo>
                    <a:pt x="466" y="4"/>
                  </a:lnTo>
                  <a:lnTo>
                    <a:pt x="464" y="2"/>
                  </a:lnTo>
                  <a:lnTo>
                    <a:pt x="452" y="0"/>
                  </a:lnTo>
                  <a:lnTo>
                    <a:pt x="440" y="2"/>
                  </a:lnTo>
                  <a:lnTo>
                    <a:pt x="428" y="4"/>
                  </a:lnTo>
                  <a:lnTo>
                    <a:pt x="414" y="4"/>
                  </a:lnTo>
                  <a:lnTo>
                    <a:pt x="408" y="2"/>
                  </a:lnTo>
                  <a:lnTo>
                    <a:pt x="402" y="2"/>
                  </a:lnTo>
                  <a:lnTo>
                    <a:pt x="400" y="4"/>
                  </a:lnTo>
                  <a:lnTo>
                    <a:pt x="400" y="6"/>
                  </a:lnTo>
                  <a:lnTo>
                    <a:pt x="388" y="4"/>
                  </a:lnTo>
                  <a:lnTo>
                    <a:pt x="388" y="10"/>
                  </a:lnTo>
                  <a:lnTo>
                    <a:pt x="382" y="8"/>
                  </a:lnTo>
                  <a:lnTo>
                    <a:pt x="378" y="8"/>
                  </a:lnTo>
                  <a:lnTo>
                    <a:pt x="374" y="8"/>
                  </a:lnTo>
                  <a:lnTo>
                    <a:pt x="374" y="14"/>
                  </a:lnTo>
                  <a:lnTo>
                    <a:pt x="376" y="14"/>
                  </a:lnTo>
                  <a:lnTo>
                    <a:pt x="376" y="16"/>
                  </a:lnTo>
                  <a:lnTo>
                    <a:pt x="372" y="14"/>
                  </a:lnTo>
                  <a:lnTo>
                    <a:pt x="368" y="16"/>
                  </a:lnTo>
                  <a:lnTo>
                    <a:pt x="366" y="18"/>
                  </a:lnTo>
                  <a:lnTo>
                    <a:pt x="366" y="20"/>
                  </a:lnTo>
                  <a:lnTo>
                    <a:pt x="368" y="20"/>
                  </a:lnTo>
                  <a:lnTo>
                    <a:pt x="370" y="24"/>
                  </a:lnTo>
                  <a:lnTo>
                    <a:pt x="366" y="24"/>
                  </a:lnTo>
                  <a:lnTo>
                    <a:pt x="366" y="22"/>
                  </a:lnTo>
                  <a:lnTo>
                    <a:pt x="362" y="18"/>
                  </a:lnTo>
                  <a:lnTo>
                    <a:pt x="356" y="22"/>
                  </a:lnTo>
                  <a:lnTo>
                    <a:pt x="356" y="24"/>
                  </a:lnTo>
                  <a:lnTo>
                    <a:pt x="358" y="28"/>
                  </a:lnTo>
                  <a:lnTo>
                    <a:pt x="346" y="24"/>
                  </a:lnTo>
                  <a:lnTo>
                    <a:pt x="346" y="18"/>
                  </a:lnTo>
                  <a:lnTo>
                    <a:pt x="346" y="16"/>
                  </a:lnTo>
                  <a:lnTo>
                    <a:pt x="330" y="16"/>
                  </a:lnTo>
                  <a:lnTo>
                    <a:pt x="320" y="18"/>
                  </a:lnTo>
                  <a:lnTo>
                    <a:pt x="320" y="20"/>
                  </a:lnTo>
                  <a:lnTo>
                    <a:pt x="322" y="20"/>
                  </a:lnTo>
                  <a:lnTo>
                    <a:pt x="322" y="22"/>
                  </a:lnTo>
                  <a:lnTo>
                    <a:pt x="324" y="22"/>
                  </a:lnTo>
                  <a:lnTo>
                    <a:pt x="324" y="24"/>
                  </a:lnTo>
                  <a:lnTo>
                    <a:pt x="320" y="24"/>
                  </a:lnTo>
                  <a:lnTo>
                    <a:pt x="320" y="30"/>
                  </a:lnTo>
                  <a:lnTo>
                    <a:pt x="326" y="30"/>
                  </a:lnTo>
                  <a:lnTo>
                    <a:pt x="324" y="30"/>
                  </a:lnTo>
                  <a:lnTo>
                    <a:pt x="312" y="30"/>
                  </a:lnTo>
                  <a:lnTo>
                    <a:pt x="314" y="38"/>
                  </a:lnTo>
                  <a:lnTo>
                    <a:pt x="302" y="32"/>
                  </a:lnTo>
                  <a:lnTo>
                    <a:pt x="296" y="34"/>
                  </a:lnTo>
                  <a:lnTo>
                    <a:pt x="292" y="36"/>
                  </a:lnTo>
                  <a:lnTo>
                    <a:pt x="284" y="34"/>
                  </a:lnTo>
                  <a:lnTo>
                    <a:pt x="284" y="36"/>
                  </a:lnTo>
                  <a:lnTo>
                    <a:pt x="284" y="40"/>
                  </a:lnTo>
                  <a:lnTo>
                    <a:pt x="288" y="40"/>
                  </a:lnTo>
                  <a:lnTo>
                    <a:pt x="292" y="46"/>
                  </a:lnTo>
                  <a:lnTo>
                    <a:pt x="306" y="58"/>
                  </a:lnTo>
                  <a:lnTo>
                    <a:pt x="320" y="66"/>
                  </a:lnTo>
                  <a:lnTo>
                    <a:pt x="306" y="62"/>
                  </a:lnTo>
                  <a:lnTo>
                    <a:pt x="302" y="70"/>
                  </a:lnTo>
                  <a:lnTo>
                    <a:pt x="294" y="66"/>
                  </a:lnTo>
                  <a:lnTo>
                    <a:pt x="290" y="66"/>
                  </a:lnTo>
                  <a:lnTo>
                    <a:pt x="284" y="60"/>
                  </a:lnTo>
                  <a:lnTo>
                    <a:pt x="278" y="54"/>
                  </a:lnTo>
                  <a:lnTo>
                    <a:pt x="278" y="48"/>
                  </a:lnTo>
                  <a:lnTo>
                    <a:pt x="274" y="44"/>
                  </a:lnTo>
                  <a:lnTo>
                    <a:pt x="268" y="40"/>
                  </a:lnTo>
                  <a:lnTo>
                    <a:pt x="254" y="34"/>
                  </a:lnTo>
                  <a:lnTo>
                    <a:pt x="252" y="34"/>
                  </a:lnTo>
                  <a:lnTo>
                    <a:pt x="252" y="44"/>
                  </a:lnTo>
                  <a:lnTo>
                    <a:pt x="250" y="52"/>
                  </a:lnTo>
                  <a:lnTo>
                    <a:pt x="250" y="58"/>
                  </a:lnTo>
                  <a:lnTo>
                    <a:pt x="250" y="66"/>
                  </a:lnTo>
                  <a:close/>
                  <a:moveTo>
                    <a:pt x="320" y="522"/>
                  </a:moveTo>
                  <a:lnTo>
                    <a:pt x="320" y="522"/>
                  </a:lnTo>
                  <a:lnTo>
                    <a:pt x="320" y="526"/>
                  </a:lnTo>
                  <a:lnTo>
                    <a:pt x="324" y="526"/>
                  </a:lnTo>
                  <a:lnTo>
                    <a:pt x="324" y="524"/>
                  </a:lnTo>
                  <a:lnTo>
                    <a:pt x="322" y="522"/>
                  </a:lnTo>
                  <a:lnTo>
                    <a:pt x="320" y="522"/>
                  </a:lnTo>
                  <a:close/>
                  <a:moveTo>
                    <a:pt x="396" y="400"/>
                  </a:moveTo>
                  <a:lnTo>
                    <a:pt x="396" y="400"/>
                  </a:lnTo>
                  <a:lnTo>
                    <a:pt x="400" y="398"/>
                  </a:lnTo>
                  <a:lnTo>
                    <a:pt x="400" y="400"/>
                  </a:lnTo>
                  <a:lnTo>
                    <a:pt x="396" y="404"/>
                  </a:lnTo>
                  <a:lnTo>
                    <a:pt x="394" y="404"/>
                  </a:lnTo>
                  <a:lnTo>
                    <a:pt x="394" y="402"/>
                  </a:lnTo>
                  <a:lnTo>
                    <a:pt x="396" y="400"/>
                  </a:lnTo>
                  <a:close/>
                  <a:moveTo>
                    <a:pt x="322" y="66"/>
                  </a:moveTo>
                  <a:lnTo>
                    <a:pt x="322" y="66"/>
                  </a:lnTo>
                  <a:lnTo>
                    <a:pt x="324" y="68"/>
                  </a:lnTo>
                  <a:lnTo>
                    <a:pt x="324" y="70"/>
                  </a:lnTo>
                  <a:lnTo>
                    <a:pt x="322" y="70"/>
                  </a:lnTo>
                  <a:lnTo>
                    <a:pt x="320" y="68"/>
                  </a:lnTo>
                  <a:lnTo>
                    <a:pt x="320" y="66"/>
                  </a:lnTo>
                  <a:lnTo>
                    <a:pt x="322" y="66"/>
                  </a:lnTo>
                  <a:close/>
                  <a:moveTo>
                    <a:pt x="442" y="56"/>
                  </a:moveTo>
                  <a:lnTo>
                    <a:pt x="442" y="56"/>
                  </a:lnTo>
                  <a:lnTo>
                    <a:pt x="446" y="56"/>
                  </a:lnTo>
                  <a:lnTo>
                    <a:pt x="446" y="58"/>
                  </a:lnTo>
                  <a:lnTo>
                    <a:pt x="442" y="60"/>
                  </a:lnTo>
                  <a:lnTo>
                    <a:pt x="440" y="60"/>
                  </a:lnTo>
                  <a:lnTo>
                    <a:pt x="440" y="58"/>
                  </a:lnTo>
                  <a:lnTo>
                    <a:pt x="440" y="56"/>
                  </a:lnTo>
                  <a:lnTo>
                    <a:pt x="442" y="56"/>
                  </a:lnTo>
                  <a:close/>
                  <a:moveTo>
                    <a:pt x="256" y="388"/>
                  </a:moveTo>
                  <a:lnTo>
                    <a:pt x="254" y="394"/>
                  </a:lnTo>
                  <a:lnTo>
                    <a:pt x="248" y="394"/>
                  </a:lnTo>
                  <a:lnTo>
                    <a:pt x="250" y="392"/>
                  </a:lnTo>
                  <a:lnTo>
                    <a:pt x="256" y="388"/>
                  </a:lnTo>
                  <a:close/>
                  <a:moveTo>
                    <a:pt x="242" y="372"/>
                  </a:moveTo>
                  <a:lnTo>
                    <a:pt x="242" y="372"/>
                  </a:lnTo>
                  <a:lnTo>
                    <a:pt x="244" y="370"/>
                  </a:lnTo>
                  <a:lnTo>
                    <a:pt x="246" y="370"/>
                  </a:lnTo>
                  <a:lnTo>
                    <a:pt x="246" y="374"/>
                  </a:lnTo>
                  <a:lnTo>
                    <a:pt x="242" y="382"/>
                  </a:lnTo>
                  <a:lnTo>
                    <a:pt x="218" y="378"/>
                  </a:lnTo>
                  <a:lnTo>
                    <a:pt x="224" y="376"/>
                  </a:lnTo>
                  <a:lnTo>
                    <a:pt x="230" y="374"/>
                  </a:lnTo>
                  <a:lnTo>
                    <a:pt x="232" y="376"/>
                  </a:lnTo>
                  <a:lnTo>
                    <a:pt x="234" y="378"/>
                  </a:lnTo>
                  <a:lnTo>
                    <a:pt x="234" y="380"/>
                  </a:lnTo>
                  <a:lnTo>
                    <a:pt x="236" y="380"/>
                  </a:lnTo>
                  <a:lnTo>
                    <a:pt x="240" y="380"/>
                  </a:lnTo>
                  <a:lnTo>
                    <a:pt x="240" y="372"/>
                  </a:lnTo>
                  <a:lnTo>
                    <a:pt x="242" y="372"/>
                  </a:lnTo>
                  <a:close/>
                  <a:moveTo>
                    <a:pt x="516" y="316"/>
                  </a:moveTo>
                  <a:lnTo>
                    <a:pt x="516" y="316"/>
                  </a:lnTo>
                  <a:lnTo>
                    <a:pt x="518" y="316"/>
                  </a:lnTo>
                  <a:lnTo>
                    <a:pt x="520" y="316"/>
                  </a:lnTo>
                  <a:lnTo>
                    <a:pt x="518" y="318"/>
                  </a:lnTo>
                  <a:lnTo>
                    <a:pt x="514" y="316"/>
                  </a:lnTo>
                  <a:lnTo>
                    <a:pt x="516" y="316"/>
                  </a:lnTo>
                  <a:close/>
                  <a:moveTo>
                    <a:pt x="504" y="302"/>
                  </a:moveTo>
                  <a:lnTo>
                    <a:pt x="504" y="302"/>
                  </a:lnTo>
                  <a:lnTo>
                    <a:pt x="504" y="308"/>
                  </a:lnTo>
                  <a:lnTo>
                    <a:pt x="524" y="308"/>
                  </a:lnTo>
                  <a:lnTo>
                    <a:pt x="502" y="310"/>
                  </a:lnTo>
                  <a:lnTo>
                    <a:pt x="500" y="304"/>
                  </a:lnTo>
                  <a:lnTo>
                    <a:pt x="500" y="302"/>
                  </a:lnTo>
                  <a:lnTo>
                    <a:pt x="504" y="302"/>
                  </a:lnTo>
                  <a:close/>
                  <a:moveTo>
                    <a:pt x="210" y="290"/>
                  </a:moveTo>
                  <a:lnTo>
                    <a:pt x="210" y="290"/>
                  </a:lnTo>
                  <a:lnTo>
                    <a:pt x="212" y="294"/>
                  </a:lnTo>
                  <a:lnTo>
                    <a:pt x="216" y="294"/>
                  </a:lnTo>
                  <a:lnTo>
                    <a:pt x="216" y="292"/>
                  </a:lnTo>
                  <a:lnTo>
                    <a:pt x="214" y="290"/>
                  </a:lnTo>
                  <a:lnTo>
                    <a:pt x="210" y="290"/>
                  </a:lnTo>
                  <a:close/>
                  <a:moveTo>
                    <a:pt x="566" y="266"/>
                  </a:moveTo>
                  <a:lnTo>
                    <a:pt x="566" y="266"/>
                  </a:lnTo>
                  <a:lnTo>
                    <a:pt x="572" y="268"/>
                  </a:lnTo>
                  <a:lnTo>
                    <a:pt x="572" y="270"/>
                  </a:lnTo>
                  <a:lnTo>
                    <a:pt x="568" y="270"/>
                  </a:lnTo>
                  <a:lnTo>
                    <a:pt x="566" y="268"/>
                  </a:lnTo>
                  <a:lnTo>
                    <a:pt x="564" y="266"/>
                  </a:lnTo>
                  <a:lnTo>
                    <a:pt x="566" y="266"/>
                  </a:lnTo>
                  <a:close/>
                  <a:moveTo>
                    <a:pt x="544" y="258"/>
                  </a:moveTo>
                  <a:lnTo>
                    <a:pt x="544" y="258"/>
                  </a:lnTo>
                  <a:lnTo>
                    <a:pt x="546" y="260"/>
                  </a:lnTo>
                  <a:lnTo>
                    <a:pt x="548" y="262"/>
                  </a:lnTo>
                  <a:lnTo>
                    <a:pt x="552" y="262"/>
                  </a:lnTo>
                  <a:lnTo>
                    <a:pt x="558" y="262"/>
                  </a:lnTo>
                  <a:lnTo>
                    <a:pt x="556" y="264"/>
                  </a:lnTo>
                  <a:lnTo>
                    <a:pt x="554" y="264"/>
                  </a:lnTo>
                  <a:lnTo>
                    <a:pt x="558" y="266"/>
                  </a:lnTo>
                  <a:lnTo>
                    <a:pt x="558" y="268"/>
                  </a:lnTo>
                  <a:lnTo>
                    <a:pt x="556" y="268"/>
                  </a:lnTo>
                  <a:lnTo>
                    <a:pt x="556" y="274"/>
                  </a:lnTo>
                  <a:lnTo>
                    <a:pt x="546" y="272"/>
                  </a:lnTo>
                  <a:lnTo>
                    <a:pt x="544" y="270"/>
                  </a:lnTo>
                  <a:lnTo>
                    <a:pt x="548" y="270"/>
                  </a:lnTo>
                  <a:lnTo>
                    <a:pt x="546" y="268"/>
                  </a:lnTo>
                  <a:lnTo>
                    <a:pt x="546" y="266"/>
                  </a:lnTo>
                  <a:lnTo>
                    <a:pt x="546" y="264"/>
                  </a:lnTo>
                  <a:lnTo>
                    <a:pt x="542" y="264"/>
                  </a:lnTo>
                  <a:lnTo>
                    <a:pt x="538" y="262"/>
                  </a:lnTo>
                  <a:lnTo>
                    <a:pt x="534" y="266"/>
                  </a:lnTo>
                  <a:lnTo>
                    <a:pt x="536" y="264"/>
                  </a:lnTo>
                  <a:lnTo>
                    <a:pt x="540" y="260"/>
                  </a:lnTo>
                  <a:lnTo>
                    <a:pt x="544" y="258"/>
                  </a:lnTo>
                  <a:close/>
                  <a:moveTo>
                    <a:pt x="550" y="240"/>
                  </a:moveTo>
                  <a:lnTo>
                    <a:pt x="550" y="240"/>
                  </a:lnTo>
                  <a:lnTo>
                    <a:pt x="552" y="240"/>
                  </a:lnTo>
                  <a:lnTo>
                    <a:pt x="550" y="242"/>
                  </a:lnTo>
                  <a:lnTo>
                    <a:pt x="548" y="242"/>
                  </a:lnTo>
                  <a:lnTo>
                    <a:pt x="550" y="244"/>
                  </a:lnTo>
                  <a:lnTo>
                    <a:pt x="550" y="246"/>
                  </a:lnTo>
                  <a:lnTo>
                    <a:pt x="538" y="252"/>
                  </a:lnTo>
                  <a:lnTo>
                    <a:pt x="540" y="256"/>
                  </a:lnTo>
                  <a:lnTo>
                    <a:pt x="538" y="256"/>
                  </a:lnTo>
                  <a:lnTo>
                    <a:pt x="534" y="254"/>
                  </a:lnTo>
                  <a:lnTo>
                    <a:pt x="530" y="254"/>
                  </a:lnTo>
                  <a:lnTo>
                    <a:pt x="526" y="254"/>
                  </a:lnTo>
                  <a:lnTo>
                    <a:pt x="526" y="256"/>
                  </a:lnTo>
                  <a:lnTo>
                    <a:pt x="524" y="258"/>
                  </a:lnTo>
                  <a:lnTo>
                    <a:pt x="524" y="262"/>
                  </a:lnTo>
                  <a:lnTo>
                    <a:pt x="528" y="262"/>
                  </a:lnTo>
                  <a:lnTo>
                    <a:pt x="530" y="266"/>
                  </a:lnTo>
                  <a:lnTo>
                    <a:pt x="532" y="268"/>
                  </a:lnTo>
                  <a:lnTo>
                    <a:pt x="530" y="268"/>
                  </a:lnTo>
                  <a:lnTo>
                    <a:pt x="526" y="268"/>
                  </a:lnTo>
                  <a:lnTo>
                    <a:pt x="526" y="264"/>
                  </a:lnTo>
                  <a:lnTo>
                    <a:pt x="524" y="264"/>
                  </a:lnTo>
                  <a:lnTo>
                    <a:pt x="522" y="264"/>
                  </a:lnTo>
                  <a:lnTo>
                    <a:pt x="518" y="258"/>
                  </a:lnTo>
                  <a:lnTo>
                    <a:pt x="524" y="256"/>
                  </a:lnTo>
                  <a:lnTo>
                    <a:pt x="522" y="254"/>
                  </a:lnTo>
                  <a:lnTo>
                    <a:pt x="522" y="252"/>
                  </a:lnTo>
                  <a:lnTo>
                    <a:pt x="528" y="252"/>
                  </a:lnTo>
                  <a:lnTo>
                    <a:pt x="534" y="252"/>
                  </a:lnTo>
                  <a:lnTo>
                    <a:pt x="534" y="250"/>
                  </a:lnTo>
                  <a:lnTo>
                    <a:pt x="536" y="250"/>
                  </a:lnTo>
                  <a:lnTo>
                    <a:pt x="540" y="248"/>
                  </a:lnTo>
                  <a:lnTo>
                    <a:pt x="540" y="246"/>
                  </a:lnTo>
                  <a:lnTo>
                    <a:pt x="544" y="246"/>
                  </a:lnTo>
                  <a:lnTo>
                    <a:pt x="548" y="246"/>
                  </a:lnTo>
                  <a:lnTo>
                    <a:pt x="548" y="244"/>
                  </a:lnTo>
                  <a:lnTo>
                    <a:pt x="548" y="242"/>
                  </a:lnTo>
                  <a:lnTo>
                    <a:pt x="550" y="240"/>
                  </a:lnTo>
                  <a:close/>
                  <a:moveTo>
                    <a:pt x="172" y="222"/>
                  </a:moveTo>
                  <a:lnTo>
                    <a:pt x="172" y="222"/>
                  </a:lnTo>
                  <a:lnTo>
                    <a:pt x="168" y="224"/>
                  </a:lnTo>
                  <a:lnTo>
                    <a:pt x="172" y="224"/>
                  </a:lnTo>
                  <a:lnTo>
                    <a:pt x="176" y="222"/>
                  </a:lnTo>
                  <a:lnTo>
                    <a:pt x="176" y="220"/>
                  </a:lnTo>
                  <a:lnTo>
                    <a:pt x="172" y="222"/>
                  </a:lnTo>
                  <a:close/>
                  <a:moveTo>
                    <a:pt x="594" y="212"/>
                  </a:moveTo>
                  <a:lnTo>
                    <a:pt x="594" y="212"/>
                  </a:lnTo>
                  <a:lnTo>
                    <a:pt x="594" y="218"/>
                  </a:lnTo>
                  <a:lnTo>
                    <a:pt x="602" y="220"/>
                  </a:lnTo>
                  <a:lnTo>
                    <a:pt x="602" y="214"/>
                  </a:lnTo>
                  <a:lnTo>
                    <a:pt x="598" y="214"/>
                  </a:lnTo>
                  <a:lnTo>
                    <a:pt x="594" y="212"/>
                  </a:lnTo>
                  <a:close/>
                  <a:moveTo>
                    <a:pt x="572" y="206"/>
                  </a:moveTo>
                  <a:lnTo>
                    <a:pt x="572" y="206"/>
                  </a:lnTo>
                  <a:lnTo>
                    <a:pt x="576" y="206"/>
                  </a:lnTo>
                  <a:lnTo>
                    <a:pt x="574" y="208"/>
                  </a:lnTo>
                  <a:lnTo>
                    <a:pt x="570" y="212"/>
                  </a:lnTo>
                  <a:lnTo>
                    <a:pt x="570" y="208"/>
                  </a:lnTo>
                  <a:lnTo>
                    <a:pt x="570" y="206"/>
                  </a:lnTo>
                  <a:lnTo>
                    <a:pt x="572" y="206"/>
                  </a:lnTo>
                  <a:close/>
                  <a:moveTo>
                    <a:pt x="612" y="196"/>
                  </a:moveTo>
                  <a:lnTo>
                    <a:pt x="612" y="196"/>
                  </a:lnTo>
                  <a:lnTo>
                    <a:pt x="610" y="200"/>
                  </a:lnTo>
                  <a:lnTo>
                    <a:pt x="606" y="200"/>
                  </a:lnTo>
                  <a:lnTo>
                    <a:pt x="608" y="206"/>
                  </a:lnTo>
                  <a:lnTo>
                    <a:pt x="606" y="210"/>
                  </a:lnTo>
                  <a:lnTo>
                    <a:pt x="618" y="208"/>
                  </a:lnTo>
                  <a:lnTo>
                    <a:pt x="624" y="206"/>
                  </a:lnTo>
                  <a:lnTo>
                    <a:pt x="618" y="206"/>
                  </a:lnTo>
                  <a:lnTo>
                    <a:pt x="612" y="196"/>
                  </a:lnTo>
                  <a:close/>
                  <a:moveTo>
                    <a:pt x="604" y="178"/>
                  </a:moveTo>
                  <a:lnTo>
                    <a:pt x="604" y="178"/>
                  </a:lnTo>
                  <a:lnTo>
                    <a:pt x="606" y="186"/>
                  </a:lnTo>
                  <a:lnTo>
                    <a:pt x="608" y="188"/>
                  </a:lnTo>
                  <a:lnTo>
                    <a:pt x="608" y="184"/>
                  </a:lnTo>
                  <a:lnTo>
                    <a:pt x="604" y="178"/>
                  </a:lnTo>
                  <a:close/>
                  <a:moveTo>
                    <a:pt x="0" y="154"/>
                  </a:moveTo>
                  <a:lnTo>
                    <a:pt x="4" y="158"/>
                  </a:lnTo>
                  <a:lnTo>
                    <a:pt x="4" y="156"/>
                  </a:lnTo>
                  <a:lnTo>
                    <a:pt x="0" y="154"/>
                  </a:lnTo>
                  <a:close/>
                  <a:moveTo>
                    <a:pt x="598" y="90"/>
                  </a:moveTo>
                  <a:lnTo>
                    <a:pt x="598" y="94"/>
                  </a:lnTo>
                  <a:lnTo>
                    <a:pt x="600" y="94"/>
                  </a:lnTo>
                  <a:lnTo>
                    <a:pt x="602" y="92"/>
                  </a:lnTo>
                  <a:lnTo>
                    <a:pt x="598" y="90"/>
                  </a:lnTo>
                  <a:close/>
                  <a:moveTo>
                    <a:pt x="596" y="46"/>
                  </a:moveTo>
                  <a:lnTo>
                    <a:pt x="598" y="54"/>
                  </a:lnTo>
                  <a:lnTo>
                    <a:pt x="598" y="50"/>
                  </a:lnTo>
                  <a:lnTo>
                    <a:pt x="598" y="48"/>
                  </a:lnTo>
                  <a:lnTo>
                    <a:pt x="596" y="46"/>
                  </a:lnTo>
                  <a:close/>
                  <a:moveTo>
                    <a:pt x="212" y="42"/>
                  </a:moveTo>
                  <a:lnTo>
                    <a:pt x="212" y="42"/>
                  </a:lnTo>
                  <a:lnTo>
                    <a:pt x="218" y="48"/>
                  </a:lnTo>
                  <a:lnTo>
                    <a:pt x="224" y="52"/>
                  </a:lnTo>
                  <a:lnTo>
                    <a:pt x="242" y="58"/>
                  </a:lnTo>
                  <a:lnTo>
                    <a:pt x="238" y="52"/>
                  </a:lnTo>
                  <a:lnTo>
                    <a:pt x="212" y="42"/>
                  </a:lnTo>
                  <a:close/>
                  <a:moveTo>
                    <a:pt x="336" y="30"/>
                  </a:moveTo>
                  <a:lnTo>
                    <a:pt x="336" y="30"/>
                  </a:lnTo>
                  <a:lnTo>
                    <a:pt x="340" y="32"/>
                  </a:lnTo>
                  <a:lnTo>
                    <a:pt x="344" y="34"/>
                  </a:lnTo>
                  <a:lnTo>
                    <a:pt x="342" y="38"/>
                  </a:lnTo>
                  <a:lnTo>
                    <a:pt x="342" y="36"/>
                  </a:lnTo>
                  <a:lnTo>
                    <a:pt x="340" y="34"/>
                  </a:lnTo>
                  <a:lnTo>
                    <a:pt x="338" y="32"/>
                  </a:lnTo>
                  <a:lnTo>
                    <a:pt x="328" y="32"/>
                  </a:lnTo>
                  <a:lnTo>
                    <a:pt x="336" y="30"/>
                  </a:lnTo>
                  <a:close/>
                  <a:moveTo>
                    <a:pt x="416" y="24"/>
                  </a:moveTo>
                  <a:lnTo>
                    <a:pt x="416" y="24"/>
                  </a:lnTo>
                  <a:lnTo>
                    <a:pt x="422" y="24"/>
                  </a:lnTo>
                  <a:lnTo>
                    <a:pt x="424" y="26"/>
                  </a:lnTo>
                  <a:lnTo>
                    <a:pt x="422" y="26"/>
                  </a:lnTo>
                  <a:lnTo>
                    <a:pt x="416" y="26"/>
                  </a:lnTo>
                  <a:lnTo>
                    <a:pt x="416" y="30"/>
                  </a:lnTo>
                  <a:lnTo>
                    <a:pt x="416" y="28"/>
                  </a:lnTo>
                  <a:lnTo>
                    <a:pt x="414" y="26"/>
                  </a:lnTo>
                  <a:lnTo>
                    <a:pt x="416" y="24"/>
                  </a:lnTo>
                  <a:close/>
                  <a:moveTo>
                    <a:pt x="476" y="18"/>
                  </a:moveTo>
                  <a:lnTo>
                    <a:pt x="476" y="18"/>
                  </a:lnTo>
                  <a:lnTo>
                    <a:pt x="496" y="18"/>
                  </a:lnTo>
                  <a:lnTo>
                    <a:pt x="512" y="20"/>
                  </a:lnTo>
                  <a:lnTo>
                    <a:pt x="486" y="22"/>
                  </a:lnTo>
                  <a:lnTo>
                    <a:pt x="460" y="24"/>
                  </a:lnTo>
                  <a:lnTo>
                    <a:pt x="468" y="22"/>
                  </a:lnTo>
                  <a:lnTo>
                    <a:pt x="476" y="18"/>
                  </a:lnTo>
                  <a:close/>
                  <a:moveTo>
                    <a:pt x="438" y="16"/>
                  </a:moveTo>
                  <a:lnTo>
                    <a:pt x="438" y="16"/>
                  </a:lnTo>
                  <a:lnTo>
                    <a:pt x="440" y="18"/>
                  </a:lnTo>
                  <a:lnTo>
                    <a:pt x="442" y="22"/>
                  </a:lnTo>
                  <a:lnTo>
                    <a:pt x="448" y="22"/>
                  </a:lnTo>
                  <a:lnTo>
                    <a:pt x="456" y="20"/>
                  </a:lnTo>
                  <a:lnTo>
                    <a:pt x="458" y="22"/>
                  </a:lnTo>
                  <a:lnTo>
                    <a:pt x="452" y="24"/>
                  </a:lnTo>
                  <a:lnTo>
                    <a:pt x="440" y="26"/>
                  </a:lnTo>
                  <a:lnTo>
                    <a:pt x="436" y="24"/>
                  </a:lnTo>
                  <a:lnTo>
                    <a:pt x="436" y="20"/>
                  </a:lnTo>
                  <a:lnTo>
                    <a:pt x="436" y="16"/>
                  </a:lnTo>
                  <a:lnTo>
                    <a:pt x="438" y="1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4" name="Freeform 626">
              <a:extLst>
                <a:ext uri="{FF2B5EF4-FFF2-40B4-BE49-F238E27FC236}">
                  <a16:creationId xmlns:a16="http://schemas.microsoft.com/office/drawing/2014/main" id="{B01D3EF0-0455-46BE-AE39-29EFF12D76A3}"/>
                </a:ext>
              </a:extLst>
            </p:cNvPr>
            <p:cNvSpPr>
              <a:spLocks noEditPoints="1"/>
            </p:cNvSpPr>
            <p:nvPr/>
          </p:nvSpPr>
          <p:spPr bwMode="gray">
            <a:xfrm>
              <a:off x="4800491" y="3165866"/>
              <a:ext cx="160084" cy="200115"/>
            </a:xfrm>
            <a:custGeom>
              <a:avLst/>
              <a:gdLst>
                <a:gd name="T0" fmla="*/ 2147483647 w 86"/>
                <a:gd name="T1" fmla="*/ 2147483647 h 108"/>
                <a:gd name="T2" fmla="*/ 2147483647 w 86"/>
                <a:gd name="T3" fmla="*/ 2147483647 h 108"/>
                <a:gd name="T4" fmla="*/ 2147483647 w 86"/>
                <a:gd name="T5" fmla="*/ 2147483647 h 108"/>
                <a:gd name="T6" fmla="*/ 2147483647 w 86"/>
                <a:gd name="T7" fmla="*/ 2147483647 h 108"/>
                <a:gd name="T8" fmla="*/ 2147483647 w 86"/>
                <a:gd name="T9" fmla="*/ 2147483647 h 108"/>
                <a:gd name="T10" fmla="*/ 2147483647 w 86"/>
                <a:gd name="T11" fmla="*/ 2147483647 h 108"/>
                <a:gd name="T12" fmla="*/ 2147483647 w 86"/>
                <a:gd name="T13" fmla="*/ 2147483647 h 108"/>
                <a:gd name="T14" fmla="*/ 2147483647 w 86"/>
                <a:gd name="T15" fmla="*/ 2147483647 h 108"/>
                <a:gd name="T16" fmla="*/ 2147483647 w 86"/>
                <a:gd name="T17" fmla="*/ 2147483647 h 108"/>
                <a:gd name="T18" fmla="*/ 2147483647 w 86"/>
                <a:gd name="T19" fmla="*/ 2147483647 h 108"/>
                <a:gd name="T20" fmla="*/ 2147483647 w 86"/>
                <a:gd name="T21" fmla="*/ 2147483647 h 108"/>
                <a:gd name="T22" fmla="*/ 2147483647 w 86"/>
                <a:gd name="T23" fmla="*/ 2147483647 h 108"/>
                <a:gd name="T24" fmla="*/ 2147483647 w 86"/>
                <a:gd name="T25" fmla="*/ 2147483647 h 108"/>
                <a:gd name="T26" fmla="*/ 2147483647 w 86"/>
                <a:gd name="T27" fmla="*/ 2147483647 h 108"/>
                <a:gd name="T28" fmla="*/ 2147483647 w 86"/>
                <a:gd name="T29" fmla="*/ 2147483647 h 108"/>
                <a:gd name="T30" fmla="*/ 2147483647 w 86"/>
                <a:gd name="T31" fmla="*/ 2147483647 h 108"/>
                <a:gd name="T32" fmla="*/ 2147483647 w 86"/>
                <a:gd name="T33" fmla="*/ 2147483647 h 108"/>
                <a:gd name="T34" fmla="*/ 2147483647 w 86"/>
                <a:gd name="T35" fmla="*/ 2147483647 h 108"/>
                <a:gd name="T36" fmla="*/ 2147483647 w 86"/>
                <a:gd name="T37" fmla="*/ 2147483647 h 108"/>
                <a:gd name="T38" fmla="*/ 2147483647 w 86"/>
                <a:gd name="T39" fmla="*/ 2147483647 h 108"/>
                <a:gd name="T40" fmla="*/ 2147483647 w 86"/>
                <a:gd name="T41" fmla="*/ 2147483647 h 108"/>
                <a:gd name="T42" fmla="*/ 2147483647 w 86"/>
                <a:gd name="T43" fmla="*/ 2147483647 h 108"/>
                <a:gd name="T44" fmla="*/ 2147483647 w 86"/>
                <a:gd name="T45" fmla="*/ 2147483647 h 108"/>
                <a:gd name="T46" fmla="*/ 2147483647 w 86"/>
                <a:gd name="T47" fmla="*/ 2147483647 h 108"/>
                <a:gd name="T48" fmla="*/ 2147483647 w 86"/>
                <a:gd name="T49" fmla="*/ 2147483647 h 108"/>
                <a:gd name="T50" fmla="*/ 2147483647 w 86"/>
                <a:gd name="T51" fmla="*/ 2147483647 h 108"/>
                <a:gd name="T52" fmla="*/ 2147483647 w 86"/>
                <a:gd name="T53" fmla="*/ 2147483647 h 108"/>
                <a:gd name="T54" fmla="*/ 2147483647 w 86"/>
                <a:gd name="T55" fmla="*/ 0 h 108"/>
                <a:gd name="T56" fmla="*/ 2147483647 w 86"/>
                <a:gd name="T57" fmla="*/ 2147483647 h 108"/>
                <a:gd name="T58" fmla="*/ 2147483647 w 86"/>
                <a:gd name="T59" fmla="*/ 2147483647 h 108"/>
                <a:gd name="T60" fmla="*/ 2147483647 w 86"/>
                <a:gd name="T61" fmla="*/ 2147483647 h 108"/>
                <a:gd name="T62" fmla="*/ 2147483647 w 86"/>
                <a:gd name="T63" fmla="*/ 0 h 108"/>
                <a:gd name="T64" fmla="*/ 2147483647 w 86"/>
                <a:gd name="T65" fmla="*/ 2147483647 h 108"/>
                <a:gd name="T66" fmla="*/ 2147483647 w 86"/>
                <a:gd name="T67" fmla="*/ 2147483647 h 108"/>
                <a:gd name="T68" fmla="*/ 2147483647 w 86"/>
                <a:gd name="T69" fmla="*/ 2147483647 h 108"/>
                <a:gd name="T70" fmla="*/ 2147483647 w 86"/>
                <a:gd name="T71" fmla="*/ 2147483647 h 108"/>
                <a:gd name="T72" fmla="*/ 2147483647 w 86"/>
                <a:gd name="T73" fmla="*/ 2147483647 h 108"/>
                <a:gd name="T74" fmla="*/ 2147483647 w 86"/>
                <a:gd name="T75" fmla="*/ 2147483647 h 108"/>
                <a:gd name="T76" fmla="*/ 2147483647 w 86"/>
                <a:gd name="T77" fmla="*/ 2147483647 h 108"/>
                <a:gd name="T78" fmla="*/ 2147483647 w 86"/>
                <a:gd name="T79" fmla="*/ 2147483647 h 108"/>
                <a:gd name="T80" fmla="*/ 2147483647 w 86"/>
                <a:gd name="T81" fmla="*/ 2147483647 h 108"/>
                <a:gd name="T82" fmla="*/ 2147483647 w 86"/>
                <a:gd name="T83" fmla="*/ 2147483647 h 108"/>
                <a:gd name="T84" fmla="*/ 2147483647 w 86"/>
                <a:gd name="T85" fmla="*/ 2147483647 h 108"/>
                <a:gd name="T86" fmla="*/ 2147483647 w 86"/>
                <a:gd name="T87" fmla="*/ 2147483647 h 108"/>
                <a:gd name="T88" fmla="*/ 2147483647 w 86"/>
                <a:gd name="T89" fmla="*/ 2147483647 h 108"/>
                <a:gd name="T90" fmla="*/ 2147483647 w 86"/>
                <a:gd name="T91" fmla="*/ 2147483647 h 108"/>
                <a:gd name="T92" fmla="*/ 0 w 86"/>
                <a:gd name="T93" fmla="*/ 2147483647 h 108"/>
                <a:gd name="T94" fmla="*/ 2147483647 w 86"/>
                <a:gd name="T95" fmla="*/ 2147483647 h 108"/>
                <a:gd name="T96" fmla="*/ 2147483647 w 86"/>
                <a:gd name="T97" fmla="*/ 2147483647 h 108"/>
                <a:gd name="T98" fmla="*/ 2147483647 w 86"/>
                <a:gd name="T99" fmla="*/ 2147483647 h 108"/>
                <a:gd name="T100" fmla="*/ 2147483647 w 86"/>
                <a:gd name="T101" fmla="*/ 2147483647 h 108"/>
                <a:gd name="T102" fmla="*/ 2147483647 w 86"/>
                <a:gd name="T103" fmla="*/ 2147483647 h 108"/>
                <a:gd name="T104" fmla="*/ 2147483647 w 86"/>
                <a:gd name="T105" fmla="*/ 2147483647 h 108"/>
                <a:gd name="T106" fmla="*/ 2147483647 w 86"/>
                <a:gd name="T107" fmla="*/ 2147483647 h 108"/>
                <a:gd name="T108" fmla="*/ 2147483647 w 86"/>
                <a:gd name="T109" fmla="*/ 2147483647 h 1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6"/>
                <a:gd name="T166" fmla="*/ 0 h 108"/>
                <a:gd name="T167" fmla="*/ 86 w 86"/>
                <a:gd name="T168" fmla="*/ 108 h 1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6" h="108">
                  <a:moveTo>
                    <a:pt x="4" y="34"/>
                  </a:moveTo>
                  <a:lnTo>
                    <a:pt x="4" y="34"/>
                  </a:lnTo>
                  <a:lnTo>
                    <a:pt x="12" y="44"/>
                  </a:lnTo>
                  <a:lnTo>
                    <a:pt x="12" y="46"/>
                  </a:lnTo>
                  <a:lnTo>
                    <a:pt x="14" y="44"/>
                  </a:lnTo>
                  <a:lnTo>
                    <a:pt x="16" y="46"/>
                  </a:lnTo>
                  <a:lnTo>
                    <a:pt x="16" y="48"/>
                  </a:lnTo>
                  <a:lnTo>
                    <a:pt x="14" y="46"/>
                  </a:lnTo>
                  <a:lnTo>
                    <a:pt x="14" y="58"/>
                  </a:lnTo>
                  <a:lnTo>
                    <a:pt x="16" y="56"/>
                  </a:lnTo>
                  <a:lnTo>
                    <a:pt x="18" y="54"/>
                  </a:lnTo>
                  <a:lnTo>
                    <a:pt x="24" y="54"/>
                  </a:lnTo>
                  <a:lnTo>
                    <a:pt x="28" y="56"/>
                  </a:lnTo>
                  <a:lnTo>
                    <a:pt x="36" y="60"/>
                  </a:lnTo>
                  <a:lnTo>
                    <a:pt x="26" y="60"/>
                  </a:lnTo>
                  <a:lnTo>
                    <a:pt x="18" y="60"/>
                  </a:lnTo>
                  <a:lnTo>
                    <a:pt x="20" y="68"/>
                  </a:lnTo>
                  <a:lnTo>
                    <a:pt x="22" y="74"/>
                  </a:lnTo>
                  <a:lnTo>
                    <a:pt x="36" y="74"/>
                  </a:lnTo>
                  <a:lnTo>
                    <a:pt x="34" y="72"/>
                  </a:lnTo>
                  <a:lnTo>
                    <a:pt x="34" y="70"/>
                  </a:lnTo>
                  <a:lnTo>
                    <a:pt x="38" y="70"/>
                  </a:lnTo>
                  <a:lnTo>
                    <a:pt x="42" y="70"/>
                  </a:lnTo>
                  <a:lnTo>
                    <a:pt x="40" y="64"/>
                  </a:lnTo>
                  <a:lnTo>
                    <a:pt x="38" y="64"/>
                  </a:lnTo>
                  <a:lnTo>
                    <a:pt x="40" y="62"/>
                  </a:lnTo>
                  <a:lnTo>
                    <a:pt x="42" y="62"/>
                  </a:lnTo>
                  <a:lnTo>
                    <a:pt x="44" y="62"/>
                  </a:lnTo>
                  <a:lnTo>
                    <a:pt x="50" y="64"/>
                  </a:lnTo>
                  <a:lnTo>
                    <a:pt x="50" y="58"/>
                  </a:lnTo>
                  <a:lnTo>
                    <a:pt x="46" y="56"/>
                  </a:lnTo>
                  <a:lnTo>
                    <a:pt x="50" y="56"/>
                  </a:lnTo>
                  <a:lnTo>
                    <a:pt x="54" y="56"/>
                  </a:lnTo>
                  <a:lnTo>
                    <a:pt x="56" y="60"/>
                  </a:lnTo>
                  <a:lnTo>
                    <a:pt x="56" y="62"/>
                  </a:lnTo>
                  <a:lnTo>
                    <a:pt x="56" y="60"/>
                  </a:lnTo>
                  <a:lnTo>
                    <a:pt x="56" y="56"/>
                  </a:lnTo>
                  <a:lnTo>
                    <a:pt x="54" y="52"/>
                  </a:lnTo>
                  <a:lnTo>
                    <a:pt x="52" y="52"/>
                  </a:lnTo>
                  <a:lnTo>
                    <a:pt x="48" y="50"/>
                  </a:lnTo>
                  <a:lnTo>
                    <a:pt x="46" y="46"/>
                  </a:lnTo>
                  <a:lnTo>
                    <a:pt x="42" y="44"/>
                  </a:lnTo>
                  <a:lnTo>
                    <a:pt x="40" y="44"/>
                  </a:lnTo>
                  <a:lnTo>
                    <a:pt x="38" y="46"/>
                  </a:lnTo>
                  <a:lnTo>
                    <a:pt x="38" y="44"/>
                  </a:lnTo>
                  <a:lnTo>
                    <a:pt x="36" y="42"/>
                  </a:lnTo>
                  <a:lnTo>
                    <a:pt x="36" y="38"/>
                  </a:lnTo>
                  <a:lnTo>
                    <a:pt x="40" y="38"/>
                  </a:lnTo>
                  <a:lnTo>
                    <a:pt x="40" y="36"/>
                  </a:lnTo>
                  <a:lnTo>
                    <a:pt x="34" y="28"/>
                  </a:lnTo>
                  <a:lnTo>
                    <a:pt x="32" y="24"/>
                  </a:lnTo>
                  <a:lnTo>
                    <a:pt x="36" y="18"/>
                  </a:lnTo>
                  <a:lnTo>
                    <a:pt x="38" y="16"/>
                  </a:lnTo>
                  <a:lnTo>
                    <a:pt x="38" y="20"/>
                  </a:lnTo>
                  <a:lnTo>
                    <a:pt x="40" y="22"/>
                  </a:lnTo>
                  <a:lnTo>
                    <a:pt x="40" y="26"/>
                  </a:lnTo>
                  <a:lnTo>
                    <a:pt x="42" y="24"/>
                  </a:lnTo>
                  <a:lnTo>
                    <a:pt x="42" y="22"/>
                  </a:lnTo>
                  <a:lnTo>
                    <a:pt x="48" y="22"/>
                  </a:lnTo>
                  <a:lnTo>
                    <a:pt x="52" y="22"/>
                  </a:lnTo>
                  <a:lnTo>
                    <a:pt x="50" y="18"/>
                  </a:lnTo>
                  <a:lnTo>
                    <a:pt x="46" y="12"/>
                  </a:lnTo>
                  <a:lnTo>
                    <a:pt x="60" y="12"/>
                  </a:lnTo>
                  <a:lnTo>
                    <a:pt x="72" y="12"/>
                  </a:lnTo>
                  <a:lnTo>
                    <a:pt x="74" y="18"/>
                  </a:lnTo>
                  <a:lnTo>
                    <a:pt x="76" y="14"/>
                  </a:lnTo>
                  <a:lnTo>
                    <a:pt x="78" y="8"/>
                  </a:lnTo>
                  <a:lnTo>
                    <a:pt x="80" y="8"/>
                  </a:lnTo>
                  <a:lnTo>
                    <a:pt x="82" y="8"/>
                  </a:lnTo>
                  <a:lnTo>
                    <a:pt x="84" y="8"/>
                  </a:lnTo>
                  <a:lnTo>
                    <a:pt x="86" y="6"/>
                  </a:lnTo>
                  <a:lnTo>
                    <a:pt x="86" y="4"/>
                  </a:lnTo>
                  <a:lnTo>
                    <a:pt x="86" y="2"/>
                  </a:lnTo>
                  <a:lnTo>
                    <a:pt x="82" y="0"/>
                  </a:lnTo>
                  <a:lnTo>
                    <a:pt x="78" y="0"/>
                  </a:lnTo>
                  <a:lnTo>
                    <a:pt x="76" y="0"/>
                  </a:lnTo>
                  <a:lnTo>
                    <a:pt x="78" y="2"/>
                  </a:lnTo>
                  <a:lnTo>
                    <a:pt x="78" y="4"/>
                  </a:lnTo>
                  <a:lnTo>
                    <a:pt x="76" y="6"/>
                  </a:lnTo>
                  <a:lnTo>
                    <a:pt x="74" y="4"/>
                  </a:lnTo>
                  <a:lnTo>
                    <a:pt x="68" y="6"/>
                  </a:lnTo>
                  <a:lnTo>
                    <a:pt x="68" y="4"/>
                  </a:lnTo>
                  <a:lnTo>
                    <a:pt x="66" y="2"/>
                  </a:lnTo>
                  <a:lnTo>
                    <a:pt x="64" y="0"/>
                  </a:lnTo>
                  <a:lnTo>
                    <a:pt x="60" y="0"/>
                  </a:lnTo>
                  <a:lnTo>
                    <a:pt x="58" y="2"/>
                  </a:lnTo>
                  <a:lnTo>
                    <a:pt x="54" y="6"/>
                  </a:lnTo>
                  <a:lnTo>
                    <a:pt x="50" y="6"/>
                  </a:lnTo>
                  <a:lnTo>
                    <a:pt x="44" y="4"/>
                  </a:lnTo>
                  <a:lnTo>
                    <a:pt x="42" y="6"/>
                  </a:lnTo>
                  <a:lnTo>
                    <a:pt x="42" y="8"/>
                  </a:lnTo>
                  <a:lnTo>
                    <a:pt x="42" y="10"/>
                  </a:lnTo>
                  <a:lnTo>
                    <a:pt x="40" y="10"/>
                  </a:lnTo>
                  <a:lnTo>
                    <a:pt x="38" y="10"/>
                  </a:lnTo>
                  <a:lnTo>
                    <a:pt x="36" y="10"/>
                  </a:lnTo>
                  <a:lnTo>
                    <a:pt x="34" y="10"/>
                  </a:lnTo>
                  <a:lnTo>
                    <a:pt x="32" y="12"/>
                  </a:lnTo>
                  <a:lnTo>
                    <a:pt x="32" y="14"/>
                  </a:lnTo>
                  <a:lnTo>
                    <a:pt x="30" y="14"/>
                  </a:lnTo>
                  <a:lnTo>
                    <a:pt x="28" y="16"/>
                  </a:lnTo>
                  <a:lnTo>
                    <a:pt x="26" y="18"/>
                  </a:lnTo>
                  <a:lnTo>
                    <a:pt x="14" y="20"/>
                  </a:lnTo>
                  <a:lnTo>
                    <a:pt x="16" y="24"/>
                  </a:lnTo>
                  <a:lnTo>
                    <a:pt x="12" y="30"/>
                  </a:lnTo>
                  <a:lnTo>
                    <a:pt x="10" y="30"/>
                  </a:lnTo>
                  <a:lnTo>
                    <a:pt x="10" y="32"/>
                  </a:lnTo>
                  <a:lnTo>
                    <a:pt x="10" y="34"/>
                  </a:lnTo>
                  <a:lnTo>
                    <a:pt x="8" y="34"/>
                  </a:lnTo>
                  <a:lnTo>
                    <a:pt x="4" y="34"/>
                  </a:lnTo>
                  <a:close/>
                  <a:moveTo>
                    <a:pt x="40" y="48"/>
                  </a:moveTo>
                  <a:lnTo>
                    <a:pt x="40" y="48"/>
                  </a:lnTo>
                  <a:lnTo>
                    <a:pt x="44" y="52"/>
                  </a:lnTo>
                  <a:lnTo>
                    <a:pt x="44" y="54"/>
                  </a:lnTo>
                  <a:lnTo>
                    <a:pt x="40" y="54"/>
                  </a:lnTo>
                  <a:lnTo>
                    <a:pt x="40" y="50"/>
                  </a:lnTo>
                  <a:lnTo>
                    <a:pt x="40" y="48"/>
                  </a:lnTo>
                  <a:close/>
                  <a:moveTo>
                    <a:pt x="38" y="46"/>
                  </a:moveTo>
                  <a:lnTo>
                    <a:pt x="38" y="46"/>
                  </a:lnTo>
                  <a:lnTo>
                    <a:pt x="36" y="48"/>
                  </a:lnTo>
                  <a:lnTo>
                    <a:pt x="36" y="46"/>
                  </a:lnTo>
                  <a:lnTo>
                    <a:pt x="38" y="46"/>
                  </a:lnTo>
                  <a:close/>
                  <a:moveTo>
                    <a:pt x="0" y="32"/>
                  </a:moveTo>
                  <a:lnTo>
                    <a:pt x="2" y="36"/>
                  </a:lnTo>
                  <a:lnTo>
                    <a:pt x="2" y="34"/>
                  </a:lnTo>
                  <a:lnTo>
                    <a:pt x="0" y="32"/>
                  </a:lnTo>
                  <a:close/>
                  <a:moveTo>
                    <a:pt x="44" y="98"/>
                  </a:moveTo>
                  <a:lnTo>
                    <a:pt x="42" y="102"/>
                  </a:lnTo>
                  <a:lnTo>
                    <a:pt x="56" y="106"/>
                  </a:lnTo>
                  <a:lnTo>
                    <a:pt x="72" y="108"/>
                  </a:lnTo>
                  <a:lnTo>
                    <a:pt x="70" y="100"/>
                  </a:lnTo>
                  <a:lnTo>
                    <a:pt x="58" y="100"/>
                  </a:lnTo>
                  <a:lnTo>
                    <a:pt x="44" y="98"/>
                  </a:lnTo>
                  <a:close/>
                  <a:moveTo>
                    <a:pt x="6" y="58"/>
                  </a:moveTo>
                  <a:lnTo>
                    <a:pt x="6" y="58"/>
                  </a:lnTo>
                  <a:lnTo>
                    <a:pt x="12" y="60"/>
                  </a:lnTo>
                  <a:lnTo>
                    <a:pt x="12" y="58"/>
                  </a:lnTo>
                  <a:lnTo>
                    <a:pt x="6" y="58"/>
                  </a:lnTo>
                  <a:close/>
                  <a:moveTo>
                    <a:pt x="70" y="54"/>
                  </a:moveTo>
                  <a:lnTo>
                    <a:pt x="72" y="58"/>
                  </a:lnTo>
                  <a:lnTo>
                    <a:pt x="72" y="54"/>
                  </a:lnTo>
                  <a:lnTo>
                    <a:pt x="70" y="54"/>
                  </a:lnTo>
                  <a:close/>
                  <a:moveTo>
                    <a:pt x="70" y="40"/>
                  </a:moveTo>
                  <a:lnTo>
                    <a:pt x="70" y="40"/>
                  </a:lnTo>
                  <a:lnTo>
                    <a:pt x="74" y="46"/>
                  </a:lnTo>
                  <a:lnTo>
                    <a:pt x="78" y="46"/>
                  </a:lnTo>
                  <a:lnTo>
                    <a:pt x="78" y="44"/>
                  </a:lnTo>
                  <a:lnTo>
                    <a:pt x="76" y="40"/>
                  </a:lnTo>
                  <a:lnTo>
                    <a:pt x="70" y="4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5" name="Freeform 627">
              <a:extLst>
                <a:ext uri="{FF2B5EF4-FFF2-40B4-BE49-F238E27FC236}">
                  <a16:creationId xmlns:a16="http://schemas.microsoft.com/office/drawing/2014/main" id="{6C97E6A5-42AE-44EC-82CB-9A3C1589C790}"/>
                </a:ext>
              </a:extLst>
            </p:cNvPr>
            <p:cNvSpPr>
              <a:spLocks/>
            </p:cNvSpPr>
            <p:nvPr/>
          </p:nvSpPr>
          <p:spPr bwMode="gray">
            <a:xfrm>
              <a:off x="4308467" y="3982802"/>
              <a:ext cx="101229" cy="190697"/>
            </a:xfrm>
            <a:custGeom>
              <a:avLst/>
              <a:gdLst>
                <a:gd name="T0" fmla="*/ 0 w 54"/>
                <a:gd name="T1" fmla="*/ 2147483647 h 102"/>
                <a:gd name="T2" fmla="*/ 2147483647 w 54"/>
                <a:gd name="T3" fmla="*/ 2147483647 h 102"/>
                <a:gd name="T4" fmla="*/ 2147483647 w 54"/>
                <a:gd name="T5" fmla="*/ 2147483647 h 102"/>
                <a:gd name="T6" fmla="*/ 2147483647 w 54"/>
                <a:gd name="T7" fmla="*/ 2147483647 h 102"/>
                <a:gd name="T8" fmla="*/ 2147483647 w 54"/>
                <a:gd name="T9" fmla="*/ 2147483647 h 102"/>
                <a:gd name="T10" fmla="*/ 2147483647 w 54"/>
                <a:gd name="T11" fmla="*/ 2147483647 h 102"/>
                <a:gd name="T12" fmla="*/ 2147483647 w 54"/>
                <a:gd name="T13" fmla="*/ 2147483647 h 102"/>
                <a:gd name="T14" fmla="*/ 2147483647 w 54"/>
                <a:gd name="T15" fmla="*/ 2147483647 h 102"/>
                <a:gd name="T16" fmla="*/ 2147483647 w 54"/>
                <a:gd name="T17" fmla="*/ 2147483647 h 102"/>
                <a:gd name="T18" fmla="*/ 2147483647 w 54"/>
                <a:gd name="T19" fmla="*/ 2147483647 h 102"/>
                <a:gd name="T20" fmla="*/ 2147483647 w 54"/>
                <a:gd name="T21" fmla="*/ 2147483647 h 102"/>
                <a:gd name="T22" fmla="*/ 2147483647 w 54"/>
                <a:gd name="T23" fmla="*/ 2147483647 h 102"/>
                <a:gd name="T24" fmla="*/ 2147483647 w 54"/>
                <a:gd name="T25" fmla="*/ 2147483647 h 102"/>
                <a:gd name="T26" fmla="*/ 2147483647 w 54"/>
                <a:gd name="T27" fmla="*/ 2147483647 h 102"/>
                <a:gd name="T28" fmla="*/ 2147483647 w 54"/>
                <a:gd name="T29" fmla="*/ 2147483647 h 102"/>
                <a:gd name="T30" fmla="*/ 2147483647 w 54"/>
                <a:gd name="T31" fmla="*/ 2147483647 h 102"/>
                <a:gd name="T32" fmla="*/ 2147483647 w 54"/>
                <a:gd name="T33" fmla="*/ 2147483647 h 102"/>
                <a:gd name="T34" fmla="*/ 2147483647 w 54"/>
                <a:gd name="T35" fmla="*/ 2147483647 h 102"/>
                <a:gd name="T36" fmla="*/ 2147483647 w 54"/>
                <a:gd name="T37" fmla="*/ 2147483647 h 102"/>
                <a:gd name="T38" fmla="*/ 2147483647 w 54"/>
                <a:gd name="T39" fmla="*/ 2147483647 h 102"/>
                <a:gd name="T40" fmla="*/ 2147483647 w 54"/>
                <a:gd name="T41" fmla="*/ 2147483647 h 102"/>
                <a:gd name="T42" fmla="*/ 2147483647 w 54"/>
                <a:gd name="T43" fmla="*/ 2147483647 h 102"/>
                <a:gd name="T44" fmla="*/ 2147483647 w 54"/>
                <a:gd name="T45" fmla="*/ 2147483647 h 102"/>
                <a:gd name="T46" fmla="*/ 2147483647 w 54"/>
                <a:gd name="T47" fmla="*/ 2147483647 h 102"/>
                <a:gd name="T48" fmla="*/ 2147483647 w 54"/>
                <a:gd name="T49" fmla="*/ 2147483647 h 102"/>
                <a:gd name="T50" fmla="*/ 2147483647 w 54"/>
                <a:gd name="T51" fmla="*/ 2147483647 h 102"/>
                <a:gd name="T52" fmla="*/ 2147483647 w 54"/>
                <a:gd name="T53" fmla="*/ 0 h 102"/>
                <a:gd name="T54" fmla="*/ 2147483647 w 54"/>
                <a:gd name="T55" fmla="*/ 2147483647 h 102"/>
                <a:gd name="T56" fmla="*/ 2147483647 w 54"/>
                <a:gd name="T57" fmla="*/ 0 h 102"/>
                <a:gd name="T58" fmla="*/ 2147483647 w 54"/>
                <a:gd name="T59" fmla="*/ 2147483647 h 102"/>
                <a:gd name="T60" fmla="*/ 2147483647 w 54"/>
                <a:gd name="T61" fmla="*/ 2147483647 h 102"/>
                <a:gd name="T62" fmla="*/ 2147483647 w 54"/>
                <a:gd name="T63" fmla="*/ 2147483647 h 102"/>
                <a:gd name="T64" fmla="*/ 2147483647 w 54"/>
                <a:gd name="T65" fmla="*/ 2147483647 h 102"/>
                <a:gd name="T66" fmla="*/ 2147483647 w 54"/>
                <a:gd name="T67" fmla="*/ 2147483647 h 102"/>
                <a:gd name="T68" fmla="*/ 2147483647 w 54"/>
                <a:gd name="T69" fmla="*/ 2147483647 h 102"/>
                <a:gd name="T70" fmla="*/ 2147483647 w 54"/>
                <a:gd name="T71" fmla="*/ 2147483647 h 102"/>
                <a:gd name="T72" fmla="*/ 2147483647 w 54"/>
                <a:gd name="T73" fmla="*/ 2147483647 h 102"/>
                <a:gd name="T74" fmla="*/ 2147483647 w 54"/>
                <a:gd name="T75" fmla="*/ 2147483647 h 102"/>
                <a:gd name="T76" fmla="*/ 2147483647 w 54"/>
                <a:gd name="T77" fmla="*/ 2147483647 h 102"/>
                <a:gd name="T78" fmla="*/ 2147483647 w 54"/>
                <a:gd name="T79" fmla="*/ 2147483647 h 102"/>
                <a:gd name="T80" fmla="*/ 2147483647 w 54"/>
                <a:gd name="T81" fmla="*/ 2147483647 h 102"/>
                <a:gd name="T82" fmla="*/ 2147483647 w 54"/>
                <a:gd name="T83" fmla="*/ 2147483647 h 102"/>
                <a:gd name="T84" fmla="*/ 2147483647 w 54"/>
                <a:gd name="T85" fmla="*/ 2147483647 h 102"/>
                <a:gd name="T86" fmla="*/ 0 w 54"/>
                <a:gd name="T87" fmla="*/ 2147483647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
                <a:gd name="T133" fmla="*/ 0 h 102"/>
                <a:gd name="T134" fmla="*/ 54 w 5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 h="102">
                  <a:moveTo>
                    <a:pt x="0" y="102"/>
                  </a:moveTo>
                  <a:lnTo>
                    <a:pt x="0" y="102"/>
                  </a:lnTo>
                  <a:lnTo>
                    <a:pt x="6" y="102"/>
                  </a:lnTo>
                  <a:lnTo>
                    <a:pt x="14" y="96"/>
                  </a:lnTo>
                  <a:lnTo>
                    <a:pt x="20" y="96"/>
                  </a:lnTo>
                  <a:lnTo>
                    <a:pt x="26" y="92"/>
                  </a:lnTo>
                  <a:lnTo>
                    <a:pt x="32" y="90"/>
                  </a:lnTo>
                  <a:lnTo>
                    <a:pt x="38" y="92"/>
                  </a:lnTo>
                  <a:lnTo>
                    <a:pt x="42" y="92"/>
                  </a:lnTo>
                  <a:lnTo>
                    <a:pt x="48" y="90"/>
                  </a:lnTo>
                  <a:lnTo>
                    <a:pt x="48" y="86"/>
                  </a:lnTo>
                  <a:lnTo>
                    <a:pt x="50" y="84"/>
                  </a:lnTo>
                  <a:lnTo>
                    <a:pt x="52" y="82"/>
                  </a:lnTo>
                  <a:lnTo>
                    <a:pt x="54" y="84"/>
                  </a:lnTo>
                  <a:lnTo>
                    <a:pt x="46" y="72"/>
                  </a:lnTo>
                  <a:lnTo>
                    <a:pt x="46" y="70"/>
                  </a:lnTo>
                  <a:lnTo>
                    <a:pt x="46" y="68"/>
                  </a:lnTo>
                  <a:lnTo>
                    <a:pt x="46" y="66"/>
                  </a:lnTo>
                  <a:lnTo>
                    <a:pt x="46" y="62"/>
                  </a:lnTo>
                  <a:lnTo>
                    <a:pt x="48" y="52"/>
                  </a:lnTo>
                  <a:lnTo>
                    <a:pt x="46" y="48"/>
                  </a:lnTo>
                  <a:lnTo>
                    <a:pt x="44" y="44"/>
                  </a:lnTo>
                  <a:lnTo>
                    <a:pt x="42" y="40"/>
                  </a:lnTo>
                  <a:lnTo>
                    <a:pt x="42" y="38"/>
                  </a:lnTo>
                  <a:lnTo>
                    <a:pt x="46" y="34"/>
                  </a:lnTo>
                  <a:lnTo>
                    <a:pt x="44" y="32"/>
                  </a:lnTo>
                  <a:lnTo>
                    <a:pt x="42" y="30"/>
                  </a:lnTo>
                  <a:lnTo>
                    <a:pt x="44" y="28"/>
                  </a:lnTo>
                  <a:lnTo>
                    <a:pt x="44" y="24"/>
                  </a:lnTo>
                  <a:lnTo>
                    <a:pt x="44" y="18"/>
                  </a:lnTo>
                  <a:lnTo>
                    <a:pt x="42" y="14"/>
                  </a:lnTo>
                  <a:lnTo>
                    <a:pt x="40" y="10"/>
                  </a:lnTo>
                  <a:lnTo>
                    <a:pt x="38" y="10"/>
                  </a:lnTo>
                  <a:lnTo>
                    <a:pt x="40" y="6"/>
                  </a:lnTo>
                  <a:lnTo>
                    <a:pt x="40" y="0"/>
                  </a:lnTo>
                  <a:lnTo>
                    <a:pt x="32" y="0"/>
                  </a:lnTo>
                  <a:lnTo>
                    <a:pt x="30" y="2"/>
                  </a:lnTo>
                  <a:lnTo>
                    <a:pt x="24" y="2"/>
                  </a:lnTo>
                  <a:lnTo>
                    <a:pt x="14" y="0"/>
                  </a:lnTo>
                  <a:lnTo>
                    <a:pt x="12" y="4"/>
                  </a:lnTo>
                  <a:lnTo>
                    <a:pt x="10" y="8"/>
                  </a:lnTo>
                  <a:lnTo>
                    <a:pt x="12" y="14"/>
                  </a:lnTo>
                  <a:lnTo>
                    <a:pt x="10" y="22"/>
                  </a:lnTo>
                  <a:lnTo>
                    <a:pt x="12" y="26"/>
                  </a:lnTo>
                  <a:lnTo>
                    <a:pt x="12" y="30"/>
                  </a:lnTo>
                  <a:lnTo>
                    <a:pt x="12" y="32"/>
                  </a:lnTo>
                  <a:lnTo>
                    <a:pt x="14" y="38"/>
                  </a:lnTo>
                  <a:lnTo>
                    <a:pt x="12" y="46"/>
                  </a:lnTo>
                  <a:lnTo>
                    <a:pt x="12" y="48"/>
                  </a:lnTo>
                  <a:lnTo>
                    <a:pt x="10" y="54"/>
                  </a:lnTo>
                  <a:lnTo>
                    <a:pt x="6" y="62"/>
                  </a:lnTo>
                  <a:lnTo>
                    <a:pt x="2" y="70"/>
                  </a:lnTo>
                  <a:lnTo>
                    <a:pt x="0" y="78"/>
                  </a:lnTo>
                  <a:lnTo>
                    <a:pt x="2" y="88"/>
                  </a:lnTo>
                  <a:lnTo>
                    <a:pt x="2" y="90"/>
                  </a:lnTo>
                  <a:lnTo>
                    <a:pt x="2" y="94"/>
                  </a:lnTo>
                  <a:lnTo>
                    <a:pt x="0" y="10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6" name="Freeform 628">
              <a:extLst>
                <a:ext uri="{FF2B5EF4-FFF2-40B4-BE49-F238E27FC236}">
                  <a16:creationId xmlns:a16="http://schemas.microsoft.com/office/drawing/2014/main" id="{FC345C03-1B93-4FD5-BAAD-023FB09D7B4D}"/>
                </a:ext>
              </a:extLst>
            </p:cNvPr>
            <p:cNvSpPr>
              <a:spLocks/>
            </p:cNvSpPr>
            <p:nvPr/>
          </p:nvSpPr>
          <p:spPr bwMode="gray">
            <a:xfrm>
              <a:off x="4506218" y="2746801"/>
              <a:ext cx="188335" cy="244847"/>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0 w 102"/>
                <a:gd name="T11" fmla="*/ 2147483647 h 132"/>
                <a:gd name="T12" fmla="*/ 2147483647 w 102"/>
                <a:gd name="T13" fmla="*/ 2147483647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2147483647 w 102"/>
                <a:gd name="T23" fmla="*/ 2147483647 h 132"/>
                <a:gd name="T24" fmla="*/ 2147483647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2147483647 w 102"/>
                <a:gd name="T51" fmla="*/ 2147483647 h 132"/>
                <a:gd name="T52" fmla="*/ 2147483647 w 102"/>
                <a:gd name="T53" fmla="*/ 2147483647 h 132"/>
                <a:gd name="T54" fmla="*/ 2147483647 w 102"/>
                <a:gd name="T55" fmla="*/ 2147483647 h 132"/>
                <a:gd name="T56" fmla="*/ 2147483647 w 102"/>
                <a:gd name="T57" fmla="*/ 2147483647 h 132"/>
                <a:gd name="T58" fmla="*/ 2147483647 w 102"/>
                <a:gd name="T59" fmla="*/ 2147483647 h 132"/>
                <a:gd name="T60" fmla="*/ 2147483647 w 102"/>
                <a:gd name="T61" fmla="*/ 2147483647 h 132"/>
                <a:gd name="T62" fmla="*/ 2147483647 w 102"/>
                <a:gd name="T63" fmla="*/ 2147483647 h 132"/>
                <a:gd name="T64" fmla="*/ 2147483647 w 102"/>
                <a:gd name="T65" fmla="*/ 2147483647 h 132"/>
                <a:gd name="T66" fmla="*/ 2147483647 w 102"/>
                <a:gd name="T67" fmla="*/ 2147483647 h 132"/>
                <a:gd name="T68" fmla="*/ 2147483647 w 102"/>
                <a:gd name="T69" fmla="*/ 2147483647 h 132"/>
                <a:gd name="T70" fmla="*/ 2147483647 w 102"/>
                <a:gd name="T71" fmla="*/ 2147483647 h 132"/>
                <a:gd name="T72" fmla="*/ 2147483647 w 102"/>
                <a:gd name="T73" fmla="*/ 2147483647 h 132"/>
                <a:gd name="T74" fmla="*/ 2147483647 w 102"/>
                <a:gd name="T75" fmla="*/ 2147483647 h 132"/>
                <a:gd name="T76" fmla="*/ 2147483647 w 102"/>
                <a:gd name="T77" fmla="*/ 2147483647 h 132"/>
                <a:gd name="T78" fmla="*/ 2147483647 w 102"/>
                <a:gd name="T79" fmla="*/ 2147483647 h 132"/>
                <a:gd name="T80" fmla="*/ 2147483647 w 102"/>
                <a:gd name="T81" fmla="*/ 2147483647 h 132"/>
                <a:gd name="T82" fmla="*/ 2147483647 w 102"/>
                <a:gd name="T83" fmla="*/ 2147483647 h 132"/>
                <a:gd name="T84" fmla="*/ 2147483647 w 102"/>
                <a:gd name="T85" fmla="*/ 0 h 132"/>
                <a:gd name="T86" fmla="*/ 2147483647 w 102"/>
                <a:gd name="T87" fmla="*/ 2147483647 h 132"/>
                <a:gd name="T88" fmla="*/ 2147483647 w 102"/>
                <a:gd name="T89" fmla="*/ 2147483647 h 132"/>
                <a:gd name="T90" fmla="*/ 2147483647 w 102"/>
                <a:gd name="T91" fmla="*/ 2147483647 h 132"/>
                <a:gd name="T92" fmla="*/ 2147483647 w 102"/>
                <a:gd name="T93" fmla="*/ 2147483647 h 132"/>
                <a:gd name="T94" fmla="*/ 2147483647 w 102"/>
                <a:gd name="T95" fmla="*/ 2147483647 h 132"/>
                <a:gd name="T96" fmla="*/ 2147483647 w 102"/>
                <a:gd name="T97" fmla="*/ 2147483647 h 132"/>
                <a:gd name="T98" fmla="*/ 2147483647 w 102"/>
                <a:gd name="T99" fmla="*/ 2147483647 h 1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2"/>
                <a:gd name="T151" fmla="*/ 0 h 132"/>
                <a:gd name="T152" fmla="*/ 102 w 102"/>
                <a:gd name="T153" fmla="*/ 132 h 1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2" h="132">
                  <a:moveTo>
                    <a:pt x="20" y="38"/>
                  </a:moveTo>
                  <a:lnTo>
                    <a:pt x="20" y="38"/>
                  </a:lnTo>
                  <a:lnTo>
                    <a:pt x="22" y="44"/>
                  </a:lnTo>
                  <a:lnTo>
                    <a:pt x="22" y="46"/>
                  </a:lnTo>
                  <a:lnTo>
                    <a:pt x="20" y="48"/>
                  </a:lnTo>
                  <a:lnTo>
                    <a:pt x="18" y="48"/>
                  </a:lnTo>
                  <a:lnTo>
                    <a:pt x="20" y="52"/>
                  </a:lnTo>
                  <a:lnTo>
                    <a:pt x="18" y="54"/>
                  </a:lnTo>
                  <a:lnTo>
                    <a:pt x="16" y="54"/>
                  </a:lnTo>
                  <a:lnTo>
                    <a:pt x="14" y="56"/>
                  </a:lnTo>
                  <a:lnTo>
                    <a:pt x="12" y="58"/>
                  </a:lnTo>
                  <a:lnTo>
                    <a:pt x="10" y="58"/>
                  </a:lnTo>
                  <a:lnTo>
                    <a:pt x="6" y="56"/>
                  </a:lnTo>
                  <a:lnTo>
                    <a:pt x="4" y="60"/>
                  </a:lnTo>
                  <a:lnTo>
                    <a:pt x="0" y="72"/>
                  </a:lnTo>
                  <a:lnTo>
                    <a:pt x="2" y="72"/>
                  </a:lnTo>
                  <a:lnTo>
                    <a:pt x="4" y="74"/>
                  </a:lnTo>
                  <a:lnTo>
                    <a:pt x="4" y="76"/>
                  </a:lnTo>
                  <a:lnTo>
                    <a:pt x="2" y="76"/>
                  </a:lnTo>
                  <a:lnTo>
                    <a:pt x="4" y="78"/>
                  </a:lnTo>
                  <a:lnTo>
                    <a:pt x="6" y="80"/>
                  </a:lnTo>
                  <a:lnTo>
                    <a:pt x="6" y="82"/>
                  </a:lnTo>
                  <a:lnTo>
                    <a:pt x="4" y="86"/>
                  </a:lnTo>
                  <a:lnTo>
                    <a:pt x="6" y="90"/>
                  </a:lnTo>
                  <a:lnTo>
                    <a:pt x="8" y="90"/>
                  </a:lnTo>
                  <a:lnTo>
                    <a:pt x="8" y="92"/>
                  </a:lnTo>
                  <a:lnTo>
                    <a:pt x="8" y="94"/>
                  </a:lnTo>
                  <a:lnTo>
                    <a:pt x="6" y="98"/>
                  </a:lnTo>
                  <a:lnTo>
                    <a:pt x="8" y="100"/>
                  </a:lnTo>
                  <a:lnTo>
                    <a:pt x="12" y="98"/>
                  </a:lnTo>
                  <a:lnTo>
                    <a:pt x="14" y="100"/>
                  </a:lnTo>
                  <a:lnTo>
                    <a:pt x="18" y="100"/>
                  </a:lnTo>
                  <a:lnTo>
                    <a:pt x="18" y="102"/>
                  </a:lnTo>
                  <a:lnTo>
                    <a:pt x="20" y="104"/>
                  </a:lnTo>
                  <a:lnTo>
                    <a:pt x="24" y="102"/>
                  </a:lnTo>
                  <a:lnTo>
                    <a:pt x="28" y="104"/>
                  </a:lnTo>
                  <a:lnTo>
                    <a:pt x="28" y="106"/>
                  </a:lnTo>
                  <a:lnTo>
                    <a:pt x="28" y="110"/>
                  </a:lnTo>
                  <a:lnTo>
                    <a:pt x="26" y="114"/>
                  </a:lnTo>
                  <a:lnTo>
                    <a:pt x="26" y="118"/>
                  </a:lnTo>
                  <a:lnTo>
                    <a:pt x="26" y="122"/>
                  </a:lnTo>
                  <a:lnTo>
                    <a:pt x="26" y="126"/>
                  </a:lnTo>
                  <a:lnTo>
                    <a:pt x="28" y="128"/>
                  </a:lnTo>
                  <a:lnTo>
                    <a:pt x="34" y="126"/>
                  </a:lnTo>
                  <a:lnTo>
                    <a:pt x="34" y="124"/>
                  </a:lnTo>
                  <a:lnTo>
                    <a:pt x="36" y="124"/>
                  </a:lnTo>
                  <a:lnTo>
                    <a:pt x="38" y="124"/>
                  </a:lnTo>
                  <a:lnTo>
                    <a:pt x="42" y="126"/>
                  </a:lnTo>
                  <a:lnTo>
                    <a:pt x="52" y="132"/>
                  </a:lnTo>
                  <a:lnTo>
                    <a:pt x="54" y="130"/>
                  </a:lnTo>
                  <a:lnTo>
                    <a:pt x="56" y="128"/>
                  </a:lnTo>
                  <a:lnTo>
                    <a:pt x="62" y="126"/>
                  </a:lnTo>
                  <a:lnTo>
                    <a:pt x="64" y="126"/>
                  </a:lnTo>
                  <a:lnTo>
                    <a:pt x="66" y="124"/>
                  </a:lnTo>
                  <a:lnTo>
                    <a:pt x="70" y="124"/>
                  </a:lnTo>
                  <a:lnTo>
                    <a:pt x="74" y="124"/>
                  </a:lnTo>
                  <a:lnTo>
                    <a:pt x="76" y="124"/>
                  </a:lnTo>
                  <a:lnTo>
                    <a:pt x="80" y="126"/>
                  </a:lnTo>
                  <a:lnTo>
                    <a:pt x="82" y="126"/>
                  </a:lnTo>
                  <a:lnTo>
                    <a:pt x="82" y="124"/>
                  </a:lnTo>
                  <a:lnTo>
                    <a:pt x="80" y="120"/>
                  </a:lnTo>
                  <a:lnTo>
                    <a:pt x="78" y="118"/>
                  </a:lnTo>
                  <a:lnTo>
                    <a:pt x="80" y="118"/>
                  </a:lnTo>
                  <a:lnTo>
                    <a:pt x="82" y="116"/>
                  </a:lnTo>
                  <a:lnTo>
                    <a:pt x="86" y="114"/>
                  </a:lnTo>
                  <a:lnTo>
                    <a:pt x="86" y="112"/>
                  </a:lnTo>
                  <a:lnTo>
                    <a:pt x="88" y="108"/>
                  </a:lnTo>
                  <a:lnTo>
                    <a:pt x="88" y="106"/>
                  </a:lnTo>
                  <a:lnTo>
                    <a:pt x="92" y="106"/>
                  </a:lnTo>
                  <a:lnTo>
                    <a:pt x="88" y="102"/>
                  </a:lnTo>
                  <a:lnTo>
                    <a:pt x="86" y="100"/>
                  </a:lnTo>
                  <a:lnTo>
                    <a:pt x="84" y="100"/>
                  </a:lnTo>
                  <a:lnTo>
                    <a:pt x="82" y="100"/>
                  </a:lnTo>
                  <a:lnTo>
                    <a:pt x="82" y="98"/>
                  </a:lnTo>
                  <a:lnTo>
                    <a:pt x="82" y="94"/>
                  </a:lnTo>
                  <a:lnTo>
                    <a:pt x="80" y="90"/>
                  </a:lnTo>
                  <a:lnTo>
                    <a:pt x="74" y="84"/>
                  </a:lnTo>
                  <a:lnTo>
                    <a:pt x="74" y="80"/>
                  </a:lnTo>
                  <a:lnTo>
                    <a:pt x="76" y="80"/>
                  </a:lnTo>
                  <a:lnTo>
                    <a:pt x="80" y="78"/>
                  </a:lnTo>
                  <a:lnTo>
                    <a:pt x="82" y="76"/>
                  </a:lnTo>
                  <a:lnTo>
                    <a:pt x="84" y="74"/>
                  </a:lnTo>
                  <a:lnTo>
                    <a:pt x="88" y="72"/>
                  </a:lnTo>
                  <a:lnTo>
                    <a:pt x="96" y="66"/>
                  </a:lnTo>
                  <a:lnTo>
                    <a:pt x="102" y="70"/>
                  </a:lnTo>
                  <a:lnTo>
                    <a:pt x="100" y="54"/>
                  </a:lnTo>
                  <a:lnTo>
                    <a:pt x="100" y="52"/>
                  </a:lnTo>
                  <a:lnTo>
                    <a:pt x="98" y="48"/>
                  </a:lnTo>
                  <a:lnTo>
                    <a:pt x="98" y="40"/>
                  </a:lnTo>
                  <a:lnTo>
                    <a:pt x="98" y="38"/>
                  </a:lnTo>
                  <a:lnTo>
                    <a:pt x="96" y="34"/>
                  </a:lnTo>
                  <a:lnTo>
                    <a:pt x="96" y="32"/>
                  </a:lnTo>
                  <a:lnTo>
                    <a:pt x="98" y="26"/>
                  </a:lnTo>
                  <a:lnTo>
                    <a:pt x="98" y="22"/>
                  </a:lnTo>
                  <a:lnTo>
                    <a:pt x="88" y="18"/>
                  </a:lnTo>
                  <a:lnTo>
                    <a:pt x="86" y="14"/>
                  </a:lnTo>
                  <a:lnTo>
                    <a:pt x="80" y="14"/>
                  </a:lnTo>
                  <a:lnTo>
                    <a:pt x="76" y="14"/>
                  </a:lnTo>
                  <a:lnTo>
                    <a:pt x="72" y="20"/>
                  </a:lnTo>
                  <a:lnTo>
                    <a:pt x="70" y="20"/>
                  </a:lnTo>
                  <a:lnTo>
                    <a:pt x="66" y="20"/>
                  </a:lnTo>
                  <a:lnTo>
                    <a:pt x="68" y="22"/>
                  </a:lnTo>
                  <a:lnTo>
                    <a:pt x="66" y="24"/>
                  </a:lnTo>
                  <a:lnTo>
                    <a:pt x="64" y="26"/>
                  </a:lnTo>
                  <a:lnTo>
                    <a:pt x="62" y="18"/>
                  </a:lnTo>
                  <a:lnTo>
                    <a:pt x="56" y="18"/>
                  </a:lnTo>
                  <a:lnTo>
                    <a:pt x="52" y="18"/>
                  </a:lnTo>
                  <a:lnTo>
                    <a:pt x="52" y="14"/>
                  </a:lnTo>
                  <a:lnTo>
                    <a:pt x="48" y="8"/>
                  </a:lnTo>
                  <a:lnTo>
                    <a:pt x="50" y="2"/>
                  </a:lnTo>
                  <a:lnTo>
                    <a:pt x="46" y="2"/>
                  </a:lnTo>
                  <a:lnTo>
                    <a:pt x="46" y="0"/>
                  </a:lnTo>
                  <a:lnTo>
                    <a:pt x="36" y="0"/>
                  </a:lnTo>
                  <a:lnTo>
                    <a:pt x="34" y="4"/>
                  </a:lnTo>
                  <a:lnTo>
                    <a:pt x="34" y="8"/>
                  </a:lnTo>
                  <a:lnTo>
                    <a:pt x="36" y="8"/>
                  </a:lnTo>
                  <a:lnTo>
                    <a:pt x="36" y="12"/>
                  </a:lnTo>
                  <a:lnTo>
                    <a:pt x="38" y="18"/>
                  </a:lnTo>
                  <a:lnTo>
                    <a:pt x="38" y="26"/>
                  </a:lnTo>
                  <a:lnTo>
                    <a:pt x="38" y="28"/>
                  </a:lnTo>
                  <a:lnTo>
                    <a:pt x="36" y="26"/>
                  </a:lnTo>
                  <a:lnTo>
                    <a:pt x="34" y="28"/>
                  </a:lnTo>
                  <a:lnTo>
                    <a:pt x="34" y="32"/>
                  </a:lnTo>
                  <a:lnTo>
                    <a:pt x="30" y="32"/>
                  </a:lnTo>
                  <a:lnTo>
                    <a:pt x="28" y="30"/>
                  </a:lnTo>
                  <a:lnTo>
                    <a:pt x="24" y="30"/>
                  </a:lnTo>
                  <a:lnTo>
                    <a:pt x="22" y="32"/>
                  </a:lnTo>
                  <a:lnTo>
                    <a:pt x="20" y="34"/>
                  </a:lnTo>
                  <a:lnTo>
                    <a:pt x="20" y="36"/>
                  </a:lnTo>
                  <a:lnTo>
                    <a:pt x="22" y="36"/>
                  </a:lnTo>
                  <a:lnTo>
                    <a:pt x="22" y="38"/>
                  </a:lnTo>
                  <a:lnTo>
                    <a:pt x="20" y="3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7" name="Freeform 629">
              <a:extLst>
                <a:ext uri="{FF2B5EF4-FFF2-40B4-BE49-F238E27FC236}">
                  <a16:creationId xmlns:a16="http://schemas.microsoft.com/office/drawing/2014/main" id="{5FDFE16F-464D-46C0-9F7E-834E9D0409E8}"/>
                </a:ext>
              </a:extLst>
            </p:cNvPr>
            <p:cNvSpPr>
              <a:spLocks/>
            </p:cNvSpPr>
            <p:nvPr/>
          </p:nvSpPr>
          <p:spPr bwMode="gray">
            <a:xfrm>
              <a:off x="5224244" y="3097590"/>
              <a:ext cx="150667" cy="77691"/>
            </a:xfrm>
            <a:custGeom>
              <a:avLst/>
              <a:gdLst>
                <a:gd name="T0" fmla="*/ 0 w 82"/>
                <a:gd name="T1" fmla="*/ 2147483647 h 42"/>
                <a:gd name="T2" fmla="*/ 2147483647 w 82"/>
                <a:gd name="T3" fmla="*/ 2147483647 h 42"/>
                <a:gd name="T4" fmla="*/ 2147483647 w 82"/>
                <a:gd name="T5" fmla="*/ 2147483647 h 42"/>
                <a:gd name="T6" fmla="*/ 2147483647 w 82"/>
                <a:gd name="T7" fmla="*/ 2147483647 h 42"/>
                <a:gd name="T8" fmla="*/ 2147483647 w 82"/>
                <a:gd name="T9" fmla="*/ 2147483647 h 42"/>
                <a:gd name="T10" fmla="*/ 2147483647 w 82"/>
                <a:gd name="T11" fmla="*/ 2147483647 h 42"/>
                <a:gd name="T12" fmla="*/ 2147483647 w 82"/>
                <a:gd name="T13" fmla="*/ 2147483647 h 42"/>
                <a:gd name="T14" fmla="*/ 2147483647 w 82"/>
                <a:gd name="T15" fmla="*/ 2147483647 h 42"/>
                <a:gd name="T16" fmla="*/ 2147483647 w 82"/>
                <a:gd name="T17" fmla="*/ 2147483647 h 42"/>
                <a:gd name="T18" fmla="*/ 2147483647 w 82"/>
                <a:gd name="T19" fmla="*/ 2147483647 h 42"/>
                <a:gd name="T20" fmla="*/ 2147483647 w 82"/>
                <a:gd name="T21" fmla="*/ 2147483647 h 42"/>
                <a:gd name="T22" fmla="*/ 2147483647 w 82"/>
                <a:gd name="T23" fmla="*/ 2147483647 h 42"/>
                <a:gd name="T24" fmla="*/ 2147483647 w 82"/>
                <a:gd name="T25" fmla="*/ 2147483647 h 42"/>
                <a:gd name="T26" fmla="*/ 2147483647 w 82"/>
                <a:gd name="T27" fmla="*/ 2147483647 h 42"/>
                <a:gd name="T28" fmla="*/ 2147483647 w 82"/>
                <a:gd name="T29" fmla="*/ 2147483647 h 42"/>
                <a:gd name="T30" fmla="*/ 2147483647 w 82"/>
                <a:gd name="T31" fmla="*/ 2147483647 h 42"/>
                <a:gd name="T32" fmla="*/ 2147483647 w 82"/>
                <a:gd name="T33" fmla="*/ 2147483647 h 42"/>
                <a:gd name="T34" fmla="*/ 2147483647 w 82"/>
                <a:gd name="T35" fmla="*/ 2147483647 h 42"/>
                <a:gd name="T36" fmla="*/ 2147483647 w 82"/>
                <a:gd name="T37" fmla="*/ 2147483647 h 42"/>
                <a:gd name="T38" fmla="*/ 2147483647 w 82"/>
                <a:gd name="T39" fmla="*/ 2147483647 h 42"/>
                <a:gd name="T40" fmla="*/ 2147483647 w 82"/>
                <a:gd name="T41" fmla="*/ 2147483647 h 42"/>
                <a:gd name="T42" fmla="*/ 2147483647 w 82"/>
                <a:gd name="T43" fmla="*/ 2147483647 h 42"/>
                <a:gd name="T44" fmla="*/ 2147483647 w 82"/>
                <a:gd name="T45" fmla="*/ 2147483647 h 42"/>
                <a:gd name="T46" fmla="*/ 2147483647 w 82"/>
                <a:gd name="T47" fmla="*/ 2147483647 h 42"/>
                <a:gd name="T48" fmla="*/ 2147483647 w 82"/>
                <a:gd name="T49" fmla="*/ 2147483647 h 42"/>
                <a:gd name="T50" fmla="*/ 2147483647 w 82"/>
                <a:gd name="T51" fmla="*/ 2147483647 h 42"/>
                <a:gd name="T52" fmla="*/ 2147483647 w 82"/>
                <a:gd name="T53" fmla="*/ 2147483647 h 42"/>
                <a:gd name="T54" fmla="*/ 2147483647 w 82"/>
                <a:gd name="T55" fmla="*/ 2147483647 h 42"/>
                <a:gd name="T56" fmla="*/ 2147483647 w 82"/>
                <a:gd name="T57" fmla="*/ 2147483647 h 42"/>
                <a:gd name="T58" fmla="*/ 2147483647 w 82"/>
                <a:gd name="T59" fmla="*/ 2147483647 h 42"/>
                <a:gd name="T60" fmla="*/ 2147483647 w 82"/>
                <a:gd name="T61" fmla="*/ 2147483647 h 42"/>
                <a:gd name="T62" fmla="*/ 2147483647 w 82"/>
                <a:gd name="T63" fmla="*/ 2147483647 h 42"/>
                <a:gd name="T64" fmla="*/ 2147483647 w 82"/>
                <a:gd name="T65" fmla="*/ 2147483647 h 42"/>
                <a:gd name="T66" fmla="*/ 2147483647 w 82"/>
                <a:gd name="T67" fmla="*/ 2147483647 h 42"/>
                <a:gd name="T68" fmla="*/ 2147483647 w 82"/>
                <a:gd name="T69" fmla="*/ 2147483647 h 42"/>
                <a:gd name="T70" fmla="*/ 2147483647 w 82"/>
                <a:gd name="T71" fmla="*/ 2147483647 h 42"/>
                <a:gd name="T72" fmla="*/ 2147483647 w 82"/>
                <a:gd name="T73" fmla="*/ 2147483647 h 42"/>
                <a:gd name="T74" fmla="*/ 2147483647 w 82"/>
                <a:gd name="T75" fmla="*/ 2147483647 h 42"/>
                <a:gd name="T76" fmla="*/ 2147483647 w 82"/>
                <a:gd name="T77" fmla="*/ 2147483647 h 42"/>
                <a:gd name="T78" fmla="*/ 2147483647 w 82"/>
                <a:gd name="T79" fmla="*/ 2147483647 h 42"/>
                <a:gd name="T80" fmla="*/ 2147483647 w 82"/>
                <a:gd name="T81" fmla="*/ 2147483647 h 42"/>
                <a:gd name="T82" fmla="*/ 2147483647 w 82"/>
                <a:gd name="T83" fmla="*/ 2147483647 h 42"/>
                <a:gd name="T84" fmla="*/ 2147483647 w 82"/>
                <a:gd name="T85" fmla="*/ 2147483647 h 42"/>
                <a:gd name="T86" fmla="*/ 2147483647 w 82"/>
                <a:gd name="T87" fmla="*/ 2147483647 h 42"/>
                <a:gd name="T88" fmla="*/ 2147483647 w 82"/>
                <a:gd name="T89" fmla="*/ 0 h 42"/>
                <a:gd name="T90" fmla="*/ 2147483647 w 82"/>
                <a:gd name="T91" fmla="*/ 0 h 42"/>
                <a:gd name="T92" fmla="*/ 2147483647 w 82"/>
                <a:gd name="T93" fmla="*/ 2147483647 h 42"/>
                <a:gd name="T94" fmla="*/ 2147483647 w 82"/>
                <a:gd name="T95" fmla="*/ 2147483647 h 42"/>
                <a:gd name="T96" fmla="*/ 0 w 82"/>
                <a:gd name="T97" fmla="*/ 2147483647 h 4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2"/>
                <a:gd name="T148" fmla="*/ 0 h 42"/>
                <a:gd name="T149" fmla="*/ 82 w 82"/>
                <a:gd name="T150" fmla="*/ 42 h 4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2" h="42">
                  <a:moveTo>
                    <a:pt x="0" y="12"/>
                  </a:moveTo>
                  <a:lnTo>
                    <a:pt x="0" y="12"/>
                  </a:lnTo>
                  <a:lnTo>
                    <a:pt x="8" y="14"/>
                  </a:lnTo>
                  <a:lnTo>
                    <a:pt x="14" y="16"/>
                  </a:lnTo>
                  <a:lnTo>
                    <a:pt x="16" y="22"/>
                  </a:lnTo>
                  <a:lnTo>
                    <a:pt x="16" y="26"/>
                  </a:lnTo>
                  <a:lnTo>
                    <a:pt x="18" y="26"/>
                  </a:lnTo>
                  <a:lnTo>
                    <a:pt x="18" y="30"/>
                  </a:lnTo>
                  <a:lnTo>
                    <a:pt x="18" y="36"/>
                  </a:lnTo>
                  <a:lnTo>
                    <a:pt x="20" y="36"/>
                  </a:lnTo>
                  <a:lnTo>
                    <a:pt x="24" y="36"/>
                  </a:lnTo>
                  <a:lnTo>
                    <a:pt x="26" y="36"/>
                  </a:lnTo>
                  <a:lnTo>
                    <a:pt x="30" y="36"/>
                  </a:lnTo>
                  <a:lnTo>
                    <a:pt x="34" y="38"/>
                  </a:lnTo>
                  <a:lnTo>
                    <a:pt x="36" y="38"/>
                  </a:lnTo>
                  <a:lnTo>
                    <a:pt x="42" y="38"/>
                  </a:lnTo>
                  <a:lnTo>
                    <a:pt x="44" y="38"/>
                  </a:lnTo>
                  <a:lnTo>
                    <a:pt x="44" y="40"/>
                  </a:lnTo>
                  <a:lnTo>
                    <a:pt x="48" y="42"/>
                  </a:lnTo>
                  <a:lnTo>
                    <a:pt x="54" y="40"/>
                  </a:lnTo>
                  <a:lnTo>
                    <a:pt x="62" y="40"/>
                  </a:lnTo>
                  <a:lnTo>
                    <a:pt x="64" y="38"/>
                  </a:lnTo>
                  <a:lnTo>
                    <a:pt x="66" y="36"/>
                  </a:lnTo>
                  <a:lnTo>
                    <a:pt x="68" y="34"/>
                  </a:lnTo>
                  <a:lnTo>
                    <a:pt x="70" y="34"/>
                  </a:lnTo>
                  <a:lnTo>
                    <a:pt x="74" y="36"/>
                  </a:lnTo>
                  <a:lnTo>
                    <a:pt x="76" y="38"/>
                  </a:lnTo>
                  <a:lnTo>
                    <a:pt x="78" y="40"/>
                  </a:lnTo>
                  <a:lnTo>
                    <a:pt x="80" y="42"/>
                  </a:lnTo>
                  <a:lnTo>
                    <a:pt x="82" y="40"/>
                  </a:lnTo>
                  <a:lnTo>
                    <a:pt x="82" y="38"/>
                  </a:lnTo>
                  <a:lnTo>
                    <a:pt x="80" y="36"/>
                  </a:lnTo>
                  <a:lnTo>
                    <a:pt x="78" y="34"/>
                  </a:lnTo>
                  <a:lnTo>
                    <a:pt x="80" y="32"/>
                  </a:lnTo>
                  <a:lnTo>
                    <a:pt x="82" y="30"/>
                  </a:lnTo>
                  <a:lnTo>
                    <a:pt x="78" y="26"/>
                  </a:lnTo>
                  <a:lnTo>
                    <a:pt x="76" y="26"/>
                  </a:lnTo>
                  <a:lnTo>
                    <a:pt x="72" y="26"/>
                  </a:lnTo>
                  <a:lnTo>
                    <a:pt x="72" y="24"/>
                  </a:lnTo>
                  <a:lnTo>
                    <a:pt x="72" y="22"/>
                  </a:lnTo>
                  <a:lnTo>
                    <a:pt x="72" y="20"/>
                  </a:lnTo>
                  <a:lnTo>
                    <a:pt x="68" y="18"/>
                  </a:lnTo>
                  <a:lnTo>
                    <a:pt x="64" y="16"/>
                  </a:lnTo>
                  <a:lnTo>
                    <a:pt x="62" y="12"/>
                  </a:lnTo>
                  <a:lnTo>
                    <a:pt x="60" y="10"/>
                  </a:lnTo>
                  <a:lnTo>
                    <a:pt x="58" y="12"/>
                  </a:lnTo>
                  <a:lnTo>
                    <a:pt x="54" y="14"/>
                  </a:lnTo>
                  <a:lnTo>
                    <a:pt x="52" y="14"/>
                  </a:lnTo>
                  <a:lnTo>
                    <a:pt x="50" y="12"/>
                  </a:lnTo>
                  <a:lnTo>
                    <a:pt x="48" y="12"/>
                  </a:lnTo>
                  <a:lnTo>
                    <a:pt x="44" y="14"/>
                  </a:lnTo>
                  <a:lnTo>
                    <a:pt x="40" y="14"/>
                  </a:lnTo>
                  <a:lnTo>
                    <a:pt x="38" y="12"/>
                  </a:lnTo>
                  <a:lnTo>
                    <a:pt x="34" y="8"/>
                  </a:lnTo>
                  <a:lnTo>
                    <a:pt x="32" y="4"/>
                  </a:lnTo>
                  <a:lnTo>
                    <a:pt x="28" y="4"/>
                  </a:lnTo>
                  <a:lnTo>
                    <a:pt x="20" y="4"/>
                  </a:lnTo>
                  <a:lnTo>
                    <a:pt x="14" y="2"/>
                  </a:lnTo>
                  <a:lnTo>
                    <a:pt x="12" y="0"/>
                  </a:lnTo>
                  <a:lnTo>
                    <a:pt x="10" y="0"/>
                  </a:lnTo>
                  <a:lnTo>
                    <a:pt x="8" y="0"/>
                  </a:lnTo>
                  <a:lnTo>
                    <a:pt x="4" y="2"/>
                  </a:lnTo>
                  <a:lnTo>
                    <a:pt x="2" y="6"/>
                  </a:lnTo>
                  <a:lnTo>
                    <a:pt x="0" y="10"/>
                  </a:lnTo>
                  <a:lnTo>
                    <a:pt x="0"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8" name="Freeform 630">
              <a:extLst>
                <a:ext uri="{FF2B5EF4-FFF2-40B4-BE49-F238E27FC236}">
                  <a16:creationId xmlns:a16="http://schemas.microsoft.com/office/drawing/2014/main" id="{F0285989-B3AA-4B3D-87BF-C32E68B0410F}"/>
                </a:ext>
              </a:extLst>
            </p:cNvPr>
            <p:cNvSpPr>
              <a:spLocks/>
            </p:cNvSpPr>
            <p:nvPr/>
          </p:nvSpPr>
          <p:spPr bwMode="gray">
            <a:xfrm>
              <a:off x="4028320" y="3928654"/>
              <a:ext cx="72980" cy="21187"/>
            </a:xfrm>
            <a:custGeom>
              <a:avLst/>
              <a:gdLst>
                <a:gd name="T0" fmla="*/ 2147483647 w 40"/>
                <a:gd name="T1" fmla="*/ 2147483647 h 12"/>
                <a:gd name="T2" fmla="*/ 2147483647 w 40"/>
                <a:gd name="T3" fmla="*/ 2147483647 h 12"/>
                <a:gd name="T4" fmla="*/ 2147483647 w 40"/>
                <a:gd name="T5" fmla="*/ 2147483647 h 12"/>
                <a:gd name="T6" fmla="*/ 2147483647 w 40"/>
                <a:gd name="T7" fmla="*/ 2147483647 h 12"/>
                <a:gd name="T8" fmla="*/ 2147483647 w 40"/>
                <a:gd name="T9" fmla="*/ 2147483647 h 12"/>
                <a:gd name="T10" fmla="*/ 2147483647 w 40"/>
                <a:gd name="T11" fmla="*/ 2147483647 h 12"/>
                <a:gd name="T12" fmla="*/ 2147483647 w 40"/>
                <a:gd name="T13" fmla="*/ 2147483647 h 12"/>
                <a:gd name="T14" fmla="*/ 2147483647 w 40"/>
                <a:gd name="T15" fmla="*/ 2147483647 h 12"/>
                <a:gd name="T16" fmla="*/ 2147483647 w 40"/>
                <a:gd name="T17" fmla="*/ 2147483647 h 12"/>
                <a:gd name="T18" fmla="*/ 2147483647 w 40"/>
                <a:gd name="T19" fmla="*/ 2147483647 h 12"/>
                <a:gd name="T20" fmla="*/ 2147483647 w 40"/>
                <a:gd name="T21" fmla="*/ 2147483647 h 12"/>
                <a:gd name="T22" fmla="*/ 2147483647 w 40"/>
                <a:gd name="T23" fmla="*/ 2147483647 h 12"/>
                <a:gd name="T24" fmla="*/ 2147483647 w 40"/>
                <a:gd name="T25" fmla="*/ 2147483647 h 12"/>
                <a:gd name="T26" fmla="*/ 2147483647 w 40"/>
                <a:gd name="T27" fmla="*/ 2147483647 h 12"/>
                <a:gd name="T28" fmla="*/ 2147483647 w 40"/>
                <a:gd name="T29" fmla="*/ 2147483647 h 12"/>
                <a:gd name="T30" fmla="*/ 2147483647 w 40"/>
                <a:gd name="T31" fmla="*/ 2147483647 h 12"/>
                <a:gd name="T32" fmla="*/ 2147483647 w 40"/>
                <a:gd name="T33" fmla="*/ 2147483647 h 12"/>
                <a:gd name="T34" fmla="*/ 2147483647 w 40"/>
                <a:gd name="T35" fmla="*/ 2147483647 h 12"/>
                <a:gd name="T36" fmla="*/ 2147483647 w 40"/>
                <a:gd name="T37" fmla="*/ 2147483647 h 12"/>
                <a:gd name="T38" fmla="*/ 2147483647 w 40"/>
                <a:gd name="T39" fmla="*/ 2147483647 h 12"/>
                <a:gd name="T40" fmla="*/ 2147483647 w 40"/>
                <a:gd name="T41" fmla="*/ 0 h 12"/>
                <a:gd name="T42" fmla="*/ 2147483647 w 40"/>
                <a:gd name="T43" fmla="*/ 2147483647 h 12"/>
                <a:gd name="T44" fmla="*/ 2147483647 w 40"/>
                <a:gd name="T45" fmla="*/ 2147483647 h 12"/>
                <a:gd name="T46" fmla="*/ 2147483647 w 40"/>
                <a:gd name="T47" fmla="*/ 2147483647 h 12"/>
                <a:gd name="T48" fmla="*/ 2147483647 w 40"/>
                <a:gd name="T49" fmla="*/ 2147483647 h 12"/>
                <a:gd name="T50" fmla="*/ 2147483647 w 40"/>
                <a:gd name="T51" fmla="*/ 2147483647 h 12"/>
                <a:gd name="T52" fmla="*/ 2147483647 w 40"/>
                <a:gd name="T53" fmla="*/ 2147483647 h 12"/>
                <a:gd name="T54" fmla="*/ 0 w 40"/>
                <a:gd name="T55" fmla="*/ 2147483647 h 12"/>
                <a:gd name="T56" fmla="*/ 0 w 40"/>
                <a:gd name="T57" fmla="*/ 2147483647 h 12"/>
                <a:gd name="T58" fmla="*/ 2147483647 w 40"/>
                <a:gd name="T59" fmla="*/ 2147483647 h 12"/>
                <a:gd name="T60" fmla="*/ 2147483647 w 40"/>
                <a:gd name="T61" fmla="*/ 2147483647 h 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
                <a:gd name="T94" fmla="*/ 0 h 12"/>
                <a:gd name="T95" fmla="*/ 40 w 40"/>
                <a:gd name="T96" fmla="*/ 12 h 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 h="12">
                  <a:moveTo>
                    <a:pt x="4" y="12"/>
                  </a:moveTo>
                  <a:lnTo>
                    <a:pt x="14" y="12"/>
                  </a:lnTo>
                  <a:lnTo>
                    <a:pt x="14" y="10"/>
                  </a:lnTo>
                  <a:lnTo>
                    <a:pt x="18" y="8"/>
                  </a:lnTo>
                  <a:lnTo>
                    <a:pt x="36" y="8"/>
                  </a:lnTo>
                  <a:lnTo>
                    <a:pt x="38" y="8"/>
                  </a:lnTo>
                  <a:lnTo>
                    <a:pt x="40" y="4"/>
                  </a:lnTo>
                  <a:lnTo>
                    <a:pt x="40" y="2"/>
                  </a:lnTo>
                  <a:lnTo>
                    <a:pt x="36" y="2"/>
                  </a:lnTo>
                  <a:lnTo>
                    <a:pt x="28" y="2"/>
                  </a:lnTo>
                  <a:lnTo>
                    <a:pt x="22" y="2"/>
                  </a:lnTo>
                  <a:lnTo>
                    <a:pt x="18" y="2"/>
                  </a:lnTo>
                  <a:lnTo>
                    <a:pt x="16" y="0"/>
                  </a:lnTo>
                  <a:lnTo>
                    <a:pt x="14" y="2"/>
                  </a:lnTo>
                  <a:lnTo>
                    <a:pt x="12" y="4"/>
                  </a:lnTo>
                  <a:lnTo>
                    <a:pt x="8" y="2"/>
                  </a:lnTo>
                  <a:lnTo>
                    <a:pt x="4" y="4"/>
                  </a:lnTo>
                  <a:lnTo>
                    <a:pt x="0" y="4"/>
                  </a:lnTo>
                  <a:lnTo>
                    <a:pt x="4"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869" name="Freeform 631">
              <a:extLst>
                <a:ext uri="{FF2B5EF4-FFF2-40B4-BE49-F238E27FC236}">
                  <a16:creationId xmlns:a16="http://schemas.microsoft.com/office/drawing/2014/main" id="{E83CEE11-9E2C-497C-9354-AB8B3EBC08F6}"/>
                </a:ext>
              </a:extLst>
            </p:cNvPr>
            <p:cNvSpPr>
              <a:spLocks/>
            </p:cNvSpPr>
            <p:nvPr/>
          </p:nvSpPr>
          <p:spPr bwMode="gray">
            <a:xfrm>
              <a:off x="4567428" y="4220586"/>
              <a:ext cx="127126" cy="174216"/>
            </a:xfrm>
            <a:custGeom>
              <a:avLst/>
              <a:gdLst>
                <a:gd name="T0" fmla="*/ 2147483647 w 68"/>
                <a:gd name="T1" fmla="*/ 2147483647 h 94"/>
                <a:gd name="T2" fmla="*/ 2147483647 w 68"/>
                <a:gd name="T3" fmla="*/ 2147483647 h 94"/>
                <a:gd name="T4" fmla="*/ 2147483647 w 68"/>
                <a:gd name="T5" fmla="*/ 2147483647 h 94"/>
                <a:gd name="T6" fmla="*/ 2147483647 w 68"/>
                <a:gd name="T7" fmla="*/ 2147483647 h 94"/>
                <a:gd name="T8" fmla="*/ 2147483647 w 68"/>
                <a:gd name="T9" fmla="*/ 2147483647 h 94"/>
                <a:gd name="T10" fmla="*/ 0 w 68"/>
                <a:gd name="T11" fmla="*/ 2147483647 h 94"/>
                <a:gd name="T12" fmla="*/ 2147483647 w 68"/>
                <a:gd name="T13" fmla="*/ 2147483647 h 94"/>
                <a:gd name="T14" fmla="*/ 2147483647 w 68"/>
                <a:gd name="T15" fmla="*/ 2147483647 h 94"/>
                <a:gd name="T16" fmla="*/ 2147483647 w 68"/>
                <a:gd name="T17" fmla="*/ 2147483647 h 94"/>
                <a:gd name="T18" fmla="*/ 2147483647 w 68"/>
                <a:gd name="T19" fmla="*/ 2147483647 h 94"/>
                <a:gd name="T20" fmla="*/ 2147483647 w 68"/>
                <a:gd name="T21" fmla="*/ 2147483647 h 94"/>
                <a:gd name="T22" fmla="*/ 2147483647 w 68"/>
                <a:gd name="T23" fmla="*/ 2147483647 h 94"/>
                <a:gd name="T24" fmla="*/ 2147483647 w 68"/>
                <a:gd name="T25" fmla="*/ 2147483647 h 94"/>
                <a:gd name="T26" fmla="*/ 2147483647 w 68"/>
                <a:gd name="T27" fmla="*/ 2147483647 h 94"/>
                <a:gd name="T28" fmla="*/ 2147483647 w 68"/>
                <a:gd name="T29" fmla="*/ 2147483647 h 94"/>
                <a:gd name="T30" fmla="*/ 2147483647 w 68"/>
                <a:gd name="T31" fmla="*/ 2147483647 h 94"/>
                <a:gd name="T32" fmla="*/ 2147483647 w 68"/>
                <a:gd name="T33" fmla="*/ 2147483647 h 94"/>
                <a:gd name="T34" fmla="*/ 2147483647 w 68"/>
                <a:gd name="T35" fmla="*/ 2147483647 h 94"/>
                <a:gd name="T36" fmla="*/ 2147483647 w 68"/>
                <a:gd name="T37" fmla="*/ 2147483647 h 94"/>
                <a:gd name="T38" fmla="*/ 2147483647 w 68"/>
                <a:gd name="T39" fmla="*/ 2147483647 h 94"/>
                <a:gd name="T40" fmla="*/ 2147483647 w 68"/>
                <a:gd name="T41" fmla="*/ 2147483647 h 94"/>
                <a:gd name="T42" fmla="*/ 2147483647 w 68"/>
                <a:gd name="T43" fmla="*/ 2147483647 h 94"/>
                <a:gd name="T44" fmla="*/ 2147483647 w 68"/>
                <a:gd name="T45" fmla="*/ 2147483647 h 94"/>
                <a:gd name="T46" fmla="*/ 2147483647 w 68"/>
                <a:gd name="T47" fmla="*/ 2147483647 h 94"/>
                <a:gd name="T48" fmla="*/ 2147483647 w 68"/>
                <a:gd name="T49" fmla="*/ 2147483647 h 94"/>
                <a:gd name="T50" fmla="*/ 2147483647 w 68"/>
                <a:gd name="T51" fmla="*/ 2147483647 h 94"/>
                <a:gd name="T52" fmla="*/ 2147483647 w 68"/>
                <a:gd name="T53" fmla="*/ 2147483647 h 94"/>
                <a:gd name="T54" fmla="*/ 2147483647 w 68"/>
                <a:gd name="T55" fmla="*/ 2147483647 h 94"/>
                <a:gd name="T56" fmla="*/ 2147483647 w 68"/>
                <a:gd name="T57" fmla="*/ 2147483647 h 94"/>
                <a:gd name="T58" fmla="*/ 2147483647 w 68"/>
                <a:gd name="T59" fmla="*/ 2147483647 h 94"/>
                <a:gd name="T60" fmla="*/ 2147483647 w 68"/>
                <a:gd name="T61" fmla="*/ 2147483647 h 94"/>
                <a:gd name="T62" fmla="*/ 2147483647 w 68"/>
                <a:gd name="T63" fmla="*/ 2147483647 h 94"/>
                <a:gd name="T64" fmla="*/ 2147483647 w 68"/>
                <a:gd name="T65" fmla="*/ 2147483647 h 94"/>
                <a:gd name="T66" fmla="*/ 2147483647 w 68"/>
                <a:gd name="T67" fmla="*/ 2147483647 h 94"/>
                <a:gd name="T68" fmla="*/ 2147483647 w 68"/>
                <a:gd name="T69" fmla="*/ 2147483647 h 94"/>
                <a:gd name="T70" fmla="*/ 2147483647 w 68"/>
                <a:gd name="T71" fmla="*/ 2147483647 h 94"/>
                <a:gd name="T72" fmla="*/ 2147483647 w 68"/>
                <a:gd name="T73" fmla="*/ 2147483647 h 94"/>
                <a:gd name="T74" fmla="*/ 2147483647 w 68"/>
                <a:gd name="T75" fmla="*/ 2147483647 h 94"/>
                <a:gd name="T76" fmla="*/ 2147483647 w 68"/>
                <a:gd name="T77" fmla="*/ 2147483647 h 94"/>
                <a:gd name="T78" fmla="*/ 2147483647 w 68"/>
                <a:gd name="T79" fmla="*/ 2147483647 h 94"/>
                <a:gd name="T80" fmla="*/ 2147483647 w 68"/>
                <a:gd name="T81" fmla="*/ 2147483647 h 94"/>
                <a:gd name="T82" fmla="*/ 2147483647 w 68"/>
                <a:gd name="T83" fmla="*/ 2147483647 h 94"/>
                <a:gd name="T84" fmla="*/ 2147483647 w 68"/>
                <a:gd name="T85" fmla="*/ 2147483647 h 94"/>
                <a:gd name="T86" fmla="*/ 2147483647 w 68"/>
                <a:gd name="T87" fmla="*/ 2147483647 h 94"/>
                <a:gd name="T88" fmla="*/ 2147483647 w 68"/>
                <a:gd name="T89" fmla="*/ 2147483647 h 94"/>
                <a:gd name="T90" fmla="*/ 2147483647 w 68"/>
                <a:gd name="T91" fmla="*/ 2147483647 h 94"/>
                <a:gd name="T92" fmla="*/ 2147483647 w 68"/>
                <a:gd name="T93" fmla="*/ 2147483647 h 94"/>
                <a:gd name="T94" fmla="*/ 2147483647 w 68"/>
                <a:gd name="T95" fmla="*/ 2147483647 h 94"/>
                <a:gd name="T96" fmla="*/ 2147483647 w 68"/>
                <a:gd name="T97" fmla="*/ 2147483647 h 94"/>
                <a:gd name="T98" fmla="*/ 2147483647 w 68"/>
                <a:gd name="T99" fmla="*/ 2147483647 h 94"/>
                <a:gd name="T100" fmla="*/ 2147483647 w 68"/>
                <a:gd name="T101" fmla="*/ 0 h 94"/>
                <a:gd name="T102" fmla="*/ 2147483647 w 68"/>
                <a:gd name="T103" fmla="*/ 0 h 94"/>
                <a:gd name="T104" fmla="*/ 2147483647 w 68"/>
                <a:gd name="T105" fmla="*/ 0 h 94"/>
                <a:gd name="T106" fmla="*/ 2147483647 w 68"/>
                <a:gd name="T107" fmla="*/ 2147483647 h 94"/>
                <a:gd name="T108" fmla="*/ 2147483647 w 68"/>
                <a:gd name="T109" fmla="*/ 2147483647 h 94"/>
                <a:gd name="T110" fmla="*/ 2147483647 w 68"/>
                <a:gd name="T111" fmla="*/ 2147483647 h 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
                <a:gd name="T169" fmla="*/ 0 h 94"/>
                <a:gd name="T170" fmla="*/ 68 w 68"/>
                <a:gd name="T171" fmla="*/ 94 h 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 h="94">
                  <a:moveTo>
                    <a:pt x="8" y="18"/>
                  </a:moveTo>
                  <a:lnTo>
                    <a:pt x="8" y="18"/>
                  </a:lnTo>
                  <a:lnTo>
                    <a:pt x="4" y="22"/>
                  </a:lnTo>
                  <a:lnTo>
                    <a:pt x="8" y="28"/>
                  </a:lnTo>
                  <a:lnTo>
                    <a:pt x="8" y="32"/>
                  </a:lnTo>
                  <a:lnTo>
                    <a:pt x="8" y="34"/>
                  </a:lnTo>
                  <a:lnTo>
                    <a:pt x="6" y="38"/>
                  </a:lnTo>
                  <a:lnTo>
                    <a:pt x="4" y="44"/>
                  </a:lnTo>
                  <a:lnTo>
                    <a:pt x="0" y="58"/>
                  </a:lnTo>
                  <a:lnTo>
                    <a:pt x="6" y="62"/>
                  </a:lnTo>
                  <a:lnTo>
                    <a:pt x="6" y="66"/>
                  </a:lnTo>
                  <a:lnTo>
                    <a:pt x="2" y="68"/>
                  </a:lnTo>
                  <a:lnTo>
                    <a:pt x="14" y="76"/>
                  </a:lnTo>
                  <a:lnTo>
                    <a:pt x="22" y="84"/>
                  </a:lnTo>
                  <a:lnTo>
                    <a:pt x="20" y="90"/>
                  </a:lnTo>
                  <a:lnTo>
                    <a:pt x="26" y="94"/>
                  </a:lnTo>
                  <a:lnTo>
                    <a:pt x="26" y="88"/>
                  </a:lnTo>
                  <a:lnTo>
                    <a:pt x="28" y="86"/>
                  </a:lnTo>
                  <a:lnTo>
                    <a:pt x="30" y="84"/>
                  </a:lnTo>
                  <a:lnTo>
                    <a:pt x="32" y="84"/>
                  </a:lnTo>
                  <a:lnTo>
                    <a:pt x="36" y="86"/>
                  </a:lnTo>
                  <a:lnTo>
                    <a:pt x="38" y="86"/>
                  </a:lnTo>
                  <a:lnTo>
                    <a:pt x="40" y="86"/>
                  </a:lnTo>
                  <a:lnTo>
                    <a:pt x="40" y="82"/>
                  </a:lnTo>
                  <a:lnTo>
                    <a:pt x="36" y="76"/>
                  </a:lnTo>
                  <a:lnTo>
                    <a:pt x="36" y="74"/>
                  </a:lnTo>
                  <a:lnTo>
                    <a:pt x="36" y="72"/>
                  </a:lnTo>
                  <a:lnTo>
                    <a:pt x="38" y="72"/>
                  </a:lnTo>
                  <a:lnTo>
                    <a:pt x="38" y="70"/>
                  </a:lnTo>
                  <a:lnTo>
                    <a:pt x="38" y="68"/>
                  </a:lnTo>
                  <a:lnTo>
                    <a:pt x="38" y="66"/>
                  </a:lnTo>
                  <a:lnTo>
                    <a:pt x="44" y="68"/>
                  </a:lnTo>
                  <a:lnTo>
                    <a:pt x="44" y="66"/>
                  </a:lnTo>
                  <a:lnTo>
                    <a:pt x="44" y="64"/>
                  </a:lnTo>
                  <a:lnTo>
                    <a:pt x="44" y="62"/>
                  </a:lnTo>
                  <a:lnTo>
                    <a:pt x="48" y="64"/>
                  </a:lnTo>
                  <a:lnTo>
                    <a:pt x="48" y="66"/>
                  </a:lnTo>
                  <a:lnTo>
                    <a:pt x="52" y="66"/>
                  </a:lnTo>
                  <a:lnTo>
                    <a:pt x="56" y="64"/>
                  </a:lnTo>
                  <a:lnTo>
                    <a:pt x="60" y="66"/>
                  </a:lnTo>
                  <a:lnTo>
                    <a:pt x="62" y="70"/>
                  </a:lnTo>
                  <a:lnTo>
                    <a:pt x="62" y="72"/>
                  </a:lnTo>
                  <a:lnTo>
                    <a:pt x="64" y="70"/>
                  </a:lnTo>
                  <a:lnTo>
                    <a:pt x="64" y="66"/>
                  </a:lnTo>
                  <a:lnTo>
                    <a:pt x="66" y="60"/>
                  </a:lnTo>
                  <a:lnTo>
                    <a:pt x="62" y="58"/>
                  </a:lnTo>
                  <a:lnTo>
                    <a:pt x="62" y="56"/>
                  </a:lnTo>
                  <a:lnTo>
                    <a:pt x="64" y="54"/>
                  </a:lnTo>
                  <a:lnTo>
                    <a:pt x="64" y="52"/>
                  </a:lnTo>
                  <a:lnTo>
                    <a:pt x="62" y="50"/>
                  </a:lnTo>
                  <a:lnTo>
                    <a:pt x="62" y="46"/>
                  </a:lnTo>
                  <a:lnTo>
                    <a:pt x="62" y="42"/>
                  </a:lnTo>
                  <a:lnTo>
                    <a:pt x="62" y="40"/>
                  </a:lnTo>
                  <a:lnTo>
                    <a:pt x="60" y="36"/>
                  </a:lnTo>
                  <a:lnTo>
                    <a:pt x="56" y="34"/>
                  </a:lnTo>
                  <a:lnTo>
                    <a:pt x="58" y="34"/>
                  </a:lnTo>
                  <a:lnTo>
                    <a:pt x="58" y="28"/>
                  </a:lnTo>
                  <a:lnTo>
                    <a:pt x="58" y="24"/>
                  </a:lnTo>
                  <a:lnTo>
                    <a:pt x="62" y="24"/>
                  </a:lnTo>
                  <a:lnTo>
                    <a:pt x="66" y="24"/>
                  </a:lnTo>
                  <a:lnTo>
                    <a:pt x="68" y="24"/>
                  </a:lnTo>
                  <a:lnTo>
                    <a:pt x="68" y="14"/>
                  </a:lnTo>
                  <a:lnTo>
                    <a:pt x="62" y="12"/>
                  </a:lnTo>
                  <a:lnTo>
                    <a:pt x="56" y="14"/>
                  </a:lnTo>
                  <a:lnTo>
                    <a:pt x="54" y="14"/>
                  </a:lnTo>
                  <a:lnTo>
                    <a:pt x="54" y="12"/>
                  </a:lnTo>
                  <a:lnTo>
                    <a:pt x="54" y="10"/>
                  </a:lnTo>
                  <a:lnTo>
                    <a:pt x="54" y="0"/>
                  </a:lnTo>
                  <a:lnTo>
                    <a:pt x="52" y="0"/>
                  </a:lnTo>
                  <a:lnTo>
                    <a:pt x="46" y="0"/>
                  </a:lnTo>
                  <a:lnTo>
                    <a:pt x="42" y="2"/>
                  </a:lnTo>
                  <a:lnTo>
                    <a:pt x="40" y="2"/>
                  </a:lnTo>
                  <a:lnTo>
                    <a:pt x="36" y="2"/>
                  </a:lnTo>
                  <a:lnTo>
                    <a:pt x="32" y="2"/>
                  </a:lnTo>
                  <a:lnTo>
                    <a:pt x="32" y="18"/>
                  </a:lnTo>
                  <a:lnTo>
                    <a:pt x="8" y="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54" name="Freeform 632">
              <a:extLst>
                <a:ext uri="{FF2B5EF4-FFF2-40B4-BE49-F238E27FC236}">
                  <a16:creationId xmlns:a16="http://schemas.microsoft.com/office/drawing/2014/main" id="{88C89853-24EA-48A2-B8BA-4CCAA22C3ED2}"/>
                </a:ext>
              </a:extLst>
            </p:cNvPr>
            <p:cNvSpPr>
              <a:spLocks/>
            </p:cNvSpPr>
            <p:nvPr/>
          </p:nvSpPr>
          <p:spPr bwMode="gray">
            <a:xfrm>
              <a:off x="3239667" y="4142894"/>
              <a:ext cx="63564" cy="108298"/>
            </a:xfrm>
            <a:custGeom>
              <a:avLst/>
              <a:gdLst>
                <a:gd name="T0" fmla="*/ 2147483647 w 34"/>
                <a:gd name="T1" fmla="*/ 0 h 58"/>
                <a:gd name="T2" fmla="*/ 0 w 34"/>
                <a:gd name="T3" fmla="*/ 2147483647 h 58"/>
                <a:gd name="T4" fmla="*/ 0 w 34"/>
                <a:gd name="T5" fmla="*/ 2147483647 h 58"/>
                <a:gd name="T6" fmla="*/ 0 w 34"/>
                <a:gd name="T7" fmla="*/ 2147483647 h 58"/>
                <a:gd name="T8" fmla="*/ 0 w 34"/>
                <a:gd name="T9" fmla="*/ 2147483647 h 58"/>
                <a:gd name="T10" fmla="*/ 0 w 34"/>
                <a:gd name="T11" fmla="*/ 2147483647 h 58"/>
                <a:gd name="T12" fmla="*/ 2147483647 w 34"/>
                <a:gd name="T13" fmla="*/ 2147483647 h 58"/>
                <a:gd name="T14" fmla="*/ 2147483647 w 34"/>
                <a:gd name="T15" fmla="*/ 2147483647 h 58"/>
                <a:gd name="T16" fmla="*/ 2147483647 w 34"/>
                <a:gd name="T17" fmla="*/ 2147483647 h 58"/>
                <a:gd name="T18" fmla="*/ 2147483647 w 34"/>
                <a:gd name="T19" fmla="*/ 2147483647 h 58"/>
                <a:gd name="T20" fmla="*/ 2147483647 w 34"/>
                <a:gd name="T21" fmla="*/ 2147483647 h 58"/>
                <a:gd name="T22" fmla="*/ 2147483647 w 34"/>
                <a:gd name="T23" fmla="*/ 2147483647 h 58"/>
                <a:gd name="T24" fmla="*/ 0 w 34"/>
                <a:gd name="T25" fmla="*/ 2147483647 h 58"/>
                <a:gd name="T26" fmla="*/ 0 w 34"/>
                <a:gd name="T27" fmla="*/ 2147483647 h 58"/>
                <a:gd name="T28" fmla="*/ 0 w 34"/>
                <a:gd name="T29" fmla="*/ 2147483647 h 58"/>
                <a:gd name="T30" fmla="*/ 2147483647 w 34"/>
                <a:gd name="T31" fmla="*/ 2147483647 h 58"/>
                <a:gd name="T32" fmla="*/ 2147483647 w 34"/>
                <a:gd name="T33" fmla="*/ 2147483647 h 58"/>
                <a:gd name="T34" fmla="*/ 2147483647 w 34"/>
                <a:gd name="T35" fmla="*/ 2147483647 h 58"/>
                <a:gd name="T36" fmla="*/ 2147483647 w 34"/>
                <a:gd name="T37" fmla="*/ 2147483647 h 58"/>
                <a:gd name="T38" fmla="*/ 2147483647 w 34"/>
                <a:gd name="T39" fmla="*/ 2147483647 h 58"/>
                <a:gd name="T40" fmla="*/ 2147483647 w 34"/>
                <a:gd name="T41" fmla="*/ 2147483647 h 58"/>
                <a:gd name="T42" fmla="*/ 2147483647 w 34"/>
                <a:gd name="T43" fmla="*/ 2147483647 h 58"/>
                <a:gd name="T44" fmla="*/ 2147483647 w 34"/>
                <a:gd name="T45" fmla="*/ 2147483647 h 58"/>
                <a:gd name="T46" fmla="*/ 2147483647 w 34"/>
                <a:gd name="T47" fmla="*/ 2147483647 h 58"/>
                <a:gd name="T48" fmla="*/ 2147483647 w 34"/>
                <a:gd name="T49" fmla="*/ 2147483647 h 58"/>
                <a:gd name="T50" fmla="*/ 2147483647 w 34"/>
                <a:gd name="T51" fmla="*/ 2147483647 h 58"/>
                <a:gd name="T52" fmla="*/ 2147483647 w 34"/>
                <a:gd name="T53" fmla="*/ 2147483647 h 58"/>
                <a:gd name="T54" fmla="*/ 2147483647 w 34"/>
                <a:gd name="T55" fmla="*/ 2147483647 h 58"/>
                <a:gd name="T56" fmla="*/ 2147483647 w 34"/>
                <a:gd name="T57" fmla="*/ 2147483647 h 58"/>
                <a:gd name="T58" fmla="*/ 2147483647 w 34"/>
                <a:gd name="T59" fmla="*/ 2147483647 h 58"/>
                <a:gd name="T60" fmla="*/ 2147483647 w 34"/>
                <a:gd name="T61" fmla="*/ 2147483647 h 58"/>
                <a:gd name="T62" fmla="*/ 2147483647 w 34"/>
                <a:gd name="T63" fmla="*/ 2147483647 h 58"/>
                <a:gd name="T64" fmla="*/ 2147483647 w 34"/>
                <a:gd name="T65" fmla="*/ 2147483647 h 58"/>
                <a:gd name="T66" fmla="*/ 2147483647 w 34"/>
                <a:gd name="T67" fmla="*/ 2147483647 h 58"/>
                <a:gd name="T68" fmla="*/ 2147483647 w 34"/>
                <a:gd name="T69" fmla="*/ 2147483647 h 58"/>
                <a:gd name="T70" fmla="*/ 2147483647 w 34"/>
                <a:gd name="T71" fmla="*/ 2147483647 h 58"/>
                <a:gd name="T72" fmla="*/ 2147483647 w 34"/>
                <a:gd name="T73" fmla="*/ 2147483647 h 58"/>
                <a:gd name="T74" fmla="*/ 2147483647 w 34"/>
                <a:gd name="T75" fmla="*/ 2147483647 h 58"/>
                <a:gd name="T76" fmla="*/ 2147483647 w 34"/>
                <a:gd name="T77" fmla="*/ 2147483647 h 58"/>
                <a:gd name="T78" fmla="*/ 2147483647 w 34"/>
                <a:gd name="T79" fmla="*/ 0 h 58"/>
                <a:gd name="T80" fmla="*/ 2147483647 w 34"/>
                <a:gd name="T81" fmla="*/ 0 h 58"/>
                <a:gd name="T82" fmla="*/ 2147483647 w 34"/>
                <a:gd name="T83" fmla="*/ 0 h 58"/>
                <a:gd name="T84" fmla="*/ 2147483647 w 34"/>
                <a:gd name="T85" fmla="*/ 0 h 58"/>
                <a:gd name="T86" fmla="*/ 2147483647 w 34"/>
                <a:gd name="T87" fmla="*/ 0 h 58"/>
                <a:gd name="T88" fmla="*/ 2147483647 w 34"/>
                <a:gd name="T89" fmla="*/ 0 h 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4"/>
                <a:gd name="T136" fmla="*/ 0 h 58"/>
                <a:gd name="T137" fmla="*/ 34 w 34"/>
                <a:gd name="T138" fmla="*/ 58 h 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4" h="58">
                  <a:moveTo>
                    <a:pt x="4" y="0"/>
                  </a:moveTo>
                  <a:lnTo>
                    <a:pt x="0" y="10"/>
                  </a:lnTo>
                  <a:lnTo>
                    <a:pt x="0" y="24"/>
                  </a:lnTo>
                  <a:lnTo>
                    <a:pt x="0" y="28"/>
                  </a:lnTo>
                  <a:lnTo>
                    <a:pt x="2" y="30"/>
                  </a:lnTo>
                  <a:lnTo>
                    <a:pt x="6" y="34"/>
                  </a:lnTo>
                  <a:lnTo>
                    <a:pt x="6" y="36"/>
                  </a:lnTo>
                  <a:lnTo>
                    <a:pt x="4" y="44"/>
                  </a:lnTo>
                  <a:lnTo>
                    <a:pt x="0" y="52"/>
                  </a:lnTo>
                  <a:lnTo>
                    <a:pt x="0" y="54"/>
                  </a:lnTo>
                  <a:lnTo>
                    <a:pt x="2" y="58"/>
                  </a:lnTo>
                  <a:lnTo>
                    <a:pt x="6" y="58"/>
                  </a:lnTo>
                  <a:lnTo>
                    <a:pt x="8" y="58"/>
                  </a:lnTo>
                  <a:lnTo>
                    <a:pt x="10" y="56"/>
                  </a:lnTo>
                  <a:lnTo>
                    <a:pt x="16" y="54"/>
                  </a:lnTo>
                  <a:lnTo>
                    <a:pt x="20" y="58"/>
                  </a:lnTo>
                  <a:lnTo>
                    <a:pt x="24" y="54"/>
                  </a:lnTo>
                  <a:lnTo>
                    <a:pt x="28" y="48"/>
                  </a:lnTo>
                  <a:lnTo>
                    <a:pt x="28" y="36"/>
                  </a:lnTo>
                  <a:lnTo>
                    <a:pt x="32" y="28"/>
                  </a:lnTo>
                  <a:lnTo>
                    <a:pt x="34" y="22"/>
                  </a:lnTo>
                  <a:lnTo>
                    <a:pt x="34" y="18"/>
                  </a:lnTo>
                  <a:lnTo>
                    <a:pt x="30" y="16"/>
                  </a:lnTo>
                  <a:lnTo>
                    <a:pt x="26" y="14"/>
                  </a:lnTo>
                  <a:lnTo>
                    <a:pt x="24" y="8"/>
                  </a:lnTo>
                  <a:lnTo>
                    <a:pt x="22" y="4"/>
                  </a:lnTo>
                  <a:lnTo>
                    <a:pt x="14" y="0"/>
                  </a:lnTo>
                  <a:lnTo>
                    <a:pt x="12" y="0"/>
                  </a:lnTo>
                  <a:lnTo>
                    <a:pt x="10"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55" name="Freeform 633">
              <a:extLst>
                <a:ext uri="{FF2B5EF4-FFF2-40B4-BE49-F238E27FC236}">
                  <a16:creationId xmlns:a16="http://schemas.microsoft.com/office/drawing/2014/main" id="{FAEF0D84-BFC0-4217-B790-976A323C7FE8}"/>
                </a:ext>
              </a:extLst>
            </p:cNvPr>
            <p:cNvSpPr>
              <a:spLocks noEditPoints="1"/>
            </p:cNvSpPr>
            <p:nvPr/>
          </p:nvSpPr>
          <p:spPr bwMode="gray">
            <a:xfrm>
              <a:off x="4287278" y="2873934"/>
              <a:ext cx="3585421" cy="2024685"/>
            </a:xfrm>
            <a:custGeom>
              <a:avLst/>
              <a:gdLst>
                <a:gd name="T0" fmla="*/ 2147483647 w 1938"/>
                <a:gd name="T1" fmla="*/ 2147483647 h 1094"/>
                <a:gd name="T2" fmla="*/ 2147483647 w 1938"/>
                <a:gd name="T3" fmla="*/ 2147483647 h 1094"/>
                <a:gd name="T4" fmla="*/ 2147483647 w 1938"/>
                <a:gd name="T5" fmla="*/ 2147483647 h 1094"/>
                <a:gd name="T6" fmla="*/ 2147483647 w 1938"/>
                <a:gd name="T7" fmla="*/ 2147483647 h 1094"/>
                <a:gd name="T8" fmla="*/ 2147483647 w 1938"/>
                <a:gd name="T9" fmla="*/ 2147483647 h 1094"/>
                <a:gd name="T10" fmla="*/ 2147483647 w 1938"/>
                <a:gd name="T11" fmla="*/ 2147483647 h 1094"/>
                <a:gd name="T12" fmla="*/ 2147483647 w 1938"/>
                <a:gd name="T13" fmla="*/ 2147483647 h 1094"/>
                <a:gd name="T14" fmla="*/ 2147483647 w 1938"/>
                <a:gd name="T15" fmla="*/ 2147483647 h 1094"/>
                <a:gd name="T16" fmla="*/ 2147483647 w 1938"/>
                <a:gd name="T17" fmla="*/ 2147483647 h 1094"/>
                <a:gd name="T18" fmla="*/ 2147483647 w 1938"/>
                <a:gd name="T19" fmla="*/ 2147483647 h 1094"/>
                <a:gd name="T20" fmla="*/ 2147483647 w 1938"/>
                <a:gd name="T21" fmla="*/ 2147483647 h 1094"/>
                <a:gd name="T22" fmla="*/ 2147483647 w 1938"/>
                <a:gd name="T23" fmla="*/ 2147483647 h 1094"/>
                <a:gd name="T24" fmla="*/ 2147483647 w 1938"/>
                <a:gd name="T25" fmla="*/ 2147483647 h 1094"/>
                <a:gd name="T26" fmla="*/ 2147483647 w 1938"/>
                <a:gd name="T27" fmla="*/ 2147483647 h 1094"/>
                <a:gd name="T28" fmla="*/ 2147483647 w 1938"/>
                <a:gd name="T29" fmla="*/ 2147483647 h 1094"/>
                <a:gd name="T30" fmla="*/ 2147483647 w 1938"/>
                <a:gd name="T31" fmla="*/ 2147483647 h 1094"/>
                <a:gd name="T32" fmla="*/ 2147483647 w 1938"/>
                <a:gd name="T33" fmla="*/ 2147483647 h 1094"/>
                <a:gd name="T34" fmla="*/ 2147483647 w 1938"/>
                <a:gd name="T35" fmla="*/ 2147483647 h 1094"/>
                <a:gd name="T36" fmla="*/ 2147483647 w 1938"/>
                <a:gd name="T37" fmla="*/ 2147483647 h 1094"/>
                <a:gd name="T38" fmla="*/ 2147483647 w 1938"/>
                <a:gd name="T39" fmla="*/ 2147483647 h 1094"/>
                <a:gd name="T40" fmla="*/ 2147483647 w 1938"/>
                <a:gd name="T41" fmla="*/ 2147483647 h 1094"/>
                <a:gd name="T42" fmla="*/ 2147483647 w 1938"/>
                <a:gd name="T43" fmla="*/ 2147483647 h 1094"/>
                <a:gd name="T44" fmla="*/ 2147483647 w 1938"/>
                <a:gd name="T45" fmla="*/ 2147483647 h 1094"/>
                <a:gd name="T46" fmla="*/ 2147483647 w 1938"/>
                <a:gd name="T47" fmla="*/ 2147483647 h 1094"/>
                <a:gd name="T48" fmla="*/ 2147483647 w 1938"/>
                <a:gd name="T49" fmla="*/ 2147483647 h 1094"/>
                <a:gd name="T50" fmla="*/ 2147483647 w 1938"/>
                <a:gd name="T51" fmla="*/ 2147483647 h 1094"/>
                <a:gd name="T52" fmla="*/ 2147483647 w 1938"/>
                <a:gd name="T53" fmla="*/ 2147483647 h 1094"/>
                <a:gd name="T54" fmla="*/ 2147483647 w 1938"/>
                <a:gd name="T55" fmla="*/ 2147483647 h 1094"/>
                <a:gd name="T56" fmla="*/ 2147483647 w 1938"/>
                <a:gd name="T57" fmla="*/ 2147483647 h 1094"/>
                <a:gd name="T58" fmla="*/ 2147483647 w 1938"/>
                <a:gd name="T59" fmla="*/ 2147483647 h 1094"/>
                <a:gd name="T60" fmla="*/ 2147483647 w 1938"/>
                <a:gd name="T61" fmla="*/ 2147483647 h 1094"/>
                <a:gd name="T62" fmla="*/ 0 w 1938"/>
                <a:gd name="T63" fmla="*/ 2147483647 h 1094"/>
                <a:gd name="T64" fmla="*/ 2147483647 w 1938"/>
                <a:gd name="T65" fmla="*/ 2147483647 h 1094"/>
                <a:gd name="T66" fmla="*/ 2147483647 w 1938"/>
                <a:gd name="T67" fmla="*/ 2147483647 h 1094"/>
                <a:gd name="T68" fmla="*/ 2147483647 w 1938"/>
                <a:gd name="T69" fmla="*/ 2147483647 h 1094"/>
                <a:gd name="T70" fmla="*/ 2147483647 w 1938"/>
                <a:gd name="T71" fmla="*/ 2147483647 h 1094"/>
                <a:gd name="T72" fmla="*/ 2147483647 w 1938"/>
                <a:gd name="T73" fmla="*/ 2147483647 h 1094"/>
                <a:gd name="T74" fmla="*/ 2147483647 w 1938"/>
                <a:gd name="T75" fmla="*/ 2147483647 h 1094"/>
                <a:gd name="T76" fmla="*/ 2147483647 w 1938"/>
                <a:gd name="T77" fmla="*/ 2147483647 h 1094"/>
                <a:gd name="T78" fmla="*/ 2147483647 w 1938"/>
                <a:gd name="T79" fmla="*/ 2147483647 h 1094"/>
                <a:gd name="T80" fmla="*/ 2147483647 w 1938"/>
                <a:gd name="T81" fmla="*/ 2147483647 h 1094"/>
                <a:gd name="T82" fmla="*/ 2147483647 w 1938"/>
                <a:gd name="T83" fmla="*/ 2147483647 h 1094"/>
                <a:gd name="T84" fmla="*/ 2147483647 w 1938"/>
                <a:gd name="T85" fmla="*/ 2147483647 h 1094"/>
                <a:gd name="T86" fmla="*/ 2147483647 w 1938"/>
                <a:gd name="T87" fmla="*/ 2147483647 h 1094"/>
                <a:gd name="T88" fmla="*/ 2147483647 w 1938"/>
                <a:gd name="T89" fmla="*/ 2147483647 h 1094"/>
                <a:gd name="T90" fmla="*/ 2147483647 w 1938"/>
                <a:gd name="T91" fmla="*/ 2147483647 h 1094"/>
                <a:gd name="T92" fmla="*/ 2147483647 w 1938"/>
                <a:gd name="T93" fmla="*/ 2147483647 h 1094"/>
                <a:gd name="T94" fmla="*/ 2147483647 w 1938"/>
                <a:gd name="T95" fmla="*/ 2147483647 h 1094"/>
                <a:gd name="T96" fmla="*/ 2147483647 w 1938"/>
                <a:gd name="T97" fmla="*/ 2147483647 h 1094"/>
                <a:gd name="T98" fmla="*/ 2147483647 w 1938"/>
                <a:gd name="T99" fmla="*/ 2147483647 h 1094"/>
                <a:gd name="T100" fmla="*/ 2147483647 w 1938"/>
                <a:gd name="T101" fmla="*/ 2147483647 h 1094"/>
                <a:gd name="T102" fmla="*/ 2147483647 w 1938"/>
                <a:gd name="T103" fmla="*/ 2147483647 h 1094"/>
                <a:gd name="T104" fmla="*/ 2147483647 w 1938"/>
                <a:gd name="T105" fmla="*/ 2147483647 h 1094"/>
                <a:gd name="T106" fmla="*/ 2147483647 w 1938"/>
                <a:gd name="T107" fmla="*/ 2147483647 h 1094"/>
                <a:gd name="T108" fmla="*/ 2147483647 w 1938"/>
                <a:gd name="T109" fmla="*/ 2147483647 h 1094"/>
                <a:gd name="T110" fmla="*/ 2147483647 w 1938"/>
                <a:gd name="T111" fmla="*/ 2147483647 h 1094"/>
                <a:gd name="T112" fmla="*/ 2147483647 w 1938"/>
                <a:gd name="T113" fmla="*/ 2147483647 h 1094"/>
                <a:gd name="T114" fmla="*/ 2147483647 w 1938"/>
                <a:gd name="T115" fmla="*/ 2147483647 h 10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38"/>
                <a:gd name="T175" fmla="*/ 0 h 1094"/>
                <a:gd name="T176" fmla="*/ 1938 w 1938"/>
                <a:gd name="T177" fmla="*/ 1094 h 10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38" h="1094">
                  <a:moveTo>
                    <a:pt x="120" y="26"/>
                  </a:moveTo>
                  <a:lnTo>
                    <a:pt x="120" y="26"/>
                  </a:lnTo>
                  <a:lnTo>
                    <a:pt x="120" y="28"/>
                  </a:lnTo>
                  <a:lnTo>
                    <a:pt x="120" y="30"/>
                  </a:lnTo>
                  <a:lnTo>
                    <a:pt x="122" y="30"/>
                  </a:lnTo>
                  <a:lnTo>
                    <a:pt x="126" y="32"/>
                  </a:lnTo>
                  <a:lnTo>
                    <a:pt x="130" y="30"/>
                  </a:lnTo>
                  <a:lnTo>
                    <a:pt x="132" y="32"/>
                  </a:lnTo>
                  <a:lnTo>
                    <a:pt x="136" y="32"/>
                  </a:lnTo>
                  <a:lnTo>
                    <a:pt x="136" y="34"/>
                  </a:lnTo>
                  <a:lnTo>
                    <a:pt x="138" y="36"/>
                  </a:lnTo>
                  <a:lnTo>
                    <a:pt x="142" y="34"/>
                  </a:lnTo>
                  <a:lnTo>
                    <a:pt x="146" y="36"/>
                  </a:lnTo>
                  <a:lnTo>
                    <a:pt x="146" y="38"/>
                  </a:lnTo>
                  <a:lnTo>
                    <a:pt x="146" y="42"/>
                  </a:lnTo>
                  <a:lnTo>
                    <a:pt x="144" y="46"/>
                  </a:lnTo>
                  <a:lnTo>
                    <a:pt x="144" y="50"/>
                  </a:lnTo>
                  <a:lnTo>
                    <a:pt x="144" y="54"/>
                  </a:lnTo>
                  <a:lnTo>
                    <a:pt x="144" y="58"/>
                  </a:lnTo>
                  <a:lnTo>
                    <a:pt x="146" y="60"/>
                  </a:lnTo>
                  <a:lnTo>
                    <a:pt x="144" y="62"/>
                  </a:lnTo>
                  <a:lnTo>
                    <a:pt x="142" y="62"/>
                  </a:lnTo>
                  <a:lnTo>
                    <a:pt x="140" y="60"/>
                  </a:lnTo>
                  <a:lnTo>
                    <a:pt x="140" y="62"/>
                  </a:lnTo>
                  <a:lnTo>
                    <a:pt x="140" y="64"/>
                  </a:lnTo>
                  <a:lnTo>
                    <a:pt x="138" y="66"/>
                  </a:lnTo>
                  <a:lnTo>
                    <a:pt x="134" y="68"/>
                  </a:lnTo>
                  <a:lnTo>
                    <a:pt x="132" y="70"/>
                  </a:lnTo>
                  <a:lnTo>
                    <a:pt x="128" y="74"/>
                  </a:lnTo>
                  <a:lnTo>
                    <a:pt x="122" y="82"/>
                  </a:lnTo>
                  <a:lnTo>
                    <a:pt x="120" y="88"/>
                  </a:lnTo>
                  <a:lnTo>
                    <a:pt x="122" y="88"/>
                  </a:lnTo>
                  <a:lnTo>
                    <a:pt x="124" y="88"/>
                  </a:lnTo>
                  <a:lnTo>
                    <a:pt x="126" y="86"/>
                  </a:lnTo>
                  <a:lnTo>
                    <a:pt x="128" y="86"/>
                  </a:lnTo>
                  <a:lnTo>
                    <a:pt x="128" y="88"/>
                  </a:lnTo>
                  <a:lnTo>
                    <a:pt x="130" y="90"/>
                  </a:lnTo>
                  <a:lnTo>
                    <a:pt x="132" y="90"/>
                  </a:lnTo>
                  <a:lnTo>
                    <a:pt x="134" y="90"/>
                  </a:lnTo>
                  <a:lnTo>
                    <a:pt x="136" y="92"/>
                  </a:lnTo>
                  <a:lnTo>
                    <a:pt x="138" y="94"/>
                  </a:lnTo>
                  <a:lnTo>
                    <a:pt x="138" y="92"/>
                  </a:lnTo>
                  <a:lnTo>
                    <a:pt x="136" y="98"/>
                  </a:lnTo>
                  <a:lnTo>
                    <a:pt x="134" y="100"/>
                  </a:lnTo>
                  <a:lnTo>
                    <a:pt x="134" y="102"/>
                  </a:lnTo>
                  <a:lnTo>
                    <a:pt x="132" y="102"/>
                  </a:lnTo>
                  <a:lnTo>
                    <a:pt x="130" y="104"/>
                  </a:lnTo>
                  <a:lnTo>
                    <a:pt x="130" y="106"/>
                  </a:lnTo>
                  <a:lnTo>
                    <a:pt x="130" y="108"/>
                  </a:lnTo>
                  <a:lnTo>
                    <a:pt x="132" y="108"/>
                  </a:lnTo>
                  <a:lnTo>
                    <a:pt x="132" y="110"/>
                  </a:lnTo>
                  <a:lnTo>
                    <a:pt x="132" y="112"/>
                  </a:lnTo>
                  <a:lnTo>
                    <a:pt x="132" y="116"/>
                  </a:lnTo>
                  <a:lnTo>
                    <a:pt x="132" y="118"/>
                  </a:lnTo>
                  <a:lnTo>
                    <a:pt x="134" y="118"/>
                  </a:lnTo>
                  <a:lnTo>
                    <a:pt x="136" y="118"/>
                  </a:lnTo>
                  <a:lnTo>
                    <a:pt x="138" y="118"/>
                  </a:lnTo>
                  <a:lnTo>
                    <a:pt x="138" y="120"/>
                  </a:lnTo>
                  <a:lnTo>
                    <a:pt x="134" y="122"/>
                  </a:lnTo>
                  <a:lnTo>
                    <a:pt x="134" y="124"/>
                  </a:lnTo>
                  <a:lnTo>
                    <a:pt x="136" y="124"/>
                  </a:lnTo>
                  <a:lnTo>
                    <a:pt x="134" y="126"/>
                  </a:lnTo>
                  <a:lnTo>
                    <a:pt x="132" y="124"/>
                  </a:lnTo>
                  <a:lnTo>
                    <a:pt x="130" y="124"/>
                  </a:lnTo>
                  <a:lnTo>
                    <a:pt x="128" y="126"/>
                  </a:lnTo>
                  <a:lnTo>
                    <a:pt x="130" y="132"/>
                  </a:lnTo>
                  <a:lnTo>
                    <a:pt x="128" y="136"/>
                  </a:lnTo>
                  <a:lnTo>
                    <a:pt x="120" y="136"/>
                  </a:lnTo>
                  <a:lnTo>
                    <a:pt x="114" y="132"/>
                  </a:lnTo>
                  <a:lnTo>
                    <a:pt x="110" y="130"/>
                  </a:lnTo>
                  <a:lnTo>
                    <a:pt x="104" y="128"/>
                  </a:lnTo>
                  <a:lnTo>
                    <a:pt x="100" y="128"/>
                  </a:lnTo>
                  <a:lnTo>
                    <a:pt x="96" y="130"/>
                  </a:lnTo>
                  <a:lnTo>
                    <a:pt x="90" y="136"/>
                  </a:lnTo>
                  <a:lnTo>
                    <a:pt x="90" y="142"/>
                  </a:lnTo>
                  <a:lnTo>
                    <a:pt x="88" y="142"/>
                  </a:lnTo>
                  <a:lnTo>
                    <a:pt x="86" y="144"/>
                  </a:lnTo>
                  <a:lnTo>
                    <a:pt x="84" y="146"/>
                  </a:lnTo>
                  <a:lnTo>
                    <a:pt x="78" y="146"/>
                  </a:lnTo>
                  <a:lnTo>
                    <a:pt x="76" y="146"/>
                  </a:lnTo>
                  <a:lnTo>
                    <a:pt x="76" y="144"/>
                  </a:lnTo>
                  <a:lnTo>
                    <a:pt x="74" y="144"/>
                  </a:lnTo>
                  <a:lnTo>
                    <a:pt x="72" y="144"/>
                  </a:lnTo>
                  <a:lnTo>
                    <a:pt x="64" y="142"/>
                  </a:lnTo>
                  <a:lnTo>
                    <a:pt x="60" y="142"/>
                  </a:lnTo>
                  <a:lnTo>
                    <a:pt x="56" y="142"/>
                  </a:lnTo>
                  <a:lnTo>
                    <a:pt x="54" y="140"/>
                  </a:lnTo>
                  <a:lnTo>
                    <a:pt x="52" y="140"/>
                  </a:lnTo>
                  <a:lnTo>
                    <a:pt x="48" y="138"/>
                  </a:lnTo>
                  <a:lnTo>
                    <a:pt x="46" y="138"/>
                  </a:lnTo>
                  <a:lnTo>
                    <a:pt x="42" y="136"/>
                  </a:lnTo>
                  <a:lnTo>
                    <a:pt x="42" y="134"/>
                  </a:lnTo>
                  <a:lnTo>
                    <a:pt x="40" y="132"/>
                  </a:lnTo>
                  <a:lnTo>
                    <a:pt x="40" y="130"/>
                  </a:lnTo>
                  <a:lnTo>
                    <a:pt x="44" y="110"/>
                  </a:lnTo>
                  <a:lnTo>
                    <a:pt x="44" y="88"/>
                  </a:lnTo>
                  <a:lnTo>
                    <a:pt x="34" y="84"/>
                  </a:lnTo>
                  <a:lnTo>
                    <a:pt x="30" y="82"/>
                  </a:lnTo>
                  <a:lnTo>
                    <a:pt x="28" y="80"/>
                  </a:lnTo>
                  <a:lnTo>
                    <a:pt x="28" y="76"/>
                  </a:lnTo>
                  <a:lnTo>
                    <a:pt x="28" y="74"/>
                  </a:lnTo>
                  <a:lnTo>
                    <a:pt x="30" y="68"/>
                  </a:lnTo>
                  <a:lnTo>
                    <a:pt x="24" y="68"/>
                  </a:lnTo>
                  <a:lnTo>
                    <a:pt x="24" y="66"/>
                  </a:lnTo>
                  <a:lnTo>
                    <a:pt x="20" y="66"/>
                  </a:lnTo>
                  <a:lnTo>
                    <a:pt x="22" y="60"/>
                  </a:lnTo>
                  <a:lnTo>
                    <a:pt x="16" y="64"/>
                  </a:lnTo>
                  <a:lnTo>
                    <a:pt x="16" y="60"/>
                  </a:lnTo>
                  <a:lnTo>
                    <a:pt x="8" y="58"/>
                  </a:lnTo>
                  <a:lnTo>
                    <a:pt x="0" y="56"/>
                  </a:lnTo>
                  <a:lnTo>
                    <a:pt x="0" y="52"/>
                  </a:lnTo>
                  <a:lnTo>
                    <a:pt x="0" y="50"/>
                  </a:lnTo>
                  <a:lnTo>
                    <a:pt x="4" y="48"/>
                  </a:lnTo>
                  <a:lnTo>
                    <a:pt x="0" y="44"/>
                  </a:lnTo>
                  <a:lnTo>
                    <a:pt x="2" y="44"/>
                  </a:lnTo>
                  <a:lnTo>
                    <a:pt x="12" y="42"/>
                  </a:lnTo>
                  <a:lnTo>
                    <a:pt x="18" y="40"/>
                  </a:lnTo>
                  <a:lnTo>
                    <a:pt x="18" y="42"/>
                  </a:lnTo>
                  <a:lnTo>
                    <a:pt x="20" y="42"/>
                  </a:lnTo>
                  <a:lnTo>
                    <a:pt x="20" y="44"/>
                  </a:lnTo>
                  <a:lnTo>
                    <a:pt x="22" y="44"/>
                  </a:lnTo>
                  <a:lnTo>
                    <a:pt x="28" y="40"/>
                  </a:lnTo>
                  <a:lnTo>
                    <a:pt x="32" y="42"/>
                  </a:lnTo>
                  <a:lnTo>
                    <a:pt x="38" y="42"/>
                  </a:lnTo>
                  <a:lnTo>
                    <a:pt x="38" y="40"/>
                  </a:lnTo>
                  <a:lnTo>
                    <a:pt x="32" y="26"/>
                  </a:lnTo>
                  <a:lnTo>
                    <a:pt x="32" y="24"/>
                  </a:lnTo>
                  <a:lnTo>
                    <a:pt x="34" y="22"/>
                  </a:lnTo>
                  <a:lnTo>
                    <a:pt x="36" y="22"/>
                  </a:lnTo>
                  <a:lnTo>
                    <a:pt x="40" y="22"/>
                  </a:lnTo>
                  <a:lnTo>
                    <a:pt x="40" y="26"/>
                  </a:lnTo>
                  <a:lnTo>
                    <a:pt x="48" y="28"/>
                  </a:lnTo>
                  <a:lnTo>
                    <a:pt x="52" y="28"/>
                  </a:lnTo>
                  <a:lnTo>
                    <a:pt x="58" y="26"/>
                  </a:lnTo>
                  <a:lnTo>
                    <a:pt x="60" y="20"/>
                  </a:lnTo>
                  <a:lnTo>
                    <a:pt x="64" y="18"/>
                  </a:lnTo>
                  <a:lnTo>
                    <a:pt x="72" y="16"/>
                  </a:lnTo>
                  <a:lnTo>
                    <a:pt x="70" y="2"/>
                  </a:lnTo>
                  <a:lnTo>
                    <a:pt x="78" y="0"/>
                  </a:lnTo>
                  <a:lnTo>
                    <a:pt x="82" y="2"/>
                  </a:lnTo>
                  <a:lnTo>
                    <a:pt x="84" y="4"/>
                  </a:lnTo>
                  <a:lnTo>
                    <a:pt x="86" y="8"/>
                  </a:lnTo>
                  <a:lnTo>
                    <a:pt x="90" y="12"/>
                  </a:lnTo>
                  <a:lnTo>
                    <a:pt x="92" y="14"/>
                  </a:lnTo>
                  <a:lnTo>
                    <a:pt x="94" y="14"/>
                  </a:lnTo>
                  <a:lnTo>
                    <a:pt x="96" y="12"/>
                  </a:lnTo>
                  <a:lnTo>
                    <a:pt x="96" y="14"/>
                  </a:lnTo>
                  <a:lnTo>
                    <a:pt x="98" y="18"/>
                  </a:lnTo>
                  <a:lnTo>
                    <a:pt x="102" y="20"/>
                  </a:lnTo>
                  <a:lnTo>
                    <a:pt x="104" y="20"/>
                  </a:lnTo>
                  <a:lnTo>
                    <a:pt x="106" y="20"/>
                  </a:lnTo>
                  <a:lnTo>
                    <a:pt x="108" y="20"/>
                  </a:lnTo>
                  <a:lnTo>
                    <a:pt x="108" y="24"/>
                  </a:lnTo>
                  <a:lnTo>
                    <a:pt x="112" y="26"/>
                  </a:lnTo>
                  <a:lnTo>
                    <a:pt x="114" y="26"/>
                  </a:lnTo>
                  <a:lnTo>
                    <a:pt x="120" y="24"/>
                  </a:lnTo>
                  <a:lnTo>
                    <a:pt x="120" y="26"/>
                  </a:lnTo>
                  <a:close/>
                  <a:moveTo>
                    <a:pt x="1936" y="1070"/>
                  </a:moveTo>
                  <a:lnTo>
                    <a:pt x="1936" y="1070"/>
                  </a:lnTo>
                  <a:lnTo>
                    <a:pt x="1936" y="1076"/>
                  </a:lnTo>
                  <a:lnTo>
                    <a:pt x="1938" y="1076"/>
                  </a:lnTo>
                  <a:lnTo>
                    <a:pt x="1938" y="1074"/>
                  </a:lnTo>
                  <a:lnTo>
                    <a:pt x="1936" y="1070"/>
                  </a:lnTo>
                  <a:close/>
                  <a:moveTo>
                    <a:pt x="1904" y="1060"/>
                  </a:moveTo>
                  <a:lnTo>
                    <a:pt x="1904" y="1060"/>
                  </a:lnTo>
                  <a:lnTo>
                    <a:pt x="1908" y="1068"/>
                  </a:lnTo>
                  <a:lnTo>
                    <a:pt x="1910" y="1078"/>
                  </a:lnTo>
                  <a:lnTo>
                    <a:pt x="1916" y="1082"/>
                  </a:lnTo>
                  <a:lnTo>
                    <a:pt x="1920" y="1084"/>
                  </a:lnTo>
                  <a:lnTo>
                    <a:pt x="1922" y="1086"/>
                  </a:lnTo>
                  <a:lnTo>
                    <a:pt x="1922" y="1090"/>
                  </a:lnTo>
                  <a:lnTo>
                    <a:pt x="1928" y="1092"/>
                  </a:lnTo>
                  <a:lnTo>
                    <a:pt x="1938" y="1094"/>
                  </a:lnTo>
                  <a:lnTo>
                    <a:pt x="1938" y="1090"/>
                  </a:lnTo>
                  <a:lnTo>
                    <a:pt x="1932" y="1086"/>
                  </a:lnTo>
                  <a:lnTo>
                    <a:pt x="1924" y="1080"/>
                  </a:lnTo>
                  <a:lnTo>
                    <a:pt x="1916" y="1074"/>
                  </a:lnTo>
                  <a:lnTo>
                    <a:pt x="1910" y="1062"/>
                  </a:lnTo>
                  <a:lnTo>
                    <a:pt x="1908" y="1060"/>
                  </a:lnTo>
                  <a:lnTo>
                    <a:pt x="1904" y="1060"/>
                  </a:lnTo>
                  <a:close/>
                  <a:moveTo>
                    <a:pt x="674" y="1068"/>
                  </a:moveTo>
                  <a:lnTo>
                    <a:pt x="672" y="1076"/>
                  </a:lnTo>
                  <a:lnTo>
                    <a:pt x="676" y="1076"/>
                  </a:lnTo>
                  <a:lnTo>
                    <a:pt x="680" y="1078"/>
                  </a:lnTo>
                  <a:lnTo>
                    <a:pt x="680" y="1072"/>
                  </a:lnTo>
                  <a:lnTo>
                    <a:pt x="674" y="1068"/>
                  </a:lnTo>
                  <a:close/>
                  <a:moveTo>
                    <a:pt x="158" y="136"/>
                  </a:moveTo>
                  <a:lnTo>
                    <a:pt x="158" y="136"/>
                  </a:lnTo>
                  <a:lnTo>
                    <a:pt x="156" y="140"/>
                  </a:lnTo>
                  <a:lnTo>
                    <a:pt x="150" y="146"/>
                  </a:lnTo>
                  <a:lnTo>
                    <a:pt x="150" y="150"/>
                  </a:lnTo>
                  <a:lnTo>
                    <a:pt x="150" y="154"/>
                  </a:lnTo>
                  <a:lnTo>
                    <a:pt x="154" y="162"/>
                  </a:lnTo>
                  <a:lnTo>
                    <a:pt x="160" y="162"/>
                  </a:lnTo>
                  <a:lnTo>
                    <a:pt x="160" y="150"/>
                  </a:lnTo>
                  <a:lnTo>
                    <a:pt x="162" y="150"/>
                  </a:lnTo>
                  <a:lnTo>
                    <a:pt x="164" y="148"/>
                  </a:lnTo>
                  <a:lnTo>
                    <a:pt x="162" y="144"/>
                  </a:lnTo>
                  <a:lnTo>
                    <a:pt x="158" y="13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56" name="Freeform 634">
              <a:extLst>
                <a:ext uri="{FF2B5EF4-FFF2-40B4-BE49-F238E27FC236}">
                  <a16:creationId xmlns:a16="http://schemas.microsoft.com/office/drawing/2014/main" id="{885B485A-3146-427F-9634-FC2FA233D960}"/>
                </a:ext>
              </a:extLst>
            </p:cNvPr>
            <p:cNvSpPr>
              <a:spLocks noEditPoints="1"/>
            </p:cNvSpPr>
            <p:nvPr/>
          </p:nvSpPr>
          <p:spPr bwMode="gray">
            <a:xfrm>
              <a:off x="4793428" y="2202962"/>
              <a:ext cx="258959" cy="374332"/>
            </a:xfrm>
            <a:custGeom>
              <a:avLst/>
              <a:gdLst>
                <a:gd name="T0" fmla="*/ 2147483647 w 140"/>
                <a:gd name="T1" fmla="*/ 2147483647 h 202"/>
                <a:gd name="T2" fmla="*/ 2147483647 w 140"/>
                <a:gd name="T3" fmla="*/ 2147483647 h 202"/>
                <a:gd name="T4" fmla="*/ 2147483647 w 140"/>
                <a:gd name="T5" fmla="*/ 2147483647 h 202"/>
                <a:gd name="T6" fmla="*/ 2147483647 w 140"/>
                <a:gd name="T7" fmla="*/ 2147483647 h 202"/>
                <a:gd name="T8" fmla="*/ 2147483647 w 140"/>
                <a:gd name="T9" fmla="*/ 2147483647 h 202"/>
                <a:gd name="T10" fmla="*/ 2147483647 w 140"/>
                <a:gd name="T11" fmla="*/ 2147483647 h 202"/>
                <a:gd name="T12" fmla="*/ 2147483647 w 140"/>
                <a:gd name="T13" fmla="*/ 2147483647 h 202"/>
                <a:gd name="T14" fmla="*/ 2147483647 w 140"/>
                <a:gd name="T15" fmla="*/ 2147483647 h 202"/>
                <a:gd name="T16" fmla="*/ 2147483647 w 140"/>
                <a:gd name="T17" fmla="*/ 2147483647 h 202"/>
                <a:gd name="T18" fmla="*/ 2147483647 w 140"/>
                <a:gd name="T19" fmla="*/ 2147483647 h 202"/>
                <a:gd name="T20" fmla="*/ 2147483647 w 140"/>
                <a:gd name="T21" fmla="*/ 2147483647 h 202"/>
                <a:gd name="T22" fmla="*/ 2147483647 w 140"/>
                <a:gd name="T23" fmla="*/ 2147483647 h 202"/>
                <a:gd name="T24" fmla="*/ 2147483647 w 140"/>
                <a:gd name="T25" fmla="*/ 2147483647 h 202"/>
                <a:gd name="T26" fmla="*/ 2147483647 w 140"/>
                <a:gd name="T27" fmla="*/ 2147483647 h 202"/>
                <a:gd name="T28" fmla="*/ 2147483647 w 140"/>
                <a:gd name="T29" fmla="*/ 2147483647 h 202"/>
                <a:gd name="T30" fmla="*/ 2147483647 w 140"/>
                <a:gd name="T31" fmla="*/ 2147483647 h 202"/>
                <a:gd name="T32" fmla="*/ 2147483647 w 140"/>
                <a:gd name="T33" fmla="*/ 2147483647 h 202"/>
                <a:gd name="T34" fmla="*/ 2147483647 w 140"/>
                <a:gd name="T35" fmla="*/ 2147483647 h 202"/>
                <a:gd name="T36" fmla="*/ 2147483647 w 140"/>
                <a:gd name="T37" fmla="*/ 2147483647 h 202"/>
                <a:gd name="T38" fmla="*/ 2147483647 w 140"/>
                <a:gd name="T39" fmla="*/ 2147483647 h 202"/>
                <a:gd name="T40" fmla="*/ 2147483647 w 140"/>
                <a:gd name="T41" fmla="*/ 2147483647 h 202"/>
                <a:gd name="T42" fmla="*/ 2147483647 w 140"/>
                <a:gd name="T43" fmla="*/ 2147483647 h 202"/>
                <a:gd name="T44" fmla="*/ 2147483647 w 140"/>
                <a:gd name="T45" fmla="*/ 2147483647 h 202"/>
                <a:gd name="T46" fmla="*/ 2147483647 w 140"/>
                <a:gd name="T47" fmla="*/ 2147483647 h 202"/>
                <a:gd name="T48" fmla="*/ 2147483647 w 140"/>
                <a:gd name="T49" fmla="*/ 2147483647 h 202"/>
                <a:gd name="T50" fmla="*/ 2147483647 w 140"/>
                <a:gd name="T51" fmla="*/ 2147483647 h 202"/>
                <a:gd name="T52" fmla="*/ 2147483647 w 140"/>
                <a:gd name="T53" fmla="*/ 2147483647 h 202"/>
                <a:gd name="T54" fmla="*/ 2147483647 w 140"/>
                <a:gd name="T55" fmla="*/ 2147483647 h 202"/>
                <a:gd name="T56" fmla="*/ 2147483647 w 140"/>
                <a:gd name="T57" fmla="*/ 2147483647 h 202"/>
                <a:gd name="T58" fmla="*/ 2147483647 w 140"/>
                <a:gd name="T59" fmla="*/ 2147483647 h 202"/>
                <a:gd name="T60" fmla="*/ 2147483647 w 140"/>
                <a:gd name="T61" fmla="*/ 2147483647 h 202"/>
                <a:gd name="T62" fmla="*/ 2147483647 w 140"/>
                <a:gd name="T63" fmla="*/ 2147483647 h 202"/>
                <a:gd name="T64" fmla="*/ 2147483647 w 140"/>
                <a:gd name="T65" fmla="*/ 2147483647 h 202"/>
                <a:gd name="T66" fmla="*/ 2147483647 w 140"/>
                <a:gd name="T67" fmla="*/ 2147483647 h 202"/>
                <a:gd name="T68" fmla="*/ 2147483647 w 140"/>
                <a:gd name="T69" fmla="*/ 2147483647 h 202"/>
                <a:gd name="T70" fmla="*/ 2147483647 w 140"/>
                <a:gd name="T71" fmla="*/ 2147483647 h 202"/>
                <a:gd name="T72" fmla="*/ 2147483647 w 140"/>
                <a:gd name="T73" fmla="*/ 2147483647 h 202"/>
                <a:gd name="T74" fmla="*/ 2147483647 w 140"/>
                <a:gd name="T75" fmla="*/ 2147483647 h 202"/>
                <a:gd name="T76" fmla="*/ 2147483647 w 140"/>
                <a:gd name="T77" fmla="*/ 2147483647 h 202"/>
                <a:gd name="T78" fmla="*/ 2147483647 w 140"/>
                <a:gd name="T79" fmla="*/ 2147483647 h 202"/>
                <a:gd name="T80" fmla="*/ 2147483647 w 140"/>
                <a:gd name="T81" fmla="*/ 2147483647 h 202"/>
                <a:gd name="T82" fmla="*/ 2147483647 w 140"/>
                <a:gd name="T83" fmla="*/ 2147483647 h 202"/>
                <a:gd name="T84" fmla="*/ 2147483647 w 140"/>
                <a:gd name="T85" fmla="*/ 2147483647 h 202"/>
                <a:gd name="T86" fmla="*/ 2147483647 w 140"/>
                <a:gd name="T87" fmla="*/ 2147483647 h 202"/>
                <a:gd name="T88" fmla="*/ 2147483647 w 140"/>
                <a:gd name="T89" fmla="*/ 2147483647 h 202"/>
                <a:gd name="T90" fmla="*/ 2147483647 w 140"/>
                <a:gd name="T91" fmla="*/ 2147483647 h 202"/>
                <a:gd name="T92" fmla="*/ 2147483647 w 140"/>
                <a:gd name="T93" fmla="*/ 2147483647 h 202"/>
                <a:gd name="T94" fmla="*/ 2147483647 w 140"/>
                <a:gd name="T95" fmla="*/ 2147483647 h 202"/>
                <a:gd name="T96" fmla="*/ 2147483647 w 140"/>
                <a:gd name="T97" fmla="*/ 2147483647 h 202"/>
                <a:gd name="T98" fmla="*/ 2147483647 w 140"/>
                <a:gd name="T99" fmla="*/ 2147483647 h 202"/>
                <a:gd name="T100" fmla="*/ 2147483647 w 140"/>
                <a:gd name="T101" fmla="*/ 2147483647 h 202"/>
                <a:gd name="T102" fmla="*/ 2147483647 w 140"/>
                <a:gd name="T103" fmla="*/ 2147483647 h 202"/>
                <a:gd name="T104" fmla="*/ 2147483647 w 140"/>
                <a:gd name="T105" fmla="*/ 2147483647 h 202"/>
                <a:gd name="T106" fmla="*/ 2147483647 w 140"/>
                <a:gd name="T107" fmla="*/ 2147483647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40"/>
                <a:gd name="T163" fmla="*/ 0 h 202"/>
                <a:gd name="T164" fmla="*/ 140 w 140"/>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40" h="202">
                  <a:moveTo>
                    <a:pt x="120" y="16"/>
                  </a:moveTo>
                  <a:lnTo>
                    <a:pt x="118" y="16"/>
                  </a:lnTo>
                  <a:lnTo>
                    <a:pt x="116" y="14"/>
                  </a:lnTo>
                  <a:lnTo>
                    <a:pt x="108" y="10"/>
                  </a:lnTo>
                  <a:lnTo>
                    <a:pt x="104" y="4"/>
                  </a:lnTo>
                  <a:lnTo>
                    <a:pt x="102" y="0"/>
                  </a:lnTo>
                  <a:lnTo>
                    <a:pt x="98" y="2"/>
                  </a:lnTo>
                  <a:lnTo>
                    <a:pt x="94" y="4"/>
                  </a:lnTo>
                  <a:lnTo>
                    <a:pt x="92" y="4"/>
                  </a:lnTo>
                  <a:lnTo>
                    <a:pt x="84" y="2"/>
                  </a:lnTo>
                  <a:lnTo>
                    <a:pt x="84" y="6"/>
                  </a:lnTo>
                  <a:lnTo>
                    <a:pt x="82" y="8"/>
                  </a:lnTo>
                  <a:lnTo>
                    <a:pt x="78" y="10"/>
                  </a:lnTo>
                  <a:lnTo>
                    <a:pt x="76" y="12"/>
                  </a:lnTo>
                  <a:lnTo>
                    <a:pt x="74" y="14"/>
                  </a:lnTo>
                  <a:lnTo>
                    <a:pt x="74" y="16"/>
                  </a:lnTo>
                  <a:lnTo>
                    <a:pt x="74" y="20"/>
                  </a:lnTo>
                  <a:lnTo>
                    <a:pt x="76" y="22"/>
                  </a:lnTo>
                  <a:lnTo>
                    <a:pt x="74" y="28"/>
                  </a:lnTo>
                  <a:lnTo>
                    <a:pt x="70" y="30"/>
                  </a:lnTo>
                  <a:lnTo>
                    <a:pt x="68" y="34"/>
                  </a:lnTo>
                  <a:lnTo>
                    <a:pt x="60" y="30"/>
                  </a:lnTo>
                  <a:lnTo>
                    <a:pt x="58" y="28"/>
                  </a:lnTo>
                  <a:lnTo>
                    <a:pt x="56" y="28"/>
                  </a:lnTo>
                  <a:lnTo>
                    <a:pt x="56" y="30"/>
                  </a:lnTo>
                  <a:lnTo>
                    <a:pt x="54" y="30"/>
                  </a:lnTo>
                  <a:lnTo>
                    <a:pt x="52" y="30"/>
                  </a:lnTo>
                  <a:lnTo>
                    <a:pt x="46" y="30"/>
                  </a:lnTo>
                  <a:lnTo>
                    <a:pt x="40" y="30"/>
                  </a:lnTo>
                  <a:lnTo>
                    <a:pt x="28" y="16"/>
                  </a:lnTo>
                  <a:lnTo>
                    <a:pt x="24" y="16"/>
                  </a:lnTo>
                  <a:lnTo>
                    <a:pt x="22" y="18"/>
                  </a:lnTo>
                  <a:lnTo>
                    <a:pt x="22" y="20"/>
                  </a:lnTo>
                  <a:lnTo>
                    <a:pt x="16" y="24"/>
                  </a:lnTo>
                  <a:lnTo>
                    <a:pt x="20" y="24"/>
                  </a:lnTo>
                  <a:lnTo>
                    <a:pt x="22" y="26"/>
                  </a:lnTo>
                  <a:lnTo>
                    <a:pt x="24" y="26"/>
                  </a:lnTo>
                  <a:lnTo>
                    <a:pt x="26" y="32"/>
                  </a:lnTo>
                  <a:lnTo>
                    <a:pt x="30" y="34"/>
                  </a:lnTo>
                  <a:lnTo>
                    <a:pt x="36" y="34"/>
                  </a:lnTo>
                  <a:lnTo>
                    <a:pt x="40" y="38"/>
                  </a:lnTo>
                  <a:lnTo>
                    <a:pt x="46" y="44"/>
                  </a:lnTo>
                  <a:lnTo>
                    <a:pt x="46" y="46"/>
                  </a:lnTo>
                  <a:lnTo>
                    <a:pt x="46" y="48"/>
                  </a:lnTo>
                  <a:lnTo>
                    <a:pt x="46" y="52"/>
                  </a:lnTo>
                  <a:lnTo>
                    <a:pt x="48" y="56"/>
                  </a:lnTo>
                  <a:lnTo>
                    <a:pt x="50" y="58"/>
                  </a:lnTo>
                  <a:lnTo>
                    <a:pt x="48" y="62"/>
                  </a:lnTo>
                  <a:lnTo>
                    <a:pt x="48" y="70"/>
                  </a:lnTo>
                  <a:lnTo>
                    <a:pt x="48" y="74"/>
                  </a:lnTo>
                  <a:lnTo>
                    <a:pt x="50" y="82"/>
                  </a:lnTo>
                  <a:lnTo>
                    <a:pt x="66" y="84"/>
                  </a:lnTo>
                  <a:lnTo>
                    <a:pt x="68" y="98"/>
                  </a:lnTo>
                  <a:lnTo>
                    <a:pt x="62" y="102"/>
                  </a:lnTo>
                  <a:lnTo>
                    <a:pt x="58" y="108"/>
                  </a:lnTo>
                  <a:lnTo>
                    <a:pt x="54" y="114"/>
                  </a:lnTo>
                  <a:lnTo>
                    <a:pt x="52" y="120"/>
                  </a:lnTo>
                  <a:lnTo>
                    <a:pt x="38" y="130"/>
                  </a:lnTo>
                  <a:lnTo>
                    <a:pt x="38" y="132"/>
                  </a:lnTo>
                  <a:lnTo>
                    <a:pt x="38" y="136"/>
                  </a:lnTo>
                  <a:lnTo>
                    <a:pt x="36" y="134"/>
                  </a:lnTo>
                  <a:lnTo>
                    <a:pt x="34" y="132"/>
                  </a:lnTo>
                  <a:lnTo>
                    <a:pt x="30" y="144"/>
                  </a:lnTo>
                  <a:lnTo>
                    <a:pt x="28" y="144"/>
                  </a:lnTo>
                  <a:lnTo>
                    <a:pt x="28" y="148"/>
                  </a:lnTo>
                  <a:lnTo>
                    <a:pt x="30" y="152"/>
                  </a:lnTo>
                  <a:lnTo>
                    <a:pt x="32" y="158"/>
                  </a:lnTo>
                  <a:lnTo>
                    <a:pt x="32" y="164"/>
                  </a:lnTo>
                  <a:lnTo>
                    <a:pt x="30" y="170"/>
                  </a:lnTo>
                  <a:lnTo>
                    <a:pt x="30" y="180"/>
                  </a:lnTo>
                  <a:lnTo>
                    <a:pt x="32" y="178"/>
                  </a:lnTo>
                  <a:lnTo>
                    <a:pt x="34" y="178"/>
                  </a:lnTo>
                  <a:lnTo>
                    <a:pt x="34" y="182"/>
                  </a:lnTo>
                  <a:lnTo>
                    <a:pt x="34" y="184"/>
                  </a:lnTo>
                  <a:lnTo>
                    <a:pt x="38" y="184"/>
                  </a:lnTo>
                  <a:lnTo>
                    <a:pt x="40" y="184"/>
                  </a:lnTo>
                  <a:lnTo>
                    <a:pt x="46" y="188"/>
                  </a:lnTo>
                  <a:lnTo>
                    <a:pt x="48" y="188"/>
                  </a:lnTo>
                  <a:lnTo>
                    <a:pt x="48" y="190"/>
                  </a:lnTo>
                  <a:lnTo>
                    <a:pt x="42" y="190"/>
                  </a:lnTo>
                  <a:lnTo>
                    <a:pt x="40" y="198"/>
                  </a:lnTo>
                  <a:lnTo>
                    <a:pt x="44" y="198"/>
                  </a:lnTo>
                  <a:lnTo>
                    <a:pt x="44" y="196"/>
                  </a:lnTo>
                  <a:lnTo>
                    <a:pt x="46" y="194"/>
                  </a:lnTo>
                  <a:lnTo>
                    <a:pt x="48" y="192"/>
                  </a:lnTo>
                  <a:lnTo>
                    <a:pt x="48" y="194"/>
                  </a:lnTo>
                  <a:lnTo>
                    <a:pt x="50" y="194"/>
                  </a:lnTo>
                  <a:lnTo>
                    <a:pt x="50" y="198"/>
                  </a:lnTo>
                  <a:lnTo>
                    <a:pt x="52" y="200"/>
                  </a:lnTo>
                  <a:lnTo>
                    <a:pt x="56" y="200"/>
                  </a:lnTo>
                  <a:lnTo>
                    <a:pt x="62" y="198"/>
                  </a:lnTo>
                  <a:lnTo>
                    <a:pt x="66" y="194"/>
                  </a:lnTo>
                  <a:lnTo>
                    <a:pt x="72" y="190"/>
                  </a:lnTo>
                  <a:lnTo>
                    <a:pt x="76" y="190"/>
                  </a:lnTo>
                  <a:lnTo>
                    <a:pt x="74" y="186"/>
                  </a:lnTo>
                  <a:lnTo>
                    <a:pt x="84" y="186"/>
                  </a:lnTo>
                  <a:lnTo>
                    <a:pt x="92" y="186"/>
                  </a:lnTo>
                  <a:lnTo>
                    <a:pt x="102" y="178"/>
                  </a:lnTo>
                  <a:lnTo>
                    <a:pt x="120" y="166"/>
                  </a:lnTo>
                  <a:lnTo>
                    <a:pt x="134" y="158"/>
                  </a:lnTo>
                  <a:lnTo>
                    <a:pt x="140" y="152"/>
                  </a:lnTo>
                  <a:lnTo>
                    <a:pt x="140" y="148"/>
                  </a:lnTo>
                  <a:lnTo>
                    <a:pt x="138" y="144"/>
                  </a:lnTo>
                  <a:lnTo>
                    <a:pt x="138" y="142"/>
                  </a:lnTo>
                  <a:lnTo>
                    <a:pt x="136" y="142"/>
                  </a:lnTo>
                  <a:lnTo>
                    <a:pt x="132" y="140"/>
                  </a:lnTo>
                  <a:lnTo>
                    <a:pt x="130" y="136"/>
                  </a:lnTo>
                  <a:lnTo>
                    <a:pt x="130" y="132"/>
                  </a:lnTo>
                  <a:lnTo>
                    <a:pt x="130" y="128"/>
                  </a:lnTo>
                  <a:lnTo>
                    <a:pt x="132" y="126"/>
                  </a:lnTo>
                  <a:lnTo>
                    <a:pt x="134" y="124"/>
                  </a:lnTo>
                  <a:lnTo>
                    <a:pt x="132" y="122"/>
                  </a:lnTo>
                  <a:lnTo>
                    <a:pt x="130" y="118"/>
                  </a:lnTo>
                  <a:lnTo>
                    <a:pt x="130" y="114"/>
                  </a:lnTo>
                  <a:lnTo>
                    <a:pt x="128" y="112"/>
                  </a:lnTo>
                  <a:lnTo>
                    <a:pt x="124" y="108"/>
                  </a:lnTo>
                  <a:lnTo>
                    <a:pt x="124" y="106"/>
                  </a:lnTo>
                  <a:lnTo>
                    <a:pt x="122" y="98"/>
                  </a:lnTo>
                  <a:lnTo>
                    <a:pt x="122" y="94"/>
                  </a:lnTo>
                  <a:lnTo>
                    <a:pt x="124" y="92"/>
                  </a:lnTo>
                  <a:lnTo>
                    <a:pt x="124" y="88"/>
                  </a:lnTo>
                  <a:lnTo>
                    <a:pt x="122" y="86"/>
                  </a:lnTo>
                  <a:lnTo>
                    <a:pt x="122" y="80"/>
                  </a:lnTo>
                  <a:lnTo>
                    <a:pt x="122" y="78"/>
                  </a:lnTo>
                  <a:lnTo>
                    <a:pt x="116" y="56"/>
                  </a:lnTo>
                  <a:lnTo>
                    <a:pt x="118" y="50"/>
                  </a:lnTo>
                  <a:lnTo>
                    <a:pt x="122" y="44"/>
                  </a:lnTo>
                  <a:lnTo>
                    <a:pt x="122" y="42"/>
                  </a:lnTo>
                  <a:lnTo>
                    <a:pt x="122" y="40"/>
                  </a:lnTo>
                  <a:lnTo>
                    <a:pt x="120" y="36"/>
                  </a:lnTo>
                  <a:lnTo>
                    <a:pt x="118" y="36"/>
                  </a:lnTo>
                  <a:lnTo>
                    <a:pt x="116" y="34"/>
                  </a:lnTo>
                  <a:lnTo>
                    <a:pt x="114" y="32"/>
                  </a:lnTo>
                  <a:lnTo>
                    <a:pt x="114" y="26"/>
                  </a:lnTo>
                  <a:lnTo>
                    <a:pt x="116" y="20"/>
                  </a:lnTo>
                  <a:lnTo>
                    <a:pt x="120" y="16"/>
                  </a:lnTo>
                  <a:close/>
                  <a:moveTo>
                    <a:pt x="2" y="192"/>
                  </a:moveTo>
                  <a:lnTo>
                    <a:pt x="4" y="198"/>
                  </a:lnTo>
                  <a:lnTo>
                    <a:pt x="0" y="198"/>
                  </a:lnTo>
                  <a:lnTo>
                    <a:pt x="8" y="202"/>
                  </a:lnTo>
                  <a:lnTo>
                    <a:pt x="8" y="196"/>
                  </a:lnTo>
                  <a:lnTo>
                    <a:pt x="4" y="194"/>
                  </a:lnTo>
                  <a:lnTo>
                    <a:pt x="2" y="19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2" name="Freeform 635">
              <a:extLst>
                <a:ext uri="{FF2B5EF4-FFF2-40B4-BE49-F238E27FC236}">
                  <a16:creationId xmlns:a16="http://schemas.microsoft.com/office/drawing/2014/main" id="{448FEADA-0C2E-4A76-BE4D-91081B278BED}"/>
                </a:ext>
              </a:extLst>
            </p:cNvPr>
            <p:cNvSpPr>
              <a:spLocks noEditPoints="1"/>
            </p:cNvSpPr>
            <p:nvPr/>
          </p:nvSpPr>
          <p:spPr bwMode="gray">
            <a:xfrm>
              <a:off x="8091639" y="4736173"/>
              <a:ext cx="51793" cy="54149"/>
            </a:xfrm>
            <a:custGeom>
              <a:avLst/>
              <a:gdLst>
                <a:gd name="T0" fmla="*/ 2147483647 w 28"/>
                <a:gd name="T1" fmla="*/ 2147483647 h 30"/>
                <a:gd name="T2" fmla="*/ 2147483647 w 28"/>
                <a:gd name="T3" fmla="*/ 2147483647 h 30"/>
                <a:gd name="T4" fmla="*/ 2147483647 w 28"/>
                <a:gd name="T5" fmla="*/ 2147483647 h 30"/>
                <a:gd name="T6" fmla="*/ 2147483647 w 28"/>
                <a:gd name="T7" fmla="*/ 2147483647 h 30"/>
                <a:gd name="T8" fmla="*/ 0 w 28"/>
                <a:gd name="T9" fmla="*/ 2147483647 h 30"/>
                <a:gd name="T10" fmla="*/ 0 w 28"/>
                <a:gd name="T11" fmla="*/ 2147483647 h 30"/>
                <a:gd name="T12" fmla="*/ 2147483647 w 28"/>
                <a:gd name="T13" fmla="*/ 2147483647 h 30"/>
                <a:gd name="T14" fmla="*/ 2147483647 w 28"/>
                <a:gd name="T15" fmla="*/ 2147483647 h 30"/>
                <a:gd name="T16" fmla="*/ 2147483647 w 28"/>
                <a:gd name="T17" fmla="*/ 2147483647 h 30"/>
                <a:gd name="T18" fmla="*/ 2147483647 w 28"/>
                <a:gd name="T19" fmla="*/ 2147483647 h 30"/>
                <a:gd name="T20" fmla="*/ 2147483647 w 28"/>
                <a:gd name="T21" fmla="*/ 2147483647 h 30"/>
                <a:gd name="T22" fmla="*/ 2147483647 w 28"/>
                <a:gd name="T23" fmla="*/ 2147483647 h 30"/>
                <a:gd name="T24" fmla="*/ 2147483647 w 28"/>
                <a:gd name="T25" fmla="*/ 2147483647 h 30"/>
                <a:gd name="T26" fmla="*/ 2147483647 w 28"/>
                <a:gd name="T27" fmla="*/ 2147483647 h 30"/>
                <a:gd name="T28" fmla="*/ 2147483647 w 28"/>
                <a:gd name="T29" fmla="*/ 2147483647 h 30"/>
                <a:gd name="T30" fmla="*/ 2147483647 w 28"/>
                <a:gd name="T31" fmla="*/ 2147483647 h 30"/>
                <a:gd name="T32" fmla="*/ 2147483647 w 28"/>
                <a:gd name="T33" fmla="*/ 2147483647 h 30"/>
                <a:gd name="T34" fmla="*/ 2147483647 w 28"/>
                <a:gd name="T35" fmla="*/ 2147483647 h 30"/>
                <a:gd name="T36" fmla="*/ 2147483647 w 28"/>
                <a:gd name="T37" fmla="*/ 2147483647 h 30"/>
                <a:gd name="T38" fmla="*/ 2147483647 w 28"/>
                <a:gd name="T39" fmla="*/ 2147483647 h 30"/>
                <a:gd name="T40" fmla="*/ 2147483647 w 28"/>
                <a:gd name="T41" fmla="*/ 2147483647 h 30"/>
                <a:gd name="T42" fmla="*/ 2147483647 w 28"/>
                <a:gd name="T43" fmla="*/ 2147483647 h 30"/>
                <a:gd name="T44" fmla="*/ 2147483647 w 28"/>
                <a:gd name="T45" fmla="*/ 0 h 30"/>
                <a:gd name="T46" fmla="*/ 2147483647 w 28"/>
                <a:gd name="T47" fmla="*/ 2147483647 h 30"/>
                <a:gd name="T48" fmla="*/ 2147483647 w 28"/>
                <a:gd name="T49" fmla="*/ 2147483647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30"/>
                <a:gd name="T77" fmla="*/ 28 w 28"/>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30">
                  <a:moveTo>
                    <a:pt x="8" y="20"/>
                  </a:moveTo>
                  <a:lnTo>
                    <a:pt x="8" y="20"/>
                  </a:lnTo>
                  <a:lnTo>
                    <a:pt x="2" y="24"/>
                  </a:lnTo>
                  <a:lnTo>
                    <a:pt x="0" y="26"/>
                  </a:lnTo>
                  <a:lnTo>
                    <a:pt x="0" y="28"/>
                  </a:lnTo>
                  <a:lnTo>
                    <a:pt x="4" y="28"/>
                  </a:lnTo>
                  <a:lnTo>
                    <a:pt x="14" y="30"/>
                  </a:lnTo>
                  <a:lnTo>
                    <a:pt x="14" y="22"/>
                  </a:lnTo>
                  <a:lnTo>
                    <a:pt x="8" y="20"/>
                  </a:lnTo>
                  <a:close/>
                  <a:moveTo>
                    <a:pt x="22" y="2"/>
                  </a:moveTo>
                  <a:lnTo>
                    <a:pt x="22" y="2"/>
                  </a:lnTo>
                  <a:lnTo>
                    <a:pt x="14" y="8"/>
                  </a:lnTo>
                  <a:lnTo>
                    <a:pt x="12" y="12"/>
                  </a:lnTo>
                  <a:lnTo>
                    <a:pt x="16" y="12"/>
                  </a:lnTo>
                  <a:lnTo>
                    <a:pt x="26" y="4"/>
                  </a:lnTo>
                  <a:lnTo>
                    <a:pt x="28" y="2"/>
                  </a:lnTo>
                  <a:lnTo>
                    <a:pt x="26" y="0"/>
                  </a:lnTo>
                  <a:lnTo>
                    <a:pt x="2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4" name="Freeform 636">
              <a:extLst>
                <a:ext uri="{FF2B5EF4-FFF2-40B4-BE49-F238E27FC236}">
                  <a16:creationId xmlns:a16="http://schemas.microsoft.com/office/drawing/2014/main" id="{6AF8917A-7D33-4292-BCF1-EBF22BD60DBD}"/>
                </a:ext>
              </a:extLst>
            </p:cNvPr>
            <p:cNvSpPr>
              <a:spLocks noEditPoints="1"/>
            </p:cNvSpPr>
            <p:nvPr/>
          </p:nvSpPr>
          <p:spPr bwMode="gray">
            <a:xfrm>
              <a:off x="3098416" y="5727329"/>
              <a:ext cx="524983" cy="108298"/>
            </a:xfrm>
            <a:custGeom>
              <a:avLst/>
              <a:gdLst>
                <a:gd name="T0" fmla="*/ 2147483647 w 284"/>
                <a:gd name="T1" fmla="*/ 2147483647 h 58"/>
                <a:gd name="T2" fmla="*/ 2147483647 w 284"/>
                <a:gd name="T3" fmla="*/ 2147483647 h 58"/>
                <a:gd name="T4" fmla="*/ 2147483647 w 284"/>
                <a:gd name="T5" fmla="*/ 2147483647 h 58"/>
                <a:gd name="T6" fmla="*/ 2147483647 w 284"/>
                <a:gd name="T7" fmla="*/ 2147483647 h 58"/>
                <a:gd name="T8" fmla="*/ 2147483647 w 284"/>
                <a:gd name="T9" fmla="*/ 2147483647 h 58"/>
                <a:gd name="T10" fmla="*/ 2147483647 w 284"/>
                <a:gd name="T11" fmla="*/ 2147483647 h 58"/>
                <a:gd name="T12" fmla="*/ 2147483647 w 284"/>
                <a:gd name="T13" fmla="*/ 0 h 58"/>
                <a:gd name="T14" fmla="*/ 2147483647 w 284"/>
                <a:gd name="T15" fmla="*/ 2147483647 h 58"/>
                <a:gd name="T16" fmla="*/ 2147483647 w 284"/>
                <a:gd name="T17" fmla="*/ 2147483647 h 58"/>
                <a:gd name="T18" fmla="*/ 2147483647 w 284"/>
                <a:gd name="T19" fmla="*/ 2147483647 h 58"/>
                <a:gd name="T20" fmla="*/ 2147483647 w 284"/>
                <a:gd name="T21" fmla="*/ 2147483647 h 58"/>
                <a:gd name="T22" fmla="*/ 2147483647 w 284"/>
                <a:gd name="T23" fmla="*/ 2147483647 h 58"/>
                <a:gd name="T24" fmla="*/ 2147483647 w 284"/>
                <a:gd name="T25" fmla="*/ 2147483647 h 58"/>
                <a:gd name="T26" fmla="*/ 2147483647 w 284"/>
                <a:gd name="T27" fmla="*/ 2147483647 h 58"/>
                <a:gd name="T28" fmla="*/ 2147483647 w 284"/>
                <a:gd name="T29" fmla="*/ 2147483647 h 58"/>
                <a:gd name="T30" fmla="*/ 2147483647 w 284"/>
                <a:gd name="T31" fmla="*/ 2147483647 h 58"/>
                <a:gd name="T32" fmla="*/ 2147483647 w 284"/>
                <a:gd name="T33" fmla="*/ 2147483647 h 58"/>
                <a:gd name="T34" fmla="*/ 2147483647 w 284"/>
                <a:gd name="T35" fmla="*/ 0 h 58"/>
                <a:gd name="T36" fmla="*/ 2147483647 w 284"/>
                <a:gd name="T37" fmla="*/ 0 h 58"/>
                <a:gd name="T38" fmla="*/ 2147483647 w 284"/>
                <a:gd name="T39" fmla="*/ 2147483647 h 58"/>
                <a:gd name="T40" fmla="*/ 2147483647 w 284"/>
                <a:gd name="T41" fmla="*/ 2147483647 h 58"/>
                <a:gd name="T42" fmla="*/ 2147483647 w 284"/>
                <a:gd name="T43" fmla="*/ 2147483647 h 58"/>
                <a:gd name="T44" fmla="*/ 0 w 284"/>
                <a:gd name="T45" fmla="*/ 2147483647 h 58"/>
                <a:gd name="T46" fmla="*/ 2147483647 w 284"/>
                <a:gd name="T47" fmla="*/ 2147483647 h 58"/>
                <a:gd name="T48" fmla="*/ 2147483647 w 284"/>
                <a:gd name="T49" fmla="*/ 2147483647 h 58"/>
                <a:gd name="T50" fmla="*/ 2147483647 w 284"/>
                <a:gd name="T51" fmla="*/ 2147483647 h 58"/>
                <a:gd name="T52" fmla="*/ 2147483647 w 284"/>
                <a:gd name="T53" fmla="*/ 2147483647 h 58"/>
                <a:gd name="T54" fmla="*/ 2147483647 w 284"/>
                <a:gd name="T55" fmla="*/ 2147483647 h 58"/>
                <a:gd name="T56" fmla="*/ 2147483647 w 284"/>
                <a:gd name="T57" fmla="*/ 2147483647 h 58"/>
                <a:gd name="T58" fmla="*/ 2147483647 w 284"/>
                <a:gd name="T59" fmla="*/ 2147483647 h 58"/>
                <a:gd name="T60" fmla="*/ 2147483647 w 284"/>
                <a:gd name="T61" fmla="*/ 0 h 58"/>
                <a:gd name="T62" fmla="*/ 2147483647 w 284"/>
                <a:gd name="T63" fmla="*/ 0 h 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4"/>
                <a:gd name="T97" fmla="*/ 0 h 58"/>
                <a:gd name="T98" fmla="*/ 284 w 284"/>
                <a:gd name="T99" fmla="*/ 58 h 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4" h="58">
                  <a:moveTo>
                    <a:pt x="276" y="52"/>
                  </a:moveTo>
                  <a:lnTo>
                    <a:pt x="276" y="52"/>
                  </a:lnTo>
                  <a:lnTo>
                    <a:pt x="280" y="58"/>
                  </a:lnTo>
                  <a:lnTo>
                    <a:pt x="284" y="56"/>
                  </a:lnTo>
                  <a:lnTo>
                    <a:pt x="284" y="54"/>
                  </a:lnTo>
                  <a:lnTo>
                    <a:pt x="282" y="52"/>
                  </a:lnTo>
                  <a:lnTo>
                    <a:pt x="276" y="52"/>
                  </a:lnTo>
                  <a:close/>
                  <a:moveTo>
                    <a:pt x="28" y="0"/>
                  </a:moveTo>
                  <a:lnTo>
                    <a:pt x="28" y="0"/>
                  </a:lnTo>
                  <a:lnTo>
                    <a:pt x="14" y="12"/>
                  </a:lnTo>
                  <a:lnTo>
                    <a:pt x="14" y="14"/>
                  </a:lnTo>
                  <a:lnTo>
                    <a:pt x="16" y="16"/>
                  </a:lnTo>
                  <a:lnTo>
                    <a:pt x="20" y="18"/>
                  </a:lnTo>
                  <a:lnTo>
                    <a:pt x="20" y="12"/>
                  </a:lnTo>
                  <a:lnTo>
                    <a:pt x="24" y="14"/>
                  </a:lnTo>
                  <a:lnTo>
                    <a:pt x="26" y="14"/>
                  </a:lnTo>
                  <a:lnTo>
                    <a:pt x="28" y="14"/>
                  </a:lnTo>
                  <a:lnTo>
                    <a:pt x="26" y="10"/>
                  </a:lnTo>
                  <a:lnTo>
                    <a:pt x="32" y="8"/>
                  </a:lnTo>
                  <a:lnTo>
                    <a:pt x="40" y="8"/>
                  </a:lnTo>
                  <a:lnTo>
                    <a:pt x="40" y="4"/>
                  </a:lnTo>
                  <a:lnTo>
                    <a:pt x="36" y="4"/>
                  </a:lnTo>
                  <a:lnTo>
                    <a:pt x="32" y="4"/>
                  </a:lnTo>
                  <a:lnTo>
                    <a:pt x="30" y="2"/>
                  </a:lnTo>
                  <a:lnTo>
                    <a:pt x="28" y="0"/>
                  </a:lnTo>
                  <a:close/>
                  <a:moveTo>
                    <a:pt x="6" y="0"/>
                  </a:moveTo>
                  <a:lnTo>
                    <a:pt x="6" y="0"/>
                  </a:lnTo>
                  <a:lnTo>
                    <a:pt x="6" y="4"/>
                  </a:lnTo>
                  <a:lnTo>
                    <a:pt x="6" y="8"/>
                  </a:lnTo>
                  <a:lnTo>
                    <a:pt x="2" y="10"/>
                  </a:lnTo>
                  <a:lnTo>
                    <a:pt x="0" y="12"/>
                  </a:lnTo>
                  <a:lnTo>
                    <a:pt x="0" y="14"/>
                  </a:lnTo>
                  <a:lnTo>
                    <a:pt x="2" y="14"/>
                  </a:lnTo>
                  <a:lnTo>
                    <a:pt x="6" y="14"/>
                  </a:lnTo>
                  <a:lnTo>
                    <a:pt x="8" y="10"/>
                  </a:lnTo>
                  <a:lnTo>
                    <a:pt x="10" y="10"/>
                  </a:lnTo>
                  <a:lnTo>
                    <a:pt x="10" y="12"/>
                  </a:lnTo>
                  <a:lnTo>
                    <a:pt x="12" y="12"/>
                  </a:lnTo>
                  <a:lnTo>
                    <a:pt x="14" y="8"/>
                  </a:lnTo>
                  <a:lnTo>
                    <a:pt x="16" y="4"/>
                  </a:lnTo>
                  <a:lnTo>
                    <a:pt x="18" y="2"/>
                  </a:lnTo>
                  <a:lnTo>
                    <a:pt x="14" y="0"/>
                  </a:lnTo>
                  <a:lnTo>
                    <a:pt x="6"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5" name="Freeform 637">
              <a:extLst>
                <a:ext uri="{FF2B5EF4-FFF2-40B4-BE49-F238E27FC236}">
                  <a16:creationId xmlns:a16="http://schemas.microsoft.com/office/drawing/2014/main" id="{F5DBD4CB-250E-4831-B7AE-BB14DF5D1927}"/>
                </a:ext>
              </a:extLst>
            </p:cNvPr>
            <p:cNvSpPr>
              <a:spLocks noEditPoints="1"/>
            </p:cNvSpPr>
            <p:nvPr/>
          </p:nvSpPr>
          <p:spPr bwMode="gray">
            <a:xfrm>
              <a:off x="5068868" y="3902757"/>
              <a:ext cx="327232" cy="280161"/>
            </a:xfrm>
            <a:custGeom>
              <a:avLst/>
              <a:gdLst>
                <a:gd name="T0" fmla="*/ 2147483647 w 178"/>
                <a:gd name="T1" fmla="*/ 2147483647 h 152"/>
                <a:gd name="T2" fmla="*/ 2147483647 w 178"/>
                <a:gd name="T3" fmla="*/ 2147483647 h 152"/>
                <a:gd name="T4" fmla="*/ 2147483647 w 178"/>
                <a:gd name="T5" fmla="*/ 2147483647 h 152"/>
                <a:gd name="T6" fmla="*/ 2147483647 w 178"/>
                <a:gd name="T7" fmla="*/ 2147483647 h 152"/>
                <a:gd name="T8" fmla="*/ 2147483647 w 178"/>
                <a:gd name="T9" fmla="*/ 2147483647 h 152"/>
                <a:gd name="T10" fmla="*/ 2147483647 w 178"/>
                <a:gd name="T11" fmla="*/ 2147483647 h 152"/>
                <a:gd name="T12" fmla="*/ 2147483647 w 178"/>
                <a:gd name="T13" fmla="*/ 2147483647 h 152"/>
                <a:gd name="T14" fmla="*/ 2147483647 w 178"/>
                <a:gd name="T15" fmla="*/ 2147483647 h 152"/>
                <a:gd name="T16" fmla="*/ 2147483647 w 178"/>
                <a:gd name="T17" fmla="*/ 2147483647 h 152"/>
                <a:gd name="T18" fmla="*/ 2147483647 w 178"/>
                <a:gd name="T19" fmla="*/ 2147483647 h 152"/>
                <a:gd name="T20" fmla="*/ 2147483647 w 178"/>
                <a:gd name="T21" fmla="*/ 2147483647 h 152"/>
                <a:gd name="T22" fmla="*/ 2147483647 w 178"/>
                <a:gd name="T23" fmla="*/ 2147483647 h 152"/>
                <a:gd name="T24" fmla="*/ 2147483647 w 178"/>
                <a:gd name="T25" fmla="*/ 2147483647 h 152"/>
                <a:gd name="T26" fmla="*/ 2147483647 w 178"/>
                <a:gd name="T27" fmla="*/ 2147483647 h 152"/>
                <a:gd name="T28" fmla="*/ 2147483647 w 178"/>
                <a:gd name="T29" fmla="*/ 2147483647 h 152"/>
                <a:gd name="T30" fmla="*/ 2147483647 w 178"/>
                <a:gd name="T31" fmla="*/ 2147483647 h 152"/>
                <a:gd name="T32" fmla="*/ 2147483647 w 178"/>
                <a:gd name="T33" fmla="*/ 2147483647 h 152"/>
                <a:gd name="T34" fmla="*/ 2147483647 w 178"/>
                <a:gd name="T35" fmla="*/ 2147483647 h 152"/>
                <a:gd name="T36" fmla="*/ 2147483647 w 178"/>
                <a:gd name="T37" fmla="*/ 2147483647 h 152"/>
                <a:gd name="T38" fmla="*/ 2147483647 w 178"/>
                <a:gd name="T39" fmla="*/ 2147483647 h 152"/>
                <a:gd name="T40" fmla="*/ 2147483647 w 178"/>
                <a:gd name="T41" fmla="*/ 2147483647 h 152"/>
                <a:gd name="T42" fmla="*/ 2147483647 w 178"/>
                <a:gd name="T43" fmla="*/ 2147483647 h 152"/>
                <a:gd name="T44" fmla="*/ 2147483647 w 178"/>
                <a:gd name="T45" fmla="*/ 2147483647 h 152"/>
                <a:gd name="T46" fmla="*/ 2147483647 w 178"/>
                <a:gd name="T47" fmla="*/ 2147483647 h 152"/>
                <a:gd name="T48" fmla="*/ 2147483647 w 178"/>
                <a:gd name="T49" fmla="*/ 2147483647 h 152"/>
                <a:gd name="T50" fmla="*/ 2147483647 w 178"/>
                <a:gd name="T51" fmla="*/ 2147483647 h 152"/>
                <a:gd name="T52" fmla="*/ 2147483647 w 178"/>
                <a:gd name="T53" fmla="*/ 2147483647 h 152"/>
                <a:gd name="T54" fmla="*/ 2147483647 w 178"/>
                <a:gd name="T55" fmla="*/ 2147483647 h 152"/>
                <a:gd name="T56" fmla="*/ 2147483647 w 178"/>
                <a:gd name="T57" fmla="*/ 2147483647 h 152"/>
                <a:gd name="T58" fmla="*/ 2147483647 w 178"/>
                <a:gd name="T59" fmla="*/ 2147483647 h 152"/>
                <a:gd name="T60" fmla="*/ 2147483647 w 178"/>
                <a:gd name="T61" fmla="*/ 2147483647 h 152"/>
                <a:gd name="T62" fmla="*/ 2147483647 w 178"/>
                <a:gd name="T63" fmla="*/ 2147483647 h 152"/>
                <a:gd name="T64" fmla="*/ 2147483647 w 178"/>
                <a:gd name="T65" fmla="*/ 2147483647 h 152"/>
                <a:gd name="T66" fmla="*/ 2147483647 w 178"/>
                <a:gd name="T67" fmla="*/ 2147483647 h 152"/>
                <a:gd name="T68" fmla="*/ 2147483647 w 178"/>
                <a:gd name="T69" fmla="*/ 2147483647 h 152"/>
                <a:gd name="T70" fmla="*/ 2147483647 w 178"/>
                <a:gd name="T71" fmla="*/ 2147483647 h 152"/>
                <a:gd name="T72" fmla="*/ 2147483647 w 178"/>
                <a:gd name="T73" fmla="*/ 2147483647 h 152"/>
                <a:gd name="T74" fmla="*/ 2147483647 w 178"/>
                <a:gd name="T75" fmla="*/ 2147483647 h 152"/>
                <a:gd name="T76" fmla="*/ 2147483647 w 178"/>
                <a:gd name="T77" fmla="*/ 2147483647 h 152"/>
                <a:gd name="T78" fmla="*/ 2147483647 w 178"/>
                <a:gd name="T79" fmla="*/ 2147483647 h 152"/>
                <a:gd name="T80" fmla="*/ 2147483647 w 178"/>
                <a:gd name="T81" fmla="*/ 2147483647 h 152"/>
                <a:gd name="T82" fmla="*/ 2147483647 w 178"/>
                <a:gd name="T83" fmla="*/ 2147483647 h 152"/>
                <a:gd name="T84" fmla="*/ 2147483647 w 178"/>
                <a:gd name="T85" fmla="*/ 2147483647 h 152"/>
                <a:gd name="T86" fmla="*/ 2147483647 w 178"/>
                <a:gd name="T87" fmla="*/ 2147483647 h 152"/>
                <a:gd name="T88" fmla="*/ 2147483647 w 178"/>
                <a:gd name="T89" fmla="*/ 2147483647 h 152"/>
                <a:gd name="T90" fmla="*/ 2147483647 w 178"/>
                <a:gd name="T91" fmla="*/ 2147483647 h 152"/>
                <a:gd name="T92" fmla="*/ 2147483647 w 178"/>
                <a:gd name="T93" fmla="*/ 2147483647 h 152"/>
                <a:gd name="T94" fmla="*/ 2147483647 w 178"/>
                <a:gd name="T95" fmla="*/ 2147483647 h 152"/>
                <a:gd name="T96" fmla="*/ 2147483647 w 178"/>
                <a:gd name="T97" fmla="*/ 2147483647 h 152"/>
                <a:gd name="T98" fmla="*/ 2147483647 w 178"/>
                <a:gd name="T99" fmla="*/ 2147483647 h 152"/>
                <a:gd name="T100" fmla="*/ 2147483647 w 178"/>
                <a:gd name="T101" fmla="*/ 2147483647 h 152"/>
                <a:gd name="T102" fmla="*/ 2147483647 w 178"/>
                <a:gd name="T103" fmla="*/ 2147483647 h 152"/>
                <a:gd name="T104" fmla="*/ 2147483647 w 178"/>
                <a:gd name="T105" fmla="*/ 2147483647 h 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8"/>
                <a:gd name="T160" fmla="*/ 0 h 152"/>
                <a:gd name="T161" fmla="*/ 178 w 178"/>
                <a:gd name="T162" fmla="*/ 152 h 1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8" h="152">
                  <a:moveTo>
                    <a:pt x="110" y="34"/>
                  </a:moveTo>
                  <a:lnTo>
                    <a:pt x="110" y="34"/>
                  </a:lnTo>
                  <a:lnTo>
                    <a:pt x="108" y="38"/>
                  </a:lnTo>
                  <a:lnTo>
                    <a:pt x="106" y="42"/>
                  </a:lnTo>
                  <a:lnTo>
                    <a:pt x="104" y="46"/>
                  </a:lnTo>
                  <a:lnTo>
                    <a:pt x="104" y="48"/>
                  </a:lnTo>
                  <a:lnTo>
                    <a:pt x="104" y="52"/>
                  </a:lnTo>
                  <a:lnTo>
                    <a:pt x="102" y="56"/>
                  </a:lnTo>
                  <a:lnTo>
                    <a:pt x="104" y="58"/>
                  </a:lnTo>
                  <a:lnTo>
                    <a:pt x="108" y="60"/>
                  </a:lnTo>
                  <a:lnTo>
                    <a:pt x="112" y="58"/>
                  </a:lnTo>
                  <a:lnTo>
                    <a:pt x="118" y="58"/>
                  </a:lnTo>
                  <a:lnTo>
                    <a:pt x="114" y="64"/>
                  </a:lnTo>
                  <a:lnTo>
                    <a:pt x="118" y="70"/>
                  </a:lnTo>
                  <a:lnTo>
                    <a:pt x="120" y="74"/>
                  </a:lnTo>
                  <a:lnTo>
                    <a:pt x="122" y="76"/>
                  </a:lnTo>
                  <a:lnTo>
                    <a:pt x="126" y="80"/>
                  </a:lnTo>
                  <a:lnTo>
                    <a:pt x="130" y="82"/>
                  </a:lnTo>
                  <a:lnTo>
                    <a:pt x="160" y="96"/>
                  </a:lnTo>
                  <a:lnTo>
                    <a:pt x="178" y="96"/>
                  </a:lnTo>
                  <a:lnTo>
                    <a:pt x="146" y="142"/>
                  </a:lnTo>
                  <a:lnTo>
                    <a:pt x="132" y="142"/>
                  </a:lnTo>
                  <a:lnTo>
                    <a:pt x="128" y="146"/>
                  </a:lnTo>
                  <a:lnTo>
                    <a:pt x="116" y="146"/>
                  </a:lnTo>
                  <a:lnTo>
                    <a:pt x="114" y="148"/>
                  </a:lnTo>
                  <a:lnTo>
                    <a:pt x="108" y="150"/>
                  </a:lnTo>
                  <a:lnTo>
                    <a:pt x="102" y="150"/>
                  </a:lnTo>
                  <a:lnTo>
                    <a:pt x="98" y="146"/>
                  </a:lnTo>
                  <a:lnTo>
                    <a:pt x="98" y="144"/>
                  </a:lnTo>
                  <a:lnTo>
                    <a:pt x="96" y="148"/>
                  </a:lnTo>
                  <a:lnTo>
                    <a:pt x="94" y="148"/>
                  </a:lnTo>
                  <a:lnTo>
                    <a:pt x="90" y="148"/>
                  </a:lnTo>
                  <a:lnTo>
                    <a:pt x="88" y="148"/>
                  </a:lnTo>
                  <a:lnTo>
                    <a:pt x="88" y="150"/>
                  </a:lnTo>
                  <a:lnTo>
                    <a:pt x="86" y="152"/>
                  </a:lnTo>
                  <a:lnTo>
                    <a:pt x="80" y="152"/>
                  </a:lnTo>
                  <a:lnTo>
                    <a:pt x="76" y="152"/>
                  </a:lnTo>
                  <a:lnTo>
                    <a:pt x="74" y="152"/>
                  </a:lnTo>
                  <a:lnTo>
                    <a:pt x="68" y="150"/>
                  </a:lnTo>
                  <a:lnTo>
                    <a:pt x="64" y="150"/>
                  </a:lnTo>
                  <a:lnTo>
                    <a:pt x="62" y="152"/>
                  </a:lnTo>
                  <a:lnTo>
                    <a:pt x="58" y="152"/>
                  </a:lnTo>
                  <a:lnTo>
                    <a:pt x="56" y="150"/>
                  </a:lnTo>
                  <a:lnTo>
                    <a:pt x="54" y="150"/>
                  </a:lnTo>
                  <a:lnTo>
                    <a:pt x="52" y="150"/>
                  </a:lnTo>
                  <a:lnTo>
                    <a:pt x="48" y="152"/>
                  </a:lnTo>
                  <a:lnTo>
                    <a:pt x="40" y="150"/>
                  </a:lnTo>
                  <a:lnTo>
                    <a:pt x="40" y="146"/>
                  </a:lnTo>
                  <a:lnTo>
                    <a:pt x="40" y="144"/>
                  </a:lnTo>
                  <a:lnTo>
                    <a:pt x="38" y="142"/>
                  </a:lnTo>
                  <a:lnTo>
                    <a:pt x="36" y="140"/>
                  </a:lnTo>
                  <a:lnTo>
                    <a:pt x="34" y="140"/>
                  </a:lnTo>
                  <a:lnTo>
                    <a:pt x="30" y="140"/>
                  </a:lnTo>
                  <a:lnTo>
                    <a:pt x="28" y="136"/>
                  </a:lnTo>
                  <a:lnTo>
                    <a:pt x="24" y="130"/>
                  </a:lnTo>
                  <a:lnTo>
                    <a:pt x="22" y="124"/>
                  </a:lnTo>
                  <a:lnTo>
                    <a:pt x="22" y="120"/>
                  </a:lnTo>
                  <a:lnTo>
                    <a:pt x="20" y="118"/>
                  </a:lnTo>
                  <a:lnTo>
                    <a:pt x="14" y="112"/>
                  </a:lnTo>
                  <a:lnTo>
                    <a:pt x="12" y="108"/>
                  </a:lnTo>
                  <a:lnTo>
                    <a:pt x="8" y="108"/>
                  </a:lnTo>
                  <a:lnTo>
                    <a:pt x="4" y="106"/>
                  </a:lnTo>
                  <a:lnTo>
                    <a:pt x="2" y="106"/>
                  </a:lnTo>
                  <a:lnTo>
                    <a:pt x="0" y="106"/>
                  </a:lnTo>
                  <a:lnTo>
                    <a:pt x="2" y="98"/>
                  </a:lnTo>
                  <a:lnTo>
                    <a:pt x="6" y="98"/>
                  </a:lnTo>
                  <a:lnTo>
                    <a:pt x="10" y="96"/>
                  </a:lnTo>
                  <a:lnTo>
                    <a:pt x="12" y="96"/>
                  </a:lnTo>
                  <a:lnTo>
                    <a:pt x="14" y="88"/>
                  </a:lnTo>
                  <a:lnTo>
                    <a:pt x="14" y="76"/>
                  </a:lnTo>
                  <a:lnTo>
                    <a:pt x="16" y="70"/>
                  </a:lnTo>
                  <a:lnTo>
                    <a:pt x="20" y="62"/>
                  </a:lnTo>
                  <a:lnTo>
                    <a:pt x="20" y="54"/>
                  </a:lnTo>
                  <a:lnTo>
                    <a:pt x="24" y="52"/>
                  </a:lnTo>
                  <a:lnTo>
                    <a:pt x="28" y="50"/>
                  </a:lnTo>
                  <a:lnTo>
                    <a:pt x="30" y="48"/>
                  </a:lnTo>
                  <a:lnTo>
                    <a:pt x="32" y="40"/>
                  </a:lnTo>
                  <a:lnTo>
                    <a:pt x="34" y="36"/>
                  </a:lnTo>
                  <a:lnTo>
                    <a:pt x="36" y="30"/>
                  </a:lnTo>
                  <a:lnTo>
                    <a:pt x="36" y="26"/>
                  </a:lnTo>
                  <a:lnTo>
                    <a:pt x="38" y="24"/>
                  </a:lnTo>
                  <a:lnTo>
                    <a:pt x="42" y="20"/>
                  </a:lnTo>
                  <a:lnTo>
                    <a:pt x="48" y="10"/>
                  </a:lnTo>
                  <a:lnTo>
                    <a:pt x="54" y="8"/>
                  </a:lnTo>
                  <a:lnTo>
                    <a:pt x="56" y="8"/>
                  </a:lnTo>
                  <a:lnTo>
                    <a:pt x="58" y="8"/>
                  </a:lnTo>
                  <a:lnTo>
                    <a:pt x="60" y="8"/>
                  </a:lnTo>
                  <a:lnTo>
                    <a:pt x="62" y="12"/>
                  </a:lnTo>
                  <a:lnTo>
                    <a:pt x="64" y="2"/>
                  </a:lnTo>
                  <a:lnTo>
                    <a:pt x="66" y="0"/>
                  </a:lnTo>
                  <a:lnTo>
                    <a:pt x="68" y="2"/>
                  </a:lnTo>
                  <a:lnTo>
                    <a:pt x="72" y="6"/>
                  </a:lnTo>
                  <a:lnTo>
                    <a:pt x="76" y="8"/>
                  </a:lnTo>
                  <a:lnTo>
                    <a:pt x="78" y="8"/>
                  </a:lnTo>
                  <a:lnTo>
                    <a:pt x="80" y="8"/>
                  </a:lnTo>
                  <a:lnTo>
                    <a:pt x="82" y="10"/>
                  </a:lnTo>
                  <a:lnTo>
                    <a:pt x="86" y="12"/>
                  </a:lnTo>
                  <a:lnTo>
                    <a:pt x="92" y="12"/>
                  </a:lnTo>
                  <a:lnTo>
                    <a:pt x="96" y="16"/>
                  </a:lnTo>
                  <a:lnTo>
                    <a:pt x="100" y="20"/>
                  </a:lnTo>
                  <a:lnTo>
                    <a:pt x="104" y="26"/>
                  </a:lnTo>
                  <a:lnTo>
                    <a:pt x="106" y="30"/>
                  </a:lnTo>
                  <a:lnTo>
                    <a:pt x="110" y="34"/>
                  </a:lnTo>
                  <a:close/>
                  <a:moveTo>
                    <a:pt x="60" y="32"/>
                  </a:moveTo>
                  <a:lnTo>
                    <a:pt x="60" y="32"/>
                  </a:lnTo>
                  <a:lnTo>
                    <a:pt x="66" y="34"/>
                  </a:lnTo>
                  <a:lnTo>
                    <a:pt x="66" y="36"/>
                  </a:lnTo>
                  <a:lnTo>
                    <a:pt x="60" y="42"/>
                  </a:lnTo>
                  <a:lnTo>
                    <a:pt x="56" y="36"/>
                  </a:lnTo>
                  <a:lnTo>
                    <a:pt x="56" y="34"/>
                  </a:lnTo>
                  <a:lnTo>
                    <a:pt x="60" y="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6" name="Freeform 638">
              <a:extLst>
                <a:ext uri="{FF2B5EF4-FFF2-40B4-BE49-F238E27FC236}">
                  <a16:creationId xmlns:a16="http://schemas.microsoft.com/office/drawing/2014/main" id="{ADF49A36-BEBE-4E16-A73D-F0BD39A3BF8B}"/>
                </a:ext>
              </a:extLst>
            </p:cNvPr>
            <p:cNvSpPr>
              <a:spLocks/>
            </p:cNvSpPr>
            <p:nvPr/>
          </p:nvSpPr>
          <p:spPr bwMode="gray">
            <a:xfrm>
              <a:off x="4852282" y="2598483"/>
              <a:ext cx="16481" cy="18834"/>
            </a:xfrm>
            <a:custGeom>
              <a:avLst/>
              <a:gdLst>
                <a:gd name="T0" fmla="*/ 2147483647 w 8"/>
                <a:gd name="T1" fmla="*/ 0 h 10"/>
                <a:gd name="T2" fmla="*/ 2147483647 w 8"/>
                <a:gd name="T3" fmla="*/ 0 h 10"/>
                <a:gd name="T4" fmla="*/ 2147483647 w 8"/>
                <a:gd name="T5" fmla="*/ 2147483647 h 10"/>
                <a:gd name="T6" fmla="*/ 2147483647 w 8"/>
                <a:gd name="T7" fmla="*/ 2147483647 h 10"/>
                <a:gd name="T8" fmla="*/ 0 w 8"/>
                <a:gd name="T9" fmla="*/ 2147483647 h 10"/>
                <a:gd name="T10" fmla="*/ 0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2147483647 w 8"/>
                <a:gd name="T25" fmla="*/ 0 h 10"/>
                <a:gd name="T26" fmla="*/ 2147483647 w 8"/>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0"/>
                <a:gd name="T44" fmla="*/ 8 w 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0">
                  <a:moveTo>
                    <a:pt x="4" y="0"/>
                  </a:moveTo>
                  <a:lnTo>
                    <a:pt x="4" y="0"/>
                  </a:lnTo>
                  <a:lnTo>
                    <a:pt x="4" y="2"/>
                  </a:lnTo>
                  <a:lnTo>
                    <a:pt x="0" y="2"/>
                  </a:lnTo>
                  <a:lnTo>
                    <a:pt x="2" y="6"/>
                  </a:lnTo>
                  <a:lnTo>
                    <a:pt x="4" y="10"/>
                  </a:lnTo>
                  <a:lnTo>
                    <a:pt x="6" y="8"/>
                  </a:lnTo>
                  <a:lnTo>
                    <a:pt x="8" y="8"/>
                  </a:lnTo>
                  <a:lnTo>
                    <a:pt x="8"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7" name="Freeform 639">
              <a:extLst>
                <a:ext uri="{FF2B5EF4-FFF2-40B4-BE49-F238E27FC236}">
                  <a16:creationId xmlns:a16="http://schemas.microsoft.com/office/drawing/2014/main" id="{EC95AE9A-C726-4A99-92AF-936FA3EE097C}"/>
                </a:ext>
              </a:extLst>
            </p:cNvPr>
            <p:cNvSpPr>
              <a:spLocks/>
            </p:cNvSpPr>
            <p:nvPr/>
          </p:nvSpPr>
          <p:spPr bwMode="gray">
            <a:xfrm>
              <a:off x="4849929" y="2622024"/>
              <a:ext cx="25896" cy="16480"/>
            </a:xfrm>
            <a:custGeom>
              <a:avLst/>
              <a:gdLst>
                <a:gd name="T0" fmla="*/ 2147483647 w 14"/>
                <a:gd name="T1" fmla="*/ 0 h 10"/>
                <a:gd name="T2" fmla="*/ 2147483647 w 14"/>
                <a:gd name="T3" fmla="*/ 0 h 10"/>
                <a:gd name="T4" fmla="*/ 2147483647 w 14"/>
                <a:gd name="T5" fmla="*/ 2147483647 h 10"/>
                <a:gd name="T6" fmla="*/ 0 w 14"/>
                <a:gd name="T7" fmla="*/ 2147483647 h 10"/>
                <a:gd name="T8" fmla="*/ 0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0 h 10"/>
                <a:gd name="T34" fmla="*/ 2147483647 w 14"/>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0"/>
                <a:gd name="T56" fmla="*/ 14 w 1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0">
                  <a:moveTo>
                    <a:pt x="4" y="0"/>
                  </a:moveTo>
                  <a:lnTo>
                    <a:pt x="4" y="0"/>
                  </a:lnTo>
                  <a:lnTo>
                    <a:pt x="2" y="2"/>
                  </a:lnTo>
                  <a:lnTo>
                    <a:pt x="0" y="4"/>
                  </a:lnTo>
                  <a:lnTo>
                    <a:pt x="0" y="8"/>
                  </a:lnTo>
                  <a:lnTo>
                    <a:pt x="4" y="10"/>
                  </a:lnTo>
                  <a:lnTo>
                    <a:pt x="8" y="10"/>
                  </a:lnTo>
                  <a:lnTo>
                    <a:pt x="12" y="10"/>
                  </a:lnTo>
                  <a:lnTo>
                    <a:pt x="12" y="6"/>
                  </a:lnTo>
                  <a:lnTo>
                    <a:pt x="14" y="6"/>
                  </a:lnTo>
                  <a:lnTo>
                    <a:pt x="14" y="2"/>
                  </a:lnTo>
                  <a:lnTo>
                    <a:pt x="12" y="2"/>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8" name="Freeform 640">
              <a:extLst>
                <a:ext uri="{FF2B5EF4-FFF2-40B4-BE49-F238E27FC236}">
                  <a16:creationId xmlns:a16="http://schemas.microsoft.com/office/drawing/2014/main" id="{B32AB620-1B48-4C1E-8B3C-403361AFE344}"/>
                </a:ext>
              </a:extLst>
            </p:cNvPr>
            <p:cNvSpPr>
              <a:spLocks/>
            </p:cNvSpPr>
            <p:nvPr/>
          </p:nvSpPr>
          <p:spPr bwMode="gray">
            <a:xfrm>
              <a:off x="4885243" y="2586710"/>
              <a:ext cx="96521" cy="75337"/>
            </a:xfrm>
            <a:custGeom>
              <a:avLst/>
              <a:gdLst>
                <a:gd name="T0" fmla="*/ 2147483647 w 52"/>
                <a:gd name="T1" fmla="*/ 2147483647 h 40"/>
                <a:gd name="T2" fmla="*/ 2147483647 w 52"/>
                <a:gd name="T3" fmla="*/ 2147483647 h 40"/>
                <a:gd name="T4" fmla="*/ 2147483647 w 52"/>
                <a:gd name="T5" fmla="*/ 2147483647 h 40"/>
                <a:gd name="T6" fmla="*/ 2147483647 w 52"/>
                <a:gd name="T7" fmla="*/ 2147483647 h 40"/>
                <a:gd name="T8" fmla="*/ 2147483647 w 52"/>
                <a:gd name="T9" fmla="*/ 2147483647 h 40"/>
                <a:gd name="T10" fmla="*/ 2147483647 w 52"/>
                <a:gd name="T11" fmla="*/ 2147483647 h 40"/>
                <a:gd name="T12" fmla="*/ 2147483647 w 52"/>
                <a:gd name="T13" fmla="*/ 2147483647 h 40"/>
                <a:gd name="T14" fmla="*/ 2147483647 w 52"/>
                <a:gd name="T15" fmla="*/ 2147483647 h 40"/>
                <a:gd name="T16" fmla="*/ 2147483647 w 52"/>
                <a:gd name="T17" fmla="*/ 2147483647 h 40"/>
                <a:gd name="T18" fmla="*/ 2147483647 w 52"/>
                <a:gd name="T19" fmla="*/ 2147483647 h 40"/>
                <a:gd name="T20" fmla="*/ 2147483647 w 52"/>
                <a:gd name="T21" fmla="*/ 2147483647 h 40"/>
                <a:gd name="T22" fmla="*/ 2147483647 w 52"/>
                <a:gd name="T23" fmla="*/ 2147483647 h 40"/>
                <a:gd name="T24" fmla="*/ 2147483647 w 52"/>
                <a:gd name="T25" fmla="*/ 2147483647 h 40"/>
                <a:gd name="T26" fmla="*/ 2147483647 w 52"/>
                <a:gd name="T27" fmla="*/ 0 h 40"/>
                <a:gd name="T28" fmla="*/ 2147483647 w 52"/>
                <a:gd name="T29" fmla="*/ 0 h 40"/>
                <a:gd name="T30" fmla="*/ 2147483647 w 52"/>
                <a:gd name="T31" fmla="*/ 2147483647 h 40"/>
                <a:gd name="T32" fmla="*/ 2147483647 w 52"/>
                <a:gd name="T33" fmla="*/ 2147483647 h 40"/>
                <a:gd name="T34" fmla="*/ 2147483647 w 52"/>
                <a:gd name="T35" fmla="*/ 2147483647 h 40"/>
                <a:gd name="T36" fmla="*/ 2147483647 w 52"/>
                <a:gd name="T37" fmla="*/ 2147483647 h 40"/>
                <a:gd name="T38" fmla="*/ 2147483647 w 52"/>
                <a:gd name="T39" fmla="*/ 2147483647 h 40"/>
                <a:gd name="T40" fmla="*/ 2147483647 w 52"/>
                <a:gd name="T41" fmla="*/ 2147483647 h 40"/>
                <a:gd name="T42" fmla="*/ 0 w 52"/>
                <a:gd name="T43" fmla="*/ 2147483647 h 40"/>
                <a:gd name="T44" fmla="*/ 0 w 52"/>
                <a:gd name="T45" fmla="*/ 2147483647 h 40"/>
                <a:gd name="T46" fmla="*/ 0 w 52"/>
                <a:gd name="T47" fmla="*/ 2147483647 h 40"/>
                <a:gd name="T48" fmla="*/ 2147483647 w 52"/>
                <a:gd name="T49" fmla="*/ 2147483647 h 40"/>
                <a:gd name="T50" fmla="*/ 2147483647 w 52"/>
                <a:gd name="T51" fmla="*/ 2147483647 h 40"/>
                <a:gd name="T52" fmla="*/ 2147483647 w 52"/>
                <a:gd name="T53" fmla="*/ 2147483647 h 40"/>
                <a:gd name="T54" fmla="*/ 2147483647 w 52"/>
                <a:gd name="T55" fmla="*/ 2147483647 h 40"/>
                <a:gd name="T56" fmla="*/ 2147483647 w 52"/>
                <a:gd name="T57" fmla="*/ 2147483647 h 40"/>
                <a:gd name="T58" fmla="*/ 2147483647 w 52"/>
                <a:gd name="T59" fmla="*/ 2147483647 h 40"/>
                <a:gd name="T60" fmla="*/ 2147483647 w 52"/>
                <a:gd name="T61" fmla="*/ 2147483647 h 40"/>
                <a:gd name="T62" fmla="*/ 2147483647 w 52"/>
                <a:gd name="T63" fmla="*/ 2147483647 h 40"/>
                <a:gd name="T64" fmla="*/ 2147483647 w 52"/>
                <a:gd name="T65" fmla="*/ 2147483647 h 40"/>
                <a:gd name="T66" fmla="*/ 2147483647 w 52"/>
                <a:gd name="T67" fmla="*/ 2147483647 h 40"/>
                <a:gd name="T68" fmla="*/ 2147483647 w 52"/>
                <a:gd name="T69" fmla="*/ 2147483647 h 40"/>
                <a:gd name="T70" fmla="*/ 2147483647 w 52"/>
                <a:gd name="T71" fmla="*/ 2147483647 h 40"/>
                <a:gd name="T72" fmla="*/ 2147483647 w 52"/>
                <a:gd name="T73" fmla="*/ 2147483647 h 40"/>
                <a:gd name="T74" fmla="*/ 2147483647 w 52"/>
                <a:gd name="T75" fmla="*/ 2147483647 h 40"/>
                <a:gd name="T76" fmla="*/ 2147483647 w 52"/>
                <a:gd name="T77" fmla="*/ 2147483647 h 40"/>
                <a:gd name="T78" fmla="*/ 2147483647 w 52"/>
                <a:gd name="T79" fmla="*/ 2147483647 h 40"/>
                <a:gd name="T80" fmla="*/ 2147483647 w 52"/>
                <a:gd name="T81" fmla="*/ 2147483647 h 40"/>
                <a:gd name="T82" fmla="*/ 2147483647 w 52"/>
                <a:gd name="T83" fmla="*/ 2147483647 h 40"/>
                <a:gd name="T84" fmla="*/ 2147483647 w 52"/>
                <a:gd name="T85" fmla="*/ 2147483647 h 40"/>
                <a:gd name="T86" fmla="*/ 2147483647 w 52"/>
                <a:gd name="T87" fmla="*/ 2147483647 h 40"/>
                <a:gd name="T88" fmla="*/ 2147483647 w 52"/>
                <a:gd name="T89" fmla="*/ 2147483647 h 40"/>
                <a:gd name="T90" fmla="*/ 2147483647 w 52"/>
                <a:gd name="T91" fmla="*/ 2147483647 h 40"/>
                <a:gd name="T92" fmla="*/ 2147483647 w 52"/>
                <a:gd name="T93" fmla="*/ 2147483647 h 40"/>
                <a:gd name="T94" fmla="*/ 2147483647 w 52"/>
                <a:gd name="T95" fmla="*/ 2147483647 h 40"/>
                <a:gd name="T96" fmla="*/ 2147483647 w 52"/>
                <a:gd name="T97" fmla="*/ 2147483647 h 40"/>
                <a:gd name="T98" fmla="*/ 2147483647 w 52"/>
                <a:gd name="T99" fmla="*/ 2147483647 h 40"/>
                <a:gd name="T100" fmla="*/ 2147483647 w 52"/>
                <a:gd name="T101" fmla="*/ 2147483647 h 40"/>
                <a:gd name="T102" fmla="*/ 2147483647 w 52"/>
                <a:gd name="T103" fmla="*/ 2147483647 h 40"/>
                <a:gd name="T104" fmla="*/ 2147483647 w 52"/>
                <a:gd name="T105" fmla="*/ 2147483647 h 40"/>
                <a:gd name="T106" fmla="*/ 2147483647 w 52"/>
                <a:gd name="T107" fmla="*/ 2147483647 h 4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2"/>
                <a:gd name="T163" fmla="*/ 0 h 40"/>
                <a:gd name="T164" fmla="*/ 52 w 52"/>
                <a:gd name="T165" fmla="*/ 40 h 4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2" h="40">
                  <a:moveTo>
                    <a:pt x="48" y="14"/>
                  </a:moveTo>
                  <a:lnTo>
                    <a:pt x="50" y="10"/>
                  </a:lnTo>
                  <a:lnTo>
                    <a:pt x="52" y="10"/>
                  </a:lnTo>
                  <a:lnTo>
                    <a:pt x="52" y="6"/>
                  </a:lnTo>
                  <a:lnTo>
                    <a:pt x="52" y="2"/>
                  </a:lnTo>
                  <a:lnTo>
                    <a:pt x="50" y="2"/>
                  </a:lnTo>
                  <a:lnTo>
                    <a:pt x="50" y="4"/>
                  </a:lnTo>
                  <a:lnTo>
                    <a:pt x="48" y="4"/>
                  </a:lnTo>
                  <a:lnTo>
                    <a:pt x="38" y="2"/>
                  </a:lnTo>
                  <a:lnTo>
                    <a:pt x="24" y="0"/>
                  </a:lnTo>
                  <a:lnTo>
                    <a:pt x="22" y="2"/>
                  </a:lnTo>
                  <a:lnTo>
                    <a:pt x="22" y="4"/>
                  </a:lnTo>
                  <a:lnTo>
                    <a:pt x="16" y="4"/>
                  </a:lnTo>
                  <a:lnTo>
                    <a:pt x="12" y="4"/>
                  </a:lnTo>
                  <a:lnTo>
                    <a:pt x="0" y="8"/>
                  </a:lnTo>
                  <a:lnTo>
                    <a:pt x="0" y="22"/>
                  </a:lnTo>
                  <a:lnTo>
                    <a:pt x="6" y="24"/>
                  </a:lnTo>
                  <a:lnTo>
                    <a:pt x="6" y="32"/>
                  </a:lnTo>
                  <a:lnTo>
                    <a:pt x="12" y="32"/>
                  </a:lnTo>
                  <a:lnTo>
                    <a:pt x="14" y="30"/>
                  </a:lnTo>
                  <a:lnTo>
                    <a:pt x="14" y="28"/>
                  </a:lnTo>
                  <a:lnTo>
                    <a:pt x="22" y="30"/>
                  </a:lnTo>
                  <a:lnTo>
                    <a:pt x="26" y="32"/>
                  </a:lnTo>
                  <a:lnTo>
                    <a:pt x="26" y="34"/>
                  </a:lnTo>
                  <a:lnTo>
                    <a:pt x="30" y="34"/>
                  </a:lnTo>
                  <a:lnTo>
                    <a:pt x="32" y="40"/>
                  </a:lnTo>
                  <a:lnTo>
                    <a:pt x="38" y="38"/>
                  </a:lnTo>
                  <a:lnTo>
                    <a:pt x="38" y="36"/>
                  </a:lnTo>
                  <a:lnTo>
                    <a:pt x="40" y="32"/>
                  </a:lnTo>
                  <a:lnTo>
                    <a:pt x="42" y="30"/>
                  </a:lnTo>
                  <a:lnTo>
                    <a:pt x="44" y="28"/>
                  </a:lnTo>
                  <a:lnTo>
                    <a:pt x="40" y="18"/>
                  </a:lnTo>
                  <a:lnTo>
                    <a:pt x="40" y="16"/>
                  </a:lnTo>
                  <a:lnTo>
                    <a:pt x="42" y="14"/>
                  </a:lnTo>
                  <a:lnTo>
                    <a:pt x="44" y="14"/>
                  </a:lnTo>
                  <a:lnTo>
                    <a:pt x="48" y="1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69" name="Freeform 641">
              <a:extLst>
                <a:ext uri="{FF2B5EF4-FFF2-40B4-BE49-F238E27FC236}">
                  <a16:creationId xmlns:a16="http://schemas.microsoft.com/office/drawing/2014/main" id="{188F510F-79D9-4A6A-9E5F-918F6E07B589}"/>
                </a:ext>
              </a:extLst>
            </p:cNvPr>
            <p:cNvSpPr>
              <a:spLocks/>
            </p:cNvSpPr>
            <p:nvPr/>
          </p:nvSpPr>
          <p:spPr bwMode="gray">
            <a:xfrm>
              <a:off x="5155973" y="3806230"/>
              <a:ext cx="141250" cy="160092"/>
            </a:xfrm>
            <a:custGeom>
              <a:avLst/>
              <a:gdLst>
                <a:gd name="T0" fmla="*/ 2147483647 w 76"/>
                <a:gd name="T1" fmla="*/ 2147483647 h 86"/>
                <a:gd name="T2" fmla="*/ 2147483647 w 76"/>
                <a:gd name="T3" fmla="*/ 2147483647 h 86"/>
                <a:gd name="T4" fmla="*/ 2147483647 w 76"/>
                <a:gd name="T5" fmla="*/ 2147483647 h 86"/>
                <a:gd name="T6" fmla="*/ 2147483647 w 76"/>
                <a:gd name="T7" fmla="*/ 2147483647 h 86"/>
                <a:gd name="T8" fmla="*/ 2147483647 w 76"/>
                <a:gd name="T9" fmla="*/ 2147483647 h 86"/>
                <a:gd name="T10" fmla="*/ 2147483647 w 76"/>
                <a:gd name="T11" fmla="*/ 2147483647 h 86"/>
                <a:gd name="T12" fmla="*/ 2147483647 w 76"/>
                <a:gd name="T13" fmla="*/ 2147483647 h 86"/>
                <a:gd name="T14" fmla="*/ 2147483647 w 76"/>
                <a:gd name="T15" fmla="*/ 2147483647 h 86"/>
                <a:gd name="T16" fmla="*/ 0 w 76"/>
                <a:gd name="T17" fmla="*/ 2147483647 h 86"/>
                <a:gd name="T18" fmla="*/ 0 w 76"/>
                <a:gd name="T19" fmla="*/ 2147483647 h 86"/>
                <a:gd name="T20" fmla="*/ 0 w 76"/>
                <a:gd name="T21" fmla="*/ 2147483647 h 86"/>
                <a:gd name="T22" fmla="*/ 0 w 76"/>
                <a:gd name="T23" fmla="*/ 2147483647 h 86"/>
                <a:gd name="T24" fmla="*/ 2147483647 w 76"/>
                <a:gd name="T25" fmla="*/ 2147483647 h 86"/>
                <a:gd name="T26" fmla="*/ 2147483647 w 76"/>
                <a:gd name="T27" fmla="*/ 2147483647 h 86"/>
                <a:gd name="T28" fmla="*/ 2147483647 w 76"/>
                <a:gd name="T29" fmla="*/ 2147483647 h 86"/>
                <a:gd name="T30" fmla="*/ 2147483647 w 76"/>
                <a:gd name="T31" fmla="*/ 2147483647 h 86"/>
                <a:gd name="T32" fmla="*/ 2147483647 w 76"/>
                <a:gd name="T33" fmla="*/ 2147483647 h 86"/>
                <a:gd name="T34" fmla="*/ 2147483647 w 76"/>
                <a:gd name="T35" fmla="*/ 2147483647 h 86"/>
                <a:gd name="T36" fmla="*/ 2147483647 w 76"/>
                <a:gd name="T37" fmla="*/ 2147483647 h 86"/>
                <a:gd name="T38" fmla="*/ 2147483647 w 76"/>
                <a:gd name="T39" fmla="*/ 2147483647 h 86"/>
                <a:gd name="T40" fmla="*/ 2147483647 w 76"/>
                <a:gd name="T41" fmla="*/ 2147483647 h 86"/>
                <a:gd name="T42" fmla="*/ 2147483647 w 76"/>
                <a:gd name="T43" fmla="*/ 2147483647 h 86"/>
                <a:gd name="T44" fmla="*/ 2147483647 w 76"/>
                <a:gd name="T45" fmla="*/ 2147483647 h 86"/>
                <a:gd name="T46" fmla="*/ 2147483647 w 76"/>
                <a:gd name="T47" fmla="*/ 2147483647 h 86"/>
                <a:gd name="T48" fmla="*/ 2147483647 w 76"/>
                <a:gd name="T49" fmla="*/ 2147483647 h 86"/>
                <a:gd name="T50" fmla="*/ 2147483647 w 76"/>
                <a:gd name="T51" fmla="*/ 2147483647 h 86"/>
                <a:gd name="T52" fmla="*/ 2147483647 w 76"/>
                <a:gd name="T53" fmla="*/ 2147483647 h 86"/>
                <a:gd name="T54" fmla="*/ 2147483647 w 76"/>
                <a:gd name="T55" fmla="*/ 2147483647 h 86"/>
                <a:gd name="T56" fmla="*/ 2147483647 w 76"/>
                <a:gd name="T57" fmla="*/ 2147483647 h 86"/>
                <a:gd name="T58" fmla="*/ 2147483647 w 76"/>
                <a:gd name="T59" fmla="*/ 2147483647 h 86"/>
                <a:gd name="T60" fmla="*/ 2147483647 w 76"/>
                <a:gd name="T61" fmla="*/ 2147483647 h 86"/>
                <a:gd name="T62" fmla="*/ 2147483647 w 76"/>
                <a:gd name="T63" fmla="*/ 2147483647 h 86"/>
                <a:gd name="T64" fmla="*/ 2147483647 w 76"/>
                <a:gd name="T65" fmla="*/ 2147483647 h 86"/>
                <a:gd name="T66" fmla="*/ 2147483647 w 76"/>
                <a:gd name="T67" fmla="*/ 2147483647 h 86"/>
                <a:gd name="T68" fmla="*/ 2147483647 w 76"/>
                <a:gd name="T69" fmla="*/ 2147483647 h 86"/>
                <a:gd name="T70" fmla="*/ 2147483647 w 76"/>
                <a:gd name="T71" fmla="*/ 2147483647 h 86"/>
                <a:gd name="T72" fmla="*/ 2147483647 w 76"/>
                <a:gd name="T73" fmla="*/ 2147483647 h 86"/>
                <a:gd name="T74" fmla="*/ 2147483647 w 76"/>
                <a:gd name="T75" fmla="*/ 2147483647 h 86"/>
                <a:gd name="T76" fmla="*/ 2147483647 w 76"/>
                <a:gd name="T77" fmla="*/ 2147483647 h 86"/>
                <a:gd name="T78" fmla="*/ 2147483647 w 76"/>
                <a:gd name="T79" fmla="*/ 2147483647 h 86"/>
                <a:gd name="T80" fmla="*/ 2147483647 w 76"/>
                <a:gd name="T81" fmla="*/ 2147483647 h 86"/>
                <a:gd name="T82" fmla="*/ 2147483647 w 76"/>
                <a:gd name="T83" fmla="*/ 2147483647 h 86"/>
                <a:gd name="T84" fmla="*/ 2147483647 w 76"/>
                <a:gd name="T85" fmla="*/ 2147483647 h 86"/>
                <a:gd name="T86" fmla="*/ 2147483647 w 76"/>
                <a:gd name="T87" fmla="*/ 2147483647 h 86"/>
                <a:gd name="T88" fmla="*/ 2147483647 w 76"/>
                <a:gd name="T89" fmla="*/ 0 h 8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
                <a:gd name="T136" fmla="*/ 0 h 86"/>
                <a:gd name="T137" fmla="*/ 76 w 76"/>
                <a:gd name="T138" fmla="*/ 86 h 8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 h="86">
                  <a:moveTo>
                    <a:pt x="26" y="0"/>
                  </a:moveTo>
                  <a:lnTo>
                    <a:pt x="20" y="6"/>
                  </a:lnTo>
                  <a:lnTo>
                    <a:pt x="14" y="6"/>
                  </a:lnTo>
                  <a:lnTo>
                    <a:pt x="12" y="6"/>
                  </a:lnTo>
                  <a:lnTo>
                    <a:pt x="8" y="10"/>
                  </a:lnTo>
                  <a:lnTo>
                    <a:pt x="8" y="14"/>
                  </a:lnTo>
                  <a:lnTo>
                    <a:pt x="6" y="16"/>
                  </a:lnTo>
                  <a:lnTo>
                    <a:pt x="4" y="16"/>
                  </a:lnTo>
                  <a:lnTo>
                    <a:pt x="4" y="20"/>
                  </a:lnTo>
                  <a:lnTo>
                    <a:pt x="4" y="30"/>
                  </a:lnTo>
                  <a:lnTo>
                    <a:pt x="2" y="34"/>
                  </a:lnTo>
                  <a:lnTo>
                    <a:pt x="0" y="40"/>
                  </a:lnTo>
                  <a:lnTo>
                    <a:pt x="0" y="46"/>
                  </a:lnTo>
                  <a:lnTo>
                    <a:pt x="0" y="50"/>
                  </a:lnTo>
                  <a:lnTo>
                    <a:pt x="0" y="56"/>
                  </a:lnTo>
                  <a:lnTo>
                    <a:pt x="0" y="62"/>
                  </a:lnTo>
                  <a:lnTo>
                    <a:pt x="6" y="60"/>
                  </a:lnTo>
                  <a:lnTo>
                    <a:pt x="8" y="60"/>
                  </a:lnTo>
                  <a:lnTo>
                    <a:pt x="10" y="60"/>
                  </a:lnTo>
                  <a:lnTo>
                    <a:pt x="12" y="60"/>
                  </a:lnTo>
                  <a:lnTo>
                    <a:pt x="14" y="64"/>
                  </a:lnTo>
                  <a:lnTo>
                    <a:pt x="16" y="54"/>
                  </a:lnTo>
                  <a:lnTo>
                    <a:pt x="18" y="52"/>
                  </a:lnTo>
                  <a:lnTo>
                    <a:pt x="20" y="54"/>
                  </a:lnTo>
                  <a:lnTo>
                    <a:pt x="24" y="58"/>
                  </a:lnTo>
                  <a:lnTo>
                    <a:pt x="28" y="60"/>
                  </a:lnTo>
                  <a:lnTo>
                    <a:pt x="30" y="60"/>
                  </a:lnTo>
                  <a:lnTo>
                    <a:pt x="32" y="60"/>
                  </a:lnTo>
                  <a:lnTo>
                    <a:pt x="34" y="62"/>
                  </a:lnTo>
                  <a:lnTo>
                    <a:pt x="38" y="64"/>
                  </a:lnTo>
                  <a:lnTo>
                    <a:pt x="44" y="64"/>
                  </a:lnTo>
                  <a:lnTo>
                    <a:pt x="48" y="68"/>
                  </a:lnTo>
                  <a:lnTo>
                    <a:pt x="52" y="72"/>
                  </a:lnTo>
                  <a:lnTo>
                    <a:pt x="56" y="78"/>
                  </a:lnTo>
                  <a:lnTo>
                    <a:pt x="58" y="82"/>
                  </a:lnTo>
                  <a:lnTo>
                    <a:pt x="62" y="86"/>
                  </a:lnTo>
                  <a:lnTo>
                    <a:pt x="64" y="84"/>
                  </a:lnTo>
                  <a:lnTo>
                    <a:pt x="68" y="86"/>
                  </a:lnTo>
                  <a:lnTo>
                    <a:pt x="76" y="82"/>
                  </a:lnTo>
                  <a:lnTo>
                    <a:pt x="76" y="78"/>
                  </a:lnTo>
                  <a:lnTo>
                    <a:pt x="68" y="74"/>
                  </a:lnTo>
                  <a:lnTo>
                    <a:pt x="66" y="72"/>
                  </a:lnTo>
                  <a:lnTo>
                    <a:pt x="64" y="68"/>
                  </a:lnTo>
                  <a:lnTo>
                    <a:pt x="62" y="64"/>
                  </a:lnTo>
                  <a:lnTo>
                    <a:pt x="62" y="62"/>
                  </a:lnTo>
                  <a:lnTo>
                    <a:pt x="62" y="60"/>
                  </a:lnTo>
                  <a:lnTo>
                    <a:pt x="58" y="58"/>
                  </a:lnTo>
                  <a:lnTo>
                    <a:pt x="52" y="56"/>
                  </a:lnTo>
                  <a:lnTo>
                    <a:pt x="52" y="52"/>
                  </a:lnTo>
                  <a:lnTo>
                    <a:pt x="50" y="46"/>
                  </a:lnTo>
                  <a:lnTo>
                    <a:pt x="46" y="46"/>
                  </a:lnTo>
                  <a:lnTo>
                    <a:pt x="44" y="46"/>
                  </a:lnTo>
                  <a:lnTo>
                    <a:pt x="40" y="42"/>
                  </a:lnTo>
                  <a:lnTo>
                    <a:pt x="38" y="36"/>
                  </a:lnTo>
                  <a:lnTo>
                    <a:pt x="36" y="38"/>
                  </a:lnTo>
                  <a:lnTo>
                    <a:pt x="34" y="38"/>
                  </a:lnTo>
                  <a:lnTo>
                    <a:pt x="34" y="36"/>
                  </a:lnTo>
                  <a:lnTo>
                    <a:pt x="30" y="34"/>
                  </a:lnTo>
                  <a:lnTo>
                    <a:pt x="28" y="26"/>
                  </a:lnTo>
                  <a:lnTo>
                    <a:pt x="28" y="18"/>
                  </a:lnTo>
                  <a:lnTo>
                    <a:pt x="28" y="8"/>
                  </a:lnTo>
                  <a:lnTo>
                    <a:pt x="26"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0" name="Freeform 642">
              <a:extLst>
                <a:ext uri="{FF2B5EF4-FFF2-40B4-BE49-F238E27FC236}">
                  <a16:creationId xmlns:a16="http://schemas.microsoft.com/office/drawing/2014/main" id="{4D13DC4A-0660-42AC-9F2E-A9314CAB339D}"/>
                </a:ext>
              </a:extLst>
            </p:cNvPr>
            <p:cNvSpPr>
              <a:spLocks noEditPoints="1"/>
            </p:cNvSpPr>
            <p:nvPr/>
          </p:nvSpPr>
          <p:spPr bwMode="gray">
            <a:xfrm>
              <a:off x="4553303" y="4189981"/>
              <a:ext cx="72980" cy="63565"/>
            </a:xfrm>
            <a:custGeom>
              <a:avLst/>
              <a:gdLst>
                <a:gd name="T0" fmla="*/ 2147483647 w 40"/>
                <a:gd name="T1" fmla="*/ 2147483647 h 34"/>
                <a:gd name="T2" fmla="*/ 2147483647 w 40"/>
                <a:gd name="T3" fmla="*/ 2147483647 h 34"/>
                <a:gd name="T4" fmla="*/ 2147483647 w 40"/>
                <a:gd name="T5" fmla="*/ 2147483647 h 34"/>
                <a:gd name="T6" fmla="*/ 2147483647 w 40"/>
                <a:gd name="T7" fmla="*/ 2147483647 h 34"/>
                <a:gd name="T8" fmla="*/ 2147483647 w 40"/>
                <a:gd name="T9" fmla="*/ 2147483647 h 34"/>
                <a:gd name="T10" fmla="*/ 2147483647 w 40"/>
                <a:gd name="T11" fmla="*/ 2147483647 h 34"/>
                <a:gd name="T12" fmla="*/ 2147483647 w 40"/>
                <a:gd name="T13" fmla="*/ 2147483647 h 34"/>
                <a:gd name="T14" fmla="*/ 2147483647 w 40"/>
                <a:gd name="T15" fmla="*/ 2147483647 h 34"/>
                <a:gd name="T16" fmla="*/ 2147483647 w 40"/>
                <a:gd name="T17" fmla="*/ 0 h 34"/>
                <a:gd name="T18" fmla="*/ 2147483647 w 40"/>
                <a:gd name="T19" fmla="*/ 0 h 34"/>
                <a:gd name="T20" fmla="*/ 0 w 40"/>
                <a:gd name="T21" fmla="*/ 2147483647 h 34"/>
                <a:gd name="T22" fmla="*/ 2147483647 w 40"/>
                <a:gd name="T23" fmla="*/ 2147483647 h 34"/>
                <a:gd name="T24" fmla="*/ 2147483647 w 40"/>
                <a:gd name="T25" fmla="*/ 2147483647 h 34"/>
                <a:gd name="T26" fmla="*/ 2147483647 w 40"/>
                <a:gd name="T27" fmla="*/ 2147483647 h 34"/>
                <a:gd name="T28" fmla="*/ 2147483647 w 40"/>
                <a:gd name="T29" fmla="*/ 2147483647 h 34"/>
                <a:gd name="T30" fmla="*/ 2147483647 w 40"/>
                <a:gd name="T31" fmla="*/ 0 h 34"/>
                <a:gd name="T32" fmla="*/ 2147483647 w 40"/>
                <a:gd name="T33" fmla="*/ 0 h 34"/>
                <a:gd name="T34" fmla="*/ 2147483647 w 40"/>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34"/>
                <a:gd name="T56" fmla="*/ 40 w 40"/>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34">
                  <a:moveTo>
                    <a:pt x="18" y="20"/>
                  </a:moveTo>
                  <a:lnTo>
                    <a:pt x="18" y="20"/>
                  </a:lnTo>
                  <a:lnTo>
                    <a:pt x="18" y="28"/>
                  </a:lnTo>
                  <a:lnTo>
                    <a:pt x="16" y="34"/>
                  </a:lnTo>
                  <a:lnTo>
                    <a:pt x="40" y="34"/>
                  </a:lnTo>
                  <a:lnTo>
                    <a:pt x="40" y="18"/>
                  </a:lnTo>
                  <a:lnTo>
                    <a:pt x="18" y="20"/>
                  </a:lnTo>
                  <a:close/>
                  <a:moveTo>
                    <a:pt x="4" y="0"/>
                  </a:moveTo>
                  <a:lnTo>
                    <a:pt x="4" y="0"/>
                  </a:lnTo>
                  <a:lnTo>
                    <a:pt x="0" y="4"/>
                  </a:lnTo>
                  <a:lnTo>
                    <a:pt x="2" y="6"/>
                  </a:lnTo>
                  <a:lnTo>
                    <a:pt x="6" y="6"/>
                  </a:lnTo>
                  <a:lnTo>
                    <a:pt x="6" y="2"/>
                  </a:lnTo>
                  <a:lnTo>
                    <a:pt x="6"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1" name="Freeform 643">
              <a:extLst>
                <a:ext uri="{FF2B5EF4-FFF2-40B4-BE49-F238E27FC236}">
                  <a16:creationId xmlns:a16="http://schemas.microsoft.com/office/drawing/2014/main" id="{E1115B10-F9A6-4BE6-814A-23DB1FAF553E}"/>
                </a:ext>
              </a:extLst>
            </p:cNvPr>
            <p:cNvSpPr>
              <a:spLocks/>
            </p:cNvSpPr>
            <p:nvPr/>
          </p:nvSpPr>
          <p:spPr bwMode="gray">
            <a:xfrm>
              <a:off x="2491037" y="3909819"/>
              <a:ext cx="63564" cy="37670"/>
            </a:xfrm>
            <a:custGeom>
              <a:avLst/>
              <a:gdLst>
                <a:gd name="T0" fmla="*/ 2147483647 w 34"/>
                <a:gd name="T1" fmla="*/ 2147483647 h 20"/>
                <a:gd name="T2" fmla="*/ 2147483647 w 34"/>
                <a:gd name="T3" fmla="*/ 2147483647 h 20"/>
                <a:gd name="T4" fmla="*/ 2147483647 w 34"/>
                <a:gd name="T5" fmla="*/ 2147483647 h 20"/>
                <a:gd name="T6" fmla="*/ 2147483647 w 34"/>
                <a:gd name="T7" fmla="*/ 2147483647 h 20"/>
                <a:gd name="T8" fmla="*/ 2147483647 w 34"/>
                <a:gd name="T9" fmla="*/ 2147483647 h 20"/>
                <a:gd name="T10" fmla="*/ 2147483647 w 34"/>
                <a:gd name="T11" fmla="*/ 2147483647 h 20"/>
                <a:gd name="T12" fmla="*/ 2147483647 w 34"/>
                <a:gd name="T13" fmla="*/ 2147483647 h 20"/>
                <a:gd name="T14" fmla="*/ 2147483647 w 34"/>
                <a:gd name="T15" fmla="*/ 2147483647 h 20"/>
                <a:gd name="T16" fmla="*/ 2147483647 w 34"/>
                <a:gd name="T17" fmla="*/ 2147483647 h 20"/>
                <a:gd name="T18" fmla="*/ 2147483647 w 34"/>
                <a:gd name="T19" fmla="*/ 2147483647 h 20"/>
                <a:gd name="T20" fmla="*/ 2147483647 w 34"/>
                <a:gd name="T21" fmla="*/ 2147483647 h 20"/>
                <a:gd name="T22" fmla="*/ 2147483647 w 34"/>
                <a:gd name="T23" fmla="*/ 2147483647 h 20"/>
                <a:gd name="T24" fmla="*/ 2147483647 w 34"/>
                <a:gd name="T25" fmla="*/ 2147483647 h 20"/>
                <a:gd name="T26" fmla="*/ 2147483647 w 34"/>
                <a:gd name="T27" fmla="*/ 2147483647 h 20"/>
                <a:gd name="T28" fmla="*/ 2147483647 w 34"/>
                <a:gd name="T29" fmla="*/ 2147483647 h 20"/>
                <a:gd name="T30" fmla="*/ 2147483647 w 34"/>
                <a:gd name="T31" fmla="*/ 2147483647 h 20"/>
                <a:gd name="T32" fmla="*/ 2147483647 w 34"/>
                <a:gd name="T33" fmla="*/ 2147483647 h 20"/>
                <a:gd name="T34" fmla="*/ 2147483647 w 34"/>
                <a:gd name="T35" fmla="*/ 2147483647 h 20"/>
                <a:gd name="T36" fmla="*/ 2147483647 w 34"/>
                <a:gd name="T37" fmla="*/ 2147483647 h 20"/>
                <a:gd name="T38" fmla="*/ 2147483647 w 34"/>
                <a:gd name="T39" fmla="*/ 0 h 20"/>
                <a:gd name="T40" fmla="*/ 2147483647 w 34"/>
                <a:gd name="T41" fmla="*/ 0 h 20"/>
                <a:gd name="T42" fmla="*/ 2147483647 w 34"/>
                <a:gd name="T43" fmla="*/ 0 h 20"/>
                <a:gd name="T44" fmla="*/ 2147483647 w 34"/>
                <a:gd name="T45" fmla="*/ 2147483647 h 20"/>
                <a:gd name="T46" fmla="*/ 2147483647 w 34"/>
                <a:gd name="T47" fmla="*/ 2147483647 h 20"/>
                <a:gd name="T48" fmla="*/ 2147483647 w 34"/>
                <a:gd name="T49" fmla="*/ 2147483647 h 20"/>
                <a:gd name="T50" fmla="*/ 2147483647 w 34"/>
                <a:gd name="T51" fmla="*/ 2147483647 h 20"/>
                <a:gd name="T52" fmla="*/ 2147483647 w 34"/>
                <a:gd name="T53" fmla="*/ 2147483647 h 20"/>
                <a:gd name="T54" fmla="*/ 2147483647 w 34"/>
                <a:gd name="T55" fmla="*/ 2147483647 h 20"/>
                <a:gd name="T56" fmla="*/ 2147483647 w 34"/>
                <a:gd name="T57" fmla="*/ 2147483647 h 20"/>
                <a:gd name="T58" fmla="*/ 0 w 34"/>
                <a:gd name="T59" fmla="*/ 2147483647 h 20"/>
                <a:gd name="T60" fmla="*/ 0 w 34"/>
                <a:gd name="T61" fmla="*/ 2147483647 h 20"/>
                <a:gd name="T62" fmla="*/ 2147483647 w 34"/>
                <a:gd name="T63" fmla="*/ 2147483647 h 20"/>
                <a:gd name="T64" fmla="*/ 2147483647 w 34"/>
                <a:gd name="T65" fmla="*/ 2147483647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
                <a:gd name="T100" fmla="*/ 0 h 20"/>
                <a:gd name="T101" fmla="*/ 34 w 34"/>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 h="20">
                  <a:moveTo>
                    <a:pt x="2" y="10"/>
                  </a:moveTo>
                  <a:lnTo>
                    <a:pt x="8" y="16"/>
                  </a:lnTo>
                  <a:lnTo>
                    <a:pt x="14" y="16"/>
                  </a:lnTo>
                  <a:lnTo>
                    <a:pt x="22" y="16"/>
                  </a:lnTo>
                  <a:lnTo>
                    <a:pt x="24" y="18"/>
                  </a:lnTo>
                  <a:lnTo>
                    <a:pt x="30" y="20"/>
                  </a:lnTo>
                  <a:lnTo>
                    <a:pt x="30" y="18"/>
                  </a:lnTo>
                  <a:lnTo>
                    <a:pt x="34" y="18"/>
                  </a:lnTo>
                  <a:lnTo>
                    <a:pt x="34" y="8"/>
                  </a:lnTo>
                  <a:lnTo>
                    <a:pt x="32" y="8"/>
                  </a:lnTo>
                  <a:lnTo>
                    <a:pt x="28" y="6"/>
                  </a:lnTo>
                  <a:lnTo>
                    <a:pt x="24" y="4"/>
                  </a:lnTo>
                  <a:lnTo>
                    <a:pt x="22" y="2"/>
                  </a:lnTo>
                  <a:lnTo>
                    <a:pt x="16" y="0"/>
                  </a:lnTo>
                  <a:lnTo>
                    <a:pt x="12" y="0"/>
                  </a:lnTo>
                  <a:lnTo>
                    <a:pt x="8" y="2"/>
                  </a:lnTo>
                  <a:lnTo>
                    <a:pt x="6" y="4"/>
                  </a:lnTo>
                  <a:lnTo>
                    <a:pt x="6" y="6"/>
                  </a:lnTo>
                  <a:lnTo>
                    <a:pt x="4" y="8"/>
                  </a:lnTo>
                  <a:lnTo>
                    <a:pt x="2" y="8"/>
                  </a:lnTo>
                  <a:lnTo>
                    <a:pt x="0" y="8"/>
                  </a:lnTo>
                  <a:lnTo>
                    <a:pt x="2"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2" name="Freeform 644">
              <a:extLst>
                <a:ext uri="{FF2B5EF4-FFF2-40B4-BE49-F238E27FC236}">
                  <a16:creationId xmlns:a16="http://schemas.microsoft.com/office/drawing/2014/main" id="{E906F995-F1CF-475A-B7BC-ACBC25C08C63}"/>
                </a:ext>
              </a:extLst>
            </p:cNvPr>
            <p:cNvSpPr>
              <a:spLocks noEditPoints="1"/>
            </p:cNvSpPr>
            <p:nvPr/>
          </p:nvSpPr>
          <p:spPr bwMode="gray">
            <a:xfrm>
              <a:off x="4904073" y="3446024"/>
              <a:ext cx="233064" cy="268389"/>
            </a:xfrm>
            <a:custGeom>
              <a:avLst/>
              <a:gdLst>
                <a:gd name="T0" fmla="*/ 0 w 126"/>
                <a:gd name="T1" fmla="*/ 2147483647 h 144"/>
                <a:gd name="T2" fmla="*/ 2147483647 w 126"/>
                <a:gd name="T3" fmla="*/ 2147483647 h 144"/>
                <a:gd name="T4" fmla="*/ 2147483647 w 126"/>
                <a:gd name="T5" fmla="*/ 2147483647 h 144"/>
                <a:gd name="T6" fmla="*/ 0 w 126"/>
                <a:gd name="T7" fmla="*/ 2147483647 h 144"/>
                <a:gd name="T8" fmla="*/ 2147483647 w 126"/>
                <a:gd name="T9" fmla="*/ 2147483647 h 144"/>
                <a:gd name="T10" fmla="*/ 2147483647 w 126"/>
                <a:gd name="T11" fmla="*/ 2147483647 h 144"/>
                <a:gd name="T12" fmla="*/ 2147483647 w 126"/>
                <a:gd name="T13" fmla="*/ 2147483647 h 144"/>
                <a:gd name="T14" fmla="*/ 2147483647 w 126"/>
                <a:gd name="T15" fmla="*/ 2147483647 h 144"/>
                <a:gd name="T16" fmla="*/ 2147483647 w 126"/>
                <a:gd name="T17" fmla="*/ 2147483647 h 144"/>
                <a:gd name="T18" fmla="*/ 2147483647 w 126"/>
                <a:gd name="T19" fmla="*/ 2147483647 h 144"/>
                <a:gd name="T20" fmla="*/ 2147483647 w 126"/>
                <a:gd name="T21" fmla="*/ 2147483647 h 144"/>
                <a:gd name="T22" fmla="*/ 2147483647 w 126"/>
                <a:gd name="T23" fmla="*/ 2147483647 h 144"/>
                <a:gd name="T24" fmla="*/ 2147483647 w 126"/>
                <a:gd name="T25" fmla="*/ 2147483647 h 144"/>
                <a:gd name="T26" fmla="*/ 2147483647 w 126"/>
                <a:gd name="T27" fmla="*/ 2147483647 h 144"/>
                <a:gd name="T28" fmla="*/ 2147483647 w 126"/>
                <a:gd name="T29" fmla="*/ 2147483647 h 144"/>
                <a:gd name="T30" fmla="*/ 2147483647 w 126"/>
                <a:gd name="T31" fmla="*/ 2147483647 h 144"/>
                <a:gd name="T32" fmla="*/ 2147483647 w 126"/>
                <a:gd name="T33" fmla="*/ 2147483647 h 144"/>
                <a:gd name="T34" fmla="*/ 2147483647 w 126"/>
                <a:gd name="T35" fmla="*/ 2147483647 h 144"/>
                <a:gd name="T36" fmla="*/ 2147483647 w 126"/>
                <a:gd name="T37" fmla="*/ 2147483647 h 144"/>
                <a:gd name="T38" fmla="*/ 2147483647 w 126"/>
                <a:gd name="T39" fmla="*/ 2147483647 h 144"/>
                <a:gd name="T40" fmla="*/ 2147483647 w 126"/>
                <a:gd name="T41" fmla="*/ 2147483647 h 144"/>
                <a:gd name="T42" fmla="*/ 2147483647 w 126"/>
                <a:gd name="T43" fmla="*/ 2147483647 h 144"/>
                <a:gd name="T44" fmla="*/ 2147483647 w 126"/>
                <a:gd name="T45" fmla="*/ 2147483647 h 144"/>
                <a:gd name="T46" fmla="*/ 2147483647 w 126"/>
                <a:gd name="T47" fmla="*/ 2147483647 h 144"/>
                <a:gd name="T48" fmla="*/ 2147483647 w 126"/>
                <a:gd name="T49" fmla="*/ 2147483647 h 144"/>
                <a:gd name="T50" fmla="*/ 2147483647 w 126"/>
                <a:gd name="T51" fmla="*/ 2147483647 h 144"/>
                <a:gd name="T52" fmla="*/ 2147483647 w 126"/>
                <a:gd name="T53" fmla="*/ 0 h 144"/>
                <a:gd name="T54" fmla="*/ 2147483647 w 126"/>
                <a:gd name="T55" fmla="*/ 2147483647 h 144"/>
                <a:gd name="T56" fmla="*/ 2147483647 w 126"/>
                <a:gd name="T57" fmla="*/ 2147483647 h 144"/>
                <a:gd name="T58" fmla="*/ 2147483647 w 126"/>
                <a:gd name="T59" fmla="*/ 2147483647 h 144"/>
                <a:gd name="T60" fmla="*/ 2147483647 w 126"/>
                <a:gd name="T61" fmla="*/ 2147483647 h 144"/>
                <a:gd name="T62" fmla="*/ 2147483647 w 126"/>
                <a:gd name="T63" fmla="*/ 2147483647 h 144"/>
                <a:gd name="T64" fmla="*/ 2147483647 w 126"/>
                <a:gd name="T65" fmla="*/ 2147483647 h 144"/>
                <a:gd name="T66" fmla="*/ 2147483647 w 126"/>
                <a:gd name="T67" fmla="*/ 2147483647 h 144"/>
                <a:gd name="T68" fmla="*/ 2147483647 w 126"/>
                <a:gd name="T69" fmla="*/ 2147483647 h 144"/>
                <a:gd name="T70" fmla="*/ 2147483647 w 126"/>
                <a:gd name="T71" fmla="*/ 2147483647 h 144"/>
                <a:gd name="T72" fmla="*/ 2147483647 w 126"/>
                <a:gd name="T73" fmla="*/ 2147483647 h 144"/>
                <a:gd name="T74" fmla="*/ 2147483647 w 126"/>
                <a:gd name="T75" fmla="*/ 2147483647 h 144"/>
                <a:gd name="T76" fmla="*/ 0 w 126"/>
                <a:gd name="T77" fmla="*/ 0 h 144"/>
                <a:gd name="T78" fmla="*/ 2147483647 w 126"/>
                <a:gd name="T79" fmla="*/ 2147483647 h 144"/>
                <a:gd name="T80" fmla="*/ 2147483647 w 126"/>
                <a:gd name="T81" fmla="*/ 2147483647 h 144"/>
                <a:gd name="T82" fmla="*/ 2147483647 w 126"/>
                <a:gd name="T83" fmla="*/ 2147483647 h 1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6"/>
                <a:gd name="T127" fmla="*/ 0 h 144"/>
                <a:gd name="T128" fmla="*/ 126 w 126"/>
                <a:gd name="T129" fmla="*/ 144 h 1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6" h="144">
                  <a:moveTo>
                    <a:pt x="0" y="0"/>
                  </a:moveTo>
                  <a:lnTo>
                    <a:pt x="0" y="0"/>
                  </a:lnTo>
                  <a:lnTo>
                    <a:pt x="0" y="4"/>
                  </a:lnTo>
                  <a:lnTo>
                    <a:pt x="0" y="8"/>
                  </a:lnTo>
                  <a:lnTo>
                    <a:pt x="4" y="14"/>
                  </a:lnTo>
                  <a:lnTo>
                    <a:pt x="4" y="16"/>
                  </a:lnTo>
                  <a:lnTo>
                    <a:pt x="2" y="18"/>
                  </a:lnTo>
                  <a:lnTo>
                    <a:pt x="0" y="22"/>
                  </a:lnTo>
                  <a:lnTo>
                    <a:pt x="0" y="28"/>
                  </a:lnTo>
                  <a:lnTo>
                    <a:pt x="0" y="32"/>
                  </a:lnTo>
                  <a:lnTo>
                    <a:pt x="2" y="34"/>
                  </a:lnTo>
                  <a:lnTo>
                    <a:pt x="4" y="38"/>
                  </a:lnTo>
                  <a:lnTo>
                    <a:pt x="6" y="140"/>
                  </a:lnTo>
                  <a:lnTo>
                    <a:pt x="86" y="142"/>
                  </a:lnTo>
                  <a:lnTo>
                    <a:pt x="90" y="138"/>
                  </a:lnTo>
                  <a:lnTo>
                    <a:pt x="90" y="142"/>
                  </a:lnTo>
                  <a:lnTo>
                    <a:pt x="100" y="142"/>
                  </a:lnTo>
                  <a:lnTo>
                    <a:pt x="102" y="144"/>
                  </a:lnTo>
                  <a:lnTo>
                    <a:pt x="106" y="142"/>
                  </a:lnTo>
                  <a:lnTo>
                    <a:pt x="108" y="136"/>
                  </a:lnTo>
                  <a:lnTo>
                    <a:pt x="112" y="134"/>
                  </a:lnTo>
                  <a:lnTo>
                    <a:pt x="114" y="126"/>
                  </a:lnTo>
                  <a:lnTo>
                    <a:pt x="118" y="126"/>
                  </a:lnTo>
                  <a:lnTo>
                    <a:pt x="126" y="124"/>
                  </a:lnTo>
                  <a:lnTo>
                    <a:pt x="122" y="116"/>
                  </a:lnTo>
                  <a:lnTo>
                    <a:pt x="120" y="108"/>
                  </a:lnTo>
                  <a:lnTo>
                    <a:pt x="124" y="108"/>
                  </a:lnTo>
                  <a:lnTo>
                    <a:pt x="124" y="106"/>
                  </a:lnTo>
                  <a:lnTo>
                    <a:pt x="124" y="104"/>
                  </a:lnTo>
                  <a:lnTo>
                    <a:pt x="120" y="98"/>
                  </a:lnTo>
                  <a:lnTo>
                    <a:pt x="116" y="90"/>
                  </a:lnTo>
                  <a:lnTo>
                    <a:pt x="110" y="78"/>
                  </a:lnTo>
                  <a:lnTo>
                    <a:pt x="106" y="66"/>
                  </a:lnTo>
                  <a:lnTo>
                    <a:pt x="104" y="60"/>
                  </a:lnTo>
                  <a:lnTo>
                    <a:pt x="100" y="56"/>
                  </a:lnTo>
                  <a:lnTo>
                    <a:pt x="100" y="52"/>
                  </a:lnTo>
                  <a:lnTo>
                    <a:pt x="100" y="48"/>
                  </a:lnTo>
                  <a:lnTo>
                    <a:pt x="96" y="44"/>
                  </a:lnTo>
                  <a:lnTo>
                    <a:pt x="92" y="38"/>
                  </a:lnTo>
                  <a:lnTo>
                    <a:pt x="92" y="34"/>
                  </a:lnTo>
                  <a:lnTo>
                    <a:pt x="92" y="30"/>
                  </a:lnTo>
                  <a:lnTo>
                    <a:pt x="96" y="34"/>
                  </a:lnTo>
                  <a:lnTo>
                    <a:pt x="96" y="36"/>
                  </a:lnTo>
                  <a:lnTo>
                    <a:pt x="98" y="44"/>
                  </a:lnTo>
                  <a:lnTo>
                    <a:pt x="106" y="52"/>
                  </a:lnTo>
                  <a:lnTo>
                    <a:pt x="110" y="50"/>
                  </a:lnTo>
                  <a:lnTo>
                    <a:pt x="112" y="50"/>
                  </a:lnTo>
                  <a:lnTo>
                    <a:pt x="112" y="44"/>
                  </a:lnTo>
                  <a:lnTo>
                    <a:pt x="114" y="36"/>
                  </a:lnTo>
                  <a:lnTo>
                    <a:pt x="116" y="32"/>
                  </a:lnTo>
                  <a:lnTo>
                    <a:pt x="114" y="12"/>
                  </a:lnTo>
                  <a:lnTo>
                    <a:pt x="112" y="6"/>
                  </a:lnTo>
                  <a:lnTo>
                    <a:pt x="110" y="2"/>
                  </a:lnTo>
                  <a:lnTo>
                    <a:pt x="102" y="2"/>
                  </a:lnTo>
                  <a:lnTo>
                    <a:pt x="92" y="2"/>
                  </a:lnTo>
                  <a:lnTo>
                    <a:pt x="86" y="4"/>
                  </a:lnTo>
                  <a:lnTo>
                    <a:pt x="84" y="2"/>
                  </a:lnTo>
                  <a:lnTo>
                    <a:pt x="82" y="0"/>
                  </a:lnTo>
                  <a:lnTo>
                    <a:pt x="78" y="0"/>
                  </a:lnTo>
                  <a:lnTo>
                    <a:pt x="78" y="2"/>
                  </a:lnTo>
                  <a:lnTo>
                    <a:pt x="80" y="4"/>
                  </a:lnTo>
                  <a:lnTo>
                    <a:pt x="76" y="4"/>
                  </a:lnTo>
                  <a:lnTo>
                    <a:pt x="76" y="2"/>
                  </a:lnTo>
                  <a:lnTo>
                    <a:pt x="72" y="2"/>
                  </a:lnTo>
                  <a:lnTo>
                    <a:pt x="70" y="4"/>
                  </a:lnTo>
                  <a:lnTo>
                    <a:pt x="64" y="6"/>
                  </a:lnTo>
                  <a:lnTo>
                    <a:pt x="52" y="4"/>
                  </a:lnTo>
                  <a:lnTo>
                    <a:pt x="46" y="4"/>
                  </a:lnTo>
                  <a:lnTo>
                    <a:pt x="46" y="6"/>
                  </a:lnTo>
                  <a:lnTo>
                    <a:pt x="42" y="4"/>
                  </a:lnTo>
                  <a:lnTo>
                    <a:pt x="40" y="2"/>
                  </a:lnTo>
                  <a:lnTo>
                    <a:pt x="38" y="4"/>
                  </a:lnTo>
                  <a:lnTo>
                    <a:pt x="38" y="6"/>
                  </a:lnTo>
                  <a:lnTo>
                    <a:pt x="38" y="8"/>
                  </a:lnTo>
                  <a:lnTo>
                    <a:pt x="30" y="14"/>
                  </a:lnTo>
                  <a:lnTo>
                    <a:pt x="24" y="8"/>
                  </a:lnTo>
                  <a:lnTo>
                    <a:pt x="16" y="4"/>
                  </a:lnTo>
                  <a:lnTo>
                    <a:pt x="12" y="4"/>
                  </a:lnTo>
                  <a:lnTo>
                    <a:pt x="10" y="6"/>
                  </a:lnTo>
                  <a:lnTo>
                    <a:pt x="8" y="6"/>
                  </a:lnTo>
                  <a:lnTo>
                    <a:pt x="6" y="6"/>
                  </a:lnTo>
                  <a:lnTo>
                    <a:pt x="6" y="4"/>
                  </a:lnTo>
                  <a:lnTo>
                    <a:pt x="0" y="0"/>
                  </a:lnTo>
                  <a:close/>
                  <a:moveTo>
                    <a:pt x="92" y="24"/>
                  </a:moveTo>
                  <a:lnTo>
                    <a:pt x="92" y="24"/>
                  </a:lnTo>
                  <a:lnTo>
                    <a:pt x="92" y="26"/>
                  </a:lnTo>
                  <a:lnTo>
                    <a:pt x="90" y="28"/>
                  </a:lnTo>
                  <a:lnTo>
                    <a:pt x="90" y="24"/>
                  </a:lnTo>
                  <a:lnTo>
                    <a:pt x="92" y="2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3" name="Freeform 645">
              <a:extLst>
                <a:ext uri="{FF2B5EF4-FFF2-40B4-BE49-F238E27FC236}">
                  <a16:creationId xmlns:a16="http://schemas.microsoft.com/office/drawing/2014/main" id="{2B91E488-173D-4562-A14A-125ADAC0968B}"/>
                </a:ext>
              </a:extLst>
            </p:cNvPr>
            <p:cNvSpPr>
              <a:spLocks noEditPoints="1"/>
            </p:cNvSpPr>
            <p:nvPr/>
          </p:nvSpPr>
          <p:spPr bwMode="gray">
            <a:xfrm>
              <a:off x="2443953" y="4258254"/>
              <a:ext cx="355482" cy="169510"/>
            </a:xfrm>
            <a:custGeom>
              <a:avLst/>
              <a:gdLst>
                <a:gd name="T0" fmla="*/ 2147483647 w 192"/>
                <a:gd name="T1" fmla="*/ 2147483647 h 92"/>
                <a:gd name="T2" fmla="*/ 2147483647 w 192"/>
                <a:gd name="T3" fmla="*/ 2147483647 h 92"/>
                <a:gd name="T4" fmla="*/ 2147483647 w 192"/>
                <a:gd name="T5" fmla="*/ 2147483647 h 92"/>
                <a:gd name="T6" fmla="*/ 2147483647 w 192"/>
                <a:gd name="T7" fmla="*/ 2147483647 h 92"/>
                <a:gd name="T8" fmla="*/ 2147483647 w 192"/>
                <a:gd name="T9" fmla="*/ 2147483647 h 92"/>
                <a:gd name="T10" fmla="*/ 2147483647 w 192"/>
                <a:gd name="T11" fmla="*/ 2147483647 h 92"/>
                <a:gd name="T12" fmla="*/ 2147483647 w 192"/>
                <a:gd name="T13" fmla="*/ 2147483647 h 92"/>
                <a:gd name="T14" fmla="*/ 2147483647 w 192"/>
                <a:gd name="T15" fmla="*/ 2147483647 h 92"/>
                <a:gd name="T16" fmla="*/ 2147483647 w 192"/>
                <a:gd name="T17" fmla="*/ 2147483647 h 92"/>
                <a:gd name="T18" fmla="*/ 2147483647 w 192"/>
                <a:gd name="T19" fmla="*/ 2147483647 h 92"/>
                <a:gd name="T20" fmla="*/ 2147483647 w 192"/>
                <a:gd name="T21" fmla="*/ 2147483647 h 92"/>
                <a:gd name="T22" fmla="*/ 2147483647 w 192"/>
                <a:gd name="T23" fmla="*/ 2147483647 h 92"/>
                <a:gd name="T24" fmla="*/ 2147483647 w 192"/>
                <a:gd name="T25" fmla="*/ 2147483647 h 92"/>
                <a:gd name="T26" fmla="*/ 2147483647 w 192"/>
                <a:gd name="T27" fmla="*/ 2147483647 h 92"/>
                <a:gd name="T28" fmla="*/ 2147483647 w 192"/>
                <a:gd name="T29" fmla="*/ 2147483647 h 92"/>
                <a:gd name="T30" fmla="*/ 2147483647 w 192"/>
                <a:gd name="T31" fmla="*/ 2147483647 h 92"/>
                <a:gd name="T32" fmla="*/ 2147483647 w 192"/>
                <a:gd name="T33" fmla="*/ 2147483647 h 92"/>
                <a:gd name="T34" fmla="*/ 2147483647 w 192"/>
                <a:gd name="T35" fmla="*/ 2147483647 h 92"/>
                <a:gd name="T36" fmla="*/ 2147483647 w 192"/>
                <a:gd name="T37" fmla="*/ 2147483647 h 92"/>
                <a:gd name="T38" fmla="*/ 2147483647 w 192"/>
                <a:gd name="T39" fmla="*/ 2147483647 h 92"/>
                <a:gd name="T40" fmla="*/ 2147483647 w 192"/>
                <a:gd name="T41" fmla="*/ 2147483647 h 92"/>
                <a:gd name="T42" fmla="*/ 2147483647 w 192"/>
                <a:gd name="T43" fmla="*/ 2147483647 h 92"/>
                <a:gd name="T44" fmla="*/ 2147483647 w 192"/>
                <a:gd name="T45" fmla="*/ 2147483647 h 92"/>
                <a:gd name="T46" fmla="*/ 2147483647 w 192"/>
                <a:gd name="T47" fmla="*/ 2147483647 h 92"/>
                <a:gd name="T48" fmla="*/ 2147483647 w 192"/>
                <a:gd name="T49" fmla="*/ 2147483647 h 92"/>
                <a:gd name="T50" fmla="*/ 2147483647 w 192"/>
                <a:gd name="T51" fmla="*/ 2147483647 h 92"/>
                <a:gd name="T52" fmla="*/ 2147483647 w 192"/>
                <a:gd name="T53" fmla="*/ 2147483647 h 92"/>
                <a:gd name="T54" fmla="*/ 2147483647 w 192"/>
                <a:gd name="T55" fmla="*/ 0 h 92"/>
                <a:gd name="T56" fmla="*/ 2147483647 w 192"/>
                <a:gd name="T57" fmla="*/ 2147483647 h 92"/>
                <a:gd name="T58" fmla="*/ 2147483647 w 192"/>
                <a:gd name="T59" fmla="*/ 2147483647 h 92"/>
                <a:gd name="T60" fmla="*/ 2147483647 w 192"/>
                <a:gd name="T61" fmla="*/ 2147483647 h 92"/>
                <a:gd name="T62" fmla="*/ 2147483647 w 192"/>
                <a:gd name="T63" fmla="*/ 2147483647 h 92"/>
                <a:gd name="T64" fmla="*/ 2147483647 w 192"/>
                <a:gd name="T65" fmla="*/ 2147483647 h 92"/>
                <a:gd name="T66" fmla="*/ 2147483647 w 192"/>
                <a:gd name="T67" fmla="*/ 2147483647 h 92"/>
                <a:gd name="T68" fmla="*/ 2147483647 w 192"/>
                <a:gd name="T69" fmla="*/ 2147483647 h 92"/>
                <a:gd name="T70" fmla="*/ 2147483647 w 192"/>
                <a:gd name="T71" fmla="*/ 2147483647 h 92"/>
                <a:gd name="T72" fmla="*/ 2147483647 w 192"/>
                <a:gd name="T73" fmla="*/ 2147483647 h 92"/>
                <a:gd name="T74" fmla="*/ 2147483647 w 192"/>
                <a:gd name="T75" fmla="*/ 2147483647 h 92"/>
                <a:gd name="T76" fmla="*/ 2147483647 w 192"/>
                <a:gd name="T77" fmla="*/ 2147483647 h 92"/>
                <a:gd name="T78" fmla="*/ 2147483647 w 192"/>
                <a:gd name="T79" fmla="*/ 2147483647 h 92"/>
                <a:gd name="T80" fmla="*/ 2147483647 w 192"/>
                <a:gd name="T81" fmla="*/ 2147483647 h 92"/>
                <a:gd name="T82" fmla="*/ 2147483647 w 192"/>
                <a:gd name="T83" fmla="*/ 2147483647 h 92"/>
                <a:gd name="T84" fmla="*/ 2147483647 w 192"/>
                <a:gd name="T85" fmla="*/ 2147483647 h 92"/>
                <a:gd name="T86" fmla="*/ 2147483647 w 192"/>
                <a:gd name="T87" fmla="*/ 2147483647 h 92"/>
                <a:gd name="T88" fmla="*/ 2147483647 w 192"/>
                <a:gd name="T89" fmla="*/ 2147483647 h 92"/>
                <a:gd name="T90" fmla="*/ 2147483647 w 192"/>
                <a:gd name="T91" fmla="*/ 2147483647 h 92"/>
                <a:gd name="T92" fmla="*/ 2147483647 w 192"/>
                <a:gd name="T93" fmla="*/ 2147483647 h 92"/>
                <a:gd name="T94" fmla="*/ 2147483647 w 192"/>
                <a:gd name="T95" fmla="*/ 2147483647 h 92"/>
                <a:gd name="T96" fmla="*/ 0 w 192"/>
                <a:gd name="T97" fmla="*/ 2147483647 h 92"/>
                <a:gd name="T98" fmla="*/ 2147483647 w 192"/>
                <a:gd name="T99" fmla="*/ 2147483647 h 92"/>
                <a:gd name="T100" fmla="*/ 2147483647 w 192"/>
                <a:gd name="T101" fmla="*/ 2147483647 h 92"/>
                <a:gd name="T102" fmla="*/ 0 w 192"/>
                <a:gd name="T103" fmla="*/ 2147483647 h 92"/>
                <a:gd name="T104" fmla="*/ 0 w 192"/>
                <a:gd name="T105" fmla="*/ 2147483647 h 92"/>
                <a:gd name="T106" fmla="*/ 2147483647 w 192"/>
                <a:gd name="T107" fmla="*/ 2147483647 h 92"/>
                <a:gd name="T108" fmla="*/ 2147483647 w 192"/>
                <a:gd name="T109" fmla="*/ 2147483647 h 92"/>
                <a:gd name="T110" fmla="*/ 0 w 192"/>
                <a:gd name="T111" fmla="*/ 214748364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2"/>
                <a:gd name="T169" fmla="*/ 0 h 92"/>
                <a:gd name="T170" fmla="*/ 192 w 192"/>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2" h="92">
                  <a:moveTo>
                    <a:pt x="136" y="74"/>
                  </a:moveTo>
                  <a:lnTo>
                    <a:pt x="136" y="78"/>
                  </a:lnTo>
                  <a:lnTo>
                    <a:pt x="138" y="80"/>
                  </a:lnTo>
                  <a:lnTo>
                    <a:pt x="134" y="82"/>
                  </a:lnTo>
                  <a:lnTo>
                    <a:pt x="134" y="84"/>
                  </a:lnTo>
                  <a:lnTo>
                    <a:pt x="138" y="86"/>
                  </a:lnTo>
                  <a:lnTo>
                    <a:pt x="142" y="84"/>
                  </a:lnTo>
                  <a:lnTo>
                    <a:pt x="146" y="90"/>
                  </a:lnTo>
                  <a:lnTo>
                    <a:pt x="148" y="92"/>
                  </a:lnTo>
                  <a:lnTo>
                    <a:pt x="150" y="92"/>
                  </a:lnTo>
                  <a:lnTo>
                    <a:pt x="152" y="90"/>
                  </a:lnTo>
                  <a:lnTo>
                    <a:pt x="156" y="86"/>
                  </a:lnTo>
                  <a:lnTo>
                    <a:pt x="158" y="78"/>
                  </a:lnTo>
                  <a:lnTo>
                    <a:pt x="162" y="74"/>
                  </a:lnTo>
                  <a:lnTo>
                    <a:pt x="168" y="68"/>
                  </a:lnTo>
                  <a:lnTo>
                    <a:pt x="172" y="64"/>
                  </a:lnTo>
                  <a:lnTo>
                    <a:pt x="182" y="58"/>
                  </a:lnTo>
                  <a:lnTo>
                    <a:pt x="186" y="54"/>
                  </a:lnTo>
                  <a:lnTo>
                    <a:pt x="190" y="48"/>
                  </a:lnTo>
                  <a:lnTo>
                    <a:pt x="190" y="44"/>
                  </a:lnTo>
                  <a:lnTo>
                    <a:pt x="192" y="44"/>
                  </a:lnTo>
                  <a:lnTo>
                    <a:pt x="192" y="36"/>
                  </a:lnTo>
                  <a:lnTo>
                    <a:pt x="190" y="28"/>
                  </a:lnTo>
                  <a:lnTo>
                    <a:pt x="186" y="26"/>
                  </a:lnTo>
                  <a:lnTo>
                    <a:pt x="192" y="22"/>
                  </a:lnTo>
                  <a:lnTo>
                    <a:pt x="188" y="22"/>
                  </a:lnTo>
                  <a:lnTo>
                    <a:pt x="184" y="18"/>
                  </a:lnTo>
                  <a:lnTo>
                    <a:pt x="182" y="16"/>
                  </a:lnTo>
                  <a:lnTo>
                    <a:pt x="180" y="18"/>
                  </a:lnTo>
                  <a:lnTo>
                    <a:pt x="170" y="16"/>
                  </a:lnTo>
                  <a:lnTo>
                    <a:pt x="168" y="16"/>
                  </a:lnTo>
                  <a:lnTo>
                    <a:pt x="166" y="12"/>
                  </a:lnTo>
                  <a:lnTo>
                    <a:pt x="164" y="8"/>
                  </a:lnTo>
                  <a:lnTo>
                    <a:pt x="156" y="4"/>
                  </a:lnTo>
                  <a:lnTo>
                    <a:pt x="154" y="2"/>
                  </a:lnTo>
                  <a:lnTo>
                    <a:pt x="154" y="0"/>
                  </a:lnTo>
                  <a:lnTo>
                    <a:pt x="142" y="8"/>
                  </a:lnTo>
                  <a:lnTo>
                    <a:pt x="144" y="10"/>
                  </a:lnTo>
                  <a:lnTo>
                    <a:pt x="144" y="14"/>
                  </a:lnTo>
                  <a:lnTo>
                    <a:pt x="142" y="18"/>
                  </a:lnTo>
                  <a:lnTo>
                    <a:pt x="138" y="24"/>
                  </a:lnTo>
                  <a:lnTo>
                    <a:pt x="138" y="28"/>
                  </a:lnTo>
                  <a:lnTo>
                    <a:pt x="138" y="30"/>
                  </a:lnTo>
                  <a:lnTo>
                    <a:pt x="140" y="32"/>
                  </a:lnTo>
                  <a:lnTo>
                    <a:pt x="140" y="34"/>
                  </a:lnTo>
                  <a:lnTo>
                    <a:pt x="136" y="36"/>
                  </a:lnTo>
                  <a:lnTo>
                    <a:pt x="132" y="40"/>
                  </a:lnTo>
                  <a:lnTo>
                    <a:pt x="134" y="42"/>
                  </a:lnTo>
                  <a:lnTo>
                    <a:pt x="136" y="42"/>
                  </a:lnTo>
                  <a:lnTo>
                    <a:pt x="134" y="46"/>
                  </a:lnTo>
                  <a:lnTo>
                    <a:pt x="134" y="50"/>
                  </a:lnTo>
                  <a:lnTo>
                    <a:pt x="134" y="52"/>
                  </a:lnTo>
                  <a:lnTo>
                    <a:pt x="136" y="54"/>
                  </a:lnTo>
                  <a:lnTo>
                    <a:pt x="132" y="60"/>
                  </a:lnTo>
                  <a:lnTo>
                    <a:pt x="138" y="62"/>
                  </a:lnTo>
                  <a:lnTo>
                    <a:pt x="142" y="64"/>
                  </a:lnTo>
                  <a:lnTo>
                    <a:pt x="140" y="66"/>
                  </a:lnTo>
                  <a:lnTo>
                    <a:pt x="142" y="70"/>
                  </a:lnTo>
                  <a:lnTo>
                    <a:pt x="136" y="74"/>
                  </a:lnTo>
                  <a:close/>
                  <a:moveTo>
                    <a:pt x="144" y="60"/>
                  </a:moveTo>
                  <a:lnTo>
                    <a:pt x="144" y="64"/>
                  </a:lnTo>
                  <a:lnTo>
                    <a:pt x="142" y="64"/>
                  </a:lnTo>
                  <a:lnTo>
                    <a:pt x="142" y="62"/>
                  </a:lnTo>
                  <a:lnTo>
                    <a:pt x="144" y="60"/>
                  </a:lnTo>
                  <a:close/>
                  <a:moveTo>
                    <a:pt x="0" y="18"/>
                  </a:moveTo>
                  <a:lnTo>
                    <a:pt x="0" y="18"/>
                  </a:lnTo>
                  <a:lnTo>
                    <a:pt x="2" y="30"/>
                  </a:lnTo>
                  <a:lnTo>
                    <a:pt x="2" y="32"/>
                  </a:lnTo>
                  <a:lnTo>
                    <a:pt x="2" y="34"/>
                  </a:lnTo>
                  <a:lnTo>
                    <a:pt x="0" y="32"/>
                  </a:lnTo>
                  <a:lnTo>
                    <a:pt x="0" y="34"/>
                  </a:lnTo>
                  <a:lnTo>
                    <a:pt x="2" y="36"/>
                  </a:lnTo>
                  <a:lnTo>
                    <a:pt x="6" y="32"/>
                  </a:lnTo>
                  <a:lnTo>
                    <a:pt x="6" y="28"/>
                  </a:lnTo>
                  <a:lnTo>
                    <a:pt x="0" y="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4" name="Freeform 646">
              <a:extLst>
                <a:ext uri="{FF2B5EF4-FFF2-40B4-BE49-F238E27FC236}">
                  <a16:creationId xmlns:a16="http://schemas.microsoft.com/office/drawing/2014/main" id="{AF33C44A-0F74-4B04-87DD-84374401A14F}"/>
                </a:ext>
              </a:extLst>
            </p:cNvPr>
            <p:cNvSpPr>
              <a:spLocks/>
            </p:cNvSpPr>
            <p:nvPr/>
          </p:nvSpPr>
          <p:spPr bwMode="gray">
            <a:xfrm>
              <a:off x="2877123" y="3773272"/>
              <a:ext cx="77688" cy="54149"/>
            </a:xfrm>
            <a:custGeom>
              <a:avLst/>
              <a:gdLst>
                <a:gd name="T0" fmla="*/ 2147483647 w 42"/>
                <a:gd name="T1" fmla="*/ 2147483647 h 30"/>
                <a:gd name="T2" fmla="*/ 2147483647 w 42"/>
                <a:gd name="T3" fmla="*/ 2147483647 h 30"/>
                <a:gd name="T4" fmla="*/ 2147483647 w 42"/>
                <a:gd name="T5" fmla="*/ 2147483647 h 30"/>
                <a:gd name="T6" fmla="*/ 0 w 42"/>
                <a:gd name="T7" fmla="*/ 2147483647 h 30"/>
                <a:gd name="T8" fmla="*/ 0 w 42"/>
                <a:gd name="T9" fmla="*/ 2147483647 h 30"/>
                <a:gd name="T10" fmla="*/ 2147483647 w 42"/>
                <a:gd name="T11" fmla="*/ 2147483647 h 30"/>
                <a:gd name="T12" fmla="*/ 2147483647 w 42"/>
                <a:gd name="T13" fmla="*/ 2147483647 h 30"/>
                <a:gd name="T14" fmla="*/ 2147483647 w 42"/>
                <a:gd name="T15" fmla="*/ 2147483647 h 30"/>
                <a:gd name="T16" fmla="*/ 2147483647 w 42"/>
                <a:gd name="T17" fmla="*/ 2147483647 h 30"/>
                <a:gd name="T18" fmla="*/ 2147483647 w 42"/>
                <a:gd name="T19" fmla="*/ 2147483647 h 30"/>
                <a:gd name="T20" fmla="*/ 2147483647 w 42"/>
                <a:gd name="T21" fmla="*/ 2147483647 h 30"/>
                <a:gd name="T22" fmla="*/ 2147483647 w 42"/>
                <a:gd name="T23" fmla="*/ 2147483647 h 30"/>
                <a:gd name="T24" fmla="*/ 2147483647 w 42"/>
                <a:gd name="T25" fmla="*/ 2147483647 h 30"/>
                <a:gd name="T26" fmla="*/ 2147483647 w 42"/>
                <a:gd name="T27" fmla="*/ 2147483647 h 30"/>
                <a:gd name="T28" fmla="*/ 2147483647 w 42"/>
                <a:gd name="T29" fmla="*/ 2147483647 h 30"/>
                <a:gd name="T30" fmla="*/ 2147483647 w 42"/>
                <a:gd name="T31" fmla="*/ 2147483647 h 30"/>
                <a:gd name="T32" fmla="*/ 2147483647 w 42"/>
                <a:gd name="T33" fmla="*/ 2147483647 h 30"/>
                <a:gd name="T34" fmla="*/ 2147483647 w 42"/>
                <a:gd name="T35" fmla="*/ 2147483647 h 30"/>
                <a:gd name="T36" fmla="*/ 2147483647 w 42"/>
                <a:gd name="T37" fmla="*/ 2147483647 h 30"/>
                <a:gd name="T38" fmla="*/ 2147483647 w 42"/>
                <a:gd name="T39" fmla="*/ 2147483647 h 30"/>
                <a:gd name="T40" fmla="*/ 2147483647 w 42"/>
                <a:gd name="T41" fmla="*/ 2147483647 h 30"/>
                <a:gd name="T42" fmla="*/ 2147483647 w 42"/>
                <a:gd name="T43" fmla="*/ 2147483647 h 30"/>
                <a:gd name="T44" fmla="*/ 2147483647 w 42"/>
                <a:gd name="T45" fmla="*/ 2147483647 h 30"/>
                <a:gd name="T46" fmla="*/ 2147483647 w 42"/>
                <a:gd name="T47" fmla="*/ 2147483647 h 30"/>
                <a:gd name="T48" fmla="*/ 2147483647 w 42"/>
                <a:gd name="T49" fmla="*/ 2147483647 h 30"/>
                <a:gd name="T50" fmla="*/ 2147483647 w 42"/>
                <a:gd name="T51" fmla="*/ 2147483647 h 30"/>
                <a:gd name="T52" fmla="*/ 2147483647 w 42"/>
                <a:gd name="T53" fmla="*/ 2147483647 h 30"/>
                <a:gd name="T54" fmla="*/ 2147483647 w 42"/>
                <a:gd name="T55" fmla="*/ 2147483647 h 30"/>
                <a:gd name="T56" fmla="*/ 2147483647 w 42"/>
                <a:gd name="T57" fmla="*/ 2147483647 h 30"/>
                <a:gd name="T58" fmla="*/ 2147483647 w 42"/>
                <a:gd name="T59" fmla="*/ 2147483647 h 30"/>
                <a:gd name="T60" fmla="*/ 2147483647 w 42"/>
                <a:gd name="T61" fmla="*/ 2147483647 h 30"/>
                <a:gd name="T62" fmla="*/ 2147483647 w 42"/>
                <a:gd name="T63" fmla="*/ 2147483647 h 30"/>
                <a:gd name="T64" fmla="*/ 2147483647 w 42"/>
                <a:gd name="T65" fmla="*/ 2147483647 h 30"/>
                <a:gd name="T66" fmla="*/ 2147483647 w 42"/>
                <a:gd name="T67" fmla="*/ 2147483647 h 30"/>
                <a:gd name="T68" fmla="*/ 2147483647 w 42"/>
                <a:gd name="T69" fmla="*/ 2147483647 h 30"/>
                <a:gd name="T70" fmla="*/ 2147483647 w 42"/>
                <a:gd name="T71" fmla="*/ 2147483647 h 30"/>
                <a:gd name="T72" fmla="*/ 2147483647 w 42"/>
                <a:gd name="T73" fmla="*/ 2147483647 h 30"/>
                <a:gd name="T74" fmla="*/ 2147483647 w 42"/>
                <a:gd name="T75" fmla="*/ 2147483647 h 30"/>
                <a:gd name="T76" fmla="*/ 2147483647 w 42"/>
                <a:gd name="T77" fmla="*/ 2147483647 h 30"/>
                <a:gd name="T78" fmla="*/ 2147483647 w 42"/>
                <a:gd name="T79" fmla="*/ 2147483647 h 30"/>
                <a:gd name="T80" fmla="*/ 2147483647 w 42"/>
                <a:gd name="T81" fmla="*/ 2147483647 h 30"/>
                <a:gd name="T82" fmla="*/ 2147483647 w 42"/>
                <a:gd name="T83" fmla="*/ 2147483647 h 30"/>
                <a:gd name="T84" fmla="*/ 2147483647 w 42"/>
                <a:gd name="T85" fmla="*/ 0 h 30"/>
                <a:gd name="T86" fmla="*/ 2147483647 w 42"/>
                <a:gd name="T87" fmla="*/ 2147483647 h 30"/>
                <a:gd name="T88" fmla="*/ 2147483647 w 42"/>
                <a:gd name="T89" fmla="*/ 2147483647 h 3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
                <a:gd name="T136" fmla="*/ 0 h 30"/>
                <a:gd name="T137" fmla="*/ 42 w 42"/>
                <a:gd name="T138" fmla="*/ 30 h 3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 h="30">
                  <a:moveTo>
                    <a:pt x="2" y="2"/>
                  </a:moveTo>
                  <a:lnTo>
                    <a:pt x="2" y="10"/>
                  </a:lnTo>
                  <a:lnTo>
                    <a:pt x="2" y="14"/>
                  </a:lnTo>
                  <a:lnTo>
                    <a:pt x="0" y="16"/>
                  </a:lnTo>
                  <a:lnTo>
                    <a:pt x="4" y="20"/>
                  </a:lnTo>
                  <a:lnTo>
                    <a:pt x="4" y="24"/>
                  </a:lnTo>
                  <a:lnTo>
                    <a:pt x="6" y="28"/>
                  </a:lnTo>
                  <a:lnTo>
                    <a:pt x="8" y="30"/>
                  </a:lnTo>
                  <a:lnTo>
                    <a:pt x="10" y="28"/>
                  </a:lnTo>
                  <a:lnTo>
                    <a:pt x="12" y="26"/>
                  </a:lnTo>
                  <a:lnTo>
                    <a:pt x="10" y="22"/>
                  </a:lnTo>
                  <a:lnTo>
                    <a:pt x="10" y="18"/>
                  </a:lnTo>
                  <a:lnTo>
                    <a:pt x="18" y="22"/>
                  </a:lnTo>
                  <a:lnTo>
                    <a:pt x="18" y="24"/>
                  </a:lnTo>
                  <a:lnTo>
                    <a:pt x="22" y="24"/>
                  </a:lnTo>
                  <a:lnTo>
                    <a:pt x="26" y="18"/>
                  </a:lnTo>
                  <a:lnTo>
                    <a:pt x="36" y="18"/>
                  </a:lnTo>
                  <a:lnTo>
                    <a:pt x="36" y="20"/>
                  </a:lnTo>
                  <a:lnTo>
                    <a:pt x="38" y="20"/>
                  </a:lnTo>
                  <a:lnTo>
                    <a:pt x="42" y="20"/>
                  </a:lnTo>
                  <a:lnTo>
                    <a:pt x="40" y="14"/>
                  </a:lnTo>
                  <a:lnTo>
                    <a:pt x="38" y="12"/>
                  </a:lnTo>
                  <a:lnTo>
                    <a:pt x="36" y="10"/>
                  </a:lnTo>
                  <a:lnTo>
                    <a:pt x="34" y="10"/>
                  </a:lnTo>
                  <a:lnTo>
                    <a:pt x="28" y="10"/>
                  </a:lnTo>
                  <a:lnTo>
                    <a:pt x="22" y="6"/>
                  </a:lnTo>
                  <a:lnTo>
                    <a:pt x="16" y="2"/>
                  </a:lnTo>
                  <a:lnTo>
                    <a:pt x="8" y="0"/>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5" name="Freeform 647">
              <a:extLst>
                <a:ext uri="{FF2B5EF4-FFF2-40B4-BE49-F238E27FC236}">
                  <a16:creationId xmlns:a16="http://schemas.microsoft.com/office/drawing/2014/main" id="{E68A4BA5-8579-4AEA-950A-0961368FC56B}"/>
                </a:ext>
              </a:extLst>
            </p:cNvPr>
            <p:cNvSpPr>
              <a:spLocks/>
            </p:cNvSpPr>
            <p:nvPr/>
          </p:nvSpPr>
          <p:spPr bwMode="gray">
            <a:xfrm>
              <a:off x="5257203" y="3956905"/>
              <a:ext cx="44729" cy="56504"/>
            </a:xfrm>
            <a:custGeom>
              <a:avLst/>
              <a:gdLst>
                <a:gd name="T0" fmla="*/ 2147483647 w 24"/>
                <a:gd name="T1" fmla="*/ 2147483647 h 30"/>
                <a:gd name="T2" fmla="*/ 2147483647 w 24"/>
                <a:gd name="T3" fmla="*/ 2147483647 h 30"/>
                <a:gd name="T4" fmla="*/ 2147483647 w 24"/>
                <a:gd name="T5" fmla="*/ 2147483647 h 30"/>
                <a:gd name="T6" fmla="*/ 2147483647 w 24"/>
                <a:gd name="T7" fmla="*/ 2147483647 h 30"/>
                <a:gd name="T8" fmla="*/ 2147483647 w 24"/>
                <a:gd name="T9" fmla="*/ 2147483647 h 30"/>
                <a:gd name="T10" fmla="*/ 2147483647 w 24"/>
                <a:gd name="T11" fmla="*/ 2147483647 h 30"/>
                <a:gd name="T12" fmla="*/ 2147483647 w 24"/>
                <a:gd name="T13" fmla="*/ 2147483647 h 30"/>
                <a:gd name="T14" fmla="*/ 2147483647 w 24"/>
                <a:gd name="T15" fmla="*/ 2147483647 h 30"/>
                <a:gd name="T16" fmla="*/ 2147483647 w 24"/>
                <a:gd name="T17" fmla="*/ 2147483647 h 30"/>
                <a:gd name="T18" fmla="*/ 2147483647 w 24"/>
                <a:gd name="T19" fmla="*/ 2147483647 h 30"/>
                <a:gd name="T20" fmla="*/ 2147483647 w 24"/>
                <a:gd name="T21" fmla="*/ 2147483647 h 30"/>
                <a:gd name="T22" fmla="*/ 2147483647 w 24"/>
                <a:gd name="T23" fmla="*/ 2147483647 h 30"/>
                <a:gd name="T24" fmla="*/ 0 w 24"/>
                <a:gd name="T25" fmla="*/ 2147483647 h 30"/>
                <a:gd name="T26" fmla="*/ 0 w 24"/>
                <a:gd name="T27" fmla="*/ 2147483647 h 30"/>
                <a:gd name="T28" fmla="*/ 2147483647 w 24"/>
                <a:gd name="T29" fmla="*/ 2147483647 h 30"/>
                <a:gd name="T30" fmla="*/ 2147483647 w 24"/>
                <a:gd name="T31" fmla="*/ 2147483647 h 30"/>
                <a:gd name="T32" fmla="*/ 2147483647 w 24"/>
                <a:gd name="T33" fmla="*/ 2147483647 h 30"/>
                <a:gd name="T34" fmla="*/ 2147483647 w 24"/>
                <a:gd name="T35" fmla="*/ 2147483647 h 30"/>
                <a:gd name="T36" fmla="*/ 2147483647 w 24"/>
                <a:gd name="T37" fmla="*/ 2147483647 h 30"/>
                <a:gd name="T38" fmla="*/ 2147483647 w 24"/>
                <a:gd name="T39" fmla="*/ 2147483647 h 30"/>
                <a:gd name="T40" fmla="*/ 2147483647 w 24"/>
                <a:gd name="T41" fmla="*/ 2147483647 h 30"/>
                <a:gd name="T42" fmla="*/ 2147483647 w 24"/>
                <a:gd name="T43" fmla="*/ 2147483647 h 30"/>
                <a:gd name="T44" fmla="*/ 2147483647 w 24"/>
                <a:gd name="T45" fmla="*/ 2147483647 h 30"/>
                <a:gd name="T46" fmla="*/ 2147483647 w 24"/>
                <a:gd name="T47" fmla="*/ 0 h 30"/>
                <a:gd name="T48" fmla="*/ 2147483647 w 24"/>
                <a:gd name="T49" fmla="*/ 0 h 30"/>
                <a:gd name="T50" fmla="*/ 2147483647 w 24"/>
                <a:gd name="T51" fmla="*/ 2147483647 h 30"/>
                <a:gd name="T52" fmla="*/ 2147483647 w 24"/>
                <a:gd name="T53" fmla="*/ 2147483647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30"/>
                <a:gd name="T83" fmla="*/ 24 w 24"/>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30">
                  <a:moveTo>
                    <a:pt x="22" y="2"/>
                  </a:moveTo>
                  <a:lnTo>
                    <a:pt x="22" y="2"/>
                  </a:lnTo>
                  <a:lnTo>
                    <a:pt x="16" y="10"/>
                  </a:lnTo>
                  <a:lnTo>
                    <a:pt x="20" y="10"/>
                  </a:lnTo>
                  <a:lnTo>
                    <a:pt x="24" y="18"/>
                  </a:lnTo>
                  <a:lnTo>
                    <a:pt x="16" y="28"/>
                  </a:lnTo>
                  <a:lnTo>
                    <a:pt x="10" y="28"/>
                  </a:lnTo>
                  <a:lnTo>
                    <a:pt x="6" y="30"/>
                  </a:lnTo>
                  <a:lnTo>
                    <a:pt x="2" y="28"/>
                  </a:lnTo>
                  <a:lnTo>
                    <a:pt x="0" y="26"/>
                  </a:lnTo>
                  <a:lnTo>
                    <a:pt x="2" y="22"/>
                  </a:lnTo>
                  <a:lnTo>
                    <a:pt x="2" y="18"/>
                  </a:lnTo>
                  <a:lnTo>
                    <a:pt x="2" y="16"/>
                  </a:lnTo>
                  <a:lnTo>
                    <a:pt x="4" y="12"/>
                  </a:lnTo>
                  <a:lnTo>
                    <a:pt x="6" y="8"/>
                  </a:lnTo>
                  <a:lnTo>
                    <a:pt x="8" y="4"/>
                  </a:lnTo>
                  <a:lnTo>
                    <a:pt x="10" y="2"/>
                  </a:lnTo>
                  <a:lnTo>
                    <a:pt x="14" y="4"/>
                  </a:lnTo>
                  <a:lnTo>
                    <a:pt x="22" y="0"/>
                  </a:lnTo>
                  <a:lnTo>
                    <a:pt x="2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6" name="Freeform 648">
              <a:extLst>
                <a:ext uri="{FF2B5EF4-FFF2-40B4-BE49-F238E27FC236}">
                  <a16:creationId xmlns:a16="http://schemas.microsoft.com/office/drawing/2014/main" id="{37AAB8F9-9026-4F30-8DE9-57C7980A076B}"/>
                </a:ext>
              </a:extLst>
            </p:cNvPr>
            <p:cNvSpPr>
              <a:spLocks noEditPoints="1"/>
            </p:cNvSpPr>
            <p:nvPr/>
          </p:nvSpPr>
          <p:spPr bwMode="gray">
            <a:xfrm>
              <a:off x="4553303" y="2647924"/>
              <a:ext cx="96521" cy="120069"/>
            </a:xfrm>
            <a:custGeom>
              <a:avLst/>
              <a:gdLst>
                <a:gd name="T0" fmla="*/ 2147483647 w 52"/>
                <a:gd name="T1" fmla="*/ 2147483647 h 66"/>
                <a:gd name="T2" fmla="*/ 2147483647 w 52"/>
                <a:gd name="T3" fmla="*/ 2147483647 h 66"/>
                <a:gd name="T4" fmla="*/ 2147483647 w 52"/>
                <a:gd name="T5" fmla="*/ 2147483647 h 66"/>
                <a:gd name="T6" fmla="*/ 2147483647 w 52"/>
                <a:gd name="T7" fmla="*/ 2147483647 h 66"/>
                <a:gd name="T8" fmla="*/ 2147483647 w 52"/>
                <a:gd name="T9" fmla="*/ 2147483647 h 66"/>
                <a:gd name="T10" fmla="*/ 2147483647 w 52"/>
                <a:gd name="T11" fmla="*/ 2147483647 h 66"/>
                <a:gd name="T12" fmla="*/ 2147483647 w 52"/>
                <a:gd name="T13" fmla="*/ 2147483647 h 66"/>
                <a:gd name="T14" fmla="*/ 2147483647 w 52"/>
                <a:gd name="T15" fmla="*/ 2147483647 h 66"/>
                <a:gd name="T16" fmla="*/ 2147483647 w 52"/>
                <a:gd name="T17" fmla="*/ 2147483647 h 66"/>
                <a:gd name="T18" fmla="*/ 2147483647 w 52"/>
                <a:gd name="T19" fmla="*/ 2147483647 h 66"/>
                <a:gd name="T20" fmla="*/ 2147483647 w 52"/>
                <a:gd name="T21" fmla="*/ 2147483647 h 66"/>
                <a:gd name="T22" fmla="*/ 2147483647 w 52"/>
                <a:gd name="T23" fmla="*/ 2147483647 h 66"/>
                <a:gd name="T24" fmla="*/ 2147483647 w 52"/>
                <a:gd name="T25" fmla="*/ 0 h 66"/>
                <a:gd name="T26" fmla="*/ 2147483647 w 52"/>
                <a:gd name="T27" fmla="*/ 2147483647 h 66"/>
                <a:gd name="T28" fmla="*/ 2147483647 w 52"/>
                <a:gd name="T29" fmla="*/ 2147483647 h 66"/>
                <a:gd name="T30" fmla="*/ 2147483647 w 52"/>
                <a:gd name="T31" fmla="*/ 2147483647 h 66"/>
                <a:gd name="T32" fmla="*/ 2147483647 w 52"/>
                <a:gd name="T33" fmla="*/ 2147483647 h 66"/>
                <a:gd name="T34" fmla="*/ 2147483647 w 52"/>
                <a:gd name="T35" fmla="*/ 2147483647 h 66"/>
                <a:gd name="T36" fmla="*/ 2147483647 w 52"/>
                <a:gd name="T37" fmla="*/ 2147483647 h 66"/>
                <a:gd name="T38" fmla="*/ 2147483647 w 52"/>
                <a:gd name="T39" fmla="*/ 2147483647 h 66"/>
                <a:gd name="T40" fmla="*/ 2147483647 w 52"/>
                <a:gd name="T41" fmla="*/ 2147483647 h 66"/>
                <a:gd name="T42" fmla="*/ 2147483647 w 52"/>
                <a:gd name="T43" fmla="*/ 2147483647 h 66"/>
                <a:gd name="T44" fmla="*/ 2147483647 w 52"/>
                <a:gd name="T45" fmla="*/ 2147483647 h 66"/>
                <a:gd name="T46" fmla="*/ 2147483647 w 52"/>
                <a:gd name="T47" fmla="*/ 2147483647 h 66"/>
                <a:gd name="T48" fmla="*/ 2147483647 w 52"/>
                <a:gd name="T49" fmla="*/ 2147483647 h 66"/>
                <a:gd name="T50" fmla="*/ 0 w 52"/>
                <a:gd name="T51" fmla="*/ 2147483647 h 66"/>
                <a:gd name="T52" fmla="*/ 0 w 52"/>
                <a:gd name="T53" fmla="*/ 2147483647 h 66"/>
                <a:gd name="T54" fmla="*/ 2147483647 w 52"/>
                <a:gd name="T55" fmla="*/ 2147483647 h 66"/>
                <a:gd name="T56" fmla="*/ 2147483647 w 52"/>
                <a:gd name="T57" fmla="*/ 2147483647 h 66"/>
                <a:gd name="T58" fmla="*/ 2147483647 w 52"/>
                <a:gd name="T59" fmla="*/ 2147483647 h 66"/>
                <a:gd name="T60" fmla="*/ 2147483647 w 52"/>
                <a:gd name="T61" fmla="*/ 2147483647 h 66"/>
                <a:gd name="T62" fmla="*/ 2147483647 w 52"/>
                <a:gd name="T63" fmla="*/ 2147483647 h 66"/>
                <a:gd name="T64" fmla="*/ 2147483647 w 52"/>
                <a:gd name="T65" fmla="*/ 2147483647 h 66"/>
                <a:gd name="T66" fmla="*/ 2147483647 w 52"/>
                <a:gd name="T67" fmla="*/ 2147483647 h 66"/>
                <a:gd name="T68" fmla="*/ 2147483647 w 52"/>
                <a:gd name="T69" fmla="*/ 2147483647 h 66"/>
                <a:gd name="T70" fmla="*/ 2147483647 w 52"/>
                <a:gd name="T71" fmla="*/ 2147483647 h 66"/>
                <a:gd name="T72" fmla="*/ 2147483647 w 52"/>
                <a:gd name="T73" fmla="*/ 2147483647 h 66"/>
                <a:gd name="T74" fmla="*/ 2147483647 w 52"/>
                <a:gd name="T75" fmla="*/ 2147483647 h 66"/>
                <a:gd name="T76" fmla="*/ 2147483647 w 52"/>
                <a:gd name="T77" fmla="*/ 2147483647 h 66"/>
                <a:gd name="T78" fmla="*/ 2147483647 w 52"/>
                <a:gd name="T79" fmla="*/ 2147483647 h 66"/>
                <a:gd name="T80" fmla="*/ 2147483647 w 52"/>
                <a:gd name="T81" fmla="*/ 2147483647 h 66"/>
                <a:gd name="T82" fmla="*/ 2147483647 w 52"/>
                <a:gd name="T83" fmla="*/ 2147483647 h 66"/>
                <a:gd name="T84" fmla="*/ 2147483647 w 52"/>
                <a:gd name="T85" fmla="*/ 2147483647 h 66"/>
                <a:gd name="T86" fmla="*/ 2147483647 w 52"/>
                <a:gd name="T87" fmla="*/ 2147483647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
                <a:gd name="T133" fmla="*/ 0 h 66"/>
                <a:gd name="T134" fmla="*/ 52 w 52"/>
                <a:gd name="T135" fmla="*/ 66 h 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 h="66">
                  <a:moveTo>
                    <a:pt x="10" y="54"/>
                  </a:moveTo>
                  <a:lnTo>
                    <a:pt x="20" y="54"/>
                  </a:lnTo>
                  <a:lnTo>
                    <a:pt x="22" y="50"/>
                  </a:lnTo>
                  <a:lnTo>
                    <a:pt x="24" y="48"/>
                  </a:lnTo>
                  <a:lnTo>
                    <a:pt x="24" y="52"/>
                  </a:lnTo>
                  <a:lnTo>
                    <a:pt x="26" y="54"/>
                  </a:lnTo>
                  <a:lnTo>
                    <a:pt x="30" y="54"/>
                  </a:lnTo>
                  <a:lnTo>
                    <a:pt x="34" y="64"/>
                  </a:lnTo>
                  <a:lnTo>
                    <a:pt x="30" y="46"/>
                  </a:lnTo>
                  <a:lnTo>
                    <a:pt x="28" y="46"/>
                  </a:lnTo>
                  <a:lnTo>
                    <a:pt x="24" y="46"/>
                  </a:lnTo>
                  <a:lnTo>
                    <a:pt x="28" y="32"/>
                  </a:lnTo>
                  <a:lnTo>
                    <a:pt x="30" y="34"/>
                  </a:lnTo>
                  <a:lnTo>
                    <a:pt x="32" y="34"/>
                  </a:lnTo>
                  <a:lnTo>
                    <a:pt x="34" y="34"/>
                  </a:lnTo>
                  <a:lnTo>
                    <a:pt x="34" y="28"/>
                  </a:lnTo>
                  <a:lnTo>
                    <a:pt x="28" y="28"/>
                  </a:lnTo>
                  <a:lnTo>
                    <a:pt x="28" y="22"/>
                  </a:lnTo>
                  <a:lnTo>
                    <a:pt x="28" y="16"/>
                  </a:lnTo>
                  <a:lnTo>
                    <a:pt x="24" y="16"/>
                  </a:lnTo>
                  <a:lnTo>
                    <a:pt x="22" y="14"/>
                  </a:lnTo>
                  <a:lnTo>
                    <a:pt x="26" y="14"/>
                  </a:lnTo>
                  <a:lnTo>
                    <a:pt x="28" y="14"/>
                  </a:lnTo>
                  <a:lnTo>
                    <a:pt x="30" y="12"/>
                  </a:lnTo>
                  <a:lnTo>
                    <a:pt x="32" y="6"/>
                  </a:lnTo>
                  <a:lnTo>
                    <a:pt x="30" y="0"/>
                  </a:lnTo>
                  <a:lnTo>
                    <a:pt x="22" y="6"/>
                  </a:lnTo>
                  <a:lnTo>
                    <a:pt x="20" y="10"/>
                  </a:lnTo>
                  <a:lnTo>
                    <a:pt x="18" y="12"/>
                  </a:lnTo>
                  <a:lnTo>
                    <a:pt x="14" y="14"/>
                  </a:lnTo>
                  <a:lnTo>
                    <a:pt x="10" y="12"/>
                  </a:lnTo>
                  <a:lnTo>
                    <a:pt x="6" y="16"/>
                  </a:lnTo>
                  <a:lnTo>
                    <a:pt x="2" y="20"/>
                  </a:lnTo>
                  <a:lnTo>
                    <a:pt x="4" y="22"/>
                  </a:lnTo>
                  <a:lnTo>
                    <a:pt x="4" y="24"/>
                  </a:lnTo>
                  <a:lnTo>
                    <a:pt x="6" y="24"/>
                  </a:lnTo>
                  <a:lnTo>
                    <a:pt x="8" y="18"/>
                  </a:lnTo>
                  <a:lnTo>
                    <a:pt x="10" y="18"/>
                  </a:lnTo>
                  <a:lnTo>
                    <a:pt x="10" y="22"/>
                  </a:lnTo>
                  <a:lnTo>
                    <a:pt x="10" y="24"/>
                  </a:lnTo>
                  <a:lnTo>
                    <a:pt x="12" y="20"/>
                  </a:lnTo>
                  <a:lnTo>
                    <a:pt x="12" y="18"/>
                  </a:lnTo>
                  <a:lnTo>
                    <a:pt x="10" y="16"/>
                  </a:lnTo>
                  <a:lnTo>
                    <a:pt x="18" y="16"/>
                  </a:lnTo>
                  <a:lnTo>
                    <a:pt x="18" y="20"/>
                  </a:lnTo>
                  <a:lnTo>
                    <a:pt x="18" y="24"/>
                  </a:lnTo>
                  <a:lnTo>
                    <a:pt x="16" y="24"/>
                  </a:lnTo>
                  <a:lnTo>
                    <a:pt x="16" y="22"/>
                  </a:lnTo>
                  <a:lnTo>
                    <a:pt x="14" y="22"/>
                  </a:lnTo>
                  <a:lnTo>
                    <a:pt x="10" y="28"/>
                  </a:lnTo>
                  <a:lnTo>
                    <a:pt x="0" y="28"/>
                  </a:lnTo>
                  <a:lnTo>
                    <a:pt x="2" y="30"/>
                  </a:lnTo>
                  <a:lnTo>
                    <a:pt x="2" y="32"/>
                  </a:lnTo>
                  <a:lnTo>
                    <a:pt x="0" y="36"/>
                  </a:lnTo>
                  <a:lnTo>
                    <a:pt x="4" y="36"/>
                  </a:lnTo>
                  <a:lnTo>
                    <a:pt x="6" y="38"/>
                  </a:lnTo>
                  <a:lnTo>
                    <a:pt x="6" y="40"/>
                  </a:lnTo>
                  <a:lnTo>
                    <a:pt x="4" y="50"/>
                  </a:lnTo>
                  <a:lnTo>
                    <a:pt x="10" y="52"/>
                  </a:lnTo>
                  <a:lnTo>
                    <a:pt x="10" y="54"/>
                  </a:lnTo>
                  <a:close/>
                  <a:moveTo>
                    <a:pt x="46" y="58"/>
                  </a:moveTo>
                  <a:lnTo>
                    <a:pt x="46" y="58"/>
                  </a:lnTo>
                  <a:lnTo>
                    <a:pt x="38" y="60"/>
                  </a:lnTo>
                  <a:lnTo>
                    <a:pt x="38" y="62"/>
                  </a:lnTo>
                  <a:lnTo>
                    <a:pt x="38" y="64"/>
                  </a:lnTo>
                  <a:lnTo>
                    <a:pt x="38" y="66"/>
                  </a:lnTo>
                  <a:lnTo>
                    <a:pt x="42" y="66"/>
                  </a:lnTo>
                  <a:lnTo>
                    <a:pt x="50" y="62"/>
                  </a:lnTo>
                  <a:lnTo>
                    <a:pt x="52" y="58"/>
                  </a:lnTo>
                  <a:lnTo>
                    <a:pt x="46" y="58"/>
                  </a:lnTo>
                  <a:close/>
                  <a:moveTo>
                    <a:pt x="46" y="34"/>
                  </a:moveTo>
                  <a:lnTo>
                    <a:pt x="42" y="40"/>
                  </a:lnTo>
                  <a:lnTo>
                    <a:pt x="44" y="40"/>
                  </a:lnTo>
                  <a:lnTo>
                    <a:pt x="44" y="42"/>
                  </a:lnTo>
                  <a:lnTo>
                    <a:pt x="38" y="40"/>
                  </a:lnTo>
                  <a:lnTo>
                    <a:pt x="36" y="42"/>
                  </a:lnTo>
                  <a:lnTo>
                    <a:pt x="34" y="44"/>
                  </a:lnTo>
                  <a:lnTo>
                    <a:pt x="38" y="50"/>
                  </a:lnTo>
                  <a:lnTo>
                    <a:pt x="38" y="54"/>
                  </a:lnTo>
                  <a:lnTo>
                    <a:pt x="40" y="52"/>
                  </a:lnTo>
                  <a:lnTo>
                    <a:pt x="42" y="52"/>
                  </a:lnTo>
                  <a:lnTo>
                    <a:pt x="44" y="54"/>
                  </a:lnTo>
                  <a:lnTo>
                    <a:pt x="42" y="54"/>
                  </a:lnTo>
                  <a:lnTo>
                    <a:pt x="44" y="54"/>
                  </a:lnTo>
                  <a:lnTo>
                    <a:pt x="48" y="54"/>
                  </a:lnTo>
                  <a:lnTo>
                    <a:pt x="46" y="54"/>
                  </a:lnTo>
                  <a:lnTo>
                    <a:pt x="52" y="52"/>
                  </a:lnTo>
                  <a:lnTo>
                    <a:pt x="52" y="34"/>
                  </a:lnTo>
                  <a:lnTo>
                    <a:pt x="46" y="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77" name="Freeform 649">
              <a:extLst>
                <a:ext uri="{FF2B5EF4-FFF2-40B4-BE49-F238E27FC236}">
                  <a16:creationId xmlns:a16="http://schemas.microsoft.com/office/drawing/2014/main" id="{88FF2050-A71F-46BC-8F1B-8F65D1C6E1BA}"/>
                </a:ext>
              </a:extLst>
            </p:cNvPr>
            <p:cNvSpPr>
              <a:spLocks/>
            </p:cNvSpPr>
            <p:nvPr/>
          </p:nvSpPr>
          <p:spPr bwMode="gray">
            <a:xfrm>
              <a:off x="4642760" y="2869226"/>
              <a:ext cx="124771" cy="82401"/>
            </a:xfrm>
            <a:custGeom>
              <a:avLst/>
              <a:gdLst>
                <a:gd name="T0" fmla="*/ 2147483647 w 68"/>
                <a:gd name="T1" fmla="*/ 2147483647 h 44"/>
                <a:gd name="T2" fmla="*/ 2147483647 w 68"/>
                <a:gd name="T3" fmla="*/ 2147483647 h 44"/>
                <a:gd name="T4" fmla="*/ 2147483647 w 68"/>
                <a:gd name="T5" fmla="*/ 2147483647 h 44"/>
                <a:gd name="T6" fmla="*/ 2147483647 w 68"/>
                <a:gd name="T7" fmla="*/ 2147483647 h 44"/>
                <a:gd name="T8" fmla="*/ 2147483647 w 68"/>
                <a:gd name="T9" fmla="*/ 2147483647 h 44"/>
                <a:gd name="T10" fmla="*/ 2147483647 w 68"/>
                <a:gd name="T11" fmla="*/ 2147483647 h 44"/>
                <a:gd name="T12" fmla="*/ 2147483647 w 68"/>
                <a:gd name="T13" fmla="*/ 2147483647 h 44"/>
                <a:gd name="T14" fmla="*/ 2147483647 w 68"/>
                <a:gd name="T15" fmla="*/ 2147483647 h 44"/>
                <a:gd name="T16" fmla="*/ 2147483647 w 68"/>
                <a:gd name="T17" fmla="*/ 2147483647 h 44"/>
                <a:gd name="T18" fmla="*/ 2147483647 w 68"/>
                <a:gd name="T19" fmla="*/ 2147483647 h 44"/>
                <a:gd name="T20" fmla="*/ 2147483647 w 68"/>
                <a:gd name="T21" fmla="*/ 2147483647 h 44"/>
                <a:gd name="T22" fmla="*/ 2147483647 w 68"/>
                <a:gd name="T23" fmla="*/ 2147483647 h 44"/>
                <a:gd name="T24" fmla="*/ 2147483647 w 68"/>
                <a:gd name="T25" fmla="*/ 2147483647 h 44"/>
                <a:gd name="T26" fmla="*/ 2147483647 w 68"/>
                <a:gd name="T27" fmla="*/ 2147483647 h 44"/>
                <a:gd name="T28" fmla="*/ 2147483647 w 68"/>
                <a:gd name="T29" fmla="*/ 2147483647 h 44"/>
                <a:gd name="T30" fmla="*/ 2147483647 w 68"/>
                <a:gd name="T31" fmla="*/ 2147483647 h 44"/>
                <a:gd name="T32" fmla="*/ 2147483647 w 68"/>
                <a:gd name="T33" fmla="*/ 2147483647 h 44"/>
                <a:gd name="T34" fmla="*/ 2147483647 w 68"/>
                <a:gd name="T35" fmla="*/ 0 h 44"/>
                <a:gd name="T36" fmla="*/ 2147483647 w 68"/>
                <a:gd name="T37" fmla="*/ 2147483647 h 44"/>
                <a:gd name="T38" fmla="*/ 2147483647 w 68"/>
                <a:gd name="T39" fmla="*/ 2147483647 h 44"/>
                <a:gd name="T40" fmla="*/ 2147483647 w 68"/>
                <a:gd name="T41" fmla="*/ 2147483647 h 44"/>
                <a:gd name="T42" fmla="*/ 2147483647 w 68"/>
                <a:gd name="T43" fmla="*/ 2147483647 h 44"/>
                <a:gd name="T44" fmla="*/ 0 w 68"/>
                <a:gd name="T45" fmla="*/ 2147483647 h 44"/>
                <a:gd name="T46" fmla="*/ 0 w 68"/>
                <a:gd name="T47" fmla="*/ 2147483647 h 44"/>
                <a:gd name="T48" fmla="*/ 2147483647 w 68"/>
                <a:gd name="T49" fmla="*/ 2147483647 h 44"/>
                <a:gd name="T50" fmla="*/ 2147483647 w 68"/>
                <a:gd name="T51" fmla="*/ 2147483647 h 44"/>
                <a:gd name="T52" fmla="*/ 2147483647 w 68"/>
                <a:gd name="T53" fmla="*/ 2147483647 h 44"/>
                <a:gd name="T54" fmla="*/ 2147483647 w 68"/>
                <a:gd name="T55" fmla="*/ 2147483647 h 44"/>
                <a:gd name="T56" fmla="*/ 2147483647 w 68"/>
                <a:gd name="T57" fmla="*/ 2147483647 h 44"/>
                <a:gd name="T58" fmla="*/ 2147483647 w 68"/>
                <a:gd name="T59" fmla="*/ 2147483647 h 44"/>
                <a:gd name="T60" fmla="*/ 2147483647 w 68"/>
                <a:gd name="T61" fmla="*/ 2147483647 h 44"/>
                <a:gd name="T62" fmla="*/ 2147483647 w 68"/>
                <a:gd name="T63" fmla="*/ 2147483647 h 44"/>
                <a:gd name="T64" fmla="*/ 2147483647 w 68"/>
                <a:gd name="T65" fmla="*/ 2147483647 h 44"/>
                <a:gd name="T66" fmla="*/ 2147483647 w 68"/>
                <a:gd name="T67" fmla="*/ 2147483647 h 44"/>
                <a:gd name="T68" fmla="*/ 2147483647 w 68"/>
                <a:gd name="T69" fmla="*/ 2147483647 h 44"/>
                <a:gd name="T70" fmla="*/ 2147483647 w 68"/>
                <a:gd name="T71" fmla="*/ 2147483647 h 44"/>
                <a:gd name="T72" fmla="*/ 2147483647 w 68"/>
                <a:gd name="T73" fmla="*/ 2147483647 h 44"/>
                <a:gd name="T74" fmla="*/ 2147483647 w 68"/>
                <a:gd name="T75" fmla="*/ 2147483647 h 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
                <a:gd name="T115" fmla="*/ 0 h 44"/>
                <a:gd name="T116" fmla="*/ 68 w 68"/>
                <a:gd name="T117" fmla="*/ 44 h 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 h="44">
                  <a:moveTo>
                    <a:pt x="54" y="40"/>
                  </a:moveTo>
                  <a:lnTo>
                    <a:pt x="54" y="40"/>
                  </a:lnTo>
                  <a:lnTo>
                    <a:pt x="56" y="38"/>
                  </a:lnTo>
                  <a:lnTo>
                    <a:pt x="56" y="36"/>
                  </a:lnTo>
                  <a:lnTo>
                    <a:pt x="58" y="34"/>
                  </a:lnTo>
                  <a:lnTo>
                    <a:pt x="60" y="34"/>
                  </a:lnTo>
                  <a:lnTo>
                    <a:pt x="60" y="32"/>
                  </a:lnTo>
                  <a:lnTo>
                    <a:pt x="60" y="30"/>
                  </a:lnTo>
                  <a:lnTo>
                    <a:pt x="62" y="30"/>
                  </a:lnTo>
                  <a:lnTo>
                    <a:pt x="68" y="26"/>
                  </a:lnTo>
                  <a:lnTo>
                    <a:pt x="66" y="24"/>
                  </a:lnTo>
                  <a:lnTo>
                    <a:pt x="64" y="20"/>
                  </a:lnTo>
                  <a:lnTo>
                    <a:pt x="62" y="20"/>
                  </a:lnTo>
                  <a:lnTo>
                    <a:pt x="60" y="18"/>
                  </a:lnTo>
                  <a:lnTo>
                    <a:pt x="60" y="16"/>
                  </a:lnTo>
                  <a:lnTo>
                    <a:pt x="58" y="14"/>
                  </a:lnTo>
                  <a:lnTo>
                    <a:pt x="54" y="16"/>
                  </a:lnTo>
                  <a:lnTo>
                    <a:pt x="50" y="14"/>
                  </a:lnTo>
                  <a:lnTo>
                    <a:pt x="46" y="10"/>
                  </a:lnTo>
                  <a:lnTo>
                    <a:pt x="44" y="8"/>
                  </a:lnTo>
                  <a:lnTo>
                    <a:pt x="42" y="10"/>
                  </a:lnTo>
                  <a:lnTo>
                    <a:pt x="40" y="10"/>
                  </a:lnTo>
                  <a:lnTo>
                    <a:pt x="40" y="8"/>
                  </a:lnTo>
                  <a:lnTo>
                    <a:pt x="36" y="6"/>
                  </a:lnTo>
                  <a:lnTo>
                    <a:pt x="30" y="6"/>
                  </a:lnTo>
                  <a:lnTo>
                    <a:pt x="28" y="4"/>
                  </a:lnTo>
                  <a:lnTo>
                    <a:pt x="22" y="0"/>
                  </a:lnTo>
                  <a:lnTo>
                    <a:pt x="14" y="6"/>
                  </a:lnTo>
                  <a:lnTo>
                    <a:pt x="10" y="8"/>
                  </a:lnTo>
                  <a:lnTo>
                    <a:pt x="8" y="10"/>
                  </a:lnTo>
                  <a:lnTo>
                    <a:pt x="6" y="12"/>
                  </a:lnTo>
                  <a:lnTo>
                    <a:pt x="2" y="14"/>
                  </a:lnTo>
                  <a:lnTo>
                    <a:pt x="0" y="14"/>
                  </a:lnTo>
                  <a:lnTo>
                    <a:pt x="0" y="18"/>
                  </a:lnTo>
                  <a:lnTo>
                    <a:pt x="6" y="24"/>
                  </a:lnTo>
                  <a:lnTo>
                    <a:pt x="8" y="28"/>
                  </a:lnTo>
                  <a:lnTo>
                    <a:pt x="8" y="32"/>
                  </a:lnTo>
                  <a:lnTo>
                    <a:pt x="8" y="34"/>
                  </a:lnTo>
                  <a:lnTo>
                    <a:pt x="10" y="34"/>
                  </a:lnTo>
                  <a:lnTo>
                    <a:pt x="12" y="34"/>
                  </a:lnTo>
                  <a:lnTo>
                    <a:pt x="14" y="36"/>
                  </a:lnTo>
                  <a:lnTo>
                    <a:pt x="18" y="40"/>
                  </a:lnTo>
                  <a:lnTo>
                    <a:pt x="22" y="42"/>
                  </a:lnTo>
                  <a:lnTo>
                    <a:pt x="24" y="44"/>
                  </a:lnTo>
                  <a:lnTo>
                    <a:pt x="26" y="42"/>
                  </a:lnTo>
                  <a:lnTo>
                    <a:pt x="28" y="38"/>
                  </a:lnTo>
                  <a:lnTo>
                    <a:pt x="30" y="36"/>
                  </a:lnTo>
                  <a:lnTo>
                    <a:pt x="32" y="36"/>
                  </a:lnTo>
                  <a:lnTo>
                    <a:pt x="34" y="36"/>
                  </a:lnTo>
                  <a:lnTo>
                    <a:pt x="38" y="38"/>
                  </a:lnTo>
                  <a:lnTo>
                    <a:pt x="42" y="40"/>
                  </a:lnTo>
                  <a:lnTo>
                    <a:pt x="46" y="40"/>
                  </a:lnTo>
                  <a:lnTo>
                    <a:pt x="54" y="4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96" name="Freeform 650">
              <a:extLst>
                <a:ext uri="{FF2B5EF4-FFF2-40B4-BE49-F238E27FC236}">
                  <a16:creationId xmlns:a16="http://schemas.microsoft.com/office/drawing/2014/main" id="{0401CA62-103A-430C-85E3-FC01BB974882}"/>
                </a:ext>
              </a:extLst>
            </p:cNvPr>
            <p:cNvSpPr>
              <a:spLocks noEditPoints="1"/>
            </p:cNvSpPr>
            <p:nvPr/>
          </p:nvSpPr>
          <p:spPr bwMode="gray">
            <a:xfrm>
              <a:off x="5059451" y="3342437"/>
              <a:ext cx="49438" cy="30605"/>
            </a:xfrm>
            <a:custGeom>
              <a:avLst/>
              <a:gdLst>
                <a:gd name="T0" fmla="*/ 2147483647 w 26"/>
                <a:gd name="T1" fmla="*/ 2147483647 h 16"/>
                <a:gd name="T2" fmla="*/ 2147483647 w 26"/>
                <a:gd name="T3" fmla="*/ 2147483647 h 16"/>
                <a:gd name="T4" fmla="*/ 2147483647 w 26"/>
                <a:gd name="T5" fmla="*/ 2147483647 h 16"/>
                <a:gd name="T6" fmla="*/ 2147483647 w 26"/>
                <a:gd name="T7" fmla="*/ 2147483647 h 16"/>
                <a:gd name="T8" fmla="*/ 2147483647 w 26"/>
                <a:gd name="T9" fmla="*/ 2147483647 h 16"/>
                <a:gd name="T10" fmla="*/ 2147483647 w 26"/>
                <a:gd name="T11" fmla="*/ 2147483647 h 16"/>
                <a:gd name="T12" fmla="*/ 2147483647 w 26"/>
                <a:gd name="T13" fmla="*/ 2147483647 h 16"/>
                <a:gd name="T14" fmla="*/ 2147483647 w 26"/>
                <a:gd name="T15" fmla="*/ 2147483647 h 16"/>
                <a:gd name="T16" fmla="*/ 0 w 26"/>
                <a:gd name="T17" fmla="*/ 2147483647 h 16"/>
                <a:gd name="T18" fmla="*/ 0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2147483647 w 26"/>
                <a:gd name="T29" fmla="*/ 2147483647 h 16"/>
                <a:gd name="T30" fmla="*/ 2147483647 w 26"/>
                <a:gd name="T31" fmla="*/ 2147483647 h 16"/>
                <a:gd name="T32" fmla="*/ 2147483647 w 26"/>
                <a:gd name="T33" fmla="*/ 2147483647 h 16"/>
                <a:gd name="T34" fmla="*/ 2147483647 w 26"/>
                <a:gd name="T35" fmla="*/ 2147483647 h 16"/>
                <a:gd name="T36" fmla="*/ 2147483647 w 26"/>
                <a:gd name="T37" fmla="*/ 2147483647 h 16"/>
                <a:gd name="T38" fmla="*/ 2147483647 w 26"/>
                <a:gd name="T39" fmla="*/ 2147483647 h 16"/>
                <a:gd name="T40" fmla="*/ 2147483647 w 26"/>
                <a:gd name="T41" fmla="*/ 2147483647 h 16"/>
                <a:gd name="T42" fmla="*/ 2147483647 w 26"/>
                <a:gd name="T43" fmla="*/ 2147483647 h 16"/>
                <a:gd name="T44" fmla="*/ 2147483647 w 26"/>
                <a:gd name="T45" fmla="*/ 2147483647 h 16"/>
                <a:gd name="T46" fmla="*/ 2147483647 w 26"/>
                <a:gd name="T47" fmla="*/ 0 h 16"/>
                <a:gd name="T48" fmla="*/ 2147483647 w 26"/>
                <a:gd name="T49" fmla="*/ 0 h 16"/>
                <a:gd name="T50" fmla="*/ 2147483647 w 26"/>
                <a:gd name="T51" fmla="*/ 2147483647 h 16"/>
                <a:gd name="T52" fmla="*/ 2147483647 w 26"/>
                <a:gd name="T53" fmla="*/ 2147483647 h 16"/>
                <a:gd name="T54" fmla="*/ 2147483647 w 26"/>
                <a:gd name="T55" fmla="*/ 2147483647 h 16"/>
                <a:gd name="T56" fmla="*/ 2147483647 w 26"/>
                <a:gd name="T57" fmla="*/ 2147483647 h 16"/>
                <a:gd name="T58" fmla="*/ 2147483647 w 26"/>
                <a:gd name="T59" fmla="*/ 2147483647 h 16"/>
                <a:gd name="T60" fmla="*/ 2147483647 w 26"/>
                <a:gd name="T61" fmla="*/ 2147483647 h 16"/>
                <a:gd name="T62" fmla="*/ 2147483647 w 26"/>
                <a:gd name="T63" fmla="*/ 2147483647 h 16"/>
                <a:gd name="T64" fmla="*/ 2147483647 w 26"/>
                <a:gd name="T65" fmla="*/ 2147483647 h 16"/>
                <a:gd name="T66" fmla="*/ 2147483647 w 26"/>
                <a:gd name="T67" fmla="*/ 2147483647 h 16"/>
                <a:gd name="T68" fmla="*/ 2147483647 w 26"/>
                <a:gd name="T69" fmla="*/ 2147483647 h 16"/>
                <a:gd name="T70" fmla="*/ 2147483647 w 26"/>
                <a:gd name="T71" fmla="*/ 2147483647 h 16"/>
                <a:gd name="T72" fmla="*/ 2147483647 w 26"/>
                <a:gd name="T73" fmla="*/ 2147483647 h 16"/>
                <a:gd name="T74" fmla="*/ 2147483647 w 26"/>
                <a:gd name="T75" fmla="*/ 2147483647 h 16"/>
                <a:gd name="T76" fmla="*/ 2147483647 w 26"/>
                <a:gd name="T77" fmla="*/ 2147483647 h 16"/>
                <a:gd name="T78" fmla="*/ 2147483647 w 26"/>
                <a:gd name="T79" fmla="*/ 2147483647 h 16"/>
                <a:gd name="T80" fmla="*/ 2147483647 w 26"/>
                <a:gd name="T81" fmla="*/ 2147483647 h 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
                <a:gd name="T124" fmla="*/ 0 h 16"/>
                <a:gd name="T125" fmla="*/ 26 w 26"/>
                <a:gd name="T126" fmla="*/ 16 h 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 h="16">
                  <a:moveTo>
                    <a:pt x="18" y="12"/>
                  </a:moveTo>
                  <a:lnTo>
                    <a:pt x="18" y="12"/>
                  </a:lnTo>
                  <a:lnTo>
                    <a:pt x="14" y="16"/>
                  </a:lnTo>
                  <a:lnTo>
                    <a:pt x="4" y="16"/>
                  </a:lnTo>
                  <a:lnTo>
                    <a:pt x="4" y="14"/>
                  </a:lnTo>
                  <a:lnTo>
                    <a:pt x="2" y="14"/>
                  </a:lnTo>
                  <a:lnTo>
                    <a:pt x="0" y="12"/>
                  </a:lnTo>
                  <a:lnTo>
                    <a:pt x="2" y="10"/>
                  </a:lnTo>
                  <a:lnTo>
                    <a:pt x="4" y="12"/>
                  </a:lnTo>
                  <a:lnTo>
                    <a:pt x="8" y="12"/>
                  </a:lnTo>
                  <a:lnTo>
                    <a:pt x="10" y="10"/>
                  </a:lnTo>
                  <a:lnTo>
                    <a:pt x="14" y="10"/>
                  </a:lnTo>
                  <a:lnTo>
                    <a:pt x="18" y="12"/>
                  </a:lnTo>
                  <a:close/>
                  <a:moveTo>
                    <a:pt x="18" y="12"/>
                  </a:moveTo>
                  <a:lnTo>
                    <a:pt x="18" y="12"/>
                  </a:lnTo>
                  <a:lnTo>
                    <a:pt x="26" y="0"/>
                  </a:lnTo>
                  <a:lnTo>
                    <a:pt x="20" y="4"/>
                  </a:lnTo>
                  <a:lnTo>
                    <a:pt x="10" y="6"/>
                  </a:lnTo>
                  <a:lnTo>
                    <a:pt x="2" y="8"/>
                  </a:lnTo>
                  <a:lnTo>
                    <a:pt x="2" y="10"/>
                  </a:lnTo>
                  <a:lnTo>
                    <a:pt x="4" y="12"/>
                  </a:lnTo>
                  <a:lnTo>
                    <a:pt x="8" y="12"/>
                  </a:lnTo>
                  <a:lnTo>
                    <a:pt x="10" y="10"/>
                  </a:lnTo>
                  <a:lnTo>
                    <a:pt x="14" y="10"/>
                  </a:lnTo>
                  <a:lnTo>
                    <a:pt x="18"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97" name="Freeform 651">
              <a:extLst>
                <a:ext uri="{FF2B5EF4-FFF2-40B4-BE49-F238E27FC236}">
                  <a16:creationId xmlns:a16="http://schemas.microsoft.com/office/drawing/2014/main" id="{42E0132B-EAF0-44F7-9D66-4D4294751A18}"/>
                </a:ext>
              </a:extLst>
            </p:cNvPr>
            <p:cNvSpPr>
              <a:spLocks noEditPoints="1"/>
            </p:cNvSpPr>
            <p:nvPr/>
          </p:nvSpPr>
          <p:spPr bwMode="gray">
            <a:xfrm>
              <a:off x="2613456" y="3679101"/>
              <a:ext cx="211876" cy="96525"/>
            </a:xfrm>
            <a:custGeom>
              <a:avLst/>
              <a:gdLst>
                <a:gd name="T0" fmla="*/ 2147483647 w 114"/>
                <a:gd name="T1" fmla="*/ 2147483647 h 52"/>
                <a:gd name="T2" fmla="*/ 2147483647 w 114"/>
                <a:gd name="T3" fmla="*/ 2147483647 h 52"/>
                <a:gd name="T4" fmla="*/ 2147483647 w 114"/>
                <a:gd name="T5" fmla="*/ 2147483647 h 52"/>
                <a:gd name="T6" fmla="*/ 2147483647 w 114"/>
                <a:gd name="T7" fmla="*/ 2147483647 h 52"/>
                <a:gd name="T8" fmla="*/ 2147483647 w 114"/>
                <a:gd name="T9" fmla="*/ 2147483647 h 52"/>
                <a:gd name="T10" fmla="*/ 2147483647 w 114"/>
                <a:gd name="T11" fmla="*/ 2147483647 h 52"/>
                <a:gd name="T12" fmla="*/ 2147483647 w 114"/>
                <a:gd name="T13" fmla="*/ 2147483647 h 52"/>
                <a:gd name="T14" fmla="*/ 2147483647 w 114"/>
                <a:gd name="T15" fmla="*/ 0 h 52"/>
                <a:gd name="T16" fmla="*/ 2147483647 w 114"/>
                <a:gd name="T17" fmla="*/ 2147483647 h 52"/>
                <a:gd name="T18" fmla="*/ 0 w 114"/>
                <a:gd name="T19" fmla="*/ 2147483647 h 52"/>
                <a:gd name="T20" fmla="*/ 2147483647 w 114"/>
                <a:gd name="T21" fmla="*/ 2147483647 h 52"/>
                <a:gd name="T22" fmla="*/ 2147483647 w 114"/>
                <a:gd name="T23" fmla="*/ 2147483647 h 52"/>
                <a:gd name="T24" fmla="*/ 2147483647 w 114"/>
                <a:gd name="T25" fmla="*/ 2147483647 h 52"/>
                <a:gd name="T26" fmla="*/ 2147483647 w 114"/>
                <a:gd name="T27" fmla="*/ 2147483647 h 52"/>
                <a:gd name="T28" fmla="*/ 2147483647 w 114"/>
                <a:gd name="T29" fmla="*/ 2147483647 h 52"/>
                <a:gd name="T30" fmla="*/ 2147483647 w 114"/>
                <a:gd name="T31" fmla="*/ 2147483647 h 52"/>
                <a:gd name="T32" fmla="*/ 2147483647 w 114"/>
                <a:gd name="T33" fmla="*/ 2147483647 h 52"/>
                <a:gd name="T34" fmla="*/ 2147483647 w 114"/>
                <a:gd name="T35" fmla="*/ 2147483647 h 52"/>
                <a:gd name="T36" fmla="*/ 2147483647 w 114"/>
                <a:gd name="T37" fmla="*/ 2147483647 h 52"/>
                <a:gd name="T38" fmla="*/ 2147483647 w 114"/>
                <a:gd name="T39" fmla="*/ 2147483647 h 52"/>
                <a:gd name="T40" fmla="*/ 2147483647 w 114"/>
                <a:gd name="T41" fmla="*/ 2147483647 h 52"/>
                <a:gd name="T42" fmla="*/ 2147483647 w 114"/>
                <a:gd name="T43" fmla="*/ 2147483647 h 52"/>
                <a:gd name="T44" fmla="*/ 2147483647 w 114"/>
                <a:gd name="T45" fmla="*/ 2147483647 h 52"/>
                <a:gd name="T46" fmla="*/ 2147483647 w 114"/>
                <a:gd name="T47" fmla="*/ 2147483647 h 52"/>
                <a:gd name="T48" fmla="*/ 2147483647 w 114"/>
                <a:gd name="T49" fmla="*/ 2147483647 h 52"/>
                <a:gd name="T50" fmla="*/ 2147483647 w 114"/>
                <a:gd name="T51" fmla="*/ 2147483647 h 52"/>
                <a:gd name="T52" fmla="*/ 2147483647 w 114"/>
                <a:gd name="T53" fmla="*/ 2147483647 h 52"/>
                <a:gd name="T54" fmla="*/ 2147483647 w 114"/>
                <a:gd name="T55" fmla="*/ 2147483647 h 52"/>
                <a:gd name="T56" fmla="*/ 2147483647 w 114"/>
                <a:gd name="T57" fmla="*/ 2147483647 h 52"/>
                <a:gd name="T58" fmla="*/ 2147483647 w 114"/>
                <a:gd name="T59" fmla="*/ 2147483647 h 52"/>
                <a:gd name="T60" fmla="*/ 2147483647 w 114"/>
                <a:gd name="T61" fmla="*/ 2147483647 h 52"/>
                <a:gd name="T62" fmla="*/ 2147483647 w 114"/>
                <a:gd name="T63" fmla="*/ 2147483647 h 52"/>
                <a:gd name="T64" fmla="*/ 2147483647 w 114"/>
                <a:gd name="T65" fmla="*/ 2147483647 h 52"/>
                <a:gd name="T66" fmla="*/ 2147483647 w 114"/>
                <a:gd name="T67" fmla="*/ 2147483647 h 52"/>
                <a:gd name="T68" fmla="*/ 2147483647 w 114"/>
                <a:gd name="T69" fmla="*/ 2147483647 h 52"/>
                <a:gd name="T70" fmla="*/ 2147483647 w 114"/>
                <a:gd name="T71" fmla="*/ 2147483647 h 52"/>
                <a:gd name="T72" fmla="*/ 2147483647 w 114"/>
                <a:gd name="T73" fmla="*/ 0 h 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4"/>
                <a:gd name="T112" fmla="*/ 0 h 52"/>
                <a:gd name="T113" fmla="*/ 114 w 114"/>
                <a:gd name="T114" fmla="*/ 52 h 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4" h="52">
                  <a:moveTo>
                    <a:pt x="18" y="16"/>
                  </a:moveTo>
                  <a:lnTo>
                    <a:pt x="18" y="16"/>
                  </a:lnTo>
                  <a:lnTo>
                    <a:pt x="18" y="20"/>
                  </a:lnTo>
                  <a:lnTo>
                    <a:pt x="20" y="24"/>
                  </a:lnTo>
                  <a:lnTo>
                    <a:pt x="16" y="26"/>
                  </a:lnTo>
                  <a:lnTo>
                    <a:pt x="18" y="26"/>
                  </a:lnTo>
                  <a:lnTo>
                    <a:pt x="22" y="22"/>
                  </a:lnTo>
                  <a:lnTo>
                    <a:pt x="24" y="18"/>
                  </a:lnTo>
                  <a:lnTo>
                    <a:pt x="18" y="16"/>
                  </a:lnTo>
                  <a:close/>
                  <a:moveTo>
                    <a:pt x="18" y="0"/>
                  </a:moveTo>
                  <a:lnTo>
                    <a:pt x="18" y="0"/>
                  </a:lnTo>
                  <a:lnTo>
                    <a:pt x="12" y="4"/>
                  </a:lnTo>
                  <a:lnTo>
                    <a:pt x="6" y="8"/>
                  </a:lnTo>
                  <a:lnTo>
                    <a:pt x="0" y="20"/>
                  </a:lnTo>
                  <a:lnTo>
                    <a:pt x="4" y="20"/>
                  </a:lnTo>
                  <a:lnTo>
                    <a:pt x="10" y="18"/>
                  </a:lnTo>
                  <a:lnTo>
                    <a:pt x="10" y="14"/>
                  </a:lnTo>
                  <a:lnTo>
                    <a:pt x="14" y="10"/>
                  </a:lnTo>
                  <a:lnTo>
                    <a:pt x="20" y="6"/>
                  </a:lnTo>
                  <a:lnTo>
                    <a:pt x="24" y="6"/>
                  </a:lnTo>
                  <a:lnTo>
                    <a:pt x="30" y="8"/>
                  </a:lnTo>
                  <a:lnTo>
                    <a:pt x="34" y="14"/>
                  </a:lnTo>
                  <a:lnTo>
                    <a:pt x="40" y="14"/>
                  </a:lnTo>
                  <a:lnTo>
                    <a:pt x="42" y="16"/>
                  </a:lnTo>
                  <a:lnTo>
                    <a:pt x="44" y="16"/>
                  </a:lnTo>
                  <a:lnTo>
                    <a:pt x="48" y="16"/>
                  </a:lnTo>
                  <a:lnTo>
                    <a:pt x="50" y="20"/>
                  </a:lnTo>
                  <a:lnTo>
                    <a:pt x="54" y="26"/>
                  </a:lnTo>
                  <a:lnTo>
                    <a:pt x="60" y="26"/>
                  </a:lnTo>
                  <a:lnTo>
                    <a:pt x="66" y="26"/>
                  </a:lnTo>
                  <a:lnTo>
                    <a:pt x="66" y="30"/>
                  </a:lnTo>
                  <a:lnTo>
                    <a:pt x="70" y="34"/>
                  </a:lnTo>
                  <a:lnTo>
                    <a:pt x="74" y="36"/>
                  </a:lnTo>
                  <a:lnTo>
                    <a:pt x="82" y="42"/>
                  </a:lnTo>
                  <a:lnTo>
                    <a:pt x="78" y="52"/>
                  </a:lnTo>
                  <a:lnTo>
                    <a:pt x="114" y="46"/>
                  </a:lnTo>
                  <a:lnTo>
                    <a:pt x="112" y="40"/>
                  </a:lnTo>
                  <a:lnTo>
                    <a:pt x="106" y="40"/>
                  </a:lnTo>
                  <a:lnTo>
                    <a:pt x="100" y="40"/>
                  </a:lnTo>
                  <a:lnTo>
                    <a:pt x="98" y="30"/>
                  </a:lnTo>
                  <a:lnTo>
                    <a:pt x="88" y="30"/>
                  </a:lnTo>
                  <a:lnTo>
                    <a:pt x="88" y="28"/>
                  </a:lnTo>
                  <a:lnTo>
                    <a:pt x="86" y="26"/>
                  </a:lnTo>
                  <a:lnTo>
                    <a:pt x="76" y="20"/>
                  </a:lnTo>
                  <a:lnTo>
                    <a:pt x="64" y="14"/>
                  </a:lnTo>
                  <a:lnTo>
                    <a:pt x="60" y="14"/>
                  </a:lnTo>
                  <a:lnTo>
                    <a:pt x="58" y="10"/>
                  </a:lnTo>
                  <a:lnTo>
                    <a:pt x="54" y="6"/>
                  </a:lnTo>
                  <a:lnTo>
                    <a:pt x="36" y="2"/>
                  </a:lnTo>
                  <a:lnTo>
                    <a:pt x="18"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98" name="Freeform 652">
              <a:extLst>
                <a:ext uri="{FF2B5EF4-FFF2-40B4-BE49-F238E27FC236}">
                  <a16:creationId xmlns:a16="http://schemas.microsoft.com/office/drawing/2014/main" id="{719414FD-EA5B-4792-88B1-2026DE9F0D3A}"/>
                </a:ext>
              </a:extLst>
            </p:cNvPr>
            <p:cNvSpPr>
              <a:spLocks/>
            </p:cNvSpPr>
            <p:nvPr/>
          </p:nvSpPr>
          <p:spPr bwMode="gray">
            <a:xfrm>
              <a:off x="4668657" y="3010481"/>
              <a:ext cx="129480" cy="138902"/>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2147483647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2147483647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0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w 70"/>
                <a:gd name="T65" fmla="*/ 2147483647 h 76"/>
                <a:gd name="T66" fmla="*/ 0 w 70"/>
                <a:gd name="T67" fmla="*/ 2147483647 h 76"/>
                <a:gd name="T68" fmla="*/ 2147483647 w 70"/>
                <a:gd name="T69" fmla="*/ 2147483647 h 76"/>
                <a:gd name="T70" fmla="*/ 2147483647 w 70"/>
                <a:gd name="T71" fmla="*/ 2147483647 h 76"/>
                <a:gd name="T72" fmla="*/ 2147483647 w 70"/>
                <a:gd name="T73" fmla="*/ 2147483647 h 76"/>
                <a:gd name="T74" fmla="*/ 2147483647 w 70"/>
                <a:gd name="T75" fmla="*/ 2147483647 h 76"/>
                <a:gd name="T76" fmla="*/ 2147483647 w 70"/>
                <a:gd name="T77" fmla="*/ 2147483647 h 76"/>
                <a:gd name="T78" fmla="*/ 2147483647 w 70"/>
                <a:gd name="T79" fmla="*/ 2147483647 h 76"/>
                <a:gd name="T80" fmla="*/ 2147483647 w 70"/>
                <a:gd name="T81" fmla="*/ 2147483647 h 76"/>
                <a:gd name="T82" fmla="*/ 2147483647 w 70"/>
                <a:gd name="T83" fmla="*/ 2147483647 h 76"/>
                <a:gd name="T84" fmla="*/ 2147483647 w 70"/>
                <a:gd name="T85" fmla="*/ 2147483647 h 76"/>
                <a:gd name="T86" fmla="*/ 2147483647 w 70"/>
                <a:gd name="T87" fmla="*/ 2147483647 h 76"/>
                <a:gd name="T88" fmla="*/ 2147483647 w 70"/>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0"/>
                <a:gd name="T136" fmla="*/ 0 h 76"/>
                <a:gd name="T137" fmla="*/ 70 w 70"/>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0" h="76">
                  <a:moveTo>
                    <a:pt x="56" y="76"/>
                  </a:moveTo>
                  <a:lnTo>
                    <a:pt x="58" y="76"/>
                  </a:lnTo>
                  <a:lnTo>
                    <a:pt x="58" y="74"/>
                  </a:lnTo>
                  <a:lnTo>
                    <a:pt x="56" y="70"/>
                  </a:lnTo>
                  <a:lnTo>
                    <a:pt x="52" y="66"/>
                  </a:lnTo>
                  <a:lnTo>
                    <a:pt x="50" y="66"/>
                  </a:lnTo>
                  <a:lnTo>
                    <a:pt x="48" y="66"/>
                  </a:lnTo>
                  <a:lnTo>
                    <a:pt x="48" y="64"/>
                  </a:lnTo>
                  <a:lnTo>
                    <a:pt x="46" y="62"/>
                  </a:lnTo>
                  <a:lnTo>
                    <a:pt x="44" y="58"/>
                  </a:lnTo>
                  <a:lnTo>
                    <a:pt x="38" y="54"/>
                  </a:lnTo>
                  <a:lnTo>
                    <a:pt x="32" y="46"/>
                  </a:lnTo>
                  <a:lnTo>
                    <a:pt x="32" y="44"/>
                  </a:lnTo>
                  <a:lnTo>
                    <a:pt x="30" y="36"/>
                  </a:lnTo>
                  <a:lnTo>
                    <a:pt x="26" y="34"/>
                  </a:lnTo>
                  <a:lnTo>
                    <a:pt x="26" y="30"/>
                  </a:lnTo>
                  <a:lnTo>
                    <a:pt x="28" y="28"/>
                  </a:lnTo>
                  <a:lnTo>
                    <a:pt x="30" y="28"/>
                  </a:lnTo>
                  <a:lnTo>
                    <a:pt x="32" y="30"/>
                  </a:lnTo>
                  <a:lnTo>
                    <a:pt x="34" y="32"/>
                  </a:lnTo>
                  <a:lnTo>
                    <a:pt x="34" y="30"/>
                  </a:lnTo>
                  <a:lnTo>
                    <a:pt x="36" y="30"/>
                  </a:lnTo>
                  <a:lnTo>
                    <a:pt x="38" y="30"/>
                  </a:lnTo>
                  <a:lnTo>
                    <a:pt x="40" y="32"/>
                  </a:lnTo>
                  <a:lnTo>
                    <a:pt x="42" y="34"/>
                  </a:lnTo>
                  <a:lnTo>
                    <a:pt x="44" y="32"/>
                  </a:lnTo>
                  <a:lnTo>
                    <a:pt x="48" y="30"/>
                  </a:lnTo>
                  <a:lnTo>
                    <a:pt x="50" y="30"/>
                  </a:lnTo>
                  <a:lnTo>
                    <a:pt x="56" y="34"/>
                  </a:lnTo>
                  <a:lnTo>
                    <a:pt x="58" y="36"/>
                  </a:lnTo>
                  <a:lnTo>
                    <a:pt x="60" y="36"/>
                  </a:lnTo>
                  <a:lnTo>
                    <a:pt x="62" y="36"/>
                  </a:lnTo>
                  <a:lnTo>
                    <a:pt x="68" y="36"/>
                  </a:lnTo>
                  <a:lnTo>
                    <a:pt x="70" y="34"/>
                  </a:lnTo>
                  <a:lnTo>
                    <a:pt x="70" y="32"/>
                  </a:lnTo>
                  <a:lnTo>
                    <a:pt x="68" y="30"/>
                  </a:lnTo>
                  <a:lnTo>
                    <a:pt x="68" y="28"/>
                  </a:lnTo>
                  <a:lnTo>
                    <a:pt x="68" y="26"/>
                  </a:lnTo>
                  <a:lnTo>
                    <a:pt x="68" y="24"/>
                  </a:lnTo>
                  <a:lnTo>
                    <a:pt x="64" y="26"/>
                  </a:lnTo>
                  <a:lnTo>
                    <a:pt x="60" y="24"/>
                  </a:lnTo>
                  <a:lnTo>
                    <a:pt x="50" y="18"/>
                  </a:lnTo>
                  <a:lnTo>
                    <a:pt x="44" y="12"/>
                  </a:lnTo>
                  <a:lnTo>
                    <a:pt x="42" y="8"/>
                  </a:lnTo>
                  <a:lnTo>
                    <a:pt x="40" y="4"/>
                  </a:lnTo>
                  <a:lnTo>
                    <a:pt x="38" y="2"/>
                  </a:lnTo>
                  <a:lnTo>
                    <a:pt x="34" y="0"/>
                  </a:lnTo>
                  <a:lnTo>
                    <a:pt x="32" y="0"/>
                  </a:lnTo>
                  <a:lnTo>
                    <a:pt x="32" y="4"/>
                  </a:lnTo>
                  <a:lnTo>
                    <a:pt x="30" y="6"/>
                  </a:lnTo>
                  <a:lnTo>
                    <a:pt x="26" y="6"/>
                  </a:lnTo>
                  <a:lnTo>
                    <a:pt x="24" y="6"/>
                  </a:lnTo>
                  <a:lnTo>
                    <a:pt x="24" y="8"/>
                  </a:lnTo>
                  <a:lnTo>
                    <a:pt x="22" y="14"/>
                  </a:lnTo>
                  <a:lnTo>
                    <a:pt x="20" y="18"/>
                  </a:lnTo>
                  <a:lnTo>
                    <a:pt x="18" y="18"/>
                  </a:lnTo>
                  <a:lnTo>
                    <a:pt x="16" y="18"/>
                  </a:lnTo>
                  <a:lnTo>
                    <a:pt x="14" y="16"/>
                  </a:lnTo>
                  <a:lnTo>
                    <a:pt x="14" y="14"/>
                  </a:lnTo>
                  <a:lnTo>
                    <a:pt x="14" y="16"/>
                  </a:lnTo>
                  <a:lnTo>
                    <a:pt x="14" y="20"/>
                  </a:lnTo>
                  <a:lnTo>
                    <a:pt x="14" y="24"/>
                  </a:lnTo>
                  <a:lnTo>
                    <a:pt x="10" y="24"/>
                  </a:lnTo>
                  <a:lnTo>
                    <a:pt x="6" y="26"/>
                  </a:lnTo>
                  <a:lnTo>
                    <a:pt x="0" y="28"/>
                  </a:lnTo>
                  <a:lnTo>
                    <a:pt x="0" y="30"/>
                  </a:lnTo>
                  <a:lnTo>
                    <a:pt x="0" y="32"/>
                  </a:lnTo>
                  <a:lnTo>
                    <a:pt x="0" y="36"/>
                  </a:lnTo>
                  <a:lnTo>
                    <a:pt x="2" y="38"/>
                  </a:lnTo>
                  <a:lnTo>
                    <a:pt x="4" y="38"/>
                  </a:lnTo>
                  <a:lnTo>
                    <a:pt x="6" y="36"/>
                  </a:lnTo>
                  <a:lnTo>
                    <a:pt x="4" y="34"/>
                  </a:lnTo>
                  <a:lnTo>
                    <a:pt x="6" y="34"/>
                  </a:lnTo>
                  <a:lnTo>
                    <a:pt x="10" y="34"/>
                  </a:lnTo>
                  <a:lnTo>
                    <a:pt x="12" y="26"/>
                  </a:lnTo>
                  <a:lnTo>
                    <a:pt x="14" y="28"/>
                  </a:lnTo>
                  <a:lnTo>
                    <a:pt x="16" y="30"/>
                  </a:lnTo>
                  <a:lnTo>
                    <a:pt x="14" y="34"/>
                  </a:lnTo>
                  <a:lnTo>
                    <a:pt x="14" y="40"/>
                  </a:lnTo>
                  <a:lnTo>
                    <a:pt x="20" y="46"/>
                  </a:lnTo>
                  <a:lnTo>
                    <a:pt x="20" y="48"/>
                  </a:lnTo>
                  <a:lnTo>
                    <a:pt x="18" y="50"/>
                  </a:lnTo>
                  <a:lnTo>
                    <a:pt x="30" y="58"/>
                  </a:lnTo>
                  <a:lnTo>
                    <a:pt x="32" y="58"/>
                  </a:lnTo>
                  <a:lnTo>
                    <a:pt x="36" y="58"/>
                  </a:lnTo>
                  <a:lnTo>
                    <a:pt x="40" y="62"/>
                  </a:lnTo>
                  <a:lnTo>
                    <a:pt x="44" y="66"/>
                  </a:lnTo>
                  <a:lnTo>
                    <a:pt x="48" y="68"/>
                  </a:lnTo>
                  <a:lnTo>
                    <a:pt x="54" y="70"/>
                  </a:lnTo>
                  <a:lnTo>
                    <a:pt x="56" y="7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999" name="Freeform 653">
              <a:extLst>
                <a:ext uri="{FF2B5EF4-FFF2-40B4-BE49-F238E27FC236}">
                  <a16:creationId xmlns:a16="http://schemas.microsoft.com/office/drawing/2014/main" id="{B0FBCFA7-336F-42D3-952A-CE6489B0EACF}"/>
                </a:ext>
              </a:extLst>
            </p:cNvPr>
            <p:cNvSpPr>
              <a:spLocks/>
            </p:cNvSpPr>
            <p:nvPr/>
          </p:nvSpPr>
          <p:spPr bwMode="gray">
            <a:xfrm>
              <a:off x="2585205" y="3992220"/>
              <a:ext cx="68272" cy="84754"/>
            </a:xfrm>
            <a:custGeom>
              <a:avLst/>
              <a:gdLst>
                <a:gd name="T0" fmla="*/ 2147483647 w 38"/>
                <a:gd name="T1" fmla="*/ 0 h 46"/>
                <a:gd name="T2" fmla="*/ 2147483647 w 38"/>
                <a:gd name="T3" fmla="*/ 0 h 46"/>
                <a:gd name="T4" fmla="*/ 2147483647 w 38"/>
                <a:gd name="T5" fmla="*/ 0 h 46"/>
                <a:gd name="T6" fmla="*/ 0 w 38"/>
                <a:gd name="T7" fmla="*/ 0 h 46"/>
                <a:gd name="T8" fmla="*/ 0 w 38"/>
                <a:gd name="T9" fmla="*/ 0 h 46"/>
                <a:gd name="T10" fmla="*/ 2147483647 w 38"/>
                <a:gd name="T11" fmla="*/ 2147483647 h 46"/>
                <a:gd name="T12" fmla="*/ 2147483647 w 38"/>
                <a:gd name="T13" fmla="*/ 2147483647 h 46"/>
                <a:gd name="T14" fmla="*/ 0 w 38"/>
                <a:gd name="T15" fmla="*/ 2147483647 h 46"/>
                <a:gd name="T16" fmla="*/ 0 w 38"/>
                <a:gd name="T17" fmla="*/ 2147483647 h 46"/>
                <a:gd name="T18" fmla="*/ 2147483647 w 38"/>
                <a:gd name="T19" fmla="*/ 2147483647 h 46"/>
                <a:gd name="T20" fmla="*/ 2147483647 w 38"/>
                <a:gd name="T21" fmla="*/ 2147483647 h 46"/>
                <a:gd name="T22" fmla="*/ 2147483647 w 38"/>
                <a:gd name="T23" fmla="*/ 2147483647 h 46"/>
                <a:gd name="T24" fmla="*/ 2147483647 w 38"/>
                <a:gd name="T25" fmla="*/ 2147483647 h 46"/>
                <a:gd name="T26" fmla="*/ 2147483647 w 38"/>
                <a:gd name="T27" fmla="*/ 2147483647 h 46"/>
                <a:gd name="T28" fmla="*/ 2147483647 w 38"/>
                <a:gd name="T29" fmla="*/ 2147483647 h 46"/>
                <a:gd name="T30" fmla="*/ 2147483647 w 38"/>
                <a:gd name="T31" fmla="*/ 2147483647 h 46"/>
                <a:gd name="T32" fmla="*/ 2147483647 w 38"/>
                <a:gd name="T33" fmla="*/ 2147483647 h 46"/>
                <a:gd name="T34" fmla="*/ 2147483647 w 38"/>
                <a:gd name="T35" fmla="*/ 2147483647 h 46"/>
                <a:gd name="T36" fmla="*/ 2147483647 w 38"/>
                <a:gd name="T37" fmla="*/ 2147483647 h 46"/>
                <a:gd name="T38" fmla="*/ 2147483647 w 38"/>
                <a:gd name="T39" fmla="*/ 2147483647 h 46"/>
                <a:gd name="T40" fmla="*/ 2147483647 w 38"/>
                <a:gd name="T41" fmla="*/ 2147483647 h 46"/>
                <a:gd name="T42" fmla="*/ 2147483647 w 38"/>
                <a:gd name="T43" fmla="*/ 2147483647 h 46"/>
                <a:gd name="T44" fmla="*/ 2147483647 w 38"/>
                <a:gd name="T45" fmla="*/ 2147483647 h 46"/>
                <a:gd name="T46" fmla="*/ 2147483647 w 38"/>
                <a:gd name="T47" fmla="*/ 2147483647 h 46"/>
                <a:gd name="T48" fmla="*/ 2147483647 w 38"/>
                <a:gd name="T49" fmla="*/ 2147483647 h 46"/>
                <a:gd name="T50" fmla="*/ 2147483647 w 38"/>
                <a:gd name="T51" fmla="*/ 2147483647 h 46"/>
                <a:gd name="T52" fmla="*/ 2147483647 w 38"/>
                <a:gd name="T53" fmla="*/ 2147483647 h 46"/>
                <a:gd name="T54" fmla="*/ 2147483647 w 38"/>
                <a:gd name="T55" fmla="*/ 2147483647 h 46"/>
                <a:gd name="T56" fmla="*/ 2147483647 w 38"/>
                <a:gd name="T57" fmla="*/ 2147483647 h 46"/>
                <a:gd name="T58" fmla="*/ 2147483647 w 38"/>
                <a:gd name="T59" fmla="*/ 2147483647 h 46"/>
                <a:gd name="T60" fmla="*/ 2147483647 w 38"/>
                <a:gd name="T61" fmla="*/ 2147483647 h 46"/>
                <a:gd name="T62" fmla="*/ 2147483647 w 38"/>
                <a:gd name="T63" fmla="*/ 2147483647 h 46"/>
                <a:gd name="T64" fmla="*/ 2147483647 w 38"/>
                <a:gd name="T65" fmla="*/ 2147483647 h 46"/>
                <a:gd name="T66" fmla="*/ 2147483647 w 38"/>
                <a:gd name="T67" fmla="*/ 2147483647 h 46"/>
                <a:gd name="T68" fmla="*/ 2147483647 w 38"/>
                <a:gd name="T69" fmla="*/ 2147483647 h 46"/>
                <a:gd name="T70" fmla="*/ 2147483647 w 38"/>
                <a:gd name="T71" fmla="*/ 2147483647 h 46"/>
                <a:gd name="T72" fmla="*/ 2147483647 w 38"/>
                <a:gd name="T73" fmla="*/ 2147483647 h 46"/>
                <a:gd name="T74" fmla="*/ 2147483647 w 38"/>
                <a:gd name="T75" fmla="*/ 2147483647 h 46"/>
                <a:gd name="T76" fmla="*/ 2147483647 w 38"/>
                <a:gd name="T77" fmla="*/ 2147483647 h 46"/>
                <a:gd name="T78" fmla="*/ 2147483647 w 38"/>
                <a:gd name="T79" fmla="*/ 2147483647 h 46"/>
                <a:gd name="T80" fmla="*/ 2147483647 w 38"/>
                <a:gd name="T81" fmla="*/ 2147483647 h 46"/>
                <a:gd name="T82" fmla="*/ 2147483647 w 38"/>
                <a:gd name="T83" fmla="*/ 2147483647 h 46"/>
                <a:gd name="T84" fmla="*/ 2147483647 w 38"/>
                <a:gd name="T85" fmla="*/ 2147483647 h 46"/>
                <a:gd name="T86" fmla="*/ 2147483647 w 38"/>
                <a:gd name="T87" fmla="*/ 2147483647 h 46"/>
                <a:gd name="T88" fmla="*/ 2147483647 w 38"/>
                <a:gd name="T89" fmla="*/ 2147483647 h 46"/>
                <a:gd name="T90" fmla="*/ 2147483647 w 38"/>
                <a:gd name="T91" fmla="*/ 2147483647 h 46"/>
                <a:gd name="T92" fmla="*/ 2147483647 w 38"/>
                <a:gd name="T93" fmla="*/ 2147483647 h 46"/>
                <a:gd name="T94" fmla="*/ 2147483647 w 38"/>
                <a:gd name="T95" fmla="*/ 2147483647 h 46"/>
                <a:gd name="T96" fmla="*/ 2147483647 w 38"/>
                <a:gd name="T97" fmla="*/ 2147483647 h 46"/>
                <a:gd name="T98" fmla="*/ 2147483647 w 38"/>
                <a:gd name="T99" fmla="*/ 2147483647 h 46"/>
                <a:gd name="T100" fmla="*/ 2147483647 w 38"/>
                <a:gd name="T101" fmla="*/ 2147483647 h 46"/>
                <a:gd name="T102" fmla="*/ 2147483647 w 38"/>
                <a:gd name="T103" fmla="*/ 2147483647 h 46"/>
                <a:gd name="T104" fmla="*/ 2147483647 w 38"/>
                <a:gd name="T105" fmla="*/ 2147483647 h 46"/>
                <a:gd name="T106" fmla="*/ 2147483647 w 38"/>
                <a:gd name="T107" fmla="*/ 2147483647 h 46"/>
                <a:gd name="T108" fmla="*/ 2147483647 w 38"/>
                <a:gd name="T109" fmla="*/ 2147483647 h 46"/>
                <a:gd name="T110" fmla="*/ 2147483647 w 38"/>
                <a:gd name="T111" fmla="*/ 2147483647 h 46"/>
                <a:gd name="T112" fmla="*/ 2147483647 w 38"/>
                <a:gd name="T113" fmla="*/ 0 h 46"/>
                <a:gd name="T114" fmla="*/ 2147483647 w 38"/>
                <a:gd name="T115" fmla="*/ 0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
                <a:gd name="T175" fmla="*/ 0 h 46"/>
                <a:gd name="T176" fmla="*/ 38 w 38"/>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 h="46">
                  <a:moveTo>
                    <a:pt x="4" y="0"/>
                  </a:moveTo>
                  <a:lnTo>
                    <a:pt x="4" y="0"/>
                  </a:lnTo>
                  <a:lnTo>
                    <a:pt x="2" y="0"/>
                  </a:lnTo>
                  <a:lnTo>
                    <a:pt x="0" y="0"/>
                  </a:lnTo>
                  <a:lnTo>
                    <a:pt x="4" y="6"/>
                  </a:lnTo>
                  <a:lnTo>
                    <a:pt x="4" y="10"/>
                  </a:lnTo>
                  <a:lnTo>
                    <a:pt x="0" y="22"/>
                  </a:lnTo>
                  <a:lnTo>
                    <a:pt x="4" y="24"/>
                  </a:lnTo>
                  <a:lnTo>
                    <a:pt x="6" y="26"/>
                  </a:lnTo>
                  <a:lnTo>
                    <a:pt x="12" y="24"/>
                  </a:lnTo>
                  <a:lnTo>
                    <a:pt x="12" y="22"/>
                  </a:lnTo>
                  <a:lnTo>
                    <a:pt x="12" y="20"/>
                  </a:lnTo>
                  <a:lnTo>
                    <a:pt x="20" y="26"/>
                  </a:lnTo>
                  <a:lnTo>
                    <a:pt x="26" y="32"/>
                  </a:lnTo>
                  <a:lnTo>
                    <a:pt x="26" y="38"/>
                  </a:lnTo>
                  <a:lnTo>
                    <a:pt x="26" y="40"/>
                  </a:lnTo>
                  <a:lnTo>
                    <a:pt x="26" y="44"/>
                  </a:lnTo>
                  <a:lnTo>
                    <a:pt x="28" y="44"/>
                  </a:lnTo>
                  <a:lnTo>
                    <a:pt x="28" y="42"/>
                  </a:lnTo>
                  <a:lnTo>
                    <a:pt x="28" y="38"/>
                  </a:lnTo>
                  <a:lnTo>
                    <a:pt x="32" y="38"/>
                  </a:lnTo>
                  <a:lnTo>
                    <a:pt x="34" y="46"/>
                  </a:lnTo>
                  <a:lnTo>
                    <a:pt x="36" y="40"/>
                  </a:lnTo>
                  <a:lnTo>
                    <a:pt x="34" y="36"/>
                  </a:lnTo>
                  <a:lnTo>
                    <a:pt x="32" y="34"/>
                  </a:lnTo>
                  <a:lnTo>
                    <a:pt x="34" y="32"/>
                  </a:lnTo>
                  <a:lnTo>
                    <a:pt x="34" y="28"/>
                  </a:lnTo>
                  <a:lnTo>
                    <a:pt x="34" y="26"/>
                  </a:lnTo>
                  <a:lnTo>
                    <a:pt x="36" y="26"/>
                  </a:lnTo>
                  <a:lnTo>
                    <a:pt x="38" y="26"/>
                  </a:lnTo>
                  <a:lnTo>
                    <a:pt x="36" y="20"/>
                  </a:lnTo>
                  <a:lnTo>
                    <a:pt x="24" y="6"/>
                  </a:lnTo>
                  <a:lnTo>
                    <a:pt x="22" y="6"/>
                  </a:lnTo>
                  <a:lnTo>
                    <a:pt x="20" y="6"/>
                  </a:lnTo>
                  <a:lnTo>
                    <a:pt x="18" y="4"/>
                  </a:lnTo>
                  <a:lnTo>
                    <a:pt x="14" y="4"/>
                  </a:lnTo>
                  <a:lnTo>
                    <a:pt x="14" y="6"/>
                  </a:lnTo>
                  <a:lnTo>
                    <a:pt x="12" y="4"/>
                  </a:lnTo>
                  <a:lnTo>
                    <a:pt x="6" y="4"/>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03" name="Freeform 654">
              <a:extLst>
                <a:ext uri="{FF2B5EF4-FFF2-40B4-BE49-F238E27FC236}">
                  <a16:creationId xmlns:a16="http://schemas.microsoft.com/office/drawing/2014/main" id="{AE9A3330-1E61-4CB9-9C14-8E39DA58C88B}"/>
                </a:ext>
              </a:extLst>
            </p:cNvPr>
            <p:cNvSpPr>
              <a:spLocks/>
            </p:cNvSpPr>
            <p:nvPr/>
          </p:nvSpPr>
          <p:spPr bwMode="gray">
            <a:xfrm>
              <a:off x="4616865" y="4189981"/>
              <a:ext cx="157730" cy="218950"/>
            </a:xfrm>
            <a:custGeom>
              <a:avLst/>
              <a:gdLst>
                <a:gd name="T0" fmla="*/ 2147483647 w 86"/>
                <a:gd name="T1" fmla="*/ 2147483647 h 118"/>
                <a:gd name="T2" fmla="*/ 2147483647 w 86"/>
                <a:gd name="T3" fmla="*/ 2147483647 h 118"/>
                <a:gd name="T4" fmla="*/ 2147483647 w 86"/>
                <a:gd name="T5" fmla="*/ 2147483647 h 118"/>
                <a:gd name="T6" fmla="*/ 2147483647 w 86"/>
                <a:gd name="T7" fmla="*/ 2147483647 h 118"/>
                <a:gd name="T8" fmla="*/ 2147483647 w 86"/>
                <a:gd name="T9" fmla="*/ 2147483647 h 118"/>
                <a:gd name="T10" fmla="*/ 2147483647 w 86"/>
                <a:gd name="T11" fmla="*/ 2147483647 h 118"/>
                <a:gd name="T12" fmla="*/ 2147483647 w 86"/>
                <a:gd name="T13" fmla="*/ 2147483647 h 118"/>
                <a:gd name="T14" fmla="*/ 2147483647 w 86"/>
                <a:gd name="T15" fmla="*/ 2147483647 h 118"/>
                <a:gd name="T16" fmla="*/ 2147483647 w 86"/>
                <a:gd name="T17" fmla="*/ 2147483647 h 118"/>
                <a:gd name="T18" fmla="*/ 2147483647 w 86"/>
                <a:gd name="T19" fmla="*/ 2147483647 h 118"/>
                <a:gd name="T20" fmla="*/ 2147483647 w 86"/>
                <a:gd name="T21" fmla="*/ 2147483647 h 118"/>
                <a:gd name="T22" fmla="*/ 2147483647 w 86"/>
                <a:gd name="T23" fmla="*/ 2147483647 h 118"/>
                <a:gd name="T24" fmla="*/ 2147483647 w 86"/>
                <a:gd name="T25" fmla="*/ 2147483647 h 118"/>
                <a:gd name="T26" fmla="*/ 2147483647 w 86"/>
                <a:gd name="T27" fmla="*/ 2147483647 h 118"/>
                <a:gd name="T28" fmla="*/ 2147483647 w 86"/>
                <a:gd name="T29" fmla="*/ 2147483647 h 118"/>
                <a:gd name="T30" fmla="*/ 2147483647 w 86"/>
                <a:gd name="T31" fmla="*/ 2147483647 h 118"/>
                <a:gd name="T32" fmla="*/ 2147483647 w 86"/>
                <a:gd name="T33" fmla="*/ 2147483647 h 118"/>
                <a:gd name="T34" fmla="*/ 2147483647 w 86"/>
                <a:gd name="T35" fmla="*/ 2147483647 h 118"/>
                <a:gd name="T36" fmla="*/ 2147483647 w 86"/>
                <a:gd name="T37" fmla="*/ 2147483647 h 118"/>
                <a:gd name="T38" fmla="*/ 2147483647 w 86"/>
                <a:gd name="T39" fmla="*/ 2147483647 h 118"/>
                <a:gd name="T40" fmla="*/ 2147483647 w 86"/>
                <a:gd name="T41" fmla="*/ 2147483647 h 118"/>
                <a:gd name="T42" fmla="*/ 2147483647 w 86"/>
                <a:gd name="T43" fmla="*/ 2147483647 h 118"/>
                <a:gd name="T44" fmla="*/ 2147483647 w 86"/>
                <a:gd name="T45" fmla="*/ 2147483647 h 118"/>
                <a:gd name="T46" fmla="*/ 2147483647 w 86"/>
                <a:gd name="T47" fmla="*/ 0 h 118"/>
                <a:gd name="T48" fmla="*/ 2147483647 w 86"/>
                <a:gd name="T49" fmla="*/ 2147483647 h 118"/>
                <a:gd name="T50" fmla="*/ 2147483647 w 86"/>
                <a:gd name="T51" fmla="*/ 2147483647 h 118"/>
                <a:gd name="T52" fmla="*/ 2147483647 w 86"/>
                <a:gd name="T53" fmla="*/ 2147483647 h 118"/>
                <a:gd name="T54" fmla="*/ 2147483647 w 86"/>
                <a:gd name="T55" fmla="*/ 2147483647 h 118"/>
                <a:gd name="T56" fmla="*/ 2147483647 w 86"/>
                <a:gd name="T57" fmla="*/ 2147483647 h 118"/>
                <a:gd name="T58" fmla="*/ 2147483647 w 86"/>
                <a:gd name="T59" fmla="*/ 2147483647 h 118"/>
                <a:gd name="T60" fmla="*/ 2147483647 w 86"/>
                <a:gd name="T61" fmla="*/ 2147483647 h 118"/>
                <a:gd name="T62" fmla="*/ 2147483647 w 86"/>
                <a:gd name="T63" fmla="*/ 2147483647 h 118"/>
                <a:gd name="T64" fmla="*/ 2147483647 w 86"/>
                <a:gd name="T65" fmla="*/ 2147483647 h 118"/>
                <a:gd name="T66" fmla="*/ 2147483647 w 86"/>
                <a:gd name="T67" fmla="*/ 2147483647 h 118"/>
                <a:gd name="T68" fmla="*/ 2147483647 w 86"/>
                <a:gd name="T69" fmla="*/ 2147483647 h 118"/>
                <a:gd name="T70" fmla="*/ 2147483647 w 86"/>
                <a:gd name="T71" fmla="*/ 2147483647 h 118"/>
                <a:gd name="T72" fmla="*/ 2147483647 w 86"/>
                <a:gd name="T73" fmla="*/ 2147483647 h 118"/>
                <a:gd name="T74" fmla="*/ 2147483647 w 86"/>
                <a:gd name="T75" fmla="*/ 2147483647 h 118"/>
                <a:gd name="T76" fmla="*/ 2147483647 w 86"/>
                <a:gd name="T77" fmla="*/ 2147483647 h 118"/>
                <a:gd name="T78" fmla="*/ 2147483647 w 86"/>
                <a:gd name="T79" fmla="*/ 2147483647 h 118"/>
                <a:gd name="T80" fmla="*/ 2147483647 w 86"/>
                <a:gd name="T81" fmla="*/ 2147483647 h 118"/>
                <a:gd name="T82" fmla="*/ 2147483647 w 86"/>
                <a:gd name="T83" fmla="*/ 2147483647 h 118"/>
                <a:gd name="T84" fmla="*/ 2147483647 w 86"/>
                <a:gd name="T85" fmla="*/ 2147483647 h 118"/>
                <a:gd name="T86" fmla="*/ 2147483647 w 86"/>
                <a:gd name="T87" fmla="*/ 2147483647 h 118"/>
                <a:gd name="T88" fmla="*/ 2147483647 w 86"/>
                <a:gd name="T89" fmla="*/ 2147483647 h 118"/>
                <a:gd name="T90" fmla="*/ 2147483647 w 86"/>
                <a:gd name="T91" fmla="*/ 2147483647 h 118"/>
                <a:gd name="T92" fmla="*/ 2147483647 w 86"/>
                <a:gd name="T93" fmla="*/ 2147483647 h 118"/>
                <a:gd name="T94" fmla="*/ 2147483647 w 86"/>
                <a:gd name="T95" fmla="*/ 2147483647 h 118"/>
                <a:gd name="T96" fmla="*/ 2147483647 w 86"/>
                <a:gd name="T97" fmla="*/ 2147483647 h 118"/>
                <a:gd name="T98" fmla="*/ 2147483647 w 86"/>
                <a:gd name="T99" fmla="*/ 2147483647 h 118"/>
                <a:gd name="T100" fmla="*/ 2147483647 w 86"/>
                <a:gd name="T101" fmla="*/ 2147483647 h 118"/>
                <a:gd name="T102" fmla="*/ 2147483647 w 86"/>
                <a:gd name="T103" fmla="*/ 2147483647 h 118"/>
                <a:gd name="T104" fmla="*/ 2147483647 w 86"/>
                <a:gd name="T105" fmla="*/ 2147483647 h 118"/>
                <a:gd name="T106" fmla="*/ 2147483647 w 86"/>
                <a:gd name="T107" fmla="*/ 2147483647 h 118"/>
                <a:gd name="T108" fmla="*/ 2147483647 w 86"/>
                <a:gd name="T109" fmla="*/ 2147483647 h 118"/>
                <a:gd name="T110" fmla="*/ 2147483647 w 86"/>
                <a:gd name="T111" fmla="*/ 2147483647 h 118"/>
                <a:gd name="T112" fmla="*/ 2147483647 w 86"/>
                <a:gd name="T113" fmla="*/ 2147483647 h 118"/>
                <a:gd name="T114" fmla="*/ 2147483647 w 86"/>
                <a:gd name="T115" fmla="*/ 2147483647 h 118"/>
                <a:gd name="T116" fmla="*/ 2147483647 w 86"/>
                <a:gd name="T117" fmla="*/ 2147483647 h 118"/>
                <a:gd name="T118" fmla="*/ 0 w 86"/>
                <a:gd name="T119" fmla="*/ 2147483647 h 118"/>
                <a:gd name="T120" fmla="*/ 2147483647 w 86"/>
                <a:gd name="T121" fmla="*/ 2147483647 h 118"/>
                <a:gd name="T122" fmla="*/ 2147483647 w 86"/>
                <a:gd name="T123" fmla="*/ 2147483647 h 1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
                <a:gd name="T187" fmla="*/ 0 h 118"/>
                <a:gd name="T188" fmla="*/ 86 w 86"/>
                <a:gd name="T189" fmla="*/ 118 h 1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 h="118">
                  <a:moveTo>
                    <a:pt x="6" y="118"/>
                  </a:moveTo>
                  <a:lnTo>
                    <a:pt x="6" y="118"/>
                  </a:lnTo>
                  <a:lnTo>
                    <a:pt x="8" y="116"/>
                  </a:lnTo>
                  <a:lnTo>
                    <a:pt x="14" y="114"/>
                  </a:lnTo>
                  <a:lnTo>
                    <a:pt x="16" y="114"/>
                  </a:lnTo>
                  <a:lnTo>
                    <a:pt x="18" y="112"/>
                  </a:lnTo>
                  <a:lnTo>
                    <a:pt x="20" y="110"/>
                  </a:lnTo>
                  <a:lnTo>
                    <a:pt x="22" y="112"/>
                  </a:lnTo>
                  <a:lnTo>
                    <a:pt x="22" y="114"/>
                  </a:lnTo>
                  <a:lnTo>
                    <a:pt x="24" y="114"/>
                  </a:lnTo>
                  <a:lnTo>
                    <a:pt x="26" y="112"/>
                  </a:lnTo>
                  <a:lnTo>
                    <a:pt x="28" y="112"/>
                  </a:lnTo>
                  <a:lnTo>
                    <a:pt x="34" y="112"/>
                  </a:lnTo>
                  <a:lnTo>
                    <a:pt x="34" y="110"/>
                  </a:lnTo>
                  <a:lnTo>
                    <a:pt x="34" y="108"/>
                  </a:lnTo>
                  <a:lnTo>
                    <a:pt x="38" y="108"/>
                  </a:lnTo>
                  <a:lnTo>
                    <a:pt x="42" y="108"/>
                  </a:lnTo>
                  <a:lnTo>
                    <a:pt x="44" y="106"/>
                  </a:lnTo>
                  <a:lnTo>
                    <a:pt x="44" y="114"/>
                  </a:lnTo>
                  <a:lnTo>
                    <a:pt x="50" y="114"/>
                  </a:lnTo>
                  <a:lnTo>
                    <a:pt x="54" y="114"/>
                  </a:lnTo>
                  <a:lnTo>
                    <a:pt x="56" y="112"/>
                  </a:lnTo>
                  <a:lnTo>
                    <a:pt x="60" y="112"/>
                  </a:lnTo>
                  <a:lnTo>
                    <a:pt x="62" y="110"/>
                  </a:lnTo>
                  <a:lnTo>
                    <a:pt x="62" y="106"/>
                  </a:lnTo>
                  <a:lnTo>
                    <a:pt x="62" y="102"/>
                  </a:lnTo>
                  <a:lnTo>
                    <a:pt x="62" y="100"/>
                  </a:lnTo>
                  <a:lnTo>
                    <a:pt x="64" y="100"/>
                  </a:lnTo>
                  <a:lnTo>
                    <a:pt x="64" y="98"/>
                  </a:lnTo>
                  <a:lnTo>
                    <a:pt x="66" y="96"/>
                  </a:lnTo>
                  <a:lnTo>
                    <a:pt x="68" y="90"/>
                  </a:lnTo>
                  <a:lnTo>
                    <a:pt x="66" y="86"/>
                  </a:lnTo>
                  <a:lnTo>
                    <a:pt x="64" y="82"/>
                  </a:lnTo>
                  <a:lnTo>
                    <a:pt x="66" y="76"/>
                  </a:lnTo>
                  <a:lnTo>
                    <a:pt x="68" y="72"/>
                  </a:lnTo>
                  <a:lnTo>
                    <a:pt x="70" y="70"/>
                  </a:lnTo>
                  <a:lnTo>
                    <a:pt x="72" y="68"/>
                  </a:lnTo>
                  <a:lnTo>
                    <a:pt x="72" y="66"/>
                  </a:lnTo>
                  <a:lnTo>
                    <a:pt x="74" y="60"/>
                  </a:lnTo>
                  <a:lnTo>
                    <a:pt x="76" y="54"/>
                  </a:lnTo>
                  <a:lnTo>
                    <a:pt x="78" y="48"/>
                  </a:lnTo>
                  <a:lnTo>
                    <a:pt x="78" y="42"/>
                  </a:lnTo>
                  <a:lnTo>
                    <a:pt x="78" y="32"/>
                  </a:lnTo>
                  <a:lnTo>
                    <a:pt x="80" y="22"/>
                  </a:lnTo>
                  <a:lnTo>
                    <a:pt x="80" y="16"/>
                  </a:lnTo>
                  <a:lnTo>
                    <a:pt x="82" y="14"/>
                  </a:lnTo>
                  <a:lnTo>
                    <a:pt x="84" y="6"/>
                  </a:lnTo>
                  <a:lnTo>
                    <a:pt x="86" y="0"/>
                  </a:lnTo>
                  <a:lnTo>
                    <a:pt x="78" y="2"/>
                  </a:lnTo>
                  <a:lnTo>
                    <a:pt x="74" y="2"/>
                  </a:lnTo>
                  <a:lnTo>
                    <a:pt x="72" y="2"/>
                  </a:lnTo>
                  <a:lnTo>
                    <a:pt x="68" y="4"/>
                  </a:lnTo>
                  <a:lnTo>
                    <a:pt x="68" y="6"/>
                  </a:lnTo>
                  <a:lnTo>
                    <a:pt x="66" y="8"/>
                  </a:lnTo>
                  <a:lnTo>
                    <a:pt x="64" y="10"/>
                  </a:lnTo>
                  <a:lnTo>
                    <a:pt x="62" y="10"/>
                  </a:lnTo>
                  <a:lnTo>
                    <a:pt x="62" y="12"/>
                  </a:lnTo>
                  <a:lnTo>
                    <a:pt x="60" y="16"/>
                  </a:lnTo>
                  <a:lnTo>
                    <a:pt x="62" y="22"/>
                  </a:lnTo>
                  <a:lnTo>
                    <a:pt x="56" y="20"/>
                  </a:lnTo>
                  <a:lnTo>
                    <a:pt x="48" y="20"/>
                  </a:lnTo>
                  <a:lnTo>
                    <a:pt x="46" y="20"/>
                  </a:lnTo>
                  <a:lnTo>
                    <a:pt x="44" y="18"/>
                  </a:lnTo>
                  <a:lnTo>
                    <a:pt x="42" y="16"/>
                  </a:lnTo>
                  <a:lnTo>
                    <a:pt x="36" y="16"/>
                  </a:lnTo>
                  <a:lnTo>
                    <a:pt x="28" y="16"/>
                  </a:lnTo>
                  <a:lnTo>
                    <a:pt x="28" y="26"/>
                  </a:lnTo>
                  <a:lnTo>
                    <a:pt x="28" y="28"/>
                  </a:lnTo>
                  <a:lnTo>
                    <a:pt x="28" y="30"/>
                  </a:lnTo>
                  <a:lnTo>
                    <a:pt x="30" y="30"/>
                  </a:lnTo>
                  <a:lnTo>
                    <a:pt x="36" y="28"/>
                  </a:lnTo>
                  <a:lnTo>
                    <a:pt x="42" y="30"/>
                  </a:lnTo>
                  <a:lnTo>
                    <a:pt x="42" y="40"/>
                  </a:lnTo>
                  <a:lnTo>
                    <a:pt x="40" y="40"/>
                  </a:lnTo>
                  <a:lnTo>
                    <a:pt x="36" y="40"/>
                  </a:lnTo>
                  <a:lnTo>
                    <a:pt x="32" y="40"/>
                  </a:lnTo>
                  <a:lnTo>
                    <a:pt x="32" y="44"/>
                  </a:lnTo>
                  <a:lnTo>
                    <a:pt x="32" y="50"/>
                  </a:lnTo>
                  <a:lnTo>
                    <a:pt x="30" y="50"/>
                  </a:lnTo>
                  <a:lnTo>
                    <a:pt x="34" y="52"/>
                  </a:lnTo>
                  <a:lnTo>
                    <a:pt x="36" y="56"/>
                  </a:lnTo>
                  <a:lnTo>
                    <a:pt x="36" y="58"/>
                  </a:lnTo>
                  <a:lnTo>
                    <a:pt x="36" y="62"/>
                  </a:lnTo>
                  <a:lnTo>
                    <a:pt x="36" y="66"/>
                  </a:lnTo>
                  <a:lnTo>
                    <a:pt x="38" y="68"/>
                  </a:lnTo>
                  <a:lnTo>
                    <a:pt x="38" y="70"/>
                  </a:lnTo>
                  <a:lnTo>
                    <a:pt x="36" y="72"/>
                  </a:lnTo>
                  <a:lnTo>
                    <a:pt x="36" y="74"/>
                  </a:lnTo>
                  <a:lnTo>
                    <a:pt x="40" y="76"/>
                  </a:lnTo>
                  <a:lnTo>
                    <a:pt x="38" y="82"/>
                  </a:lnTo>
                  <a:lnTo>
                    <a:pt x="38" y="86"/>
                  </a:lnTo>
                  <a:lnTo>
                    <a:pt x="36" y="88"/>
                  </a:lnTo>
                  <a:lnTo>
                    <a:pt x="36" y="86"/>
                  </a:lnTo>
                  <a:lnTo>
                    <a:pt x="34" y="82"/>
                  </a:lnTo>
                  <a:lnTo>
                    <a:pt x="30" y="80"/>
                  </a:lnTo>
                  <a:lnTo>
                    <a:pt x="26" y="82"/>
                  </a:lnTo>
                  <a:lnTo>
                    <a:pt x="22" y="82"/>
                  </a:lnTo>
                  <a:lnTo>
                    <a:pt x="22" y="80"/>
                  </a:lnTo>
                  <a:lnTo>
                    <a:pt x="18" y="78"/>
                  </a:lnTo>
                  <a:lnTo>
                    <a:pt x="18" y="80"/>
                  </a:lnTo>
                  <a:lnTo>
                    <a:pt x="18" y="82"/>
                  </a:lnTo>
                  <a:lnTo>
                    <a:pt x="18" y="84"/>
                  </a:lnTo>
                  <a:lnTo>
                    <a:pt x="12" y="82"/>
                  </a:lnTo>
                  <a:lnTo>
                    <a:pt x="12" y="84"/>
                  </a:lnTo>
                  <a:lnTo>
                    <a:pt x="12" y="86"/>
                  </a:lnTo>
                  <a:lnTo>
                    <a:pt x="12" y="88"/>
                  </a:lnTo>
                  <a:lnTo>
                    <a:pt x="10" y="88"/>
                  </a:lnTo>
                  <a:lnTo>
                    <a:pt x="10" y="90"/>
                  </a:lnTo>
                  <a:lnTo>
                    <a:pt x="10" y="92"/>
                  </a:lnTo>
                  <a:lnTo>
                    <a:pt x="14" y="98"/>
                  </a:lnTo>
                  <a:lnTo>
                    <a:pt x="14" y="102"/>
                  </a:lnTo>
                  <a:lnTo>
                    <a:pt x="12" y="102"/>
                  </a:lnTo>
                  <a:lnTo>
                    <a:pt x="10" y="102"/>
                  </a:lnTo>
                  <a:lnTo>
                    <a:pt x="6" y="100"/>
                  </a:lnTo>
                  <a:lnTo>
                    <a:pt x="4" y="100"/>
                  </a:lnTo>
                  <a:lnTo>
                    <a:pt x="2" y="102"/>
                  </a:lnTo>
                  <a:lnTo>
                    <a:pt x="0" y="104"/>
                  </a:lnTo>
                  <a:lnTo>
                    <a:pt x="0" y="110"/>
                  </a:lnTo>
                  <a:lnTo>
                    <a:pt x="4" y="114"/>
                  </a:lnTo>
                  <a:lnTo>
                    <a:pt x="6" y="116"/>
                  </a:lnTo>
                  <a:lnTo>
                    <a:pt x="6" y="1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07" name="Freeform 655">
              <a:extLst>
                <a:ext uri="{FF2B5EF4-FFF2-40B4-BE49-F238E27FC236}">
                  <a16:creationId xmlns:a16="http://schemas.microsoft.com/office/drawing/2014/main" id="{7720F5DF-F368-493A-931F-64D7ACEF51AA}"/>
                </a:ext>
              </a:extLst>
            </p:cNvPr>
            <p:cNvSpPr>
              <a:spLocks/>
            </p:cNvSpPr>
            <p:nvPr/>
          </p:nvSpPr>
          <p:spPr bwMode="gray">
            <a:xfrm>
              <a:off x="2724101" y="3982802"/>
              <a:ext cx="268376" cy="419064"/>
            </a:xfrm>
            <a:custGeom>
              <a:avLst/>
              <a:gdLst>
                <a:gd name="T0" fmla="*/ 2147483647 w 144"/>
                <a:gd name="T1" fmla="*/ 2147483647 h 226"/>
                <a:gd name="T2" fmla="*/ 2147483647 w 144"/>
                <a:gd name="T3" fmla="*/ 2147483647 h 226"/>
                <a:gd name="T4" fmla="*/ 2147483647 w 144"/>
                <a:gd name="T5" fmla="*/ 2147483647 h 226"/>
                <a:gd name="T6" fmla="*/ 2147483647 w 144"/>
                <a:gd name="T7" fmla="*/ 2147483647 h 226"/>
                <a:gd name="T8" fmla="*/ 2147483647 w 144"/>
                <a:gd name="T9" fmla="*/ 2147483647 h 226"/>
                <a:gd name="T10" fmla="*/ 2147483647 w 144"/>
                <a:gd name="T11" fmla="*/ 2147483647 h 226"/>
                <a:gd name="T12" fmla="*/ 2147483647 w 144"/>
                <a:gd name="T13" fmla="*/ 2147483647 h 226"/>
                <a:gd name="T14" fmla="*/ 2147483647 w 144"/>
                <a:gd name="T15" fmla="*/ 2147483647 h 226"/>
                <a:gd name="T16" fmla="*/ 2147483647 w 144"/>
                <a:gd name="T17" fmla="*/ 2147483647 h 226"/>
                <a:gd name="T18" fmla="*/ 2147483647 w 144"/>
                <a:gd name="T19" fmla="*/ 2147483647 h 226"/>
                <a:gd name="T20" fmla="*/ 2147483647 w 144"/>
                <a:gd name="T21" fmla="*/ 2147483647 h 226"/>
                <a:gd name="T22" fmla="*/ 2147483647 w 144"/>
                <a:gd name="T23" fmla="*/ 2147483647 h 226"/>
                <a:gd name="T24" fmla="*/ 2147483647 w 144"/>
                <a:gd name="T25" fmla="*/ 2147483647 h 226"/>
                <a:gd name="T26" fmla="*/ 2147483647 w 144"/>
                <a:gd name="T27" fmla="*/ 2147483647 h 226"/>
                <a:gd name="T28" fmla="*/ 2147483647 w 144"/>
                <a:gd name="T29" fmla="*/ 2147483647 h 226"/>
                <a:gd name="T30" fmla="*/ 2147483647 w 144"/>
                <a:gd name="T31" fmla="*/ 2147483647 h 226"/>
                <a:gd name="T32" fmla="*/ 2147483647 w 144"/>
                <a:gd name="T33" fmla="*/ 2147483647 h 226"/>
                <a:gd name="T34" fmla="*/ 2147483647 w 144"/>
                <a:gd name="T35" fmla="*/ 2147483647 h 226"/>
                <a:gd name="T36" fmla="*/ 2147483647 w 144"/>
                <a:gd name="T37" fmla="*/ 2147483647 h 226"/>
                <a:gd name="T38" fmla="*/ 2147483647 w 144"/>
                <a:gd name="T39" fmla="*/ 2147483647 h 226"/>
                <a:gd name="T40" fmla="*/ 2147483647 w 144"/>
                <a:gd name="T41" fmla="*/ 2147483647 h 226"/>
                <a:gd name="T42" fmla="*/ 2147483647 w 144"/>
                <a:gd name="T43" fmla="*/ 2147483647 h 226"/>
                <a:gd name="T44" fmla="*/ 2147483647 w 144"/>
                <a:gd name="T45" fmla="*/ 2147483647 h 226"/>
                <a:gd name="T46" fmla="*/ 2147483647 w 144"/>
                <a:gd name="T47" fmla="*/ 2147483647 h 226"/>
                <a:gd name="T48" fmla="*/ 2147483647 w 144"/>
                <a:gd name="T49" fmla="*/ 2147483647 h 226"/>
                <a:gd name="T50" fmla="*/ 2147483647 w 144"/>
                <a:gd name="T51" fmla="*/ 2147483647 h 226"/>
                <a:gd name="T52" fmla="*/ 2147483647 w 144"/>
                <a:gd name="T53" fmla="*/ 2147483647 h 226"/>
                <a:gd name="T54" fmla="*/ 2147483647 w 144"/>
                <a:gd name="T55" fmla="*/ 2147483647 h 226"/>
                <a:gd name="T56" fmla="*/ 2147483647 w 144"/>
                <a:gd name="T57" fmla="*/ 2147483647 h 226"/>
                <a:gd name="T58" fmla="*/ 2147483647 w 144"/>
                <a:gd name="T59" fmla="*/ 2147483647 h 226"/>
                <a:gd name="T60" fmla="*/ 2147483647 w 144"/>
                <a:gd name="T61" fmla="*/ 2147483647 h 226"/>
                <a:gd name="T62" fmla="*/ 2147483647 w 144"/>
                <a:gd name="T63" fmla="*/ 2147483647 h 226"/>
                <a:gd name="T64" fmla="*/ 2147483647 w 144"/>
                <a:gd name="T65" fmla="*/ 2147483647 h 226"/>
                <a:gd name="T66" fmla="*/ 2147483647 w 144"/>
                <a:gd name="T67" fmla="*/ 2147483647 h 226"/>
                <a:gd name="T68" fmla="*/ 2147483647 w 144"/>
                <a:gd name="T69" fmla="*/ 2147483647 h 226"/>
                <a:gd name="T70" fmla="*/ 2147483647 w 144"/>
                <a:gd name="T71" fmla="*/ 2147483647 h 226"/>
                <a:gd name="T72" fmla="*/ 2147483647 w 144"/>
                <a:gd name="T73" fmla="*/ 0 h 226"/>
                <a:gd name="T74" fmla="*/ 2147483647 w 144"/>
                <a:gd name="T75" fmla="*/ 2147483647 h 226"/>
                <a:gd name="T76" fmla="*/ 2147483647 w 144"/>
                <a:gd name="T77" fmla="*/ 2147483647 h 226"/>
                <a:gd name="T78" fmla="*/ 2147483647 w 144"/>
                <a:gd name="T79" fmla="*/ 2147483647 h 226"/>
                <a:gd name="T80" fmla="*/ 2147483647 w 144"/>
                <a:gd name="T81" fmla="*/ 2147483647 h 226"/>
                <a:gd name="T82" fmla="*/ 2147483647 w 144"/>
                <a:gd name="T83" fmla="*/ 2147483647 h 226"/>
                <a:gd name="T84" fmla="*/ 2147483647 w 144"/>
                <a:gd name="T85" fmla="*/ 2147483647 h 226"/>
                <a:gd name="T86" fmla="*/ 2147483647 w 144"/>
                <a:gd name="T87" fmla="*/ 2147483647 h 226"/>
                <a:gd name="T88" fmla="*/ 2147483647 w 144"/>
                <a:gd name="T89" fmla="*/ 2147483647 h 226"/>
                <a:gd name="T90" fmla="*/ 2147483647 w 144"/>
                <a:gd name="T91" fmla="*/ 2147483647 h 226"/>
                <a:gd name="T92" fmla="*/ 2147483647 w 144"/>
                <a:gd name="T93" fmla="*/ 2147483647 h 226"/>
                <a:gd name="T94" fmla="*/ 2147483647 w 144"/>
                <a:gd name="T95" fmla="*/ 2147483647 h 226"/>
                <a:gd name="T96" fmla="*/ 2147483647 w 144"/>
                <a:gd name="T97" fmla="*/ 2147483647 h 226"/>
                <a:gd name="T98" fmla="*/ 2147483647 w 144"/>
                <a:gd name="T99" fmla="*/ 2147483647 h 226"/>
                <a:gd name="T100" fmla="*/ 2147483647 w 144"/>
                <a:gd name="T101" fmla="*/ 2147483647 h 226"/>
                <a:gd name="T102" fmla="*/ 2147483647 w 144"/>
                <a:gd name="T103" fmla="*/ 2147483647 h 2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4"/>
                <a:gd name="T157" fmla="*/ 0 h 226"/>
                <a:gd name="T158" fmla="*/ 144 w 144"/>
                <a:gd name="T159" fmla="*/ 226 h 22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4" h="226">
                  <a:moveTo>
                    <a:pt x="2" y="148"/>
                  </a:moveTo>
                  <a:lnTo>
                    <a:pt x="2" y="148"/>
                  </a:lnTo>
                  <a:lnTo>
                    <a:pt x="2" y="150"/>
                  </a:lnTo>
                  <a:lnTo>
                    <a:pt x="4" y="152"/>
                  </a:lnTo>
                  <a:lnTo>
                    <a:pt x="12" y="156"/>
                  </a:lnTo>
                  <a:lnTo>
                    <a:pt x="14" y="160"/>
                  </a:lnTo>
                  <a:lnTo>
                    <a:pt x="16" y="164"/>
                  </a:lnTo>
                  <a:lnTo>
                    <a:pt x="18" y="164"/>
                  </a:lnTo>
                  <a:lnTo>
                    <a:pt x="28" y="166"/>
                  </a:lnTo>
                  <a:lnTo>
                    <a:pt x="30" y="164"/>
                  </a:lnTo>
                  <a:lnTo>
                    <a:pt x="32" y="166"/>
                  </a:lnTo>
                  <a:lnTo>
                    <a:pt x="36" y="170"/>
                  </a:lnTo>
                  <a:lnTo>
                    <a:pt x="40" y="170"/>
                  </a:lnTo>
                  <a:lnTo>
                    <a:pt x="46" y="170"/>
                  </a:lnTo>
                  <a:lnTo>
                    <a:pt x="46" y="174"/>
                  </a:lnTo>
                  <a:lnTo>
                    <a:pt x="48" y="176"/>
                  </a:lnTo>
                  <a:lnTo>
                    <a:pt x="52" y="180"/>
                  </a:lnTo>
                  <a:lnTo>
                    <a:pt x="54" y="184"/>
                  </a:lnTo>
                  <a:lnTo>
                    <a:pt x="56" y="186"/>
                  </a:lnTo>
                  <a:lnTo>
                    <a:pt x="58" y="188"/>
                  </a:lnTo>
                  <a:lnTo>
                    <a:pt x="66" y="188"/>
                  </a:lnTo>
                  <a:lnTo>
                    <a:pt x="66" y="192"/>
                  </a:lnTo>
                  <a:lnTo>
                    <a:pt x="66" y="194"/>
                  </a:lnTo>
                  <a:lnTo>
                    <a:pt x="70" y="196"/>
                  </a:lnTo>
                  <a:lnTo>
                    <a:pt x="76" y="198"/>
                  </a:lnTo>
                  <a:lnTo>
                    <a:pt x="76" y="196"/>
                  </a:lnTo>
                  <a:lnTo>
                    <a:pt x="80" y="196"/>
                  </a:lnTo>
                  <a:lnTo>
                    <a:pt x="84" y="196"/>
                  </a:lnTo>
                  <a:lnTo>
                    <a:pt x="88" y="198"/>
                  </a:lnTo>
                  <a:lnTo>
                    <a:pt x="94" y="200"/>
                  </a:lnTo>
                  <a:lnTo>
                    <a:pt x="98" y="200"/>
                  </a:lnTo>
                  <a:lnTo>
                    <a:pt x="98" y="202"/>
                  </a:lnTo>
                  <a:lnTo>
                    <a:pt x="88" y="224"/>
                  </a:lnTo>
                  <a:lnTo>
                    <a:pt x="92" y="224"/>
                  </a:lnTo>
                  <a:lnTo>
                    <a:pt x="96" y="226"/>
                  </a:lnTo>
                  <a:lnTo>
                    <a:pt x="108" y="194"/>
                  </a:lnTo>
                  <a:lnTo>
                    <a:pt x="110" y="190"/>
                  </a:lnTo>
                  <a:lnTo>
                    <a:pt x="108" y="186"/>
                  </a:lnTo>
                  <a:lnTo>
                    <a:pt x="104" y="182"/>
                  </a:lnTo>
                  <a:lnTo>
                    <a:pt x="102" y="182"/>
                  </a:lnTo>
                  <a:lnTo>
                    <a:pt x="102" y="178"/>
                  </a:lnTo>
                  <a:lnTo>
                    <a:pt x="110" y="176"/>
                  </a:lnTo>
                  <a:lnTo>
                    <a:pt x="110" y="172"/>
                  </a:lnTo>
                  <a:lnTo>
                    <a:pt x="108" y="170"/>
                  </a:lnTo>
                  <a:lnTo>
                    <a:pt x="104" y="170"/>
                  </a:lnTo>
                  <a:lnTo>
                    <a:pt x="104" y="164"/>
                  </a:lnTo>
                  <a:lnTo>
                    <a:pt x="110" y="162"/>
                  </a:lnTo>
                  <a:lnTo>
                    <a:pt x="126" y="160"/>
                  </a:lnTo>
                  <a:lnTo>
                    <a:pt x="126" y="156"/>
                  </a:lnTo>
                  <a:lnTo>
                    <a:pt x="128" y="158"/>
                  </a:lnTo>
                  <a:lnTo>
                    <a:pt x="132" y="156"/>
                  </a:lnTo>
                  <a:lnTo>
                    <a:pt x="134" y="152"/>
                  </a:lnTo>
                  <a:lnTo>
                    <a:pt x="138" y="152"/>
                  </a:lnTo>
                  <a:lnTo>
                    <a:pt x="140" y="158"/>
                  </a:lnTo>
                  <a:lnTo>
                    <a:pt x="142" y="158"/>
                  </a:lnTo>
                  <a:lnTo>
                    <a:pt x="144" y="152"/>
                  </a:lnTo>
                  <a:lnTo>
                    <a:pt x="142" y="146"/>
                  </a:lnTo>
                  <a:lnTo>
                    <a:pt x="140" y="142"/>
                  </a:lnTo>
                  <a:lnTo>
                    <a:pt x="138" y="144"/>
                  </a:lnTo>
                  <a:lnTo>
                    <a:pt x="136" y="144"/>
                  </a:lnTo>
                  <a:lnTo>
                    <a:pt x="136" y="142"/>
                  </a:lnTo>
                  <a:lnTo>
                    <a:pt x="136" y="138"/>
                  </a:lnTo>
                  <a:lnTo>
                    <a:pt x="138" y="136"/>
                  </a:lnTo>
                  <a:lnTo>
                    <a:pt x="142" y="132"/>
                  </a:lnTo>
                  <a:lnTo>
                    <a:pt x="144" y="124"/>
                  </a:lnTo>
                  <a:lnTo>
                    <a:pt x="140" y="122"/>
                  </a:lnTo>
                  <a:lnTo>
                    <a:pt x="134" y="118"/>
                  </a:lnTo>
                  <a:lnTo>
                    <a:pt x="130" y="114"/>
                  </a:lnTo>
                  <a:lnTo>
                    <a:pt x="128" y="110"/>
                  </a:lnTo>
                  <a:lnTo>
                    <a:pt x="124" y="106"/>
                  </a:lnTo>
                  <a:lnTo>
                    <a:pt x="122" y="104"/>
                  </a:lnTo>
                  <a:lnTo>
                    <a:pt x="122" y="102"/>
                  </a:lnTo>
                  <a:lnTo>
                    <a:pt x="122" y="98"/>
                  </a:lnTo>
                  <a:lnTo>
                    <a:pt x="122" y="96"/>
                  </a:lnTo>
                  <a:lnTo>
                    <a:pt x="124" y="96"/>
                  </a:lnTo>
                  <a:lnTo>
                    <a:pt x="124" y="88"/>
                  </a:lnTo>
                  <a:lnTo>
                    <a:pt x="116" y="86"/>
                  </a:lnTo>
                  <a:lnTo>
                    <a:pt x="108" y="88"/>
                  </a:lnTo>
                  <a:lnTo>
                    <a:pt x="102" y="78"/>
                  </a:lnTo>
                  <a:lnTo>
                    <a:pt x="100" y="76"/>
                  </a:lnTo>
                  <a:lnTo>
                    <a:pt x="96" y="76"/>
                  </a:lnTo>
                  <a:lnTo>
                    <a:pt x="90" y="76"/>
                  </a:lnTo>
                  <a:lnTo>
                    <a:pt x="86" y="76"/>
                  </a:lnTo>
                  <a:lnTo>
                    <a:pt x="78" y="74"/>
                  </a:lnTo>
                  <a:lnTo>
                    <a:pt x="78" y="72"/>
                  </a:lnTo>
                  <a:lnTo>
                    <a:pt x="76" y="68"/>
                  </a:lnTo>
                  <a:lnTo>
                    <a:pt x="74" y="64"/>
                  </a:lnTo>
                  <a:lnTo>
                    <a:pt x="72" y="60"/>
                  </a:lnTo>
                  <a:lnTo>
                    <a:pt x="72" y="56"/>
                  </a:lnTo>
                  <a:lnTo>
                    <a:pt x="74" y="56"/>
                  </a:lnTo>
                  <a:lnTo>
                    <a:pt x="68" y="46"/>
                  </a:lnTo>
                  <a:lnTo>
                    <a:pt x="64" y="46"/>
                  </a:lnTo>
                  <a:lnTo>
                    <a:pt x="62" y="46"/>
                  </a:lnTo>
                  <a:lnTo>
                    <a:pt x="62" y="42"/>
                  </a:lnTo>
                  <a:lnTo>
                    <a:pt x="64" y="36"/>
                  </a:lnTo>
                  <a:lnTo>
                    <a:pt x="64" y="32"/>
                  </a:lnTo>
                  <a:lnTo>
                    <a:pt x="66" y="28"/>
                  </a:lnTo>
                  <a:lnTo>
                    <a:pt x="64" y="24"/>
                  </a:lnTo>
                  <a:lnTo>
                    <a:pt x="70" y="22"/>
                  </a:lnTo>
                  <a:lnTo>
                    <a:pt x="74" y="12"/>
                  </a:lnTo>
                  <a:lnTo>
                    <a:pt x="80" y="6"/>
                  </a:lnTo>
                  <a:lnTo>
                    <a:pt x="86" y="2"/>
                  </a:lnTo>
                  <a:lnTo>
                    <a:pt x="86" y="0"/>
                  </a:lnTo>
                  <a:lnTo>
                    <a:pt x="78" y="0"/>
                  </a:lnTo>
                  <a:lnTo>
                    <a:pt x="78" y="4"/>
                  </a:lnTo>
                  <a:lnTo>
                    <a:pt x="64" y="14"/>
                  </a:lnTo>
                  <a:lnTo>
                    <a:pt x="60" y="14"/>
                  </a:lnTo>
                  <a:lnTo>
                    <a:pt x="58" y="12"/>
                  </a:lnTo>
                  <a:lnTo>
                    <a:pt x="56" y="14"/>
                  </a:lnTo>
                  <a:lnTo>
                    <a:pt x="54" y="16"/>
                  </a:lnTo>
                  <a:lnTo>
                    <a:pt x="54" y="20"/>
                  </a:lnTo>
                  <a:lnTo>
                    <a:pt x="52" y="20"/>
                  </a:lnTo>
                  <a:lnTo>
                    <a:pt x="52" y="18"/>
                  </a:lnTo>
                  <a:lnTo>
                    <a:pt x="46" y="18"/>
                  </a:lnTo>
                  <a:lnTo>
                    <a:pt x="44" y="32"/>
                  </a:lnTo>
                  <a:lnTo>
                    <a:pt x="40" y="32"/>
                  </a:lnTo>
                  <a:lnTo>
                    <a:pt x="40" y="36"/>
                  </a:lnTo>
                  <a:lnTo>
                    <a:pt x="40" y="40"/>
                  </a:lnTo>
                  <a:lnTo>
                    <a:pt x="34" y="40"/>
                  </a:lnTo>
                  <a:lnTo>
                    <a:pt x="30" y="48"/>
                  </a:lnTo>
                  <a:lnTo>
                    <a:pt x="30" y="54"/>
                  </a:lnTo>
                  <a:lnTo>
                    <a:pt x="24" y="50"/>
                  </a:lnTo>
                  <a:lnTo>
                    <a:pt x="22" y="54"/>
                  </a:lnTo>
                  <a:lnTo>
                    <a:pt x="24" y="56"/>
                  </a:lnTo>
                  <a:lnTo>
                    <a:pt x="24" y="60"/>
                  </a:lnTo>
                  <a:lnTo>
                    <a:pt x="24" y="64"/>
                  </a:lnTo>
                  <a:lnTo>
                    <a:pt x="22" y="66"/>
                  </a:lnTo>
                  <a:lnTo>
                    <a:pt x="20" y="68"/>
                  </a:lnTo>
                  <a:lnTo>
                    <a:pt x="20" y="78"/>
                  </a:lnTo>
                  <a:lnTo>
                    <a:pt x="22" y="82"/>
                  </a:lnTo>
                  <a:lnTo>
                    <a:pt x="22" y="84"/>
                  </a:lnTo>
                  <a:lnTo>
                    <a:pt x="20" y="98"/>
                  </a:lnTo>
                  <a:lnTo>
                    <a:pt x="16" y="114"/>
                  </a:lnTo>
                  <a:lnTo>
                    <a:pt x="22" y="118"/>
                  </a:lnTo>
                  <a:lnTo>
                    <a:pt x="14" y="126"/>
                  </a:lnTo>
                  <a:lnTo>
                    <a:pt x="4" y="132"/>
                  </a:lnTo>
                  <a:lnTo>
                    <a:pt x="6" y="134"/>
                  </a:lnTo>
                  <a:lnTo>
                    <a:pt x="4" y="136"/>
                  </a:lnTo>
                  <a:lnTo>
                    <a:pt x="4" y="140"/>
                  </a:lnTo>
                  <a:lnTo>
                    <a:pt x="6" y="142"/>
                  </a:lnTo>
                  <a:lnTo>
                    <a:pt x="0" y="142"/>
                  </a:lnTo>
                  <a:lnTo>
                    <a:pt x="2" y="14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08" name="Freeform 656">
              <a:extLst>
                <a:ext uri="{FF2B5EF4-FFF2-40B4-BE49-F238E27FC236}">
                  <a16:creationId xmlns:a16="http://schemas.microsoft.com/office/drawing/2014/main" id="{343C5916-1EC2-4E36-B02B-7DD09A71F198}"/>
                </a:ext>
              </a:extLst>
            </p:cNvPr>
            <p:cNvSpPr>
              <a:spLocks noEditPoints="1"/>
            </p:cNvSpPr>
            <p:nvPr/>
          </p:nvSpPr>
          <p:spPr bwMode="gray">
            <a:xfrm>
              <a:off x="5916374" y="2798596"/>
              <a:ext cx="1290091" cy="1028823"/>
            </a:xfrm>
            <a:custGeom>
              <a:avLst/>
              <a:gdLst>
                <a:gd name="T0" fmla="*/ 2147483647 w 698"/>
                <a:gd name="T1" fmla="*/ 2147483647 h 556"/>
                <a:gd name="T2" fmla="*/ 2147483647 w 698"/>
                <a:gd name="T3" fmla="*/ 2147483647 h 556"/>
                <a:gd name="T4" fmla="*/ 2147483647 w 698"/>
                <a:gd name="T5" fmla="*/ 2147483647 h 556"/>
                <a:gd name="T6" fmla="*/ 2147483647 w 698"/>
                <a:gd name="T7" fmla="*/ 2147483647 h 556"/>
                <a:gd name="T8" fmla="*/ 2147483647 w 698"/>
                <a:gd name="T9" fmla="*/ 2147483647 h 556"/>
                <a:gd name="T10" fmla="*/ 2147483647 w 698"/>
                <a:gd name="T11" fmla="*/ 2147483647 h 556"/>
                <a:gd name="T12" fmla="*/ 2147483647 w 698"/>
                <a:gd name="T13" fmla="*/ 2147483647 h 556"/>
                <a:gd name="T14" fmla="*/ 2147483647 w 698"/>
                <a:gd name="T15" fmla="*/ 2147483647 h 556"/>
                <a:gd name="T16" fmla="*/ 2147483647 w 698"/>
                <a:gd name="T17" fmla="*/ 2147483647 h 556"/>
                <a:gd name="T18" fmla="*/ 2147483647 w 698"/>
                <a:gd name="T19" fmla="*/ 2147483647 h 556"/>
                <a:gd name="T20" fmla="*/ 2147483647 w 698"/>
                <a:gd name="T21" fmla="*/ 2147483647 h 556"/>
                <a:gd name="T22" fmla="*/ 2147483647 w 698"/>
                <a:gd name="T23" fmla="*/ 2147483647 h 556"/>
                <a:gd name="T24" fmla="*/ 2147483647 w 698"/>
                <a:gd name="T25" fmla="*/ 2147483647 h 556"/>
                <a:gd name="T26" fmla="*/ 2147483647 w 698"/>
                <a:gd name="T27" fmla="*/ 2147483647 h 556"/>
                <a:gd name="T28" fmla="*/ 2147483647 w 698"/>
                <a:gd name="T29" fmla="*/ 2147483647 h 556"/>
                <a:gd name="T30" fmla="*/ 2147483647 w 698"/>
                <a:gd name="T31" fmla="*/ 2147483647 h 556"/>
                <a:gd name="T32" fmla="*/ 2147483647 w 698"/>
                <a:gd name="T33" fmla="*/ 2147483647 h 556"/>
                <a:gd name="T34" fmla="*/ 2147483647 w 698"/>
                <a:gd name="T35" fmla="*/ 2147483647 h 556"/>
                <a:gd name="T36" fmla="*/ 2147483647 w 698"/>
                <a:gd name="T37" fmla="*/ 2147483647 h 556"/>
                <a:gd name="T38" fmla="*/ 2147483647 w 698"/>
                <a:gd name="T39" fmla="*/ 2147483647 h 556"/>
                <a:gd name="T40" fmla="*/ 2147483647 w 698"/>
                <a:gd name="T41" fmla="*/ 2147483647 h 556"/>
                <a:gd name="T42" fmla="*/ 2147483647 w 698"/>
                <a:gd name="T43" fmla="*/ 2147483647 h 556"/>
                <a:gd name="T44" fmla="*/ 2147483647 w 698"/>
                <a:gd name="T45" fmla="*/ 2147483647 h 556"/>
                <a:gd name="T46" fmla="*/ 2147483647 w 698"/>
                <a:gd name="T47" fmla="*/ 2147483647 h 556"/>
                <a:gd name="T48" fmla="*/ 2147483647 w 698"/>
                <a:gd name="T49" fmla="*/ 2147483647 h 556"/>
                <a:gd name="T50" fmla="*/ 2147483647 w 698"/>
                <a:gd name="T51" fmla="*/ 2147483647 h 556"/>
                <a:gd name="T52" fmla="*/ 2147483647 w 698"/>
                <a:gd name="T53" fmla="*/ 2147483647 h 556"/>
                <a:gd name="T54" fmla="*/ 2147483647 w 698"/>
                <a:gd name="T55" fmla="*/ 2147483647 h 556"/>
                <a:gd name="T56" fmla="*/ 2147483647 w 698"/>
                <a:gd name="T57" fmla="*/ 2147483647 h 556"/>
                <a:gd name="T58" fmla="*/ 2147483647 w 698"/>
                <a:gd name="T59" fmla="*/ 2147483647 h 556"/>
                <a:gd name="T60" fmla="*/ 2147483647 w 698"/>
                <a:gd name="T61" fmla="*/ 2147483647 h 556"/>
                <a:gd name="T62" fmla="*/ 2147483647 w 698"/>
                <a:gd name="T63" fmla="*/ 2147483647 h 556"/>
                <a:gd name="T64" fmla="*/ 2147483647 w 698"/>
                <a:gd name="T65" fmla="*/ 2147483647 h 556"/>
                <a:gd name="T66" fmla="*/ 2147483647 w 698"/>
                <a:gd name="T67" fmla="*/ 2147483647 h 556"/>
                <a:gd name="T68" fmla="*/ 2147483647 w 698"/>
                <a:gd name="T69" fmla="*/ 2147483647 h 556"/>
                <a:gd name="T70" fmla="*/ 2147483647 w 698"/>
                <a:gd name="T71" fmla="*/ 2147483647 h 556"/>
                <a:gd name="T72" fmla="*/ 2147483647 w 698"/>
                <a:gd name="T73" fmla="*/ 2147483647 h 556"/>
                <a:gd name="T74" fmla="*/ 2147483647 w 698"/>
                <a:gd name="T75" fmla="*/ 2147483647 h 556"/>
                <a:gd name="T76" fmla="*/ 2147483647 w 698"/>
                <a:gd name="T77" fmla="*/ 2147483647 h 556"/>
                <a:gd name="T78" fmla="*/ 2147483647 w 698"/>
                <a:gd name="T79" fmla="*/ 2147483647 h 556"/>
                <a:gd name="T80" fmla="*/ 2147483647 w 698"/>
                <a:gd name="T81" fmla="*/ 2147483647 h 556"/>
                <a:gd name="T82" fmla="*/ 2147483647 w 698"/>
                <a:gd name="T83" fmla="*/ 2147483647 h 556"/>
                <a:gd name="T84" fmla="*/ 2147483647 w 698"/>
                <a:gd name="T85" fmla="*/ 2147483647 h 556"/>
                <a:gd name="T86" fmla="*/ 2147483647 w 698"/>
                <a:gd name="T87" fmla="*/ 2147483647 h 556"/>
                <a:gd name="T88" fmla="*/ 2147483647 w 698"/>
                <a:gd name="T89" fmla="*/ 2147483647 h 556"/>
                <a:gd name="T90" fmla="*/ 2147483647 w 698"/>
                <a:gd name="T91" fmla="*/ 2147483647 h 556"/>
                <a:gd name="T92" fmla="*/ 2147483647 w 698"/>
                <a:gd name="T93" fmla="*/ 2147483647 h 556"/>
                <a:gd name="T94" fmla="*/ 2147483647 w 698"/>
                <a:gd name="T95" fmla="*/ 2147483647 h 556"/>
                <a:gd name="T96" fmla="*/ 2147483647 w 698"/>
                <a:gd name="T97" fmla="*/ 2147483647 h 556"/>
                <a:gd name="T98" fmla="*/ 2147483647 w 698"/>
                <a:gd name="T99" fmla="*/ 2147483647 h 556"/>
                <a:gd name="T100" fmla="*/ 2147483647 w 698"/>
                <a:gd name="T101" fmla="*/ 2147483647 h 556"/>
                <a:gd name="T102" fmla="*/ 2147483647 w 698"/>
                <a:gd name="T103" fmla="*/ 2147483647 h 556"/>
                <a:gd name="T104" fmla="*/ 2147483647 w 698"/>
                <a:gd name="T105" fmla="*/ 2147483647 h 556"/>
                <a:gd name="T106" fmla="*/ 2147483647 w 698"/>
                <a:gd name="T107" fmla="*/ 2147483647 h 556"/>
                <a:gd name="T108" fmla="*/ 2147483647 w 698"/>
                <a:gd name="T109" fmla="*/ 2147483647 h 556"/>
                <a:gd name="T110" fmla="*/ 2147483647 w 698"/>
                <a:gd name="T111" fmla="*/ 2147483647 h 556"/>
                <a:gd name="T112" fmla="*/ 2147483647 w 698"/>
                <a:gd name="T113" fmla="*/ 2147483647 h 556"/>
                <a:gd name="T114" fmla="*/ 2147483647 w 698"/>
                <a:gd name="T115" fmla="*/ 2147483647 h 556"/>
                <a:gd name="T116" fmla="*/ 2147483647 w 698"/>
                <a:gd name="T117" fmla="*/ 2147483647 h 556"/>
                <a:gd name="T118" fmla="*/ 2147483647 w 698"/>
                <a:gd name="T119" fmla="*/ 2147483647 h 556"/>
                <a:gd name="T120" fmla="*/ 2147483647 w 698"/>
                <a:gd name="T121" fmla="*/ 2147483647 h 556"/>
                <a:gd name="T122" fmla="*/ 2147483647 w 698"/>
                <a:gd name="T123" fmla="*/ 2147483647 h 5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98"/>
                <a:gd name="T187" fmla="*/ 0 h 556"/>
                <a:gd name="T188" fmla="*/ 698 w 698"/>
                <a:gd name="T189" fmla="*/ 556 h 5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98" h="556">
                  <a:moveTo>
                    <a:pt x="670" y="140"/>
                  </a:moveTo>
                  <a:lnTo>
                    <a:pt x="672" y="142"/>
                  </a:lnTo>
                  <a:lnTo>
                    <a:pt x="674" y="138"/>
                  </a:lnTo>
                  <a:lnTo>
                    <a:pt x="680" y="136"/>
                  </a:lnTo>
                  <a:lnTo>
                    <a:pt x="682" y="132"/>
                  </a:lnTo>
                  <a:lnTo>
                    <a:pt x="684" y="130"/>
                  </a:lnTo>
                  <a:lnTo>
                    <a:pt x="690" y="126"/>
                  </a:lnTo>
                  <a:lnTo>
                    <a:pt x="692" y="120"/>
                  </a:lnTo>
                  <a:lnTo>
                    <a:pt x="694" y="112"/>
                  </a:lnTo>
                  <a:lnTo>
                    <a:pt x="692" y="108"/>
                  </a:lnTo>
                  <a:lnTo>
                    <a:pt x="696" y="104"/>
                  </a:lnTo>
                  <a:lnTo>
                    <a:pt x="696" y="98"/>
                  </a:lnTo>
                  <a:lnTo>
                    <a:pt x="694" y="96"/>
                  </a:lnTo>
                  <a:lnTo>
                    <a:pt x="694" y="90"/>
                  </a:lnTo>
                  <a:lnTo>
                    <a:pt x="698" y="84"/>
                  </a:lnTo>
                  <a:lnTo>
                    <a:pt x="690" y="86"/>
                  </a:lnTo>
                  <a:lnTo>
                    <a:pt x="688" y="90"/>
                  </a:lnTo>
                  <a:lnTo>
                    <a:pt x="684" y="92"/>
                  </a:lnTo>
                  <a:lnTo>
                    <a:pt x="680" y="92"/>
                  </a:lnTo>
                  <a:lnTo>
                    <a:pt x="676" y="94"/>
                  </a:lnTo>
                  <a:lnTo>
                    <a:pt x="672" y="98"/>
                  </a:lnTo>
                  <a:lnTo>
                    <a:pt x="668" y="100"/>
                  </a:lnTo>
                  <a:lnTo>
                    <a:pt x="664" y="102"/>
                  </a:lnTo>
                  <a:lnTo>
                    <a:pt x="658" y="98"/>
                  </a:lnTo>
                  <a:lnTo>
                    <a:pt x="654" y="96"/>
                  </a:lnTo>
                  <a:lnTo>
                    <a:pt x="650" y="92"/>
                  </a:lnTo>
                  <a:lnTo>
                    <a:pt x="652" y="86"/>
                  </a:lnTo>
                  <a:lnTo>
                    <a:pt x="650" y="82"/>
                  </a:lnTo>
                  <a:lnTo>
                    <a:pt x="644" y="76"/>
                  </a:lnTo>
                  <a:lnTo>
                    <a:pt x="642" y="70"/>
                  </a:lnTo>
                  <a:lnTo>
                    <a:pt x="640" y="66"/>
                  </a:lnTo>
                  <a:lnTo>
                    <a:pt x="638" y="62"/>
                  </a:lnTo>
                  <a:lnTo>
                    <a:pt x="630" y="60"/>
                  </a:lnTo>
                  <a:lnTo>
                    <a:pt x="626" y="60"/>
                  </a:lnTo>
                  <a:lnTo>
                    <a:pt x="622" y="60"/>
                  </a:lnTo>
                  <a:lnTo>
                    <a:pt x="618" y="56"/>
                  </a:lnTo>
                  <a:lnTo>
                    <a:pt x="614" y="48"/>
                  </a:lnTo>
                  <a:lnTo>
                    <a:pt x="608" y="40"/>
                  </a:lnTo>
                  <a:lnTo>
                    <a:pt x="608" y="34"/>
                  </a:lnTo>
                  <a:lnTo>
                    <a:pt x="608" y="28"/>
                  </a:lnTo>
                  <a:lnTo>
                    <a:pt x="602" y="22"/>
                  </a:lnTo>
                  <a:lnTo>
                    <a:pt x="600" y="18"/>
                  </a:lnTo>
                  <a:lnTo>
                    <a:pt x="594" y="14"/>
                  </a:lnTo>
                  <a:lnTo>
                    <a:pt x="586" y="12"/>
                  </a:lnTo>
                  <a:lnTo>
                    <a:pt x="582" y="8"/>
                  </a:lnTo>
                  <a:lnTo>
                    <a:pt x="578" y="4"/>
                  </a:lnTo>
                  <a:lnTo>
                    <a:pt x="572" y="0"/>
                  </a:lnTo>
                  <a:lnTo>
                    <a:pt x="566" y="0"/>
                  </a:lnTo>
                  <a:lnTo>
                    <a:pt x="562" y="2"/>
                  </a:lnTo>
                  <a:lnTo>
                    <a:pt x="556" y="4"/>
                  </a:lnTo>
                  <a:lnTo>
                    <a:pt x="550" y="4"/>
                  </a:lnTo>
                  <a:lnTo>
                    <a:pt x="546" y="8"/>
                  </a:lnTo>
                  <a:lnTo>
                    <a:pt x="540" y="12"/>
                  </a:lnTo>
                  <a:lnTo>
                    <a:pt x="536" y="16"/>
                  </a:lnTo>
                  <a:lnTo>
                    <a:pt x="534" y="18"/>
                  </a:lnTo>
                  <a:lnTo>
                    <a:pt x="534" y="22"/>
                  </a:lnTo>
                  <a:lnTo>
                    <a:pt x="538" y="20"/>
                  </a:lnTo>
                  <a:lnTo>
                    <a:pt x="538" y="26"/>
                  </a:lnTo>
                  <a:lnTo>
                    <a:pt x="538" y="32"/>
                  </a:lnTo>
                  <a:lnTo>
                    <a:pt x="534" y="34"/>
                  </a:lnTo>
                  <a:lnTo>
                    <a:pt x="536" y="40"/>
                  </a:lnTo>
                  <a:lnTo>
                    <a:pt x="532" y="46"/>
                  </a:lnTo>
                  <a:lnTo>
                    <a:pt x="528" y="52"/>
                  </a:lnTo>
                  <a:lnTo>
                    <a:pt x="524" y="56"/>
                  </a:lnTo>
                  <a:lnTo>
                    <a:pt x="522" y="58"/>
                  </a:lnTo>
                  <a:lnTo>
                    <a:pt x="524" y="60"/>
                  </a:lnTo>
                  <a:lnTo>
                    <a:pt x="522" y="62"/>
                  </a:lnTo>
                  <a:lnTo>
                    <a:pt x="520" y="64"/>
                  </a:lnTo>
                  <a:lnTo>
                    <a:pt x="516" y="64"/>
                  </a:lnTo>
                  <a:lnTo>
                    <a:pt x="508" y="72"/>
                  </a:lnTo>
                  <a:lnTo>
                    <a:pt x="504" y="68"/>
                  </a:lnTo>
                  <a:lnTo>
                    <a:pt x="496" y="64"/>
                  </a:lnTo>
                  <a:lnTo>
                    <a:pt x="490" y="66"/>
                  </a:lnTo>
                  <a:lnTo>
                    <a:pt x="486" y="78"/>
                  </a:lnTo>
                  <a:lnTo>
                    <a:pt x="488" y="84"/>
                  </a:lnTo>
                  <a:lnTo>
                    <a:pt x="486" y="90"/>
                  </a:lnTo>
                  <a:lnTo>
                    <a:pt x="484" y="92"/>
                  </a:lnTo>
                  <a:lnTo>
                    <a:pt x="484" y="98"/>
                  </a:lnTo>
                  <a:lnTo>
                    <a:pt x="492" y="102"/>
                  </a:lnTo>
                  <a:lnTo>
                    <a:pt x="500" y="100"/>
                  </a:lnTo>
                  <a:lnTo>
                    <a:pt x="506" y="94"/>
                  </a:lnTo>
                  <a:lnTo>
                    <a:pt x="510" y="94"/>
                  </a:lnTo>
                  <a:lnTo>
                    <a:pt x="512" y="98"/>
                  </a:lnTo>
                  <a:lnTo>
                    <a:pt x="518" y="104"/>
                  </a:lnTo>
                  <a:lnTo>
                    <a:pt x="526" y="106"/>
                  </a:lnTo>
                  <a:lnTo>
                    <a:pt x="530" y="110"/>
                  </a:lnTo>
                  <a:lnTo>
                    <a:pt x="528" y="116"/>
                  </a:lnTo>
                  <a:lnTo>
                    <a:pt x="524" y="116"/>
                  </a:lnTo>
                  <a:lnTo>
                    <a:pt x="518" y="116"/>
                  </a:lnTo>
                  <a:lnTo>
                    <a:pt x="516" y="118"/>
                  </a:lnTo>
                  <a:lnTo>
                    <a:pt x="514" y="120"/>
                  </a:lnTo>
                  <a:lnTo>
                    <a:pt x="510" y="122"/>
                  </a:lnTo>
                  <a:lnTo>
                    <a:pt x="504" y="122"/>
                  </a:lnTo>
                  <a:lnTo>
                    <a:pt x="494" y="128"/>
                  </a:lnTo>
                  <a:lnTo>
                    <a:pt x="492" y="124"/>
                  </a:lnTo>
                  <a:lnTo>
                    <a:pt x="488" y="126"/>
                  </a:lnTo>
                  <a:lnTo>
                    <a:pt x="486" y="132"/>
                  </a:lnTo>
                  <a:lnTo>
                    <a:pt x="482" y="134"/>
                  </a:lnTo>
                  <a:lnTo>
                    <a:pt x="466" y="138"/>
                  </a:lnTo>
                  <a:lnTo>
                    <a:pt x="464" y="146"/>
                  </a:lnTo>
                  <a:lnTo>
                    <a:pt x="456" y="152"/>
                  </a:lnTo>
                  <a:lnTo>
                    <a:pt x="448" y="150"/>
                  </a:lnTo>
                  <a:lnTo>
                    <a:pt x="444" y="142"/>
                  </a:lnTo>
                  <a:lnTo>
                    <a:pt x="438" y="142"/>
                  </a:lnTo>
                  <a:lnTo>
                    <a:pt x="434" y="146"/>
                  </a:lnTo>
                  <a:lnTo>
                    <a:pt x="430" y="152"/>
                  </a:lnTo>
                  <a:lnTo>
                    <a:pt x="430" y="158"/>
                  </a:lnTo>
                  <a:lnTo>
                    <a:pt x="432" y="164"/>
                  </a:lnTo>
                  <a:lnTo>
                    <a:pt x="434" y="170"/>
                  </a:lnTo>
                  <a:lnTo>
                    <a:pt x="430" y="176"/>
                  </a:lnTo>
                  <a:lnTo>
                    <a:pt x="424" y="178"/>
                  </a:lnTo>
                  <a:lnTo>
                    <a:pt x="416" y="182"/>
                  </a:lnTo>
                  <a:lnTo>
                    <a:pt x="404" y="184"/>
                  </a:lnTo>
                  <a:lnTo>
                    <a:pt x="394" y="184"/>
                  </a:lnTo>
                  <a:lnTo>
                    <a:pt x="388" y="186"/>
                  </a:lnTo>
                  <a:lnTo>
                    <a:pt x="384" y="186"/>
                  </a:lnTo>
                  <a:lnTo>
                    <a:pt x="378" y="192"/>
                  </a:lnTo>
                  <a:lnTo>
                    <a:pt x="370" y="196"/>
                  </a:lnTo>
                  <a:lnTo>
                    <a:pt x="362" y="196"/>
                  </a:lnTo>
                  <a:lnTo>
                    <a:pt x="354" y="198"/>
                  </a:lnTo>
                  <a:lnTo>
                    <a:pt x="342" y="198"/>
                  </a:lnTo>
                  <a:lnTo>
                    <a:pt x="336" y="194"/>
                  </a:lnTo>
                  <a:lnTo>
                    <a:pt x="330" y="188"/>
                  </a:lnTo>
                  <a:lnTo>
                    <a:pt x="328" y="186"/>
                  </a:lnTo>
                  <a:lnTo>
                    <a:pt x="310" y="186"/>
                  </a:lnTo>
                  <a:lnTo>
                    <a:pt x="300" y="184"/>
                  </a:lnTo>
                  <a:lnTo>
                    <a:pt x="292" y="184"/>
                  </a:lnTo>
                  <a:lnTo>
                    <a:pt x="282" y="184"/>
                  </a:lnTo>
                  <a:lnTo>
                    <a:pt x="276" y="184"/>
                  </a:lnTo>
                  <a:lnTo>
                    <a:pt x="270" y="180"/>
                  </a:lnTo>
                  <a:lnTo>
                    <a:pt x="264" y="174"/>
                  </a:lnTo>
                  <a:lnTo>
                    <a:pt x="258" y="168"/>
                  </a:lnTo>
                  <a:lnTo>
                    <a:pt x="254" y="166"/>
                  </a:lnTo>
                  <a:lnTo>
                    <a:pt x="250" y="158"/>
                  </a:lnTo>
                  <a:lnTo>
                    <a:pt x="246" y="154"/>
                  </a:lnTo>
                  <a:lnTo>
                    <a:pt x="240" y="152"/>
                  </a:lnTo>
                  <a:lnTo>
                    <a:pt x="236" y="148"/>
                  </a:lnTo>
                  <a:lnTo>
                    <a:pt x="230" y="144"/>
                  </a:lnTo>
                  <a:lnTo>
                    <a:pt x="222" y="144"/>
                  </a:lnTo>
                  <a:lnTo>
                    <a:pt x="216" y="142"/>
                  </a:lnTo>
                  <a:lnTo>
                    <a:pt x="214" y="138"/>
                  </a:lnTo>
                  <a:lnTo>
                    <a:pt x="216" y="130"/>
                  </a:lnTo>
                  <a:lnTo>
                    <a:pt x="218" y="126"/>
                  </a:lnTo>
                  <a:lnTo>
                    <a:pt x="214" y="118"/>
                  </a:lnTo>
                  <a:lnTo>
                    <a:pt x="208" y="116"/>
                  </a:lnTo>
                  <a:lnTo>
                    <a:pt x="208" y="112"/>
                  </a:lnTo>
                  <a:lnTo>
                    <a:pt x="200" y="104"/>
                  </a:lnTo>
                  <a:lnTo>
                    <a:pt x="194" y="100"/>
                  </a:lnTo>
                  <a:lnTo>
                    <a:pt x="186" y="102"/>
                  </a:lnTo>
                  <a:lnTo>
                    <a:pt x="180" y="100"/>
                  </a:lnTo>
                  <a:lnTo>
                    <a:pt x="176" y="96"/>
                  </a:lnTo>
                  <a:lnTo>
                    <a:pt x="176" y="92"/>
                  </a:lnTo>
                  <a:lnTo>
                    <a:pt x="174" y="84"/>
                  </a:lnTo>
                  <a:lnTo>
                    <a:pt x="176" y="72"/>
                  </a:lnTo>
                  <a:lnTo>
                    <a:pt x="170" y="76"/>
                  </a:lnTo>
                  <a:lnTo>
                    <a:pt x="154" y="80"/>
                  </a:lnTo>
                  <a:lnTo>
                    <a:pt x="148" y="84"/>
                  </a:lnTo>
                  <a:lnTo>
                    <a:pt x="146" y="88"/>
                  </a:lnTo>
                  <a:lnTo>
                    <a:pt x="138" y="92"/>
                  </a:lnTo>
                  <a:lnTo>
                    <a:pt x="136" y="96"/>
                  </a:lnTo>
                  <a:lnTo>
                    <a:pt x="136" y="100"/>
                  </a:lnTo>
                  <a:lnTo>
                    <a:pt x="126" y="104"/>
                  </a:lnTo>
                  <a:lnTo>
                    <a:pt x="120" y="104"/>
                  </a:lnTo>
                  <a:lnTo>
                    <a:pt x="116" y="108"/>
                  </a:lnTo>
                  <a:lnTo>
                    <a:pt x="112" y="114"/>
                  </a:lnTo>
                  <a:lnTo>
                    <a:pt x="106" y="118"/>
                  </a:lnTo>
                  <a:lnTo>
                    <a:pt x="104" y="128"/>
                  </a:lnTo>
                  <a:lnTo>
                    <a:pt x="106" y="134"/>
                  </a:lnTo>
                  <a:lnTo>
                    <a:pt x="110" y="138"/>
                  </a:lnTo>
                  <a:lnTo>
                    <a:pt x="108" y="142"/>
                  </a:lnTo>
                  <a:lnTo>
                    <a:pt x="96" y="142"/>
                  </a:lnTo>
                  <a:lnTo>
                    <a:pt x="88" y="146"/>
                  </a:lnTo>
                  <a:lnTo>
                    <a:pt x="78" y="148"/>
                  </a:lnTo>
                  <a:lnTo>
                    <a:pt x="76" y="150"/>
                  </a:lnTo>
                  <a:lnTo>
                    <a:pt x="78" y="154"/>
                  </a:lnTo>
                  <a:lnTo>
                    <a:pt x="84" y="160"/>
                  </a:lnTo>
                  <a:lnTo>
                    <a:pt x="86" y="166"/>
                  </a:lnTo>
                  <a:lnTo>
                    <a:pt x="82" y="176"/>
                  </a:lnTo>
                  <a:lnTo>
                    <a:pt x="80" y="184"/>
                  </a:lnTo>
                  <a:lnTo>
                    <a:pt x="72" y="188"/>
                  </a:lnTo>
                  <a:lnTo>
                    <a:pt x="66" y="194"/>
                  </a:lnTo>
                  <a:lnTo>
                    <a:pt x="64" y="194"/>
                  </a:lnTo>
                  <a:lnTo>
                    <a:pt x="60" y="196"/>
                  </a:lnTo>
                  <a:lnTo>
                    <a:pt x="60" y="202"/>
                  </a:lnTo>
                  <a:lnTo>
                    <a:pt x="56" y="202"/>
                  </a:lnTo>
                  <a:lnTo>
                    <a:pt x="52" y="204"/>
                  </a:lnTo>
                  <a:lnTo>
                    <a:pt x="46" y="204"/>
                  </a:lnTo>
                  <a:lnTo>
                    <a:pt x="40" y="208"/>
                  </a:lnTo>
                  <a:lnTo>
                    <a:pt x="40" y="214"/>
                  </a:lnTo>
                  <a:lnTo>
                    <a:pt x="40" y="216"/>
                  </a:lnTo>
                  <a:lnTo>
                    <a:pt x="38" y="218"/>
                  </a:lnTo>
                  <a:lnTo>
                    <a:pt x="34" y="220"/>
                  </a:lnTo>
                  <a:lnTo>
                    <a:pt x="28" y="220"/>
                  </a:lnTo>
                  <a:lnTo>
                    <a:pt x="26" y="222"/>
                  </a:lnTo>
                  <a:lnTo>
                    <a:pt x="22" y="224"/>
                  </a:lnTo>
                  <a:lnTo>
                    <a:pt x="22" y="222"/>
                  </a:lnTo>
                  <a:lnTo>
                    <a:pt x="20" y="220"/>
                  </a:lnTo>
                  <a:lnTo>
                    <a:pt x="18" y="218"/>
                  </a:lnTo>
                  <a:lnTo>
                    <a:pt x="14" y="218"/>
                  </a:lnTo>
                  <a:lnTo>
                    <a:pt x="12" y="222"/>
                  </a:lnTo>
                  <a:lnTo>
                    <a:pt x="8" y="226"/>
                  </a:lnTo>
                  <a:lnTo>
                    <a:pt x="4" y="228"/>
                  </a:lnTo>
                  <a:lnTo>
                    <a:pt x="0" y="232"/>
                  </a:lnTo>
                  <a:lnTo>
                    <a:pt x="2" y="238"/>
                  </a:lnTo>
                  <a:lnTo>
                    <a:pt x="0" y="242"/>
                  </a:lnTo>
                  <a:lnTo>
                    <a:pt x="4" y="246"/>
                  </a:lnTo>
                  <a:lnTo>
                    <a:pt x="12" y="242"/>
                  </a:lnTo>
                  <a:lnTo>
                    <a:pt x="14" y="244"/>
                  </a:lnTo>
                  <a:lnTo>
                    <a:pt x="12" y="248"/>
                  </a:lnTo>
                  <a:lnTo>
                    <a:pt x="12" y="252"/>
                  </a:lnTo>
                  <a:lnTo>
                    <a:pt x="14" y="258"/>
                  </a:lnTo>
                  <a:lnTo>
                    <a:pt x="14" y="264"/>
                  </a:lnTo>
                  <a:lnTo>
                    <a:pt x="16" y="266"/>
                  </a:lnTo>
                  <a:lnTo>
                    <a:pt x="18" y="270"/>
                  </a:lnTo>
                  <a:lnTo>
                    <a:pt x="14" y="272"/>
                  </a:lnTo>
                  <a:lnTo>
                    <a:pt x="14" y="276"/>
                  </a:lnTo>
                  <a:lnTo>
                    <a:pt x="22" y="276"/>
                  </a:lnTo>
                  <a:lnTo>
                    <a:pt x="34" y="284"/>
                  </a:lnTo>
                  <a:lnTo>
                    <a:pt x="36" y="288"/>
                  </a:lnTo>
                  <a:lnTo>
                    <a:pt x="42" y="292"/>
                  </a:lnTo>
                  <a:lnTo>
                    <a:pt x="46" y="288"/>
                  </a:lnTo>
                  <a:lnTo>
                    <a:pt x="50" y="286"/>
                  </a:lnTo>
                  <a:lnTo>
                    <a:pt x="54" y="286"/>
                  </a:lnTo>
                  <a:lnTo>
                    <a:pt x="58" y="288"/>
                  </a:lnTo>
                  <a:lnTo>
                    <a:pt x="64" y="288"/>
                  </a:lnTo>
                  <a:lnTo>
                    <a:pt x="66" y="292"/>
                  </a:lnTo>
                  <a:lnTo>
                    <a:pt x="70" y="296"/>
                  </a:lnTo>
                  <a:lnTo>
                    <a:pt x="72" y="302"/>
                  </a:lnTo>
                  <a:lnTo>
                    <a:pt x="68" y="304"/>
                  </a:lnTo>
                  <a:lnTo>
                    <a:pt x="68" y="308"/>
                  </a:lnTo>
                  <a:lnTo>
                    <a:pt x="66" y="312"/>
                  </a:lnTo>
                  <a:lnTo>
                    <a:pt x="62" y="314"/>
                  </a:lnTo>
                  <a:lnTo>
                    <a:pt x="60" y="320"/>
                  </a:lnTo>
                  <a:lnTo>
                    <a:pt x="58" y="322"/>
                  </a:lnTo>
                  <a:lnTo>
                    <a:pt x="56" y="328"/>
                  </a:lnTo>
                  <a:lnTo>
                    <a:pt x="60" y="330"/>
                  </a:lnTo>
                  <a:lnTo>
                    <a:pt x="62" y="334"/>
                  </a:lnTo>
                  <a:lnTo>
                    <a:pt x="62" y="342"/>
                  </a:lnTo>
                  <a:lnTo>
                    <a:pt x="66" y="344"/>
                  </a:lnTo>
                  <a:lnTo>
                    <a:pt x="68" y="344"/>
                  </a:lnTo>
                  <a:lnTo>
                    <a:pt x="68" y="348"/>
                  </a:lnTo>
                  <a:lnTo>
                    <a:pt x="66" y="354"/>
                  </a:lnTo>
                  <a:lnTo>
                    <a:pt x="68" y="358"/>
                  </a:lnTo>
                  <a:lnTo>
                    <a:pt x="66" y="360"/>
                  </a:lnTo>
                  <a:lnTo>
                    <a:pt x="68" y="366"/>
                  </a:lnTo>
                  <a:lnTo>
                    <a:pt x="72" y="368"/>
                  </a:lnTo>
                  <a:lnTo>
                    <a:pt x="78" y="372"/>
                  </a:lnTo>
                  <a:lnTo>
                    <a:pt x="84" y="372"/>
                  </a:lnTo>
                  <a:lnTo>
                    <a:pt x="88" y="376"/>
                  </a:lnTo>
                  <a:lnTo>
                    <a:pt x="92" y="380"/>
                  </a:lnTo>
                  <a:lnTo>
                    <a:pt x="94" y="378"/>
                  </a:lnTo>
                  <a:lnTo>
                    <a:pt x="98" y="380"/>
                  </a:lnTo>
                  <a:lnTo>
                    <a:pt x="106" y="380"/>
                  </a:lnTo>
                  <a:lnTo>
                    <a:pt x="110" y="380"/>
                  </a:lnTo>
                  <a:lnTo>
                    <a:pt x="114" y="388"/>
                  </a:lnTo>
                  <a:lnTo>
                    <a:pt x="120" y="388"/>
                  </a:lnTo>
                  <a:lnTo>
                    <a:pt x="126" y="388"/>
                  </a:lnTo>
                  <a:lnTo>
                    <a:pt x="130" y="390"/>
                  </a:lnTo>
                  <a:lnTo>
                    <a:pt x="130" y="396"/>
                  </a:lnTo>
                  <a:lnTo>
                    <a:pt x="136" y="398"/>
                  </a:lnTo>
                  <a:lnTo>
                    <a:pt x="140" y="404"/>
                  </a:lnTo>
                  <a:lnTo>
                    <a:pt x="144" y="408"/>
                  </a:lnTo>
                  <a:lnTo>
                    <a:pt x="148" y="408"/>
                  </a:lnTo>
                  <a:lnTo>
                    <a:pt x="154" y="412"/>
                  </a:lnTo>
                  <a:lnTo>
                    <a:pt x="164" y="412"/>
                  </a:lnTo>
                  <a:lnTo>
                    <a:pt x="172" y="414"/>
                  </a:lnTo>
                  <a:lnTo>
                    <a:pt x="176" y="412"/>
                  </a:lnTo>
                  <a:lnTo>
                    <a:pt x="180" y="412"/>
                  </a:lnTo>
                  <a:lnTo>
                    <a:pt x="184" y="418"/>
                  </a:lnTo>
                  <a:lnTo>
                    <a:pt x="190" y="410"/>
                  </a:lnTo>
                  <a:lnTo>
                    <a:pt x="192" y="408"/>
                  </a:lnTo>
                  <a:lnTo>
                    <a:pt x="198" y="406"/>
                  </a:lnTo>
                  <a:lnTo>
                    <a:pt x="204" y="408"/>
                  </a:lnTo>
                  <a:lnTo>
                    <a:pt x="210" y="408"/>
                  </a:lnTo>
                  <a:lnTo>
                    <a:pt x="216" y="410"/>
                  </a:lnTo>
                  <a:lnTo>
                    <a:pt x="224" y="408"/>
                  </a:lnTo>
                  <a:lnTo>
                    <a:pt x="230" y="406"/>
                  </a:lnTo>
                  <a:lnTo>
                    <a:pt x="234" y="402"/>
                  </a:lnTo>
                  <a:lnTo>
                    <a:pt x="240" y="402"/>
                  </a:lnTo>
                  <a:lnTo>
                    <a:pt x="244" y="402"/>
                  </a:lnTo>
                  <a:lnTo>
                    <a:pt x="248" y="400"/>
                  </a:lnTo>
                  <a:lnTo>
                    <a:pt x="252" y="400"/>
                  </a:lnTo>
                  <a:lnTo>
                    <a:pt x="258" y="402"/>
                  </a:lnTo>
                  <a:lnTo>
                    <a:pt x="258" y="408"/>
                  </a:lnTo>
                  <a:lnTo>
                    <a:pt x="260" y="412"/>
                  </a:lnTo>
                  <a:lnTo>
                    <a:pt x="264" y="410"/>
                  </a:lnTo>
                  <a:lnTo>
                    <a:pt x="268" y="412"/>
                  </a:lnTo>
                  <a:lnTo>
                    <a:pt x="272" y="412"/>
                  </a:lnTo>
                  <a:lnTo>
                    <a:pt x="276" y="414"/>
                  </a:lnTo>
                  <a:lnTo>
                    <a:pt x="278" y="418"/>
                  </a:lnTo>
                  <a:lnTo>
                    <a:pt x="278" y="422"/>
                  </a:lnTo>
                  <a:lnTo>
                    <a:pt x="282" y="420"/>
                  </a:lnTo>
                  <a:lnTo>
                    <a:pt x="286" y="420"/>
                  </a:lnTo>
                  <a:lnTo>
                    <a:pt x="286" y="426"/>
                  </a:lnTo>
                  <a:lnTo>
                    <a:pt x="290" y="430"/>
                  </a:lnTo>
                  <a:lnTo>
                    <a:pt x="288" y="436"/>
                  </a:lnTo>
                  <a:lnTo>
                    <a:pt x="290" y="440"/>
                  </a:lnTo>
                  <a:lnTo>
                    <a:pt x="288" y="444"/>
                  </a:lnTo>
                  <a:lnTo>
                    <a:pt x="288" y="452"/>
                  </a:lnTo>
                  <a:lnTo>
                    <a:pt x="284" y="456"/>
                  </a:lnTo>
                  <a:lnTo>
                    <a:pt x="280" y="462"/>
                  </a:lnTo>
                  <a:lnTo>
                    <a:pt x="280" y="466"/>
                  </a:lnTo>
                  <a:lnTo>
                    <a:pt x="282" y="470"/>
                  </a:lnTo>
                  <a:lnTo>
                    <a:pt x="282" y="474"/>
                  </a:lnTo>
                  <a:lnTo>
                    <a:pt x="284" y="476"/>
                  </a:lnTo>
                  <a:lnTo>
                    <a:pt x="286" y="474"/>
                  </a:lnTo>
                  <a:lnTo>
                    <a:pt x="288" y="472"/>
                  </a:lnTo>
                  <a:lnTo>
                    <a:pt x="292" y="470"/>
                  </a:lnTo>
                  <a:lnTo>
                    <a:pt x="296" y="470"/>
                  </a:lnTo>
                  <a:lnTo>
                    <a:pt x="298" y="474"/>
                  </a:lnTo>
                  <a:lnTo>
                    <a:pt x="296" y="478"/>
                  </a:lnTo>
                  <a:lnTo>
                    <a:pt x="298" y="482"/>
                  </a:lnTo>
                  <a:lnTo>
                    <a:pt x="302" y="482"/>
                  </a:lnTo>
                  <a:lnTo>
                    <a:pt x="304" y="484"/>
                  </a:lnTo>
                  <a:lnTo>
                    <a:pt x="300" y="492"/>
                  </a:lnTo>
                  <a:lnTo>
                    <a:pt x="300" y="494"/>
                  </a:lnTo>
                  <a:lnTo>
                    <a:pt x="304" y="496"/>
                  </a:lnTo>
                  <a:lnTo>
                    <a:pt x="308" y="496"/>
                  </a:lnTo>
                  <a:lnTo>
                    <a:pt x="310" y="502"/>
                  </a:lnTo>
                  <a:lnTo>
                    <a:pt x="310" y="508"/>
                  </a:lnTo>
                  <a:lnTo>
                    <a:pt x="318" y="510"/>
                  </a:lnTo>
                  <a:lnTo>
                    <a:pt x="322" y="510"/>
                  </a:lnTo>
                  <a:lnTo>
                    <a:pt x="326" y="508"/>
                  </a:lnTo>
                  <a:lnTo>
                    <a:pt x="328" y="500"/>
                  </a:lnTo>
                  <a:lnTo>
                    <a:pt x="324" y="488"/>
                  </a:lnTo>
                  <a:lnTo>
                    <a:pt x="324" y="484"/>
                  </a:lnTo>
                  <a:lnTo>
                    <a:pt x="330" y="484"/>
                  </a:lnTo>
                  <a:lnTo>
                    <a:pt x="338" y="488"/>
                  </a:lnTo>
                  <a:lnTo>
                    <a:pt x="342" y="486"/>
                  </a:lnTo>
                  <a:lnTo>
                    <a:pt x="348" y="492"/>
                  </a:lnTo>
                  <a:lnTo>
                    <a:pt x="352" y="488"/>
                  </a:lnTo>
                  <a:lnTo>
                    <a:pt x="360" y="486"/>
                  </a:lnTo>
                  <a:lnTo>
                    <a:pt x="364" y="484"/>
                  </a:lnTo>
                  <a:lnTo>
                    <a:pt x="368" y="486"/>
                  </a:lnTo>
                  <a:lnTo>
                    <a:pt x="374" y="490"/>
                  </a:lnTo>
                  <a:lnTo>
                    <a:pt x="378" y="492"/>
                  </a:lnTo>
                  <a:lnTo>
                    <a:pt x="378" y="494"/>
                  </a:lnTo>
                  <a:lnTo>
                    <a:pt x="374" y="500"/>
                  </a:lnTo>
                  <a:lnTo>
                    <a:pt x="380" y="506"/>
                  </a:lnTo>
                  <a:lnTo>
                    <a:pt x="386" y="504"/>
                  </a:lnTo>
                  <a:lnTo>
                    <a:pt x="392" y="504"/>
                  </a:lnTo>
                  <a:lnTo>
                    <a:pt x="398" y="506"/>
                  </a:lnTo>
                  <a:lnTo>
                    <a:pt x="406" y="504"/>
                  </a:lnTo>
                  <a:lnTo>
                    <a:pt x="416" y="504"/>
                  </a:lnTo>
                  <a:lnTo>
                    <a:pt x="414" y="510"/>
                  </a:lnTo>
                  <a:lnTo>
                    <a:pt x="414" y="514"/>
                  </a:lnTo>
                  <a:lnTo>
                    <a:pt x="418" y="524"/>
                  </a:lnTo>
                  <a:lnTo>
                    <a:pt x="422" y="522"/>
                  </a:lnTo>
                  <a:lnTo>
                    <a:pt x="424" y="522"/>
                  </a:lnTo>
                  <a:lnTo>
                    <a:pt x="424" y="518"/>
                  </a:lnTo>
                  <a:lnTo>
                    <a:pt x="422" y="518"/>
                  </a:lnTo>
                  <a:lnTo>
                    <a:pt x="422" y="516"/>
                  </a:lnTo>
                  <a:lnTo>
                    <a:pt x="420" y="514"/>
                  </a:lnTo>
                  <a:lnTo>
                    <a:pt x="432" y="508"/>
                  </a:lnTo>
                  <a:lnTo>
                    <a:pt x="434" y="504"/>
                  </a:lnTo>
                  <a:lnTo>
                    <a:pt x="440" y="502"/>
                  </a:lnTo>
                  <a:lnTo>
                    <a:pt x="444" y="502"/>
                  </a:lnTo>
                  <a:lnTo>
                    <a:pt x="448" y="502"/>
                  </a:lnTo>
                  <a:lnTo>
                    <a:pt x="454" y="500"/>
                  </a:lnTo>
                  <a:lnTo>
                    <a:pt x="458" y="494"/>
                  </a:lnTo>
                  <a:lnTo>
                    <a:pt x="460" y="490"/>
                  </a:lnTo>
                  <a:lnTo>
                    <a:pt x="466" y="494"/>
                  </a:lnTo>
                  <a:lnTo>
                    <a:pt x="472" y="490"/>
                  </a:lnTo>
                  <a:lnTo>
                    <a:pt x="478" y="490"/>
                  </a:lnTo>
                  <a:lnTo>
                    <a:pt x="486" y="490"/>
                  </a:lnTo>
                  <a:lnTo>
                    <a:pt x="488" y="488"/>
                  </a:lnTo>
                  <a:lnTo>
                    <a:pt x="488" y="484"/>
                  </a:lnTo>
                  <a:lnTo>
                    <a:pt x="488" y="478"/>
                  </a:lnTo>
                  <a:lnTo>
                    <a:pt x="506" y="470"/>
                  </a:lnTo>
                  <a:lnTo>
                    <a:pt x="506" y="462"/>
                  </a:lnTo>
                  <a:lnTo>
                    <a:pt x="510" y="462"/>
                  </a:lnTo>
                  <a:lnTo>
                    <a:pt x="512" y="462"/>
                  </a:lnTo>
                  <a:lnTo>
                    <a:pt x="516" y="462"/>
                  </a:lnTo>
                  <a:lnTo>
                    <a:pt x="518" y="462"/>
                  </a:lnTo>
                  <a:lnTo>
                    <a:pt x="516" y="456"/>
                  </a:lnTo>
                  <a:lnTo>
                    <a:pt x="520" y="454"/>
                  </a:lnTo>
                  <a:lnTo>
                    <a:pt x="518" y="454"/>
                  </a:lnTo>
                  <a:lnTo>
                    <a:pt x="518" y="450"/>
                  </a:lnTo>
                  <a:lnTo>
                    <a:pt x="526" y="450"/>
                  </a:lnTo>
                  <a:lnTo>
                    <a:pt x="526" y="438"/>
                  </a:lnTo>
                  <a:lnTo>
                    <a:pt x="524" y="438"/>
                  </a:lnTo>
                  <a:lnTo>
                    <a:pt x="522" y="436"/>
                  </a:lnTo>
                  <a:lnTo>
                    <a:pt x="524" y="436"/>
                  </a:lnTo>
                  <a:lnTo>
                    <a:pt x="524" y="430"/>
                  </a:lnTo>
                  <a:lnTo>
                    <a:pt x="526" y="426"/>
                  </a:lnTo>
                  <a:lnTo>
                    <a:pt x="530" y="426"/>
                  </a:lnTo>
                  <a:lnTo>
                    <a:pt x="532" y="422"/>
                  </a:lnTo>
                  <a:lnTo>
                    <a:pt x="536" y="420"/>
                  </a:lnTo>
                  <a:lnTo>
                    <a:pt x="538" y="420"/>
                  </a:lnTo>
                  <a:lnTo>
                    <a:pt x="538" y="416"/>
                  </a:lnTo>
                  <a:lnTo>
                    <a:pt x="538" y="412"/>
                  </a:lnTo>
                  <a:lnTo>
                    <a:pt x="542" y="406"/>
                  </a:lnTo>
                  <a:lnTo>
                    <a:pt x="546" y="406"/>
                  </a:lnTo>
                  <a:lnTo>
                    <a:pt x="548" y="406"/>
                  </a:lnTo>
                  <a:lnTo>
                    <a:pt x="546" y="398"/>
                  </a:lnTo>
                  <a:lnTo>
                    <a:pt x="546" y="392"/>
                  </a:lnTo>
                  <a:lnTo>
                    <a:pt x="552" y="392"/>
                  </a:lnTo>
                  <a:lnTo>
                    <a:pt x="552" y="386"/>
                  </a:lnTo>
                  <a:lnTo>
                    <a:pt x="552" y="384"/>
                  </a:lnTo>
                  <a:lnTo>
                    <a:pt x="550" y="386"/>
                  </a:lnTo>
                  <a:lnTo>
                    <a:pt x="554" y="380"/>
                  </a:lnTo>
                  <a:lnTo>
                    <a:pt x="550" y="376"/>
                  </a:lnTo>
                  <a:lnTo>
                    <a:pt x="544" y="376"/>
                  </a:lnTo>
                  <a:lnTo>
                    <a:pt x="542" y="378"/>
                  </a:lnTo>
                  <a:lnTo>
                    <a:pt x="540" y="376"/>
                  </a:lnTo>
                  <a:lnTo>
                    <a:pt x="540" y="374"/>
                  </a:lnTo>
                  <a:lnTo>
                    <a:pt x="546" y="370"/>
                  </a:lnTo>
                  <a:lnTo>
                    <a:pt x="550" y="364"/>
                  </a:lnTo>
                  <a:lnTo>
                    <a:pt x="550" y="362"/>
                  </a:lnTo>
                  <a:lnTo>
                    <a:pt x="550" y="360"/>
                  </a:lnTo>
                  <a:lnTo>
                    <a:pt x="542" y="354"/>
                  </a:lnTo>
                  <a:lnTo>
                    <a:pt x="546" y="354"/>
                  </a:lnTo>
                  <a:lnTo>
                    <a:pt x="546" y="348"/>
                  </a:lnTo>
                  <a:lnTo>
                    <a:pt x="540" y="342"/>
                  </a:lnTo>
                  <a:lnTo>
                    <a:pt x="534" y="334"/>
                  </a:lnTo>
                  <a:lnTo>
                    <a:pt x="534" y="330"/>
                  </a:lnTo>
                  <a:lnTo>
                    <a:pt x="534" y="326"/>
                  </a:lnTo>
                  <a:lnTo>
                    <a:pt x="532" y="326"/>
                  </a:lnTo>
                  <a:lnTo>
                    <a:pt x="528" y="326"/>
                  </a:lnTo>
                  <a:lnTo>
                    <a:pt x="528" y="324"/>
                  </a:lnTo>
                  <a:lnTo>
                    <a:pt x="530" y="324"/>
                  </a:lnTo>
                  <a:lnTo>
                    <a:pt x="530" y="322"/>
                  </a:lnTo>
                  <a:lnTo>
                    <a:pt x="528" y="318"/>
                  </a:lnTo>
                  <a:lnTo>
                    <a:pt x="524" y="314"/>
                  </a:lnTo>
                  <a:lnTo>
                    <a:pt x="522" y="308"/>
                  </a:lnTo>
                  <a:lnTo>
                    <a:pt x="524" y="300"/>
                  </a:lnTo>
                  <a:lnTo>
                    <a:pt x="526" y="298"/>
                  </a:lnTo>
                  <a:lnTo>
                    <a:pt x="528" y="296"/>
                  </a:lnTo>
                  <a:lnTo>
                    <a:pt x="532" y="294"/>
                  </a:lnTo>
                  <a:lnTo>
                    <a:pt x="532" y="292"/>
                  </a:lnTo>
                  <a:lnTo>
                    <a:pt x="530" y="290"/>
                  </a:lnTo>
                  <a:lnTo>
                    <a:pt x="538" y="282"/>
                  </a:lnTo>
                  <a:lnTo>
                    <a:pt x="546" y="276"/>
                  </a:lnTo>
                  <a:lnTo>
                    <a:pt x="554" y="274"/>
                  </a:lnTo>
                  <a:lnTo>
                    <a:pt x="560" y="272"/>
                  </a:lnTo>
                  <a:lnTo>
                    <a:pt x="562" y="268"/>
                  </a:lnTo>
                  <a:lnTo>
                    <a:pt x="562" y="264"/>
                  </a:lnTo>
                  <a:lnTo>
                    <a:pt x="546" y="264"/>
                  </a:lnTo>
                  <a:lnTo>
                    <a:pt x="542" y="262"/>
                  </a:lnTo>
                  <a:lnTo>
                    <a:pt x="538" y="260"/>
                  </a:lnTo>
                  <a:lnTo>
                    <a:pt x="534" y="260"/>
                  </a:lnTo>
                  <a:lnTo>
                    <a:pt x="530" y="264"/>
                  </a:lnTo>
                  <a:lnTo>
                    <a:pt x="526" y="270"/>
                  </a:lnTo>
                  <a:lnTo>
                    <a:pt x="516" y="272"/>
                  </a:lnTo>
                  <a:lnTo>
                    <a:pt x="510" y="258"/>
                  </a:lnTo>
                  <a:lnTo>
                    <a:pt x="502" y="244"/>
                  </a:lnTo>
                  <a:lnTo>
                    <a:pt x="504" y="244"/>
                  </a:lnTo>
                  <a:lnTo>
                    <a:pt x="504" y="242"/>
                  </a:lnTo>
                  <a:lnTo>
                    <a:pt x="506" y="240"/>
                  </a:lnTo>
                  <a:lnTo>
                    <a:pt x="512" y="240"/>
                  </a:lnTo>
                  <a:lnTo>
                    <a:pt x="518" y="240"/>
                  </a:lnTo>
                  <a:lnTo>
                    <a:pt x="520" y="236"/>
                  </a:lnTo>
                  <a:lnTo>
                    <a:pt x="522" y="230"/>
                  </a:lnTo>
                  <a:lnTo>
                    <a:pt x="528" y="228"/>
                  </a:lnTo>
                  <a:lnTo>
                    <a:pt x="534" y="226"/>
                  </a:lnTo>
                  <a:lnTo>
                    <a:pt x="540" y="218"/>
                  </a:lnTo>
                  <a:lnTo>
                    <a:pt x="544" y="208"/>
                  </a:lnTo>
                  <a:lnTo>
                    <a:pt x="554" y="212"/>
                  </a:lnTo>
                  <a:lnTo>
                    <a:pt x="558" y="214"/>
                  </a:lnTo>
                  <a:lnTo>
                    <a:pt x="556" y="218"/>
                  </a:lnTo>
                  <a:lnTo>
                    <a:pt x="552" y="226"/>
                  </a:lnTo>
                  <a:lnTo>
                    <a:pt x="548" y="234"/>
                  </a:lnTo>
                  <a:lnTo>
                    <a:pt x="548" y="238"/>
                  </a:lnTo>
                  <a:lnTo>
                    <a:pt x="552" y="236"/>
                  </a:lnTo>
                  <a:lnTo>
                    <a:pt x="548" y="242"/>
                  </a:lnTo>
                  <a:lnTo>
                    <a:pt x="548" y="244"/>
                  </a:lnTo>
                  <a:lnTo>
                    <a:pt x="550" y="244"/>
                  </a:lnTo>
                  <a:lnTo>
                    <a:pt x="556" y="240"/>
                  </a:lnTo>
                  <a:lnTo>
                    <a:pt x="562" y="234"/>
                  </a:lnTo>
                  <a:lnTo>
                    <a:pt x="570" y="228"/>
                  </a:lnTo>
                  <a:lnTo>
                    <a:pt x="574" y="226"/>
                  </a:lnTo>
                  <a:lnTo>
                    <a:pt x="578" y="226"/>
                  </a:lnTo>
                  <a:lnTo>
                    <a:pt x="580" y="228"/>
                  </a:lnTo>
                  <a:lnTo>
                    <a:pt x="582" y="228"/>
                  </a:lnTo>
                  <a:lnTo>
                    <a:pt x="586" y="228"/>
                  </a:lnTo>
                  <a:lnTo>
                    <a:pt x="590" y="220"/>
                  </a:lnTo>
                  <a:lnTo>
                    <a:pt x="594" y="216"/>
                  </a:lnTo>
                  <a:lnTo>
                    <a:pt x="598" y="208"/>
                  </a:lnTo>
                  <a:lnTo>
                    <a:pt x="602" y="202"/>
                  </a:lnTo>
                  <a:lnTo>
                    <a:pt x="610" y="196"/>
                  </a:lnTo>
                  <a:lnTo>
                    <a:pt x="608" y="190"/>
                  </a:lnTo>
                  <a:lnTo>
                    <a:pt x="614" y="188"/>
                  </a:lnTo>
                  <a:lnTo>
                    <a:pt x="616" y="192"/>
                  </a:lnTo>
                  <a:lnTo>
                    <a:pt x="622" y="194"/>
                  </a:lnTo>
                  <a:lnTo>
                    <a:pt x="628" y="196"/>
                  </a:lnTo>
                  <a:lnTo>
                    <a:pt x="628" y="190"/>
                  </a:lnTo>
                  <a:lnTo>
                    <a:pt x="628" y="188"/>
                  </a:lnTo>
                  <a:lnTo>
                    <a:pt x="632" y="184"/>
                  </a:lnTo>
                  <a:lnTo>
                    <a:pt x="636" y="184"/>
                  </a:lnTo>
                  <a:lnTo>
                    <a:pt x="640" y="182"/>
                  </a:lnTo>
                  <a:lnTo>
                    <a:pt x="638" y="180"/>
                  </a:lnTo>
                  <a:lnTo>
                    <a:pt x="644" y="178"/>
                  </a:lnTo>
                  <a:lnTo>
                    <a:pt x="646" y="168"/>
                  </a:lnTo>
                  <a:lnTo>
                    <a:pt x="652" y="180"/>
                  </a:lnTo>
                  <a:lnTo>
                    <a:pt x="654" y="176"/>
                  </a:lnTo>
                  <a:lnTo>
                    <a:pt x="654" y="172"/>
                  </a:lnTo>
                  <a:lnTo>
                    <a:pt x="658" y="168"/>
                  </a:lnTo>
                  <a:lnTo>
                    <a:pt x="658" y="164"/>
                  </a:lnTo>
                  <a:lnTo>
                    <a:pt x="656" y="156"/>
                  </a:lnTo>
                  <a:lnTo>
                    <a:pt x="658" y="150"/>
                  </a:lnTo>
                  <a:lnTo>
                    <a:pt x="658" y="144"/>
                  </a:lnTo>
                  <a:lnTo>
                    <a:pt x="662" y="142"/>
                  </a:lnTo>
                  <a:lnTo>
                    <a:pt x="666" y="140"/>
                  </a:lnTo>
                  <a:lnTo>
                    <a:pt x="664" y="138"/>
                  </a:lnTo>
                  <a:lnTo>
                    <a:pt x="664" y="136"/>
                  </a:lnTo>
                  <a:lnTo>
                    <a:pt x="668" y="138"/>
                  </a:lnTo>
                  <a:lnTo>
                    <a:pt x="670" y="140"/>
                  </a:lnTo>
                  <a:close/>
                  <a:moveTo>
                    <a:pt x="460" y="486"/>
                  </a:moveTo>
                  <a:lnTo>
                    <a:pt x="460" y="486"/>
                  </a:lnTo>
                  <a:lnTo>
                    <a:pt x="462" y="486"/>
                  </a:lnTo>
                  <a:lnTo>
                    <a:pt x="460" y="488"/>
                  </a:lnTo>
                  <a:lnTo>
                    <a:pt x="460" y="490"/>
                  </a:lnTo>
                  <a:lnTo>
                    <a:pt x="458" y="486"/>
                  </a:lnTo>
                  <a:lnTo>
                    <a:pt x="460" y="486"/>
                  </a:lnTo>
                  <a:close/>
                  <a:moveTo>
                    <a:pt x="422" y="528"/>
                  </a:moveTo>
                  <a:lnTo>
                    <a:pt x="422" y="528"/>
                  </a:lnTo>
                  <a:lnTo>
                    <a:pt x="418" y="530"/>
                  </a:lnTo>
                  <a:lnTo>
                    <a:pt x="412" y="532"/>
                  </a:lnTo>
                  <a:lnTo>
                    <a:pt x="402" y="540"/>
                  </a:lnTo>
                  <a:lnTo>
                    <a:pt x="406" y="552"/>
                  </a:lnTo>
                  <a:lnTo>
                    <a:pt x="410" y="556"/>
                  </a:lnTo>
                  <a:lnTo>
                    <a:pt x="418" y="556"/>
                  </a:lnTo>
                  <a:lnTo>
                    <a:pt x="422" y="552"/>
                  </a:lnTo>
                  <a:lnTo>
                    <a:pt x="426" y="548"/>
                  </a:lnTo>
                  <a:lnTo>
                    <a:pt x="430" y="534"/>
                  </a:lnTo>
                  <a:lnTo>
                    <a:pt x="432" y="534"/>
                  </a:lnTo>
                  <a:lnTo>
                    <a:pt x="432" y="532"/>
                  </a:lnTo>
                  <a:lnTo>
                    <a:pt x="430" y="528"/>
                  </a:lnTo>
                  <a:lnTo>
                    <a:pt x="422" y="528"/>
                  </a:lnTo>
                  <a:close/>
                  <a:moveTo>
                    <a:pt x="442" y="394"/>
                  </a:moveTo>
                  <a:lnTo>
                    <a:pt x="442" y="394"/>
                  </a:lnTo>
                  <a:lnTo>
                    <a:pt x="446" y="394"/>
                  </a:lnTo>
                  <a:lnTo>
                    <a:pt x="450" y="394"/>
                  </a:lnTo>
                  <a:lnTo>
                    <a:pt x="450" y="396"/>
                  </a:lnTo>
                  <a:lnTo>
                    <a:pt x="448" y="396"/>
                  </a:lnTo>
                  <a:lnTo>
                    <a:pt x="448" y="400"/>
                  </a:lnTo>
                  <a:lnTo>
                    <a:pt x="446" y="400"/>
                  </a:lnTo>
                  <a:lnTo>
                    <a:pt x="442" y="400"/>
                  </a:lnTo>
                  <a:lnTo>
                    <a:pt x="440" y="396"/>
                  </a:lnTo>
                  <a:lnTo>
                    <a:pt x="440" y="394"/>
                  </a:lnTo>
                  <a:lnTo>
                    <a:pt x="442" y="394"/>
                  </a:lnTo>
                  <a:close/>
                  <a:moveTo>
                    <a:pt x="492" y="388"/>
                  </a:moveTo>
                  <a:lnTo>
                    <a:pt x="492" y="388"/>
                  </a:lnTo>
                  <a:lnTo>
                    <a:pt x="496" y="388"/>
                  </a:lnTo>
                  <a:lnTo>
                    <a:pt x="496" y="390"/>
                  </a:lnTo>
                  <a:lnTo>
                    <a:pt x="496" y="392"/>
                  </a:lnTo>
                  <a:lnTo>
                    <a:pt x="492" y="390"/>
                  </a:lnTo>
                  <a:lnTo>
                    <a:pt x="490" y="388"/>
                  </a:lnTo>
                  <a:lnTo>
                    <a:pt x="492" y="388"/>
                  </a:lnTo>
                  <a:close/>
                  <a:moveTo>
                    <a:pt x="534" y="356"/>
                  </a:moveTo>
                  <a:lnTo>
                    <a:pt x="534" y="356"/>
                  </a:lnTo>
                  <a:lnTo>
                    <a:pt x="536" y="358"/>
                  </a:lnTo>
                  <a:lnTo>
                    <a:pt x="538" y="360"/>
                  </a:lnTo>
                  <a:lnTo>
                    <a:pt x="536" y="362"/>
                  </a:lnTo>
                  <a:lnTo>
                    <a:pt x="532" y="364"/>
                  </a:lnTo>
                  <a:lnTo>
                    <a:pt x="532" y="360"/>
                  </a:lnTo>
                  <a:lnTo>
                    <a:pt x="532" y="358"/>
                  </a:lnTo>
                  <a:lnTo>
                    <a:pt x="534" y="356"/>
                  </a:lnTo>
                  <a:close/>
                  <a:moveTo>
                    <a:pt x="540" y="350"/>
                  </a:moveTo>
                  <a:lnTo>
                    <a:pt x="540" y="350"/>
                  </a:lnTo>
                  <a:lnTo>
                    <a:pt x="540" y="352"/>
                  </a:lnTo>
                  <a:lnTo>
                    <a:pt x="542" y="354"/>
                  </a:lnTo>
                  <a:lnTo>
                    <a:pt x="540" y="354"/>
                  </a:lnTo>
                  <a:lnTo>
                    <a:pt x="536" y="354"/>
                  </a:lnTo>
                  <a:lnTo>
                    <a:pt x="534" y="352"/>
                  </a:lnTo>
                  <a:lnTo>
                    <a:pt x="536" y="350"/>
                  </a:lnTo>
                  <a:lnTo>
                    <a:pt x="540" y="350"/>
                  </a:lnTo>
                  <a:close/>
                  <a:moveTo>
                    <a:pt x="310" y="270"/>
                  </a:moveTo>
                  <a:lnTo>
                    <a:pt x="310" y="270"/>
                  </a:lnTo>
                  <a:lnTo>
                    <a:pt x="312" y="274"/>
                  </a:lnTo>
                  <a:lnTo>
                    <a:pt x="312" y="276"/>
                  </a:lnTo>
                  <a:lnTo>
                    <a:pt x="310" y="274"/>
                  </a:lnTo>
                  <a:lnTo>
                    <a:pt x="308" y="272"/>
                  </a:lnTo>
                  <a:lnTo>
                    <a:pt x="308" y="270"/>
                  </a:lnTo>
                  <a:lnTo>
                    <a:pt x="310" y="27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09" name="Freeform 657">
              <a:extLst>
                <a:ext uri="{FF2B5EF4-FFF2-40B4-BE49-F238E27FC236}">
                  <a16:creationId xmlns:a16="http://schemas.microsoft.com/office/drawing/2014/main" id="{739B1F0B-251B-4807-9816-820285601A41}"/>
                </a:ext>
              </a:extLst>
            </p:cNvPr>
            <p:cNvSpPr>
              <a:spLocks noEditPoints="1"/>
            </p:cNvSpPr>
            <p:nvPr/>
          </p:nvSpPr>
          <p:spPr bwMode="gray">
            <a:xfrm>
              <a:off x="6770944" y="3709705"/>
              <a:ext cx="9417" cy="7064"/>
            </a:xfrm>
            <a:custGeom>
              <a:avLst/>
              <a:gdLst>
                <a:gd name="T0" fmla="*/ 2147483647 w 6"/>
                <a:gd name="T1" fmla="*/ 0 h 4"/>
                <a:gd name="T2" fmla="*/ 2147483647 w 6"/>
                <a:gd name="T3" fmla="*/ 0 h 4"/>
                <a:gd name="T4" fmla="*/ 2147483647 w 6"/>
                <a:gd name="T5" fmla="*/ 0 h 4"/>
                <a:gd name="T6" fmla="*/ 2147483647 w 6"/>
                <a:gd name="T7" fmla="*/ 0 h 4"/>
                <a:gd name="T8" fmla="*/ 2147483647 w 6"/>
                <a:gd name="T9" fmla="*/ 0 h 4"/>
                <a:gd name="T10" fmla="*/ 2147483647 w 6"/>
                <a:gd name="T11" fmla="*/ 0 h 4"/>
                <a:gd name="T12" fmla="*/ 2147483647 w 6"/>
                <a:gd name="T13" fmla="*/ 2147483647 h 4"/>
                <a:gd name="T14" fmla="*/ 2147483647 w 6"/>
                <a:gd name="T15" fmla="*/ 2147483647 h 4"/>
                <a:gd name="T16" fmla="*/ 2147483647 w 6"/>
                <a:gd name="T17" fmla="*/ 2147483647 h 4"/>
                <a:gd name="T18" fmla="*/ 2147483647 w 6"/>
                <a:gd name="T19" fmla="*/ 2147483647 h 4"/>
                <a:gd name="T20" fmla="*/ 2147483647 w 6"/>
                <a:gd name="T21" fmla="*/ 2147483647 h 4"/>
                <a:gd name="T22" fmla="*/ 2147483647 w 6"/>
                <a:gd name="T23" fmla="*/ 2147483647 h 4"/>
                <a:gd name="T24" fmla="*/ 2147483647 w 6"/>
                <a:gd name="T25" fmla="*/ 2147483647 h 4"/>
                <a:gd name="T26" fmla="*/ 2147483647 w 6"/>
                <a:gd name="T27" fmla="*/ 0 h 4"/>
                <a:gd name="T28" fmla="*/ 2147483647 w 6"/>
                <a:gd name="T29" fmla="*/ 0 h 4"/>
                <a:gd name="T30" fmla="*/ 2147483647 w 6"/>
                <a:gd name="T31" fmla="*/ 0 h 4"/>
                <a:gd name="T32" fmla="*/ 2147483647 w 6"/>
                <a:gd name="T33" fmla="*/ 0 h 4"/>
                <a:gd name="T34" fmla="*/ 2147483647 w 6"/>
                <a:gd name="T35" fmla="*/ 0 h 4"/>
                <a:gd name="T36" fmla="*/ 2147483647 w 6"/>
                <a:gd name="T37" fmla="*/ 0 h 4"/>
                <a:gd name="T38" fmla="*/ 2147483647 w 6"/>
                <a:gd name="T39" fmla="*/ 2147483647 h 4"/>
                <a:gd name="T40" fmla="*/ 2147483647 w 6"/>
                <a:gd name="T41" fmla="*/ 2147483647 h 4"/>
                <a:gd name="T42" fmla="*/ 2147483647 w 6"/>
                <a:gd name="T43" fmla="*/ 2147483647 h 4"/>
                <a:gd name="T44" fmla="*/ 2147483647 w 6"/>
                <a:gd name="T45" fmla="*/ 2147483647 h 4"/>
                <a:gd name="T46" fmla="*/ 2147483647 w 6"/>
                <a:gd name="T47" fmla="*/ 2147483647 h 4"/>
                <a:gd name="T48" fmla="*/ 2147483647 w 6"/>
                <a:gd name="T49" fmla="*/ 2147483647 h 4"/>
                <a:gd name="T50" fmla="*/ 2147483647 w 6"/>
                <a:gd name="T51" fmla="*/ 2147483647 h 4"/>
                <a:gd name="T52" fmla="*/ 2147483647 w 6"/>
                <a:gd name="T53" fmla="*/ 2147483647 h 4"/>
                <a:gd name="T54" fmla="*/ 2147483647 w 6"/>
                <a:gd name="T55" fmla="*/ 2147483647 h 4"/>
                <a:gd name="T56" fmla="*/ 2147483647 w 6"/>
                <a:gd name="T57" fmla="*/ 2147483647 h 4"/>
                <a:gd name="T58" fmla="*/ 2147483647 w 6"/>
                <a:gd name="T59" fmla="*/ 2147483647 h 4"/>
                <a:gd name="T60" fmla="*/ 2147483647 w 6"/>
                <a:gd name="T61" fmla="*/ 2147483647 h 4"/>
                <a:gd name="T62" fmla="*/ 0 w 6"/>
                <a:gd name="T63" fmla="*/ 2147483647 h 4"/>
                <a:gd name="T64" fmla="*/ 0 w 6"/>
                <a:gd name="T65" fmla="*/ 2147483647 h 4"/>
                <a:gd name="T66" fmla="*/ 0 w 6"/>
                <a:gd name="T67" fmla="*/ 2147483647 h 4"/>
                <a:gd name="T68" fmla="*/ 0 w 6"/>
                <a:gd name="T69" fmla="*/ 2147483647 h 4"/>
                <a:gd name="T70" fmla="*/ 2147483647 w 6"/>
                <a:gd name="T71" fmla="*/ 2147483647 h 4"/>
                <a:gd name="T72" fmla="*/ 2147483647 w 6"/>
                <a:gd name="T73" fmla="*/ 2147483647 h 4"/>
                <a:gd name="T74" fmla="*/ 2147483647 w 6"/>
                <a:gd name="T75" fmla="*/ 2147483647 h 4"/>
                <a:gd name="T76" fmla="*/ 2147483647 w 6"/>
                <a:gd name="T77" fmla="*/ 2147483647 h 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
                <a:gd name="T118" fmla="*/ 0 h 4"/>
                <a:gd name="T119" fmla="*/ 6 w 6"/>
                <a:gd name="T120" fmla="*/ 4 h 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 h="4">
                  <a:moveTo>
                    <a:pt x="6" y="0"/>
                  </a:moveTo>
                  <a:lnTo>
                    <a:pt x="6" y="0"/>
                  </a:lnTo>
                  <a:lnTo>
                    <a:pt x="4" y="0"/>
                  </a:lnTo>
                  <a:lnTo>
                    <a:pt x="2" y="0"/>
                  </a:lnTo>
                  <a:lnTo>
                    <a:pt x="4" y="2"/>
                  </a:lnTo>
                  <a:lnTo>
                    <a:pt x="6" y="2"/>
                  </a:lnTo>
                  <a:lnTo>
                    <a:pt x="6" y="0"/>
                  </a:lnTo>
                  <a:close/>
                  <a:moveTo>
                    <a:pt x="6" y="4"/>
                  </a:moveTo>
                  <a:lnTo>
                    <a:pt x="6" y="4"/>
                  </a:lnTo>
                  <a:lnTo>
                    <a:pt x="4" y="4"/>
                  </a:lnTo>
                  <a:lnTo>
                    <a:pt x="6" y="4"/>
                  </a:lnTo>
                  <a:close/>
                  <a:moveTo>
                    <a:pt x="2" y="2"/>
                  </a:moveTo>
                  <a:lnTo>
                    <a:pt x="2" y="2"/>
                  </a:lnTo>
                  <a:lnTo>
                    <a:pt x="2" y="4"/>
                  </a:lnTo>
                  <a:lnTo>
                    <a:pt x="0" y="4"/>
                  </a:lnTo>
                  <a:lnTo>
                    <a:pt x="2" y="4"/>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0" name="Freeform 658">
              <a:extLst>
                <a:ext uri="{FF2B5EF4-FFF2-40B4-BE49-F238E27FC236}">
                  <a16:creationId xmlns:a16="http://schemas.microsoft.com/office/drawing/2014/main" id="{10CBAA2C-9C9C-47DF-BA02-51377675DF62}"/>
                </a:ext>
              </a:extLst>
            </p:cNvPr>
            <p:cNvSpPr>
              <a:spLocks noEditPoints="1"/>
            </p:cNvSpPr>
            <p:nvPr/>
          </p:nvSpPr>
          <p:spPr bwMode="gray">
            <a:xfrm>
              <a:off x="2801789" y="4743237"/>
              <a:ext cx="207168" cy="1125349"/>
            </a:xfrm>
            <a:custGeom>
              <a:avLst/>
              <a:gdLst>
                <a:gd name="T0" fmla="*/ 2147483647 w 112"/>
                <a:gd name="T1" fmla="*/ 2147483647 h 608"/>
                <a:gd name="T2" fmla="*/ 2147483647 w 112"/>
                <a:gd name="T3" fmla="*/ 2147483647 h 608"/>
                <a:gd name="T4" fmla="*/ 2147483647 w 112"/>
                <a:gd name="T5" fmla="*/ 2147483647 h 608"/>
                <a:gd name="T6" fmla="*/ 2147483647 w 112"/>
                <a:gd name="T7" fmla="*/ 2147483647 h 608"/>
                <a:gd name="T8" fmla="*/ 2147483647 w 112"/>
                <a:gd name="T9" fmla="*/ 2147483647 h 608"/>
                <a:gd name="T10" fmla="*/ 2147483647 w 112"/>
                <a:gd name="T11" fmla="*/ 2147483647 h 608"/>
                <a:gd name="T12" fmla="*/ 2147483647 w 112"/>
                <a:gd name="T13" fmla="*/ 2147483647 h 608"/>
                <a:gd name="T14" fmla="*/ 2147483647 w 112"/>
                <a:gd name="T15" fmla="*/ 2147483647 h 608"/>
                <a:gd name="T16" fmla="*/ 2147483647 w 112"/>
                <a:gd name="T17" fmla="*/ 2147483647 h 608"/>
                <a:gd name="T18" fmla="*/ 2147483647 w 112"/>
                <a:gd name="T19" fmla="*/ 2147483647 h 608"/>
                <a:gd name="T20" fmla="*/ 2147483647 w 112"/>
                <a:gd name="T21" fmla="*/ 2147483647 h 608"/>
                <a:gd name="T22" fmla="*/ 2147483647 w 112"/>
                <a:gd name="T23" fmla="*/ 2147483647 h 608"/>
                <a:gd name="T24" fmla="*/ 2147483647 w 112"/>
                <a:gd name="T25" fmla="*/ 2147483647 h 608"/>
                <a:gd name="T26" fmla="*/ 2147483647 w 112"/>
                <a:gd name="T27" fmla="*/ 2147483647 h 608"/>
                <a:gd name="T28" fmla="*/ 2147483647 w 112"/>
                <a:gd name="T29" fmla="*/ 2147483647 h 608"/>
                <a:gd name="T30" fmla="*/ 2147483647 w 112"/>
                <a:gd name="T31" fmla="*/ 2147483647 h 608"/>
                <a:gd name="T32" fmla="*/ 2147483647 w 112"/>
                <a:gd name="T33" fmla="*/ 2147483647 h 608"/>
                <a:gd name="T34" fmla="*/ 2147483647 w 112"/>
                <a:gd name="T35" fmla="*/ 2147483647 h 608"/>
                <a:gd name="T36" fmla="*/ 2147483647 w 112"/>
                <a:gd name="T37" fmla="*/ 2147483647 h 608"/>
                <a:gd name="T38" fmla="*/ 2147483647 w 112"/>
                <a:gd name="T39" fmla="*/ 2147483647 h 608"/>
                <a:gd name="T40" fmla="*/ 2147483647 w 112"/>
                <a:gd name="T41" fmla="*/ 2147483647 h 608"/>
                <a:gd name="T42" fmla="*/ 2147483647 w 112"/>
                <a:gd name="T43" fmla="*/ 2147483647 h 608"/>
                <a:gd name="T44" fmla="*/ 2147483647 w 112"/>
                <a:gd name="T45" fmla="*/ 2147483647 h 608"/>
                <a:gd name="T46" fmla="*/ 2147483647 w 112"/>
                <a:gd name="T47" fmla="*/ 2147483647 h 608"/>
                <a:gd name="T48" fmla="*/ 2147483647 w 112"/>
                <a:gd name="T49" fmla="*/ 2147483647 h 608"/>
                <a:gd name="T50" fmla="*/ 2147483647 w 112"/>
                <a:gd name="T51" fmla="*/ 2147483647 h 608"/>
                <a:gd name="T52" fmla="*/ 2147483647 w 112"/>
                <a:gd name="T53" fmla="*/ 2147483647 h 608"/>
                <a:gd name="T54" fmla="*/ 2147483647 w 112"/>
                <a:gd name="T55" fmla="*/ 2147483647 h 608"/>
                <a:gd name="T56" fmla="*/ 2147483647 w 112"/>
                <a:gd name="T57" fmla="*/ 2147483647 h 608"/>
                <a:gd name="T58" fmla="*/ 2147483647 w 112"/>
                <a:gd name="T59" fmla="*/ 2147483647 h 608"/>
                <a:gd name="T60" fmla="*/ 2147483647 w 112"/>
                <a:gd name="T61" fmla="*/ 2147483647 h 608"/>
                <a:gd name="T62" fmla="*/ 2147483647 w 112"/>
                <a:gd name="T63" fmla="*/ 2147483647 h 608"/>
                <a:gd name="T64" fmla="*/ 2147483647 w 112"/>
                <a:gd name="T65" fmla="*/ 2147483647 h 608"/>
                <a:gd name="T66" fmla="*/ 2147483647 w 112"/>
                <a:gd name="T67" fmla="*/ 2147483647 h 608"/>
                <a:gd name="T68" fmla="*/ 2147483647 w 112"/>
                <a:gd name="T69" fmla="*/ 2147483647 h 608"/>
                <a:gd name="T70" fmla="*/ 2147483647 w 112"/>
                <a:gd name="T71" fmla="*/ 2147483647 h 608"/>
                <a:gd name="T72" fmla="*/ 2147483647 w 112"/>
                <a:gd name="T73" fmla="*/ 2147483647 h 608"/>
                <a:gd name="T74" fmla="*/ 2147483647 w 112"/>
                <a:gd name="T75" fmla="*/ 2147483647 h 608"/>
                <a:gd name="T76" fmla="*/ 2147483647 w 112"/>
                <a:gd name="T77" fmla="*/ 2147483647 h 608"/>
                <a:gd name="T78" fmla="*/ 2147483647 w 112"/>
                <a:gd name="T79" fmla="*/ 2147483647 h 608"/>
                <a:gd name="T80" fmla="*/ 2147483647 w 112"/>
                <a:gd name="T81" fmla="*/ 2147483647 h 608"/>
                <a:gd name="T82" fmla="*/ 2147483647 w 112"/>
                <a:gd name="T83" fmla="*/ 2147483647 h 608"/>
                <a:gd name="T84" fmla="*/ 2147483647 w 112"/>
                <a:gd name="T85" fmla="*/ 2147483647 h 608"/>
                <a:gd name="T86" fmla="*/ 2147483647 w 112"/>
                <a:gd name="T87" fmla="*/ 2147483647 h 608"/>
                <a:gd name="T88" fmla="*/ 2147483647 w 112"/>
                <a:gd name="T89" fmla="*/ 2147483647 h 608"/>
                <a:gd name="T90" fmla="*/ 2147483647 w 112"/>
                <a:gd name="T91" fmla="*/ 2147483647 h 608"/>
                <a:gd name="T92" fmla="*/ 2147483647 w 112"/>
                <a:gd name="T93" fmla="*/ 2147483647 h 608"/>
                <a:gd name="T94" fmla="*/ 2147483647 w 112"/>
                <a:gd name="T95" fmla="*/ 2147483647 h 608"/>
                <a:gd name="T96" fmla="*/ 2147483647 w 112"/>
                <a:gd name="T97" fmla="*/ 2147483647 h 608"/>
                <a:gd name="T98" fmla="*/ 2147483647 w 112"/>
                <a:gd name="T99" fmla="*/ 2147483647 h 608"/>
                <a:gd name="T100" fmla="*/ 2147483647 w 112"/>
                <a:gd name="T101" fmla="*/ 2147483647 h 608"/>
                <a:gd name="T102" fmla="*/ 2147483647 w 112"/>
                <a:gd name="T103" fmla="*/ 2147483647 h 608"/>
                <a:gd name="T104" fmla="*/ 2147483647 w 112"/>
                <a:gd name="T105" fmla="*/ 2147483647 h 608"/>
                <a:gd name="T106" fmla="*/ 2147483647 w 112"/>
                <a:gd name="T107" fmla="*/ 2147483647 h 608"/>
                <a:gd name="T108" fmla="*/ 2147483647 w 112"/>
                <a:gd name="T109" fmla="*/ 2147483647 h 608"/>
                <a:gd name="T110" fmla="*/ 2147483647 w 112"/>
                <a:gd name="T111" fmla="*/ 2147483647 h 608"/>
                <a:gd name="T112" fmla="*/ 2147483647 w 112"/>
                <a:gd name="T113" fmla="*/ 2147483647 h 608"/>
                <a:gd name="T114" fmla="*/ 2147483647 w 112"/>
                <a:gd name="T115" fmla="*/ 2147483647 h 608"/>
                <a:gd name="T116" fmla="*/ 2147483647 w 112"/>
                <a:gd name="T117" fmla="*/ 2147483647 h 608"/>
                <a:gd name="T118" fmla="*/ 2147483647 w 112"/>
                <a:gd name="T119" fmla="*/ 2147483647 h 608"/>
                <a:gd name="T120" fmla="*/ 2147483647 w 112"/>
                <a:gd name="T121" fmla="*/ 2147483647 h 6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2"/>
                <a:gd name="T184" fmla="*/ 0 h 608"/>
                <a:gd name="T185" fmla="*/ 112 w 112"/>
                <a:gd name="T186" fmla="*/ 608 h 60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2" h="608">
                  <a:moveTo>
                    <a:pt x="56" y="6"/>
                  </a:moveTo>
                  <a:lnTo>
                    <a:pt x="56" y="6"/>
                  </a:lnTo>
                  <a:lnTo>
                    <a:pt x="54" y="10"/>
                  </a:lnTo>
                  <a:lnTo>
                    <a:pt x="54" y="12"/>
                  </a:lnTo>
                  <a:lnTo>
                    <a:pt x="56" y="16"/>
                  </a:lnTo>
                  <a:lnTo>
                    <a:pt x="58" y="24"/>
                  </a:lnTo>
                  <a:lnTo>
                    <a:pt x="60" y="38"/>
                  </a:lnTo>
                  <a:lnTo>
                    <a:pt x="60" y="52"/>
                  </a:lnTo>
                  <a:lnTo>
                    <a:pt x="58" y="86"/>
                  </a:lnTo>
                  <a:lnTo>
                    <a:pt x="56" y="86"/>
                  </a:lnTo>
                  <a:lnTo>
                    <a:pt x="56" y="90"/>
                  </a:lnTo>
                  <a:lnTo>
                    <a:pt x="56" y="92"/>
                  </a:lnTo>
                  <a:lnTo>
                    <a:pt x="58" y="94"/>
                  </a:lnTo>
                  <a:lnTo>
                    <a:pt x="56" y="102"/>
                  </a:lnTo>
                  <a:lnTo>
                    <a:pt x="56" y="108"/>
                  </a:lnTo>
                  <a:lnTo>
                    <a:pt x="56" y="114"/>
                  </a:lnTo>
                  <a:lnTo>
                    <a:pt x="58" y="122"/>
                  </a:lnTo>
                  <a:lnTo>
                    <a:pt x="54" y="128"/>
                  </a:lnTo>
                  <a:lnTo>
                    <a:pt x="52" y="152"/>
                  </a:lnTo>
                  <a:lnTo>
                    <a:pt x="50" y="166"/>
                  </a:lnTo>
                  <a:lnTo>
                    <a:pt x="48" y="170"/>
                  </a:lnTo>
                  <a:lnTo>
                    <a:pt x="44" y="174"/>
                  </a:lnTo>
                  <a:lnTo>
                    <a:pt x="48" y="184"/>
                  </a:lnTo>
                  <a:lnTo>
                    <a:pt x="50" y="184"/>
                  </a:lnTo>
                  <a:lnTo>
                    <a:pt x="50" y="188"/>
                  </a:lnTo>
                  <a:lnTo>
                    <a:pt x="48" y="196"/>
                  </a:lnTo>
                  <a:lnTo>
                    <a:pt x="46" y="200"/>
                  </a:lnTo>
                  <a:lnTo>
                    <a:pt x="44" y="204"/>
                  </a:lnTo>
                  <a:lnTo>
                    <a:pt x="48" y="216"/>
                  </a:lnTo>
                  <a:lnTo>
                    <a:pt x="50" y="224"/>
                  </a:lnTo>
                  <a:lnTo>
                    <a:pt x="48" y="232"/>
                  </a:lnTo>
                  <a:lnTo>
                    <a:pt x="44" y="234"/>
                  </a:lnTo>
                  <a:lnTo>
                    <a:pt x="42" y="236"/>
                  </a:lnTo>
                  <a:lnTo>
                    <a:pt x="40" y="244"/>
                  </a:lnTo>
                  <a:lnTo>
                    <a:pt x="42" y="250"/>
                  </a:lnTo>
                  <a:lnTo>
                    <a:pt x="38" y="252"/>
                  </a:lnTo>
                  <a:lnTo>
                    <a:pt x="32" y="274"/>
                  </a:lnTo>
                  <a:lnTo>
                    <a:pt x="34" y="276"/>
                  </a:lnTo>
                  <a:lnTo>
                    <a:pt x="32" y="278"/>
                  </a:lnTo>
                  <a:lnTo>
                    <a:pt x="28" y="294"/>
                  </a:lnTo>
                  <a:lnTo>
                    <a:pt x="24" y="302"/>
                  </a:lnTo>
                  <a:lnTo>
                    <a:pt x="22" y="306"/>
                  </a:lnTo>
                  <a:lnTo>
                    <a:pt x="20" y="306"/>
                  </a:lnTo>
                  <a:lnTo>
                    <a:pt x="26" y="308"/>
                  </a:lnTo>
                  <a:lnTo>
                    <a:pt x="26" y="314"/>
                  </a:lnTo>
                  <a:lnTo>
                    <a:pt x="28" y="320"/>
                  </a:lnTo>
                  <a:lnTo>
                    <a:pt x="28" y="328"/>
                  </a:lnTo>
                  <a:lnTo>
                    <a:pt x="30" y="342"/>
                  </a:lnTo>
                  <a:lnTo>
                    <a:pt x="26" y="342"/>
                  </a:lnTo>
                  <a:lnTo>
                    <a:pt x="24" y="354"/>
                  </a:lnTo>
                  <a:lnTo>
                    <a:pt x="22" y="364"/>
                  </a:lnTo>
                  <a:lnTo>
                    <a:pt x="22" y="368"/>
                  </a:lnTo>
                  <a:lnTo>
                    <a:pt x="24" y="370"/>
                  </a:lnTo>
                  <a:lnTo>
                    <a:pt x="28" y="372"/>
                  </a:lnTo>
                  <a:lnTo>
                    <a:pt x="34" y="370"/>
                  </a:lnTo>
                  <a:lnTo>
                    <a:pt x="32" y="394"/>
                  </a:lnTo>
                  <a:lnTo>
                    <a:pt x="30" y="394"/>
                  </a:lnTo>
                  <a:lnTo>
                    <a:pt x="30" y="398"/>
                  </a:lnTo>
                  <a:lnTo>
                    <a:pt x="30" y="402"/>
                  </a:lnTo>
                  <a:lnTo>
                    <a:pt x="32" y="404"/>
                  </a:lnTo>
                  <a:lnTo>
                    <a:pt x="32" y="408"/>
                  </a:lnTo>
                  <a:lnTo>
                    <a:pt x="30" y="408"/>
                  </a:lnTo>
                  <a:lnTo>
                    <a:pt x="28" y="412"/>
                  </a:lnTo>
                  <a:lnTo>
                    <a:pt x="30" y="412"/>
                  </a:lnTo>
                  <a:lnTo>
                    <a:pt x="30" y="416"/>
                  </a:lnTo>
                  <a:lnTo>
                    <a:pt x="26" y="414"/>
                  </a:lnTo>
                  <a:lnTo>
                    <a:pt x="24" y="424"/>
                  </a:lnTo>
                  <a:lnTo>
                    <a:pt x="24" y="430"/>
                  </a:lnTo>
                  <a:lnTo>
                    <a:pt x="24" y="438"/>
                  </a:lnTo>
                  <a:lnTo>
                    <a:pt x="24" y="450"/>
                  </a:lnTo>
                  <a:lnTo>
                    <a:pt x="20" y="446"/>
                  </a:lnTo>
                  <a:lnTo>
                    <a:pt x="18" y="446"/>
                  </a:lnTo>
                  <a:lnTo>
                    <a:pt x="16" y="448"/>
                  </a:lnTo>
                  <a:lnTo>
                    <a:pt x="14" y="450"/>
                  </a:lnTo>
                  <a:lnTo>
                    <a:pt x="14" y="448"/>
                  </a:lnTo>
                  <a:lnTo>
                    <a:pt x="16" y="446"/>
                  </a:lnTo>
                  <a:lnTo>
                    <a:pt x="8" y="442"/>
                  </a:lnTo>
                  <a:lnTo>
                    <a:pt x="8" y="444"/>
                  </a:lnTo>
                  <a:lnTo>
                    <a:pt x="4" y="444"/>
                  </a:lnTo>
                  <a:lnTo>
                    <a:pt x="4" y="448"/>
                  </a:lnTo>
                  <a:lnTo>
                    <a:pt x="2" y="458"/>
                  </a:lnTo>
                  <a:lnTo>
                    <a:pt x="6" y="454"/>
                  </a:lnTo>
                  <a:lnTo>
                    <a:pt x="6" y="460"/>
                  </a:lnTo>
                  <a:lnTo>
                    <a:pt x="12" y="460"/>
                  </a:lnTo>
                  <a:lnTo>
                    <a:pt x="14" y="456"/>
                  </a:lnTo>
                  <a:lnTo>
                    <a:pt x="16" y="456"/>
                  </a:lnTo>
                  <a:lnTo>
                    <a:pt x="18" y="460"/>
                  </a:lnTo>
                  <a:lnTo>
                    <a:pt x="18" y="464"/>
                  </a:lnTo>
                  <a:lnTo>
                    <a:pt x="18" y="466"/>
                  </a:lnTo>
                  <a:lnTo>
                    <a:pt x="20" y="470"/>
                  </a:lnTo>
                  <a:lnTo>
                    <a:pt x="20" y="472"/>
                  </a:lnTo>
                  <a:lnTo>
                    <a:pt x="16" y="472"/>
                  </a:lnTo>
                  <a:lnTo>
                    <a:pt x="16" y="486"/>
                  </a:lnTo>
                  <a:lnTo>
                    <a:pt x="16" y="500"/>
                  </a:lnTo>
                  <a:lnTo>
                    <a:pt x="18" y="496"/>
                  </a:lnTo>
                  <a:lnTo>
                    <a:pt x="20" y="498"/>
                  </a:lnTo>
                  <a:lnTo>
                    <a:pt x="18" y="500"/>
                  </a:lnTo>
                  <a:lnTo>
                    <a:pt x="16" y="504"/>
                  </a:lnTo>
                  <a:lnTo>
                    <a:pt x="14" y="506"/>
                  </a:lnTo>
                  <a:lnTo>
                    <a:pt x="14" y="510"/>
                  </a:lnTo>
                  <a:lnTo>
                    <a:pt x="12" y="510"/>
                  </a:lnTo>
                  <a:lnTo>
                    <a:pt x="12" y="508"/>
                  </a:lnTo>
                  <a:lnTo>
                    <a:pt x="12" y="492"/>
                  </a:lnTo>
                  <a:lnTo>
                    <a:pt x="10" y="476"/>
                  </a:lnTo>
                  <a:lnTo>
                    <a:pt x="4" y="476"/>
                  </a:lnTo>
                  <a:lnTo>
                    <a:pt x="4" y="480"/>
                  </a:lnTo>
                  <a:lnTo>
                    <a:pt x="6" y="480"/>
                  </a:lnTo>
                  <a:lnTo>
                    <a:pt x="4" y="480"/>
                  </a:lnTo>
                  <a:lnTo>
                    <a:pt x="0" y="484"/>
                  </a:lnTo>
                  <a:lnTo>
                    <a:pt x="0" y="488"/>
                  </a:lnTo>
                  <a:lnTo>
                    <a:pt x="2" y="492"/>
                  </a:lnTo>
                  <a:lnTo>
                    <a:pt x="4" y="496"/>
                  </a:lnTo>
                  <a:lnTo>
                    <a:pt x="2" y="500"/>
                  </a:lnTo>
                  <a:lnTo>
                    <a:pt x="0" y="502"/>
                  </a:lnTo>
                  <a:lnTo>
                    <a:pt x="0" y="504"/>
                  </a:lnTo>
                  <a:lnTo>
                    <a:pt x="2" y="508"/>
                  </a:lnTo>
                  <a:lnTo>
                    <a:pt x="12" y="510"/>
                  </a:lnTo>
                  <a:lnTo>
                    <a:pt x="12" y="516"/>
                  </a:lnTo>
                  <a:lnTo>
                    <a:pt x="14" y="516"/>
                  </a:lnTo>
                  <a:lnTo>
                    <a:pt x="18" y="516"/>
                  </a:lnTo>
                  <a:lnTo>
                    <a:pt x="18" y="518"/>
                  </a:lnTo>
                  <a:lnTo>
                    <a:pt x="18" y="520"/>
                  </a:lnTo>
                  <a:lnTo>
                    <a:pt x="12" y="518"/>
                  </a:lnTo>
                  <a:lnTo>
                    <a:pt x="12" y="522"/>
                  </a:lnTo>
                  <a:lnTo>
                    <a:pt x="12" y="524"/>
                  </a:lnTo>
                  <a:lnTo>
                    <a:pt x="12" y="522"/>
                  </a:lnTo>
                  <a:lnTo>
                    <a:pt x="6" y="520"/>
                  </a:lnTo>
                  <a:lnTo>
                    <a:pt x="6" y="526"/>
                  </a:lnTo>
                  <a:lnTo>
                    <a:pt x="4" y="526"/>
                  </a:lnTo>
                  <a:lnTo>
                    <a:pt x="4" y="536"/>
                  </a:lnTo>
                  <a:lnTo>
                    <a:pt x="10" y="536"/>
                  </a:lnTo>
                  <a:lnTo>
                    <a:pt x="12" y="532"/>
                  </a:lnTo>
                  <a:lnTo>
                    <a:pt x="14" y="530"/>
                  </a:lnTo>
                  <a:lnTo>
                    <a:pt x="16" y="532"/>
                  </a:lnTo>
                  <a:lnTo>
                    <a:pt x="16" y="528"/>
                  </a:lnTo>
                  <a:lnTo>
                    <a:pt x="14" y="526"/>
                  </a:lnTo>
                  <a:lnTo>
                    <a:pt x="18" y="524"/>
                  </a:lnTo>
                  <a:lnTo>
                    <a:pt x="18" y="520"/>
                  </a:lnTo>
                  <a:lnTo>
                    <a:pt x="20" y="522"/>
                  </a:lnTo>
                  <a:lnTo>
                    <a:pt x="22" y="522"/>
                  </a:lnTo>
                  <a:lnTo>
                    <a:pt x="18" y="526"/>
                  </a:lnTo>
                  <a:lnTo>
                    <a:pt x="18" y="530"/>
                  </a:lnTo>
                  <a:lnTo>
                    <a:pt x="18" y="532"/>
                  </a:lnTo>
                  <a:lnTo>
                    <a:pt x="20" y="532"/>
                  </a:lnTo>
                  <a:lnTo>
                    <a:pt x="20" y="534"/>
                  </a:lnTo>
                  <a:lnTo>
                    <a:pt x="20" y="536"/>
                  </a:lnTo>
                  <a:lnTo>
                    <a:pt x="18" y="536"/>
                  </a:lnTo>
                  <a:lnTo>
                    <a:pt x="18" y="540"/>
                  </a:lnTo>
                  <a:lnTo>
                    <a:pt x="16" y="538"/>
                  </a:lnTo>
                  <a:lnTo>
                    <a:pt x="14" y="538"/>
                  </a:lnTo>
                  <a:lnTo>
                    <a:pt x="14" y="542"/>
                  </a:lnTo>
                  <a:lnTo>
                    <a:pt x="10" y="542"/>
                  </a:lnTo>
                  <a:lnTo>
                    <a:pt x="10" y="540"/>
                  </a:lnTo>
                  <a:lnTo>
                    <a:pt x="12" y="540"/>
                  </a:lnTo>
                  <a:lnTo>
                    <a:pt x="8" y="540"/>
                  </a:lnTo>
                  <a:lnTo>
                    <a:pt x="4" y="540"/>
                  </a:lnTo>
                  <a:lnTo>
                    <a:pt x="8" y="554"/>
                  </a:lnTo>
                  <a:lnTo>
                    <a:pt x="12" y="558"/>
                  </a:lnTo>
                  <a:lnTo>
                    <a:pt x="18" y="562"/>
                  </a:lnTo>
                  <a:lnTo>
                    <a:pt x="20" y="562"/>
                  </a:lnTo>
                  <a:lnTo>
                    <a:pt x="22" y="562"/>
                  </a:lnTo>
                  <a:lnTo>
                    <a:pt x="14" y="558"/>
                  </a:lnTo>
                  <a:lnTo>
                    <a:pt x="14" y="556"/>
                  </a:lnTo>
                  <a:lnTo>
                    <a:pt x="18" y="556"/>
                  </a:lnTo>
                  <a:lnTo>
                    <a:pt x="18" y="550"/>
                  </a:lnTo>
                  <a:lnTo>
                    <a:pt x="18" y="544"/>
                  </a:lnTo>
                  <a:lnTo>
                    <a:pt x="16" y="542"/>
                  </a:lnTo>
                  <a:lnTo>
                    <a:pt x="20" y="540"/>
                  </a:lnTo>
                  <a:lnTo>
                    <a:pt x="22" y="540"/>
                  </a:lnTo>
                  <a:lnTo>
                    <a:pt x="22" y="542"/>
                  </a:lnTo>
                  <a:lnTo>
                    <a:pt x="26" y="544"/>
                  </a:lnTo>
                  <a:lnTo>
                    <a:pt x="30" y="538"/>
                  </a:lnTo>
                  <a:lnTo>
                    <a:pt x="32" y="538"/>
                  </a:lnTo>
                  <a:lnTo>
                    <a:pt x="34" y="540"/>
                  </a:lnTo>
                  <a:lnTo>
                    <a:pt x="32" y="542"/>
                  </a:lnTo>
                  <a:lnTo>
                    <a:pt x="32" y="544"/>
                  </a:lnTo>
                  <a:lnTo>
                    <a:pt x="32" y="542"/>
                  </a:lnTo>
                  <a:lnTo>
                    <a:pt x="30" y="542"/>
                  </a:lnTo>
                  <a:lnTo>
                    <a:pt x="30" y="548"/>
                  </a:lnTo>
                  <a:lnTo>
                    <a:pt x="26" y="544"/>
                  </a:lnTo>
                  <a:lnTo>
                    <a:pt x="22" y="548"/>
                  </a:lnTo>
                  <a:lnTo>
                    <a:pt x="24" y="560"/>
                  </a:lnTo>
                  <a:lnTo>
                    <a:pt x="28" y="562"/>
                  </a:lnTo>
                  <a:lnTo>
                    <a:pt x="24" y="562"/>
                  </a:lnTo>
                  <a:lnTo>
                    <a:pt x="24" y="568"/>
                  </a:lnTo>
                  <a:lnTo>
                    <a:pt x="22" y="572"/>
                  </a:lnTo>
                  <a:lnTo>
                    <a:pt x="28" y="572"/>
                  </a:lnTo>
                  <a:lnTo>
                    <a:pt x="30" y="572"/>
                  </a:lnTo>
                  <a:lnTo>
                    <a:pt x="30" y="576"/>
                  </a:lnTo>
                  <a:lnTo>
                    <a:pt x="28" y="576"/>
                  </a:lnTo>
                  <a:lnTo>
                    <a:pt x="30" y="578"/>
                  </a:lnTo>
                  <a:lnTo>
                    <a:pt x="34" y="580"/>
                  </a:lnTo>
                  <a:lnTo>
                    <a:pt x="36" y="578"/>
                  </a:lnTo>
                  <a:lnTo>
                    <a:pt x="36" y="576"/>
                  </a:lnTo>
                  <a:lnTo>
                    <a:pt x="34" y="574"/>
                  </a:lnTo>
                  <a:lnTo>
                    <a:pt x="36" y="570"/>
                  </a:lnTo>
                  <a:lnTo>
                    <a:pt x="32" y="568"/>
                  </a:lnTo>
                  <a:lnTo>
                    <a:pt x="34" y="566"/>
                  </a:lnTo>
                  <a:lnTo>
                    <a:pt x="36" y="564"/>
                  </a:lnTo>
                  <a:lnTo>
                    <a:pt x="38" y="564"/>
                  </a:lnTo>
                  <a:lnTo>
                    <a:pt x="38" y="568"/>
                  </a:lnTo>
                  <a:lnTo>
                    <a:pt x="40" y="572"/>
                  </a:lnTo>
                  <a:lnTo>
                    <a:pt x="44" y="572"/>
                  </a:lnTo>
                  <a:lnTo>
                    <a:pt x="48" y="572"/>
                  </a:lnTo>
                  <a:lnTo>
                    <a:pt x="48" y="578"/>
                  </a:lnTo>
                  <a:lnTo>
                    <a:pt x="38" y="574"/>
                  </a:lnTo>
                  <a:lnTo>
                    <a:pt x="42" y="582"/>
                  </a:lnTo>
                  <a:lnTo>
                    <a:pt x="48" y="580"/>
                  </a:lnTo>
                  <a:lnTo>
                    <a:pt x="54" y="580"/>
                  </a:lnTo>
                  <a:lnTo>
                    <a:pt x="50" y="582"/>
                  </a:lnTo>
                  <a:lnTo>
                    <a:pt x="38" y="586"/>
                  </a:lnTo>
                  <a:lnTo>
                    <a:pt x="38" y="590"/>
                  </a:lnTo>
                  <a:lnTo>
                    <a:pt x="40" y="590"/>
                  </a:lnTo>
                  <a:lnTo>
                    <a:pt x="40" y="586"/>
                  </a:lnTo>
                  <a:lnTo>
                    <a:pt x="50" y="588"/>
                  </a:lnTo>
                  <a:lnTo>
                    <a:pt x="50" y="592"/>
                  </a:lnTo>
                  <a:lnTo>
                    <a:pt x="54" y="592"/>
                  </a:lnTo>
                  <a:lnTo>
                    <a:pt x="58" y="592"/>
                  </a:lnTo>
                  <a:lnTo>
                    <a:pt x="60" y="594"/>
                  </a:lnTo>
                  <a:lnTo>
                    <a:pt x="60" y="596"/>
                  </a:lnTo>
                  <a:lnTo>
                    <a:pt x="64" y="594"/>
                  </a:lnTo>
                  <a:lnTo>
                    <a:pt x="64" y="596"/>
                  </a:lnTo>
                  <a:lnTo>
                    <a:pt x="62" y="596"/>
                  </a:lnTo>
                  <a:lnTo>
                    <a:pt x="58" y="598"/>
                  </a:lnTo>
                  <a:lnTo>
                    <a:pt x="62" y="602"/>
                  </a:lnTo>
                  <a:lnTo>
                    <a:pt x="68" y="604"/>
                  </a:lnTo>
                  <a:lnTo>
                    <a:pt x="70" y="604"/>
                  </a:lnTo>
                  <a:lnTo>
                    <a:pt x="70" y="602"/>
                  </a:lnTo>
                  <a:lnTo>
                    <a:pt x="70" y="600"/>
                  </a:lnTo>
                  <a:lnTo>
                    <a:pt x="72" y="600"/>
                  </a:lnTo>
                  <a:lnTo>
                    <a:pt x="78" y="600"/>
                  </a:lnTo>
                  <a:lnTo>
                    <a:pt x="80" y="600"/>
                  </a:lnTo>
                  <a:lnTo>
                    <a:pt x="78" y="598"/>
                  </a:lnTo>
                  <a:lnTo>
                    <a:pt x="78" y="594"/>
                  </a:lnTo>
                  <a:lnTo>
                    <a:pt x="72" y="592"/>
                  </a:lnTo>
                  <a:lnTo>
                    <a:pt x="76" y="592"/>
                  </a:lnTo>
                  <a:lnTo>
                    <a:pt x="80" y="592"/>
                  </a:lnTo>
                  <a:lnTo>
                    <a:pt x="86" y="600"/>
                  </a:lnTo>
                  <a:lnTo>
                    <a:pt x="88" y="600"/>
                  </a:lnTo>
                  <a:lnTo>
                    <a:pt x="90" y="598"/>
                  </a:lnTo>
                  <a:lnTo>
                    <a:pt x="92" y="598"/>
                  </a:lnTo>
                  <a:lnTo>
                    <a:pt x="92" y="594"/>
                  </a:lnTo>
                  <a:lnTo>
                    <a:pt x="94" y="592"/>
                  </a:lnTo>
                  <a:lnTo>
                    <a:pt x="98" y="590"/>
                  </a:lnTo>
                  <a:lnTo>
                    <a:pt x="104" y="590"/>
                  </a:lnTo>
                  <a:lnTo>
                    <a:pt x="112" y="592"/>
                  </a:lnTo>
                  <a:lnTo>
                    <a:pt x="86" y="590"/>
                  </a:lnTo>
                  <a:lnTo>
                    <a:pt x="78" y="588"/>
                  </a:lnTo>
                  <a:lnTo>
                    <a:pt x="76" y="590"/>
                  </a:lnTo>
                  <a:lnTo>
                    <a:pt x="76" y="556"/>
                  </a:lnTo>
                  <a:lnTo>
                    <a:pt x="66" y="552"/>
                  </a:lnTo>
                  <a:lnTo>
                    <a:pt x="68" y="548"/>
                  </a:lnTo>
                  <a:lnTo>
                    <a:pt x="70" y="544"/>
                  </a:lnTo>
                  <a:lnTo>
                    <a:pt x="72" y="546"/>
                  </a:lnTo>
                  <a:lnTo>
                    <a:pt x="74" y="546"/>
                  </a:lnTo>
                  <a:lnTo>
                    <a:pt x="72" y="546"/>
                  </a:lnTo>
                  <a:lnTo>
                    <a:pt x="78" y="546"/>
                  </a:lnTo>
                  <a:lnTo>
                    <a:pt x="76" y="544"/>
                  </a:lnTo>
                  <a:lnTo>
                    <a:pt x="58" y="542"/>
                  </a:lnTo>
                  <a:lnTo>
                    <a:pt x="42" y="544"/>
                  </a:lnTo>
                  <a:lnTo>
                    <a:pt x="38" y="538"/>
                  </a:lnTo>
                  <a:lnTo>
                    <a:pt x="34" y="532"/>
                  </a:lnTo>
                  <a:lnTo>
                    <a:pt x="30" y="526"/>
                  </a:lnTo>
                  <a:lnTo>
                    <a:pt x="30" y="524"/>
                  </a:lnTo>
                  <a:lnTo>
                    <a:pt x="32" y="522"/>
                  </a:lnTo>
                  <a:lnTo>
                    <a:pt x="34" y="520"/>
                  </a:lnTo>
                  <a:lnTo>
                    <a:pt x="32" y="516"/>
                  </a:lnTo>
                  <a:lnTo>
                    <a:pt x="30" y="514"/>
                  </a:lnTo>
                  <a:lnTo>
                    <a:pt x="26" y="516"/>
                  </a:lnTo>
                  <a:lnTo>
                    <a:pt x="24" y="516"/>
                  </a:lnTo>
                  <a:lnTo>
                    <a:pt x="24" y="514"/>
                  </a:lnTo>
                  <a:lnTo>
                    <a:pt x="24" y="508"/>
                  </a:lnTo>
                  <a:lnTo>
                    <a:pt x="24" y="504"/>
                  </a:lnTo>
                  <a:lnTo>
                    <a:pt x="26" y="500"/>
                  </a:lnTo>
                  <a:lnTo>
                    <a:pt x="26" y="496"/>
                  </a:lnTo>
                  <a:lnTo>
                    <a:pt x="24" y="490"/>
                  </a:lnTo>
                  <a:lnTo>
                    <a:pt x="26" y="486"/>
                  </a:lnTo>
                  <a:lnTo>
                    <a:pt x="28" y="486"/>
                  </a:lnTo>
                  <a:lnTo>
                    <a:pt x="34" y="482"/>
                  </a:lnTo>
                  <a:lnTo>
                    <a:pt x="36" y="478"/>
                  </a:lnTo>
                  <a:lnTo>
                    <a:pt x="34" y="474"/>
                  </a:lnTo>
                  <a:lnTo>
                    <a:pt x="34" y="470"/>
                  </a:lnTo>
                  <a:lnTo>
                    <a:pt x="36" y="466"/>
                  </a:lnTo>
                  <a:lnTo>
                    <a:pt x="40" y="462"/>
                  </a:lnTo>
                  <a:lnTo>
                    <a:pt x="40" y="458"/>
                  </a:lnTo>
                  <a:lnTo>
                    <a:pt x="40" y="452"/>
                  </a:lnTo>
                  <a:lnTo>
                    <a:pt x="40" y="446"/>
                  </a:lnTo>
                  <a:lnTo>
                    <a:pt x="42" y="442"/>
                  </a:lnTo>
                  <a:lnTo>
                    <a:pt x="40" y="438"/>
                  </a:lnTo>
                  <a:lnTo>
                    <a:pt x="38" y="434"/>
                  </a:lnTo>
                  <a:lnTo>
                    <a:pt x="40" y="432"/>
                  </a:lnTo>
                  <a:lnTo>
                    <a:pt x="40" y="428"/>
                  </a:lnTo>
                  <a:lnTo>
                    <a:pt x="42" y="428"/>
                  </a:lnTo>
                  <a:lnTo>
                    <a:pt x="44" y="426"/>
                  </a:lnTo>
                  <a:lnTo>
                    <a:pt x="44" y="424"/>
                  </a:lnTo>
                  <a:lnTo>
                    <a:pt x="42" y="422"/>
                  </a:lnTo>
                  <a:lnTo>
                    <a:pt x="42" y="418"/>
                  </a:lnTo>
                  <a:lnTo>
                    <a:pt x="44" y="414"/>
                  </a:lnTo>
                  <a:lnTo>
                    <a:pt x="46" y="412"/>
                  </a:lnTo>
                  <a:lnTo>
                    <a:pt x="44" y="410"/>
                  </a:lnTo>
                  <a:lnTo>
                    <a:pt x="44" y="406"/>
                  </a:lnTo>
                  <a:lnTo>
                    <a:pt x="42" y="402"/>
                  </a:lnTo>
                  <a:lnTo>
                    <a:pt x="42" y="398"/>
                  </a:lnTo>
                  <a:lnTo>
                    <a:pt x="42" y="396"/>
                  </a:lnTo>
                  <a:lnTo>
                    <a:pt x="42" y="394"/>
                  </a:lnTo>
                  <a:lnTo>
                    <a:pt x="38" y="390"/>
                  </a:lnTo>
                  <a:lnTo>
                    <a:pt x="38" y="388"/>
                  </a:lnTo>
                  <a:lnTo>
                    <a:pt x="40" y="384"/>
                  </a:lnTo>
                  <a:lnTo>
                    <a:pt x="42" y="378"/>
                  </a:lnTo>
                  <a:lnTo>
                    <a:pt x="42" y="368"/>
                  </a:lnTo>
                  <a:lnTo>
                    <a:pt x="42" y="364"/>
                  </a:lnTo>
                  <a:lnTo>
                    <a:pt x="40" y="364"/>
                  </a:lnTo>
                  <a:lnTo>
                    <a:pt x="38" y="362"/>
                  </a:lnTo>
                  <a:lnTo>
                    <a:pt x="38" y="360"/>
                  </a:lnTo>
                  <a:lnTo>
                    <a:pt x="40" y="354"/>
                  </a:lnTo>
                  <a:lnTo>
                    <a:pt x="38" y="348"/>
                  </a:lnTo>
                  <a:lnTo>
                    <a:pt x="36" y="344"/>
                  </a:lnTo>
                  <a:lnTo>
                    <a:pt x="38" y="342"/>
                  </a:lnTo>
                  <a:lnTo>
                    <a:pt x="40" y="338"/>
                  </a:lnTo>
                  <a:lnTo>
                    <a:pt x="42" y="334"/>
                  </a:lnTo>
                  <a:lnTo>
                    <a:pt x="42" y="326"/>
                  </a:lnTo>
                  <a:lnTo>
                    <a:pt x="46" y="316"/>
                  </a:lnTo>
                  <a:lnTo>
                    <a:pt x="48" y="314"/>
                  </a:lnTo>
                  <a:lnTo>
                    <a:pt x="48" y="308"/>
                  </a:lnTo>
                  <a:lnTo>
                    <a:pt x="46" y="304"/>
                  </a:lnTo>
                  <a:lnTo>
                    <a:pt x="46" y="294"/>
                  </a:lnTo>
                  <a:lnTo>
                    <a:pt x="48" y="290"/>
                  </a:lnTo>
                  <a:lnTo>
                    <a:pt x="48" y="288"/>
                  </a:lnTo>
                  <a:lnTo>
                    <a:pt x="52" y="284"/>
                  </a:lnTo>
                  <a:lnTo>
                    <a:pt x="54" y="284"/>
                  </a:lnTo>
                  <a:lnTo>
                    <a:pt x="56" y="282"/>
                  </a:lnTo>
                  <a:lnTo>
                    <a:pt x="56" y="278"/>
                  </a:lnTo>
                  <a:lnTo>
                    <a:pt x="56" y="274"/>
                  </a:lnTo>
                  <a:lnTo>
                    <a:pt x="56" y="270"/>
                  </a:lnTo>
                  <a:lnTo>
                    <a:pt x="56" y="266"/>
                  </a:lnTo>
                  <a:lnTo>
                    <a:pt x="60" y="258"/>
                  </a:lnTo>
                  <a:lnTo>
                    <a:pt x="62" y="248"/>
                  </a:lnTo>
                  <a:lnTo>
                    <a:pt x="62" y="244"/>
                  </a:lnTo>
                  <a:lnTo>
                    <a:pt x="60" y="238"/>
                  </a:lnTo>
                  <a:lnTo>
                    <a:pt x="60" y="234"/>
                  </a:lnTo>
                  <a:lnTo>
                    <a:pt x="62" y="228"/>
                  </a:lnTo>
                  <a:lnTo>
                    <a:pt x="64" y="224"/>
                  </a:lnTo>
                  <a:lnTo>
                    <a:pt x="62" y="218"/>
                  </a:lnTo>
                  <a:lnTo>
                    <a:pt x="62" y="212"/>
                  </a:lnTo>
                  <a:lnTo>
                    <a:pt x="64" y="206"/>
                  </a:lnTo>
                  <a:lnTo>
                    <a:pt x="64" y="200"/>
                  </a:lnTo>
                  <a:lnTo>
                    <a:pt x="66" y="196"/>
                  </a:lnTo>
                  <a:lnTo>
                    <a:pt x="68" y="190"/>
                  </a:lnTo>
                  <a:lnTo>
                    <a:pt x="66" y="184"/>
                  </a:lnTo>
                  <a:lnTo>
                    <a:pt x="68" y="168"/>
                  </a:lnTo>
                  <a:lnTo>
                    <a:pt x="70" y="164"/>
                  </a:lnTo>
                  <a:lnTo>
                    <a:pt x="70" y="162"/>
                  </a:lnTo>
                  <a:lnTo>
                    <a:pt x="74" y="158"/>
                  </a:lnTo>
                  <a:lnTo>
                    <a:pt x="80" y="148"/>
                  </a:lnTo>
                  <a:lnTo>
                    <a:pt x="82" y="142"/>
                  </a:lnTo>
                  <a:lnTo>
                    <a:pt x="80" y="138"/>
                  </a:lnTo>
                  <a:lnTo>
                    <a:pt x="80" y="132"/>
                  </a:lnTo>
                  <a:lnTo>
                    <a:pt x="82" y="130"/>
                  </a:lnTo>
                  <a:lnTo>
                    <a:pt x="82" y="128"/>
                  </a:lnTo>
                  <a:lnTo>
                    <a:pt x="82" y="126"/>
                  </a:lnTo>
                  <a:lnTo>
                    <a:pt x="80" y="120"/>
                  </a:lnTo>
                  <a:lnTo>
                    <a:pt x="80" y="108"/>
                  </a:lnTo>
                  <a:lnTo>
                    <a:pt x="82" y="106"/>
                  </a:lnTo>
                  <a:lnTo>
                    <a:pt x="84" y="104"/>
                  </a:lnTo>
                  <a:lnTo>
                    <a:pt x="86" y="102"/>
                  </a:lnTo>
                  <a:lnTo>
                    <a:pt x="88" y="100"/>
                  </a:lnTo>
                  <a:lnTo>
                    <a:pt x="90" y="98"/>
                  </a:lnTo>
                  <a:lnTo>
                    <a:pt x="92" y="96"/>
                  </a:lnTo>
                  <a:lnTo>
                    <a:pt x="94" y="96"/>
                  </a:lnTo>
                  <a:lnTo>
                    <a:pt x="96" y="94"/>
                  </a:lnTo>
                  <a:lnTo>
                    <a:pt x="96" y="86"/>
                  </a:lnTo>
                  <a:lnTo>
                    <a:pt x="96" y="84"/>
                  </a:lnTo>
                  <a:lnTo>
                    <a:pt x="94" y="82"/>
                  </a:lnTo>
                  <a:lnTo>
                    <a:pt x="92" y="80"/>
                  </a:lnTo>
                  <a:lnTo>
                    <a:pt x="92" y="76"/>
                  </a:lnTo>
                  <a:lnTo>
                    <a:pt x="92" y="72"/>
                  </a:lnTo>
                  <a:lnTo>
                    <a:pt x="84" y="70"/>
                  </a:lnTo>
                  <a:lnTo>
                    <a:pt x="84" y="60"/>
                  </a:lnTo>
                  <a:lnTo>
                    <a:pt x="84" y="54"/>
                  </a:lnTo>
                  <a:lnTo>
                    <a:pt x="82" y="48"/>
                  </a:lnTo>
                  <a:lnTo>
                    <a:pt x="80" y="42"/>
                  </a:lnTo>
                  <a:lnTo>
                    <a:pt x="80" y="36"/>
                  </a:lnTo>
                  <a:lnTo>
                    <a:pt x="76" y="26"/>
                  </a:lnTo>
                  <a:lnTo>
                    <a:pt x="74" y="24"/>
                  </a:lnTo>
                  <a:lnTo>
                    <a:pt x="70" y="20"/>
                  </a:lnTo>
                  <a:lnTo>
                    <a:pt x="68" y="12"/>
                  </a:lnTo>
                  <a:lnTo>
                    <a:pt x="66" y="6"/>
                  </a:lnTo>
                  <a:lnTo>
                    <a:pt x="64" y="0"/>
                  </a:lnTo>
                  <a:lnTo>
                    <a:pt x="60" y="2"/>
                  </a:lnTo>
                  <a:lnTo>
                    <a:pt x="56" y="6"/>
                  </a:lnTo>
                  <a:close/>
                  <a:moveTo>
                    <a:pt x="76" y="602"/>
                  </a:moveTo>
                  <a:lnTo>
                    <a:pt x="76" y="602"/>
                  </a:lnTo>
                  <a:lnTo>
                    <a:pt x="78" y="608"/>
                  </a:lnTo>
                  <a:lnTo>
                    <a:pt x="82" y="608"/>
                  </a:lnTo>
                  <a:lnTo>
                    <a:pt x="82" y="606"/>
                  </a:lnTo>
                  <a:lnTo>
                    <a:pt x="80" y="604"/>
                  </a:lnTo>
                  <a:lnTo>
                    <a:pt x="76" y="602"/>
                  </a:lnTo>
                  <a:close/>
                  <a:moveTo>
                    <a:pt x="48" y="594"/>
                  </a:moveTo>
                  <a:lnTo>
                    <a:pt x="48" y="594"/>
                  </a:lnTo>
                  <a:lnTo>
                    <a:pt x="50" y="596"/>
                  </a:lnTo>
                  <a:lnTo>
                    <a:pt x="54" y="598"/>
                  </a:lnTo>
                  <a:lnTo>
                    <a:pt x="54" y="596"/>
                  </a:lnTo>
                  <a:lnTo>
                    <a:pt x="52" y="594"/>
                  </a:lnTo>
                  <a:lnTo>
                    <a:pt x="48" y="594"/>
                  </a:lnTo>
                  <a:close/>
                  <a:moveTo>
                    <a:pt x="0" y="520"/>
                  </a:moveTo>
                  <a:lnTo>
                    <a:pt x="2" y="524"/>
                  </a:lnTo>
                  <a:lnTo>
                    <a:pt x="4" y="524"/>
                  </a:lnTo>
                  <a:lnTo>
                    <a:pt x="2" y="522"/>
                  </a:lnTo>
                  <a:lnTo>
                    <a:pt x="0" y="520"/>
                  </a:lnTo>
                  <a:close/>
                  <a:moveTo>
                    <a:pt x="4" y="512"/>
                  </a:moveTo>
                  <a:lnTo>
                    <a:pt x="4" y="518"/>
                  </a:lnTo>
                  <a:lnTo>
                    <a:pt x="6" y="518"/>
                  </a:lnTo>
                  <a:lnTo>
                    <a:pt x="8" y="516"/>
                  </a:lnTo>
                  <a:lnTo>
                    <a:pt x="6" y="512"/>
                  </a:lnTo>
                  <a:lnTo>
                    <a:pt x="4" y="512"/>
                  </a:lnTo>
                  <a:close/>
                  <a:moveTo>
                    <a:pt x="44" y="556"/>
                  </a:moveTo>
                  <a:lnTo>
                    <a:pt x="44" y="556"/>
                  </a:lnTo>
                  <a:lnTo>
                    <a:pt x="46" y="554"/>
                  </a:lnTo>
                  <a:lnTo>
                    <a:pt x="46" y="556"/>
                  </a:lnTo>
                  <a:lnTo>
                    <a:pt x="46" y="558"/>
                  </a:lnTo>
                  <a:lnTo>
                    <a:pt x="46" y="560"/>
                  </a:lnTo>
                  <a:lnTo>
                    <a:pt x="44" y="564"/>
                  </a:lnTo>
                  <a:lnTo>
                    <a:pt x="42" y="564"/>
                  </a:lnTo>
                  <a:lnTo>
                    <a:pt x="42" y="560"/>
                  </a:lnTo>
                  <a:lnTo>
                    <a:pt x="44" y="556"/>
                  </a:lnTo>
                  <a:close/>
                  <a:moveTo>
                    <a:pt x="34" y="556"/>
                  </a:moveTo>
                  <a:lnTo>
                    <a:pt x="36" y="560"/>
                  </a:lnTo>
                  <a:lnTo>
                    <a:pt x="32" y="560"/>
                  </a:lnTo>
                  <a:lnTo>
                    <a:pt x="32" y="558"/>
                  </a:lnTo>
                  <a:lnTo>
                    <a:pt x="32" y="556"/>
                  </a:lnTo>
                  <a:lnTo>
                    <a:pt x="34" y="556"/>
                  </a:lnTo>
                  <a:close/>
                  <a:moveTo>
                    <a:pt x="56" y="552"/>
                  </a:moveTo>
                  <a:lnTo>
                    <a:pt x="56" y="552"/>
                  </a:lnTo>
                  <a:lnTo>
                    <a:pt x="66" y="552"/>
                  </a:lnTo>
                  <a:lnTo>
                    <a:pt x="64" y="556"/>
                  </a:lnTo>
                  <a:lnTo>
                    <a:pt x="60" y="556"/>
                  </a:lnTo>
                  <a:lnTo>
                    <a:pt x="58" y="554"/>
                  </a:lnTo>
                  <a:lnTo>
                    <a:pt x="56" y="554"/>
                  </a:lnTo>
                  <a:lnTo>
                    <a:pt x="54" y="556"/>
                  </a:lnTo>
                  <a:lnTo>
                    <a:pt x="56" y="568"/>
                  </a:lnTo>
                  <a:lnTo>
                    <a:pt x="58" y="566"/>
                  </a:lnTo>
                  <a:lnTo>
                    <a:pt x="62" y="566"/>
                  </a:lnTo>
                  <a:lnTo>
                    <a:pt x="62" y="570"/>
                  </a:lnTo>
                  <a:lnTo>
                    <a:pt x="56" y="572"/>
                  </a:lnTo>
                  <a:lnTo>
                    <a:pt x="56" y="574"/>
                  </a:lnTo>
                  <a:lnTo>
                    <a:pt x="58" y="578"/>
                  </a:lnTo>
                  <a:lnTo>
                    <a:pt x="62" y="578"/>
                  </a:lnTo>
                  <a:lnTo>
                    <a:pt x="56" y="582"/>
                  </a:lnTo>
                  <a:lnTo>
                    <a:pt x="60" y="582"/>
                  </a:lnTo>
                  <a:lnTo>
                    <a:pt x="64" y="582"/>
                  </a:lnTo>
                  <a:lnTo>
                    <a:pt x="58" y="586"/>
                  </a:lnTo>
                  <a:lnTo>
                    <a:pt x="54" y="584"/>
                  </a:lnTo>
                  <a:lnTo>
                    <a:pt x="52" y="584"/>
                  </a:lnTo>
                  <a:lnTo>
                    <a:pt x="54" y="584"/>
                  </a:lnTo>
                  <a:lnTo>
                    <a:pt x="54" y="572"/>
                  </a:lnTo>
                  <a:lnTo>
                    <a:pt x="48" y="572"/>
                  </a:lnTo>
                  <a:lnTo>
                    <a:pt x="50" y="564"/>
                  </a:lnTo>
                  <a:lnTo>
                    <a:pt x="52" y="554"/>
                  </a:lnTo>
                  <a:lnTo>
                    <a:pt x="56" y="552"/>
                  </a:lnTo>
                  <a:close/>
                  <a:moveTo>
                    <a:pt x="18" y="424"/>
                  </a:moveTo>
                  <a:lnTo>
                    <a:pt x="18" y="424"/>
                  </a:lnTo>
                  <a:lnTo>
                    <a:pt x="16" y="426"/>
                  </a:lnTo>
                  <a:lnTo>
                    <a:pt x="14" y="430"/>
                  </a:lnTo>
                  <a:lnTo>
                    <a:pt x="12" y="434"/>
                  </a:lnTo>
                  <a:lnTo>
                    <a:pt x="18" y="436"/>
                  </a:lnTo>
                  <a:lnTo>
                    <a:pt x="14" y="440"/>
                  </a:lnTo>
                  <a:lnTo>
                    <a:pt x="12" y="442"/>
                  </a:lnTo>
                  <a:lnTo>
                    <a:pt x="14" y="442"/>
                  </a:lnTo>
                  <a:lnTo>
                    <a:pt x="20" y="436"/>
                  </a:lnTo>
                  <a:lnTo>
                    <a:pt x="22" y="434"/>
                  </a:lnTo>
                  <a:lnTo>
                    <a:pt x="18" y="436"/>
                  </a:lnTo>
                  <a:lnTo>
                    <a:pt x="18" y="432"/>
                  </a:lnTo>
                  <a:lnTo>
                    <a:pt x="20" y="432"/>
                  </a:lnTo>
                  <a:lnTo>
                    <a:pt x="22" y="428"/>
                  </a:lnTo>
                  <a:lnTo>
                    <a:pt x="20" y="426"/>
                  </a:lnTo>
                  <a:lnTo>
                    <a:pt x="18" y="424"/>
                  </a:lnTo>
                  <a:close/>
                  <a:moveTo>
                    <a:pt x="16" y="412"/>
                  </a:moveTo>
                  <a:lnTo>
                    <a:pt x="18" y="416"/>
                  </a:lnTo>
                  <a:lnTo>
                    <a:pt x="18" y="414"/>
                  </a:lnTo>
                  <a:lnTo>
                    <a:pt x="16" y="412"/>
                  </a:lnTo>
                  <a:close/>
                  <a:moveTo>
                    <a:pt x="18" y="374"/>
                  </a:moveTo>
                  <a:lnTo>
                    <a:pt x="18" y="374"/>
                  </a:lnTo>
                  <a:lnTo>
                    <a:pt x="18" y="398"/>
                  </a:lnTo>
                  <a:lnTo>
                    <a:pt x="22" y="400"/>
                  </a:lnTo>
                  <a:lnTo>
                    <a:pt x="28" y="394"/>
                  </a:lnTo>
                  <a:lnTo>
                    <a:pt x="28" y="390"/>
                  </a:lnTo>
                  <a:lnTo>
                    <a:pt x="26" y="388"/>
                  </a:lnTo>
                  <a:lnTo>
                    <a:pt x="24" y="386"/>
                  </a:lnTo>
                  <a:lnTo>
                    <a:pt x="28" y="374"/>
                  </a:lnTo>
                  <a:lnTo>
                    <a:pt x="22" y="374"/>
                  </a:lnTo>
                  <a:lnTo>
                    <a:pt x="18" y="37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1" name="Freeform 659">
              <a:extLst>
                <a:ext uri="{FF2B5EF4-FFF2-40B4-BE49-F238E27FC236}">
                  <a16:creationId xmlns:a16="http://schemas.microsoft.com/office/drawing/2014/main" id="{8FE235D7-B775-4DC3-9667-6DD979D8C215}"/>
                </a:ext>
              </a:extLst>
            </p:cNvPr>
            <p:cNvSpPr>
              <a:spLocks/>
            </p:cNvSpPr>
            <p:nvPr/>
          </p:nvSpPr>
          <p:spPr bwMode="gray">
            <a:xfrm>
              <a:off x="4675719" y="3669683"/>
              <a:ext cx="218939" cy="426126"/>
            </a:xfrm>
            <a:custGeom>
              <a:avLst/>
              <a:gdLst>
                <a:gd name="T0" fmla="*/ 0 w 118"/>
                <a:gd name="T1" fmla="*/ 2147483647 h 230"/>
                <a:gd name="T2" fmla="*/ 2147483647 w 118"/>
                <a:gd name="T3" fmla="*/ 2147483647 h 230"/>
                <a:gd name="T4" fmla="*/ 2147483647 w 118"/>
                <a:gd name="T5" fmla="*/ 2147483647 h 230"/>
                <a:gd name="T6" fmla="*/ 2147483647 w 118"/>
                <a:gd name="T7" fmla="*/ 2147483647 h 230"/>
                <a:gd name="T8" fmla="*/ 2147483647 w 118"/>
                <a:gd name="T9" fmla="*/ 2147483647 h 230"/>
                <a:gd name="T10" fmla="*/ 2147483647 w 118"/>
                <a:gd name="T11" fmla="*/ 2147483647 h 230"/>
                <a:gd name="T12" fmla="*/ 2147483647 w 118"/>
                <a:gd name="T13" fmla="*/ 2147483647 h 230"/>
                <a:gd name="T14" fmla="*/ 2147483647 w 118"/>
                <a:gd name="T15" fmla="*/ 2147483647 h 230"/>
                <a:gd name="T16" fmla="*/ 2147483647 w 118"/>
                <a:gd name="T17" fmla="*/ 2147483647 h 230"/>
                <a:gd name="T18" fmla="*/ 2147483647 w 118"/>
                <a:gd name="T19" fmla="*/ 2147483647 h 230"/>
                <a:gd name="T20" fmla="*/ 2147483647 w 118"/>
                <a:gd name="T21" fmla="*/ 2147483647 h 230"/>
                <a:gd name="T22" fmla="*/ 2147483647 w 118"/>
                <a:gd name="T23" fmla="*/ 2147483647 h 230"/>
                <a:gd name="T24" fmla="*/ 2147483647 w 118"/>
                <a:gd name="T25" fmla="*/ 2147483647 h 230"/>
                <a:gd name="T26" fmla="*/ 2147483647 w 118"/>
                <a:gd name="T27" fmla="*/ 2147483647 h 230"/>
                <a:gd name="T28" fmla="*/ 2147483647 w 118"/>
                <a:gd name="T29" fmla="*/ 2147483647 h 230"/>
                <a:gd name="T30" fmla="*/ 2147483647 w 118"/>
                <a:gd name="T31" fmla="*/ 2147483647 h 230"/>
                <a:gd name="T32" fmla="*/ 2147483647 w 118"/>
                <a:gd name="T33" fmla="*/ 2147483647 h 230"/>
                <a:gd name="T34" fmla="*/ 2147483647 w 118"/>
                <a:gd name="T35" fmla="*/ 2147483647 h 230"/>
                <a:gd name="T36" fmla="*/ 2147483647 w 118"/>
                <a:gd name="T37" fmla="*/ 2147483647 h 230"/>
                <a:gd name="T38" fmla="*/ 2147483647 w 118"/>
                <a:gd name="T39" fmla="*/ 2147483647 h 230"/>
                <a:gd name="T40" fmla="*/ 2147483647 w 118"/>
                <a:gd name="T41" fmla="*/ 2147483647 h 230"/>
                <a:gd name="T42" fmla="*/ 2147483647 w 118"/>
                <a:gd name="T43" fmla="*/ 2147483647 h 230"/>
                <a:gd name="T44" fmla="*/ 2147483647 w 118"/>
                <a:gd name="T45" fmla="*/ 2147483647 h 230"/>
                <a:gd name="T46" fmla="*/ 2147483647 w 118"/>
                <a:gd name="T47" fmla="*/ 2147483647 h 230"/>
                <a:gd name="T48" fmla="*/ 2147483647 w 118"/>
                <a:gd name="T49" fmla="*/ 2147483647 h 230"/>
                <a:gd name="T50" fmla="*/ 2147483647 w 118"/>
                <a:gd name="T51" fmla="*/ 2147483647 h 230"/>
                <a:gd name="T52" fmla="*/ 2147483647 w 118"/>
                <a:gd name="T53" fmla="*/ 2147483647 h 230"/>
                <a:gd name="T54" fmla="*/ 2147483647 w 118"/>
                <a:gd name="T55" fmla="*/ 2147483647 h 230"/>
                <a:gd name="T56" fmla="*/ 2147483647 w 118"/>
                <a:gd name="T57" fmla="*/ 2147483647 h 230"/>
                <a:gd name="T58" fmla="*/ 2147483647 w 118"/>
                <a:gd name="T59" fmla="*/ 2147483647 h 230"/>
                <a:gd name="T60" fmla="*/ 2147483647 w 118"/>
                <a:gd name="T61" fmla="*/ 2147483647 h 230"/>
                <a:gd name="T62" fmla="*/ 2147483647 w 118"/>
                <a:gd name="T63" fmla="*/ 2147483647 h 230"/>
                <a:gd name="T64" fmla="*/ 2147483647 w 118"/>
                <a:gd name="T65" fmla="*/ 2147483647 h 230"/>
                <a:gd name="T66" fmla="*/ 2147483647 w 118"/>
                <a:gd name="T67" fmla="*/ 2147483647 h 230"/>
                <a:gd name="T68" fmla="*/ 2147483647 w 118"/>
                <a:gd name="T69" fmla="*/ 2147483647 h 230"/>
                <a:gd name="T70" fmla="*/ 2147483647 w 118"/>
                <a:gd name="T71" fmla="*/ 2147483647 h 230"/>
                <a:gd name="T72" fmla="*/ 2147483647 w 118"/>
                <a:gd name="T73" fmla="*/ 2147483647 h 230"/>
                <a:gd name="T74" fmla="*/ 2147483647 w 118"/>
                <a:gd name="T75" fmla="*/ 2147483647 h 230"/>
                <a:gd name="T76" fmla="*/ 2147483647 w 118"/>
                <a:gd name="T77" fmla="*/ 2147483647 h 230"/>
                <a:gd name="T78" fmla="*/ 2147483647 w 118"/>
                <a:gd name="T79" fmla="*/ 2147483647 h 230"/>
                <a:gd name="T80" fmla="*/ 2147483647 w 118"/>
                <a:gd name="T81" fmla="*/ 2147483647 h 230"/>
                <a:gd name="T82" fmla="*/ 2147483647 w 118"/>
                <a:gd name="T83" fmla="*/ 2147483647 h 230"/>
                <a:gd name="T84" fmla="*/ 2147483647 w 118"/>
                <a:gd name="T85" fmla="*/ 2147483647 h 230"/>
                <a:gd name="T86" fmla="*/ 2147483647 w 118"/>
                <a:gd name="T87" fmla="*/ 2147483647 h 230"/>
                <a:gd name="T88" fmla="*/ 2147483647 w 118"/>
                <a:gd name="T89" fmla="*/ 2147483647 h 230"/>
                <a:gd name="T90" fmla="*/ 2147483647 w 118"/>
                <a:gd name="T91" fmla="*/ 0 h 230"/>
                <a:gd name="T92" fmla="*/ 2147483647 w 118"/>
                <a:gd name="T93" fmla="*/ 2147483647 h 230"/>
                <a:gd name="T94" fmla="*/ 2147483647 w 118"/>
                <a:gd name="T95" fmla="*/ 2147483647 h 230"/>
                <a:gd name="T96" fmla="*/ 2147483647 w 118"/>
                <a:gd name="T97" fmla="*/ 2147483647 h 230"/>
                <a:gd name="T98" fmla="*/ 2147483647 w 118"/>
                <a:gd name="T99" fmla="*/ 2147483647 h 2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8"/>
                <a:gd name="T151" fmla="*/ 0 h 230"/>
                <a:gd name="T152" fmla="*/ 118 w 118"/>
                <a:gd name="T153" fmla="*/ 230 h 2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8" h="230">
                  <a:moveTo>
                    <a:pt x="0" y="132"/>
                  </a:moveTo>
                  <a:lnTo>
                    <a:pt x="0" y="132"/>
                  </a:lnTo>
                  <a:lnTo>
                    <a:pt x="4" y="136"/>
                  </a:lnTo>
                  <a:lnTo>
                    <a:pt x="6" y="140"/>
                  </a:lnTo>
                  <a:lnTo>
                    <a:pt x="10" y="140"/>
                  </a:lnTo>
                  <a:lnTo>
                    <a:pt x="16" y="140"/>
                  </a:lnTo>
                  <a:lnTo>
                    <a:pt x="18" y="142"/>
                  </a:lnTo>
                  <a:lnTo>
                    <a:pt x="16" y="144"/>
                  </a:lnTo>
                  <a:lnTo>
                    <a:pt x="12" y="144"/>
                  </a:lnTo>
                  <a:lnTo>
                    <a:pt x="6" y="144"/>
                  </a:lnTo>
                  <a:lnTo>
                    <a:pt x="14" y="154"/>
                  </a:lnTo>
                  <a:lnTo>
                    <a:pt x="14" y="158"/>
                  </a:lnTo>
                  <a:lnTo>
                    <a:pt x="16" y="160"/>
                  </a:lnTo>
                  <a:lnTo>
                    <a:pt x="16" y="164"/>
                  </a:lnTo>
                  <a:lnTo>
                    <a:pt x="16" y="166"/>
                  </a:lnTo>
                  <a:lnTo>
                    <a:pt x="16" y="170"/>
                  </a:lnTo>
                  <a:lnTo>
                    <a:pt x="16" y="174"/>
                  </a:lnTo>
                  <a:lnTo>
                    <a:pt x="16" y="180"/>
                  </a:lnTo>
                  <a:lnTo>
                    <a:pt x="18" y="184"/>
                  </a:lnTo>
                  <a:lnTo>
                    <a:pt x="18" y="188"/>
                  </a:lnTo>
                  <a:lnTo>
                    <a:pt x="18" y="190"/>
                  </a:lnTo>
                  <a:lnTo>
                    <a:pt x="20" y="196"/>
                  </a:lnTo>
                  <a:lnTo>
                    <a:pt x="14" y="196"/>
                  </a:lnTo>
                  <a:lnTo>
                    <a:pt x="6" y="196"/>
                  </a:lnTo>
                  <a:lnTo>
                    <a:pt x="4" y="200"/>
                  </a:lnTo>
                  <a:lnTo>
                    <a:pt x="4" y="204"/>
                  </a:lnTo>
                  <a:lnTo>
                    <a:pt x="12" y="214"/>
                  </a:lnTo>
                  <a:lnTo>
                    <a:pt x="14" y="220"/>
                  </a:lnTo>
                  <a:lnTo>
                    <a:pt x="16" y="224"/>
                  </a:lnTo>
                  <a:lnTo>
                    <a:pt x="12" y="230"/>
                  </a:lnTo>
                  <a:lnTo>
                    <a:pt x="16" y="230"/>
                  </a:lnTo>
                  <a:lnTo>
                    <a:pt x="22" y="230"/>
                  </a:lnTo>
                  <a:lnTo>
                    <a:pt x="26" y="226"/>
                  </a:lnTo>
                  <a:lnTo>
                    <a:pt x="28" y="226"/>
                  </a:lnTo>
                  <a:lnTo>
                    <a:pt x="30" y="228"/>
                  </a:lnTo>
                  <a:lnTo>
                    <a:pt x="44" y="226"/>
                  </a:lnTo>
                  <a:lnTo>
                    <a:pt x="50" y="224"/>
                  </a:lnTo>
                  <a:lnTo>
                    <a:pt x="54" y="220"/>
                  </a:lnTo>
                  <a:lnTo>
                    <a:pt x="58" y="216"/>
                  </a:lnTo>
                  <a:lnTo>
                    <a:pt x="62" y="214"/>
                  </a:lnTo>
                  <a:lnTo>
                    <a:pt x="60" y="212"/>
                  </a:lnTo>
                  <a:lnTo>
                    <a:pt x="58" y="210"/>
                  </a:lnTo>
                  <a:lnTo>
                    <a:pt x="60" y="208"/>
                  </a:lnTo>
                  <a:lnTo>
                    <a:pt x="62" y="206"/>
                  </a:lnTo>
                  <a:lnTo>
                    <a:pt x="66" y="204"/>
                  </a:lnTo>
                  <a:lnTo>
                    <a:pt x="70" y="204"/>
                  </a:lnTo>
                  <a:lnTo>
                    <a:pt x="72" y="202"/>
                  </a:lnTo>
                  <a:lnTo>
                    <a:pt x="76" y="200"/>
                  </a:lnTo>
                  <a:lnTo>
                    <a:pt x="80" y="200"/>
                  </a:lnTo>
                  <a:lnTo>
                    <a:pt x="80" y="198"/>
                  </a:lnTo>
                  <a:lnTo>
                    <a:pt x="82" y="196"/>
                  </a:lnTo>
                  <a:lnTo>
                    <a:pt x="84" y="194"/>
                  </a:lnTo>
                  <a:lnTo>
                    <a:pt x="90" y="190"/>
                  </a:lnTo>
                  <a:lnTo>
                    <a:pt x="92" y="188"/>
                  </a:lnTo>
                  <a:lnTo>
                    <a:pt x="94" y="186"/>
                  </a:lnTo>
                  <a:lnTo>
                    <a:pt x="96" y="182"/>
                  </a:lnTo>
                  <a:lnTo>
                    <a:pt x="100" y="180"/>
                  </a:lnTo>
                  <a:lnTo>
                    <a:pt x="98" y="176"/>
                  </a:lnTo>
                  <a:lnTo>
                    <a:pt x="96" y="174"/>
                  </a:lnTo>
                  <a:lnTo>
                    <a:pt x="96" y="170"/>
                  </a:lnTo>
                  <a:lnTo>
                    <a:pt x="96" y="168"/>
                  </a:lnTo>
                  <a:lnTo>
                    <a:pt x="96" y="166"/>
                  </a:lnTo>
                  <a:lnTo>
                    <a:pt x="96" y="164"/>
                  </a:lnTo>
                  <a:lnTo>
                    <a:pt x="98" y="160"/>
                  </a:lnTo>
                  <a:lnTo>
                    <a:pt x="98" y="158"/>
                  </a:lnTo>
                  <a:lnTo>
                    <a:pt x="98" y="156"/>
                  </a:lnTo>
                  <a:lnTo>
                    <a:pt x="96" y="154"/>
                  </a:lnTo>
                  <a:lnTo>
                    <a:pt x="94" y="154"/>
                  </a:lnTo>
                  <a:lnTo>
                    <a:pt x="90" y="154"/>
                  </a:lnTo>
                  <a:lnTo>
                    <a:pt x="88" y="154"/>
                  </a:lnTo>
                  <a:lnTo>
                    <a:pt x="88" y="152"/>
                  </a:lnTo>
                  <a:lnTo>
                    <a:pt x="88" y="150"/>
                  </a:lnTo>
                  <a:lnTo>
                    <a:pt x="90" y="148"/>
                  </a:lnTo>
                  <a:lnTo>
                    <a:pt x="92" y="146"/>
                  </a:lnTo>
                  <a:lnTo>
                    <a:pt x="92" y="142"/>
                  </a:lnTo>
                  <a:lnTo>
                    <a:pt x="94" y="140"/>
                  </a:lnTo>
                  <a:lnTo>
                    <a:pt x="96" y="138"/>
                  </a:lnTo>
                  <a:lnTo>
                    <a:pt x="98" y="134"/>
                  </a:lnTo>
                  <a:lnTo>
                    <a:pt x="98" y="130"/>
                  </a:lnTo>
                  <a:lnTo>
                    <a:pt x="98" y="128"/>
                  </a:lnTo>
                  <a:lnTo>
                    <a:pt x="100" y="126"/>
                  </a:lnTo>
                  <a:lnTo>
                    <a:pt x="102" y="122"/>
                  </a:lnTo>
                  <a:lnTo>
                    <a:pt x="102" y="120"/>
                  </a:lnTo>
                  <a:lnTo>
                    <a:pt x="102" y="116"/>
                  </a:lnTo>
                  <a:lnTo>
                    <a:pt x="106" y="112"/>
                  </a:lnTo>
                  <a:lnTo>
                    <a:pt x="108" y="110"/>
                  </a:lnTo>
                  <a:lnTo>
                    <a:pt x="110" y="112"/>
                  </a:lnTo>
                  <a:lnTo>
                    <a:pt x="116" y="112"/>
                  </a:lnTo>
                  <a:lnTo>
                    <a:pt x="118" y="112"/>
                  </a:lnTo>
                  <a:lnTo>
                    <a:pt x="118" y="58"/>
                  </a:lnTo>
                  <a:lnTo>
                    <a:pt x="22" y="0"/>
                  </a:lnTo>
                  <a:lnTo>
                    <a:pt x="10" y="8"/>
                  </a:lnTo>
                  <a:lnTo>
                    <a:pt x="16" y="36"/>
                  </a:lnTo>
                  <a:lnTo>
                    <a:pt x="20" y="40"/>
                  </a:lnTo>
                  <a:lnTo>
                    <a:pt x="20" y="46"/>
                  </a:lnTo>
                  <a:lnTo>
                    <a:pt x="20" y="48"/>
                  </a:lnTo>
                  <a:lnTo>
                    <a:pt x="18" y="54"/>
                  </a:lnTo>
                  <a:lnTo>
                    <a:pt x="16" y="60"/>
                  </a:lnTo>
                  <a:lnTo>
                    <a:pt x="16" y="86"/>
                  </a:lnTo>
                  <a:lnTo>
                    <a:pt x="16" y="106"/>
                  </a:lnTo>
                  <a:lnTo>
                    <a:pt x="0" y="122"/>
                  </a:lnTo>
                  <a:lnTo>
                    <a:pt x="0" y="1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2" name="Freeform 660">
              <a:extLst>
                <a:ext uri="{FF2B5EF4-FFF2-40B4-BE49-F238E27FC236}">
                  <a16:creationId xmlns:a16="http://schemas.microsoft.com/office/drawing/2014/main" id="{E10F99DE-7F27-4D84-AC55-E42F291CAA99}"/>
                </a:ext>
              </a:extLst>
            </p:cNvPr>
            <p:cNvSpPr>
              <a:spLocks/>
            </p:cNvSpPr>
            <p:nvPr/>
          </p:nvSpPr>
          <p:spPr bwMode="gray">
            <a:xfrm>
              <a:off x="4675719" y="4001638"/>
              <a:ext cx="280147" cy="207177"/>
            </a:xfrm>
            <a:custGeom>
              <a:avLst/>
              <a:gdLst>
                <a:gd name="T0" fmla="*/ 2147483647 w 152"/>
                <a:gd name="T1" fmla="*/ 2147483647 h 112"/>
                <a:gd name="T2" fmla="*/ 2147483647 w 152"/>
                <a:gd name="T3" fmla="*/ 2147483647 h 112"/>
                <a:gd name="T4" fmla="*/ 2147483647 w 152"/>
                <a:gd name="T5" fmla="*/ 2147483647 h 112"/>
                <a:gd name="T6" fmla="*/ 2147483647 w 152"/>
                <a:gd name="T7" fmla="*/ 2147483647 h 112"/>
                <a:gd name="T8" fmla="*/ 2147483647 w 152"/>
                <a:gd name="T9" fmla="*/ 2147483647 h 112"/>
                <a:gd name="T10" fmla="*/ 2147483647 w 152"/>
                <a:gd name="T11" fmla="*/ 2147483647 h 112"/>
                <a:gd name="T12" fmla="*/ 2147483647 w 152"/>
                <a:gd name="T13" fmla="*/ 2147483647 h 112"/>
                <a:gd name="T14" fmla="*/ 2147483647 w 152"/>
                <a:gd name="T15" fmla="*/ 2147483647 h 112"/>
                <a:gd name="T16" fmla="*/ 2147483647 w 152"/>
                <a:gd name="T17" fmla="*/ 2147483647 h 112"/>
                <a:gd name="T18" fmla="*/ 2147483647 w 152"/>
                <a:gd name="T19" fmla="*/ 2147483647 h 112"/>
                <a:gd name="T20" fmla="*/ 2147483647 w 152"/>
                <a:gd name="T21" fmla="*/ 2147483647 h 112"/>
                <a:gd name="T22" fmla="*/ 2147483647 w 152"/>
                <a:gd name="T23" fmla="*/ 2147483647 h 112"/>
                <a:gd name="T24" fmla="*/ 2147483647 w 152"/>
                <a:gd name="T25" fmla="*/ 2147483647 h 112"/>
                <a:gd name="T26" fmla="*/ 2147483647 w 152"/>
                <a:gd name="T27" fmla="*/ 2147483647 h 112"/>
                <a:gd name="T28" fmla="*/ 2147483647 w 152"/>
                <a:gd name="T29" fmla="*/ 2147483647 h 112"/>
                <a:gd name="T30" fmla="*/ 2147483647 w 152"/>
                <a:gd name="T31" fmla="*/ 2147483647 h 112"/>
                <a:gd name="T32" fmla="*/ 2147483647 w 152"/>
                <a:gd name="T33" fmla="*/ 2147483647 h 112"/>
                <a:gd name="T34" fmla="*/ 2147483647 w 152"/>
                <a:gd name="T35" fmla="*/ 2147483647 h 112"/>
                <a:gd name="T36" fmla="*/ 2147483647 w 152"/>
                <a:gd name="T37" fmla="*/ 2147483647 h 112"/>
                <a:gd name="T38" fmla="*/ 2147483647 w 152"/>
                <a:gd name="T39" fmla="*/ 2147483647 h 112"/>
                <a:gd name="T40" fmla="*/ 2147483647 w 152"/>
                <a:gd name="T41" fmla="*/ 2147483647 h 112"/>
                <a:gd name="T42" fmla="*/ 2147483647 w 152"/>
                <a:gd name="T43" fmla="*/ 2147483647 h 112"/>
                <a:gd name="T44" fmla="*/ 2147483647 w 152"/>
                <a:gd name="T45" fmla="*/ 2147483647 h 112"/>
                <a:gd name="T46" fmla="*/ 2147483647 w 152"/>
                <a:gd name="T47" fmla="*/ 2147483647 h 112"/>
                <a:gd name="T48" fmla="*/ 2147483647 w 152"/>
                <a:gd name="T49" fmla="*/ 2147483647 h 112"/>
                <a:gd name="T50" fmla="*/ 2147483647 w 152"/>
                <a:gd name="T51" fmla="*/ 2147483647 h 112"/>
                <a:gd name="T52" fmla="*/ 2147483647 w 152"/>
                <a:gd name="T53" fmla="*/ 2147483647 h 112"/>
                <a:gd name="T54" fmla="*/ 2147483647 w 152"/>
                <a:gd name="T55" fmla="*/ 2147483647 h 112"/>
                <a:gd name="T56" fmla="*/ 2147483647 w 152"/>
                <a:gd name="T57" fmla="*/ 2147483647 h 112"/>
                <a:gd name="T58" fmla="*/ 2147483647 w 152"/>
                <a:gd name="T59" fmla="*/ 0 h 112"/>
                <a:gd name="T60" fmla="*/ 2147483647 w 152"/>
                <a:gd name="T61" fmla="*/ 2147483647 h 112"/>
                <a:gd name="T62" fmla="*/ 2147483647 w 152"/>
                <a:gd name="T63" fmla="*/ 2147483647 h 112"/>
                <a:gd name="T64" fmla="*/ 2147483647 w 152"/>
                <a:gd name="T65" fmla="*/ 2147483647 h 112"/>
                <a:gd name="T66" fmla="*/ 2147483647 w 152"/>
                <a:gd name="T67" fmla="*/ 2147483647 h 112"/>
                <a:gd name="T68" fmla="*/ 2147483647 w 152"/>
                <a:gd name="T69" fmla="*/ 2147483647 h 112"/>
                <a:gd name="T70" fmla="*/ 2147483647 w 152"/>
                <a:gd name="T71" fmla="*/ 2147483647 h 112"/>
                <a:gd name="T72" fmla="*/ 2147483647 w 152"/>
                <a:gd name="T73" fmla="*/ 2147483647 h 112"/>
                <a:gd name="T74" fmla="*/ 2147483647 w 152"/>
                <a:gd name="T75" fmla="*/ 2147483647 h 112"/>
                <a:gd name="T76" fmla="*/ 2147483647 w 152"/>
                <a:gd name="T77" fmla="*/ 2147483647 h 112"/>
                <a:gd name="T78" fmla="*/ 2147483647 w 152"/>
                <a:gd name="T79" fmla="*/ 2147483647 h 112"/>
                <a:gd name="T80" fmla="*/ 2147483647 w 152"/>
                <a:gd name="T81" fmla="*/ 2147483647 h 112"/>
                <a:gd name="T82" fmla="*/ 2147483647 w 152"/>
                <a:gd name="T83" fmla="*/ 2147483647 h 112"/>
                <a:gd name="T84" fmla="*/ 2147483647 w 152"/>
                <a:gd name="T85" fmla="*/ 2147483647 h 112"/>
                <a:gd name="T86" fmla="*/ 2147483647 w 152"/>
                <a:gd name="T87" fmla="*/ 2147483647 h 112"/>
                <a:gd name="T88" fmla="*/ 2147483647 w 152"/>
                <a:gd name="T89" fmla="*/ 2147483647 h 112"/>
                <a:gd name="T90" fmla="*/ 2147483647 w 152"/>
                <a:gd name="T91" fmla="*/ 2147483647 h 112"/>
                <a:gd name="T92" fmla="*/ 2147483647 w 152"/>
                <a:gd name="T93" fmla="*/ 2147483647 h 112"/>
                <a:gd name="T94" fmla="*/ 2147483647 w 152"/>
                <a:gd name="T95" fmla="*/ 2147483647 h 112"/>
                <a:gd name="T96" fmla="*/ 2147483647 w 152"/>
                <a:gd name="T97" fmla="*/ 2147483647 h 112"/>
                <a:gd name="T98" fmla="*/ 2147483647 w 152"/>
                <a:gd name="T99" fmla="*/ 2147483647 h 112"/>
                <a:gd name="T100" fmla="*/ 2147483647 w 152"/>
                <a:gd name="T101" fmla="*/ 2147483647 h 112"/>
                <a:gd name="T102" fmla="*/ 2147483647 w 152"/>
                <a:gd name="T103" fmla="*/ 2147483647 h 112"/>
                <a:gd name="T104" fmla="*/ 2147483647 w 152"/>
                <a:gd name="T105" fmla="*/ 2147483647 h 112"/>
                <a:gd name="T106" fmla="*/ 2147483647 w 152"/>
                <a:gd name="T107" fmla="*/ 2147483647 h 1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2"/>
                <a:gd name="T163" fmla="*/ 0 h 112"/>
                <a:gd name="T164" fmla="*/ 152 w 152"/>
                <a:gd name="T165" fmla="*/ 112 h 1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2" h="112">
                  <a:moveTo>
                    <a:pt x="54" y="102"/>
                  </a:moveTo>
                  <a:lnTo>
                    <a:pt x="54" y="90"/>
                  </a:lnTo>
                  <a:lnTo>
                    <a:pt x="58" y="90"/>
                  </a:lnTo>
                  <a:lnTo>
                    <a:pt x="60" y="88"/>
                  </a:lnTo>
                  <a:lnTo>
                    <a:pt x="60" y="86"/>
                  </a:lnTo>
                  <a:lnTo>
                    <a:pt x="62" y="80"/>
                  </a:lnTo>
                  <a:lnTo>
                    <a:pt x="64" y="78"/>
                  </a:lnTo>
                  <a:lnTo>
                    <a:pt x="68" y="78"/>
                  </a:lnTo>
                  <a:lnTo>
                    <a:pt x="74" y="80"/>
                  </a:lnTo>
                  <a:lnTo>
                    <a:pt x="78" y="82"/>
                  </a:lnTo>
                  <a:lnTo>
                    <a:pt x="80" y="86"/>
                  </a:lnTo>
                  <a:lnTo>
                    <a:pt x="86" y="86"/>
                  </a:lnTo>
                  <a:lnTo>
                    <a:pt x="90" y="86"/>
                  </a:lnTo>
                  <a:lnTo>
                    <a:pt x="98" y="88"/>
                  </a:lnTo>
                  <a:lnTo>
                    <a:pt x="104" y="90"/>
                  </a:lnTo>
                  <a:lnTo>
                    <a:pt x="104" y="86"/>
                  </a:lnTo>
                  <a:lnTo>
                    <a:pt x="106" y="84"/>
                  </a:lnTo>
                  <a:lnTo>
                    <a:pt x="106" y="82"/>
                  </a:lnTo>
                  <a:lnTo>
                    <a:pt x="110" y="84"/>
                  </a:lnTo>
                  <a:lnTo>
                    <a:pt x="112" y="86"/>
                  </a:lnTo>
                  <a:lnTo>
                    <a:pt x="114" y="86"/>
                  </a:lnTo>
                  <a:lnTo>
                    <a:pt x="120" y="84"/>
                  </a:lnTo>
                  <a:lnTo>
                    <a:pt x="120" y="82"/>
                  </a:lnTo>
                  <a:lnTo>
                    <a:pt x="122" y="80"/>
                  </a:lnTo>
                  <a:lnTo>
                    <a:pt x="124" y="80"/>
                  </a:lnTo>
                  <a:lnTo>
                    <a:pt x="124" y="82"/>
                  </a:lnTo>
                  <a:lnTo>
                    <a:pt x="126" y="82"/>
                  </a:lnTo>
                  <a:lnTo>
                    <a:pt x="128" y="80"/>
                  </a:lnTo>
                  <a:lnTo>
                    <a:pt x="130" y="78"/>
                  </a:lnTo>
                  <a:lnTo>
                    <a:pt x="132" y="76"/>
                  </a:lnTo>
                  <a:lnTo>
                    <a:pt x="142" y="76"/>
                  </a:lnTo>
                  <a:lnTo>
                    <a:pt x="144" y="78"/>
                  </a:lnTo>
                  <a:lnTo>
                    <a:pt x="146" y="78"/>
                  </a:lnTo>
                  <a:lnTo>
                    <a:pt x="152" y="78"/>
                  </a:lnTo>
                  <a:lnTo>
                    <a:pt x="152" y="76"/>
                  </a:lnTo>
                  <a:lnTo>
                    <a:pt x="150" y="74"/>
                  </a:lnTo>
                  <a:lnTo>
                    <a:pt x="148" y="70"/>
                  </a:lnTo>
                  <a:lnTo>
                    <a:pt x="148" y="66"/>
                  </a:lnTo>
                  <a:lnTo>
                    <a:pt x="146" y="62"/>
                  </a:lnTo>
                  <a:lnTo>
                    <a:pt x="140" y="60"/>
                  </a:lnTo>
                  <a:lnTo>
                    <a:pt x="138" y="58"/>
                  </a:lnTo>
                  <a:lnTo>
                    <a:pt x="136" y="56"/>
                  </a:lnTo>
                  <a:lnTo>
                    <a:pt x="136" y="52"/>
                  </a:lnTo>
                  <a:lnTo>
                    <a:pt x="134" y="50"/>
                  </a:lnTo>
                  <a:lnTo>
                    <a:pt x="130" y="50"/>
                  </a:lnTo>
                  <a:lnTo>
                    <a:pt x="128" y="48"/>
                  </a:lnTo>
                  <a:lnTo>
                    <a:pt x="126" y="46"/>
                  </a:lnTo>
                  <a:lnTo>
                    <a:pt x="124" y="44"/>
                  </a:lnTo>
                  <a:lnTo>
                    <a:pt x="120" y="44"/>
                  </a:lnTo>
                  <a:lnTo>
                    <a:pt x="118" y="44"/>
                  </a:lnTo>
                  <a:lnTo>
                    <a:pt x="118" y="42"/>
                  </a:lnTo>
                  <a:lnTo>
                    <a:pt x="116" y="38"/>
                  </a:lnTo>
                  <a:lnTo>
                    <a:pt x="112" y="34"/>
                  </a:lnTo>
                  <a:lnTo>
                    <a:pt x="110" y="32"/>
                  </a:lnTo>
                  <a:lnTo>
                    <a:pt x="110" y="28"/>
                  </a:lnTo>
                  <a:lnTo>
                    <a:pt x="110" y="24"/>
                  </a:lnTo>
                  <a:lnTo>
                    <a:pt x="108" y="20"/>
                  </a:lnTo>
                  <a:lnTo>
                    <a:pt x="104" y="18"/>
                  </a:lnTo>
                  <a:lnTo>
                    <a:pt x="106" y="16"/>
                  </a:lnTo>
                  <a:lnTo>
                    <a:pt x="106" y="8"/>
                  </a:lnTo>
                  <a:lnTo>
                    <a:pt x="100" y="0"/>
                  </a:lnTo>
                  <a:lnTo>
                    <a:pt x="96" y="2"/>
                  </a:lnTo>
                  <a:lnTo>
                    <a:pt x="94" y="6"/>
                  </a:lnTo>
                  <a:lnTo>
                    <a:pt x="92" y="8"/>
                  </a:lnTo>
                  <a:lnTo>
                    <a:pt x="90" y="10"/>
                  </a:lnTo>
                  <a:lnTo>
                    <a:pt x="84" y="14"/>
                  </a:lnTo>
                  <a:lnTo>
                    <a:pt x="82" y="16"/>
                  </a:lnTo>
                  <a:lnTo>
                    <a:pt x="80" y="18"/>
                  </a:lnTo>
                  <a:lnTo>
                    <a:pt x="80" y="20"/>
                  </a:lnTo>
                  <a:lnTo>
                    <a:pt x="76" y="20"/>
                  </a:lnTo>
                  <a:lnTo>
                    <a:pt x="72" y="22"/>
                  </a:lnTo>
                  <a:lnTo>
                    <a:pt x="70" y="24"/>
                  </a:lnTo>
                  <a:lnTo>
                    <a:pt x="66" y="24"/>
                  </a:lnTo>
                  <a:lnTo>
                    <a:pt x="62" y="26"/>
                  </a:lnTo>
                  <a:lnTo>
                    <a:pt x="60" y="28"/>
                  </a:lnTo>
                  <a:lnTo>
                    <a:pt x="58" y="30"/>
                  </a:lnTo>
                  <a:lnTo>
                    <a:pt x="60" y="32"/>
                  </a:lnTo>
                  <a:lnTo>
                    <a:pt x="62" y="34"/>
                  </a:lnTo>
                  <a:lnTo>
                    <a:pt x="58" y="36"/>
                  </a:lnTo>
                  <a:lnTo>
                    <a:pt x="54" y="40"/>
                  </a:lnTo>
                  <a:lnTo>
                    <a:pt x="50" y="44"/>
                  </a:lnTo>
                  <a:lnTo>
                    <a:pt x="44" y="46"/>
                  </a:lnTo>
                  <a:lnTo>
                    <a:pt x="30" y="48"/>
                  </a:lnTo>
                  <a:lnTo>
                    <a:pt x="28" y="46"/>
                  </a:lnTo>
                  <a:lnTo>
                    <a:pt x="26" y="46"/>
                  </a:lnTo>
                  <a:lnTo>
                    <a:pt x="22" y="50"/>
                  </a:lnTo>
                  <a:lnTo>
                    <a:pt x="16" y="50"/>
                  </a:lnTo>
                  <a:lnTo>
                    <a:pt x="12" y="50"/>
                  </a:lnTo>
                  <a:lnTo>
                    <a:pt x="10" y="58"/>
                  </a:lnTo>
                  <a:lnTo>
                    <a:pt x="8" y="62"/>
                  </a:lnTo>
                  <a:lnTo>
                    <a:pt x="4" y="66"/>
                  </a:lnTo>
                  <a:lnTo>
                    <a:pt x="2" y="68"/>
                  </a:lnTo>
                  <a:lnTo>
                    <a:pt x="0" y="70"/>
                  </a:lnTo>
                  <a:lnTo>
                    <a:pt x="2" y="70"/>
                  </a:lnTo>
                  <a:lnTo>
                    <a:pt x="4" y="72"/>
                  </a:lnTo>
                  <a:lnTo>
                    <a:pt x="6" y="76"/>
                  </a:lnTo>
                  <a:lnTo>
                    <a:pt x="12" y="88"/>
                  </a:lnTo>
                  <a:lnTo>
                    <a:pt x="14" y="92"/>
                  </a:lnTo>
                  <a:lnTo>
                    <a:pt x="16" y="96"/>
                  </a:lnTo>
                  <a:lnTo>
                    <a:pt x="20" y="100"/>
                  </a:lnTo>
                  <a:lnTo>
                    <a:pt x="24" y="104"/>
                  </a:lnTo>
                  <a:lnTo>
                    <a:pt x="28" y="110"/>
                  </a:lnTo>
                  <a:lnTo>
                    <a:pt x="30" y="112"/>
                  </a:lnTo>
                  <a:lnTo>
                    <a:pt x="32" y="112"/>
                  </a:lnTo>
                  <a:lnTo>
                    <a:pt x="34" y="110"/>
                  </a:lnTo>
                  <a:lnTo>
                    <a:pt x="36" y="108"/>
                  </a:lnTo>
                  <a:lnTo>
                    <a:pt x="36" y="106"/>
                  </a:lnTo>
                  <a:lnTo>
                    <a:pt x="40" y="104"/>
                  </a:lnTo>
                  <a:lnTo>
                    <a:pt x="42" y="104"/>
                  </a:lnTo>
                  <a:lnTo>
                    <a:pt x="46" y="104"/>
                  </a:lnTo>
                  <a:lnTo>
                    <a:pt x="54" y="10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3" name="Freeform 661">
              <a:extLst>
                <a:ext uri="{FF2B5EF4-FFF2-40B4-BE49-F238E27FC236}">
                  <a16:creationId xmlns:a16="http://schemas.microsoft.com/office/drawing/2014/main" id="{FE2724F0-D753-4987-9EE2-3DA8187734B1}"/>
                </a:ext>
              </a:extLst>
            </p:cNvPr>
            <p:cNvSpPr>
              <a:spLocks noEditPoints="1"/>
            </p:cNvSpPr>
            <p:nvPr/>
          </p:nvSpPr>
          <p:spPr bwMode="gray">
            <a:xfrm>
              <a:off x="1417529" y="2024034"/>
              <a:ext cx="1885701" cy="1122996"/>
            </a:xfrm>
            <a:custGeom>
              <a:avLst/>
              <a:gdLst>
                <a:gd name="T0" fmla="*/ 2147483647 w 1018"/>
                <a:gd name="T1" fmla="*/ 2147483647 h 606"/>
                <a:gd name="T2" fmla="*/ 2147483647 w 1018"/>
                <a:gd name="T3" fmla="*/ 2147483647 h 606"/>
                <a:gd name="T4" fmla="*/ 2147483647 w 1018"/>
                <a:gd name="T5" fmla="*/ 2147483647 h 606"/>
                <a:gd name="T6" fmla="*/ 2147483647 w 1018"/>
                <a:gd name="T7" fmla="*/ 2147483647 h 606"/>
                <a:gd name="T8" fmla="*/ 2147483647 w 1018"/>
                <a:gd name="T9" fmla="*/ 2147483647 h 606"/>
                <a:gd name="T10" fmla="*/ 2147483647 w 1018"/>
                <a:gd name="T11" fmla="*/ 2147483647 h 606"/>
                <a:gd name="T12" fmla="*/ 2147483647 w 1018"/>
                <a:gd name="T13" fmla="*/ 2147483647 h 606"/>
                <a:gd name="T14" fmla="*/ 2147483647 w 1018"/>
                <a:gd name="T15" fmla="*/ 2147483647 h 606"/>
                <a:gd name="T16" fmla="*/ 2147483647 w 1018"/>
                <a:gd name="T17" fmla="*/ 2147483647 h 606"/>
                <a:gd name="T18" fmla="*/ 2147483647 w 1018"/>
                <a:gd name="T19" fmla="*/ 2147483647 h 606"/>
                <a:gd name="T20" fmla="*/ 2147483647 w 1018"/>
                <a:gd name="T21" fmla="*/ 2147483647 h 606"/>
                <a:gd name="T22" fmla="*/ 2147483647 w 1018"/>
                <a:gd name="T23" fmla="*/ 2147483647 h 606"/>
                <a:gd name="T24" fmla="*/ 2147483647 w 1018"/>
                <a:gd name="T25" fmla="*/ 2147483647 h 606"/>
                <a:gd name="T26" fmla="*/ 2147483647 w 1018"/>
                <a:gd name="T27" fmla="*/ 2147483647 h 606"/>
                <a:gd name="T28" fmla="*/ 2147483647 w 1018"/>
                <a:gd name="T29" fmla="*/ 2147483647 h 606"/>
                <a:gd name="T30" fmla="*/ 2147483647 w 1018"/>
                <a:gd name="T31" fmla="*/ 2147483647 h 606"/>
                <a:gd name="T32" fmla="*/ 2147483647 w 1018"/>
                <a:gd name="T33" fmla="*/ 2147483647 h 606"/>
                <a:gd name="T34" fmla="*/ 2147483647 w 1018"/>
                <a:gd name="T35" fmla="*/ 2147483647 h 606"/>
                <a:gd name="T36" fmla="*/ 2147483647 w 1018"/>
                <a:gd name="T37" fmla="*/ 2147483647 h 606"/>
                <a:gd name="T38" fmla="*/ 2147483647 w 1018"/>
                <a:gd name="T39" fmla="*/ 2147483647 h 606"/>
                <a:gd name="T40" fmla="*/ 2147483647 w 1018"/>
                <a:gd name="T41" fmla="*/ 2147483647 h 606"/>
                <a:gd name="T42" fmla="*/ 2147483647 w 1018"/>
                <a:gd name="T43" fmla="*/ 2147483647 h 606"/>
                <a:gd name="T44" fmla="*/ 2147483647 w 1018"/>
                <a:gd name="T45" fmla="*/ 2147483647 h 606"/>
                <a:gd name="T46" fmla="*/ 2147483647 w 1018"/>
                <a:gd name="T47" fmla="*/ 2147483647 h 606"/>
                <a:gd name="T48" fmla="*/ 2147483647 w 1018"/>
                <a:gd name="T49" fmla="*/ 2147483647 h 606"/>
                <a:gd name="T50" fmla="*/ 2147483647 w 1018"/>
                <a:gd name="T51" fmla="*/ 2147483647 h 606"/>
                <a:gd name="T52" fmla="*/ 2147483647 w 1018"/>
                <a:gd name="T53" fmla="*/ 2147483647 h 606"/>
                <a:gd name="T54" fmla="*/ 2147483647 w 1018"/>
                <a:gd name="T55" fmla="*/ 2147483647 h 606"/>
                <a:gd name="T56" fmla="*/ 2147483647 w 1018"/>
                <a:gd name="T57" fmla="*/ 2147483647 h 606"/>
                <a:gd name="T58" fmla="*/ 2147483647 w 1018"/>
                <a:gd name="T59" fmla="*/ 2147483647 h 606"/>
                <a:gd name="T60" fmla="*/ 2147483647 w 1018"/>
                <a:gd name="T61" fmla="*/ 2147483647 h 606"/>
                <a:gd name="T62" fmla="*/ 2147483647 w 1018"/>
                <a:gd name="T63" fmla="*/ 2147483647 h 606"/>
                <a:gd name="T64" fmla="*/ 2147483647 w 1018"/>
                <a:gd name="T65" fmla="*/ 2147483647 h 606"/>
                <a:gd name="T66" fmla="*/ 2147483647 w 1018"/>
                <a:gd name="T67" fmla="*/ 2147483647 h 606"/>
                <a:gd name="T68" fmla="*/ 2147483647 w 1018"/>
                <a:gd name="T69" fmla="*/ 2147483647 h 606"/>
                <a:gd name="T70" fmla="*/ 2147483647 w 1018"/>
                <a:gd name="T71" fmla="*/ 2147483647 h 606"/>
                <a:gd name="T72" fmla="*/ 2147483647 w 1018"/>
                <a:gd name="T73" fmla="*/ 2147483647 h 606"/>
                <a:gd name="T74" fmla="*/ 2147483647 w 1018"/>
                <a:gd name="T75" fmla="*/ 2147483647 h 606"/>
                <a:gd name="T76" fmla="*/ 2147483647 w 1018"/>
                <a:gd name="T77" fmla="*/ 2147483647 h 606"/>
                <a:gd name="T78" fmla="*/ 2147483647 w 1018"/>
                <a:gd name="T79" fmla="*/ 2147483647 h 606"/>
                <a:gd name="T80" fmla="*/ 2147483647 w 1018"/>
                <a:gd name="T81" fmla="*/ 2147483647 h 606"/>
                <a:gd name="T82" fmla="*/ 2147483647 w 1018"/>
                <a:gd name="T83" fmla="*/ 2147483647 h 606"/>
                <a:gd name="T84" fmla="*/ 2147483647 w 1018"/>
                <a:gd name="T85" fmla="*/ 2147483647 h 606"/>
                <a:gd name="T86" fmla="*/ 2147483647 w 1018"/>
                <a:gd name="T87" fmla="*/ 2147483647 h 606"/>
                <a:gd name="T88" fmla="*/ 2147483647 w 1018"/>
                <a:gd name="T89" fmla="*/ 2147483647 h 606"/>
                <a:gd name="T90" fmla="*/ 2147483647 w 1018"/>
                <a:gd name="T91" fmla="*/ 2147483647 h 606"/>
                <a:gd name="T92" fmla="*/ 2147483647 w 1018"/>
                <a:gd name="T93" fmla="*/ 2147483647 h 606"/>
                <a:gd name="T94" fmla="*/ 2147483647 w 1018"/>
                <a:gd name="T95" fmla="*/ 2147483647 h 606"/>
                <a:gd name="T96" fmla="*/ 2147483647 w 1018"/>
                <a:gd name="T97" fmla="*/ 2147483647 h 606"/>
                <a:gd name="T98" fmla="*/ 2147483647 w 1018"/>
                <a:gd name="T99" fmla="*/ 2147483647 h 606"/>
                <a:gd name="T100" fmla="*/ 2147483647 w 1018"/>
                <a:gd name="T101" fmla="*/ 2147483647 h 606"/>
                <a:gd name="T102" fmla="*/ 2147483647 w 1018"/>
                <a:gd name="T103" fmla="*/ 2147483647 h 606"/>
                <a:gd name="T104" fmla="*/ 2147483647 w 1018"/>
                <a:gd name="T105" fmla="*/ 2147483647 h 606"/>
                <a:gd name="T106" fmla="*/ 2147483647 w 1018"/>
                <a:gd name="T107" fmla="*/ 2147483647 h 606"/>
                <a:gd name="T108" fmla="*/ 2147483647 w 1018"/>
                <a:gd name="T109" fmla="*/ 2147483647 h 606"/>
                <a:gd name="T110" fmla="*/ 2147483647 w 1018"/>
                <a:gd name="T111" fmla="*/ 2147483647 h 606"/>
                <a:gd name="T112" fmla="*/ 2147483647 w 1018"/>
                <a:gd name="T113" fmla="*/ 2147483647 h 606"/>
                <a:gd name="T114" fmla="*/ 0 w 1018"/>
                <a:gd name="T115" fmla="*/ 2147483647 h 606"/>
                <a:gd name="T116" fmla="*/ 2147483647 w 1018"/>
                <a:gd name="T117" fmla="*/ 2147483647 h 606"/>
                <a:gd name="T118" fmla="*/ 2147483647 w 1018"/>
                <a:gd name="T119" fmla="*/ 2147483647 h 606"/>
                <a:gd name="T120" fmla="*/ 2147483647 w 1018"/>
                <a:gd name="T121" fmla="*/ 2147483647 h 606"/>
                <a:gd name="T122" fmla="*/ 2147483647 w 1018"/>
                <a:gd name="T123" fmla="*/ 2147483647 h 606"/>
                <a:gd name="T124" fmla="*/ 2147483647 w 1018"/>
                <a:gd name="T125" fmla="*/ 2147483647 h 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8"/>
                <a:gd name="T190" fmla="*/ 0 h 606"/>
                <a:gd name="T191" fmla="*/ 1018 w 1018"/>
                <a:gd name="T192" fmla="*/ 606 h 6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8" h="606">
                  <a:moveTo>
                    <a:pt x="398" y="122"/>
                  </a:moveTo>
                  <a:lnTo>
                    <a:pt x="398" y="122"/>
                  </a:lnTo>
                  <a:lnTo>
                    <a:pt x="400" y="126"/>
                  </a:lnTo>
                  <a:lnTo>
                    <a:pt x="400" y="128"/>
                  </a:lnTo>
                  <a:lnTo>
                    <a:pt x="398" y="128"/>
                  </a:lnTo>
                  <a:lnTo>
                    <a:pt x="396" y="124"/>
                  </a:lnTo>
                  <a:lnTo>
                    <a:pt x="396" y="122"/>
                  </a:lnTo>
                  <a:lnTo>
                    <a:pt x="398" y="122"/>
                  </a:lnTo>
                  <a:close/>
                  <a:moveTo>
                    <a:pt x="532" y="34"/>
                  </a:moveTo>
                  <a:lnTo>
                    <a:pt x="532" y="34"/>
                  </a:lnTo>
                  <a:lnTo>
                    <a:pt x="534" y="34"/>
                  </a:lnTo>
                  <a:lnTo>
                    <a:pt x="534" y="36"/>
                  </a:lnTo>
                  <a:lnTo>
                    <a:pt x="530" y="36"/>
                  </a:lnTo>
                  <a:lnTo>
                    <a:pt x="530" y="34"/>
                  </a:lnTo>
                  <a:lnTo>
                    <a:pt x="532" y="34"/>
                  </a:lnTo>
                  <a:close/>
                  <a:moveTo>
                    <a:pt x="994" y="510"/>
                  </a:moveTo>
                  <a:lnTo>
                    <a:pt x="994" y="510"/>
                  </a:lnTo>
                  <a:lnTo>
                    <a:pt x="992" y="514"/>
                  </a:lnTo>
                  <a:lnTo>
                    <a:pt x="990" y="514"/>
                  </a:lnTo>
                  <a:lnTo>
                    <a:pt x="990" y="512"/>
                  </a:lnTo>
                  <a:lnTo>
                    <a:pt x="994" y="510"/>
                  </a:lnTo>
                  <a:close/>
                  <a:moveTo>
                    <a:pt x="708" y="566"/>
                  </a:moveTo>
                  <a:lnTo>
                    <a:pt x="708" y="566"/>
                  </a:lnTo>
                  <a:lnTo>
                    <a:pt x="708" y="570"/>
                  </a:lnTo>
                  <a:lnTo>
                    <a:pt x="704" y="570"/>
                  </a:lnTo>
                  <a:lnTo>
                    <a:pt x="704" y="568"/>
                  </a:lnTo>
                  <a:lnTo>
                    <a:pt x="706" y="566"/>
                  </a:lnTo>
                  <a:lnTo>
                    <a:pt x="708" y="566"/>
                  </a:lnTo>
                  <a:close/>
                  <a:moveTo>
                    <a:pt x="682" y="554"/>
                  </a:moveTo>
                  <a:lnTo>
                    <a:pt x="684" y="558"/>
                  </a:lnTo>
                  <a:lnTo>
                    <a:pt x="684" y="556"/>
                  </a:lnTo>
                  <a:lnTo>
                    <a:pt x="682" y="554"/>
                  </a:lnTo>
                  <a:close/>
                  <a:moveTo>
                    <a:pt x="860" y="550"/>
                  </a:moveTo>
                  <a:lnTo>
                    <a:pt x="860" y="550"/>
                  </a:lnTo>
                  <a:lnTo>
                    <a:pt x="860" y="552"/>
                  </a:lnTo>
                  <a:lnTo>
                    <a:pt x="858" y="554"/>
                  </a:lnTo>
                  <a:lnTo>
                    <a:pt x="858" y="550"/>
                  </a:lnTo>
                  <a:lnTo>
                    <a:pt x="860" y="550"/>
                  </a:lnTo>
                  <a:close/>
                  <a:moveTo>
                    <a:pt x="766" y="550"/>
                  </a:moveTo>
                  <a:lnTo>
                    <a:pt x="766" y="550"/>
                  </a:lnTo>
                  <a:lnTo>
                    <a:pt x="768" y="550"/>
                  </a:lnTo>
                  <a:lnTo>
                    <a:pt x="770" y="552"/>
                  </a:lnTo>
                  <a:lnTo>
                    <a:pt x="768" y="554"/>
                  </a:lnTo>
                  <a:lnTo>
                    <a:pt x="766" y="554"/>
                  </a:lnTo>
                  <a:lnTo>
                    <a:pt x="764" y="552"/>
                  </a:lnTo>
                  <a:lnTo>
                    <a:pt x="764" y="550"/>
                  </a:lnTo>
                  <a:lnTo>
                    <a:pt x="766" y="550"/>
                  </a:lnTo>
                  <a:close/>
                  <a:moveTo>
                    <a:pt x="664" y="544"/>
                  </a:moveTo>
                  <a:lnTo>
                    <a:pt x="664" y="544"/>
                  </a:lnTo>
                  <a:lnTo>
                    <a:pt x="672" y="550"/>
                  </a:lnTo>
                  <a:lnTo>
                    <a:pt x="678" y="550"/>
                  </a:lnTo>
                  <a:lnTo>
                    <a:pt x="678" y="548"/>
                  </a:lnTo>
                  <a:lnTo>
                    <a:pt x="672" y="544"/>
                  </a:lnTo>
                  <a:lnTo>
                    <a:pt x="668" y="544"/>
                  </a:lnTo>
                  <a:lnTo>
                    <a:pt x="664" y="544"/>
                  </a:lnTo>
                  <a:close/>
                  <a:moveTo>
                    <a:pt x="928" y="538"/>
                  </a:moveTo>
                  <a:lnTo>
                    <a:pt x="928" y="538"/>
                  </a:lnTo>
                  <a:lnTo>
                    <a:pt x="932" y="540"/>
                  </a:lnTo>
                  <a:lnTo>
                    <a:pt x="932" y="542"/>
                  </a:lnTo>
                  <a:lnTo>
                    <a:pt x="928" y="542"/>
                  </a:lnTo>
                  <a:lnTo>
                    <a:pt x="930" y="542"/>
                  </a:lnTo>
                  <a:lnTo>
                    <a:pt x="932" y="542"/>
                  </a:lnTo>
                  <a:lnTo>
                    <a:pt x="932" y="544"/>
                  </a:lnTo>
                  <a:lnTo>
                    <a:pt x="928" y="544"/>
                  </a:lnTo>
                  <a:lnTo>
                    <a:pt x="928" y="550"/>
                  </a:lnTo>
                  <a:lnTo>
                    <a:pt x="918" y="552"/>
                  </a:lnTo>
                  <a:lnTo>
                    <a:pt x="914" y="552"/>
                  </a:lnTo>
                  <a:lnTo>
                    <a:pt x="920" y="548"/>
                  </a:lnTo>
                  <a:lnTo>
                    <a:pt x="922" y="546"/>
                  </a:lnTo>
                  <a:lnTo>
                    <a:pt x="922" y="540"/>
                  </a:lnTo>
                  <a:lnTo>
                    <a:pt x="928" y="538"/>
                  </a:lnTo>
                  <a:close/>
                  <a:moveTo>
                    <a:pt x="698" y="532"/>
                  </a:moveTo>
                  <a:lnTo>
                    <a:pt x="698" y="532"/>
                  </a:lnTo>
                  <a:lnTo>
                    <a:pt x="702" y="532"/>
                  </a:lnTo>
                  <a:lnTo>
                    <a:pt x="702" y="534"/>
                  </a:lnTo>
                  <a:lnTo>
                    <a:pt x="700" y="538"/>
                  </a:lnTo>
                  <a:lnTo>
                    <a:pt x="694" y="536"/>
                  </a:lnTo>
                  <a:lnTo>
                    <a:pt x="692" y="536"/>
                  </a:lnTo>
                  <a:lnTo>
                    <a:pt x="696" y="534"/>
                  </a:lnTo>
                  <a:lnTo>
                    <a:pt x="696" y="532"/>
                  </a:lnTo>
                  <a:lnTo>
                    <a:pt x="698" y="532"/>
                  </a:lnTo>
                  <a:close/>
                  <a:moveTo>
                    <a:pt x="880" y="526"/>
                  </a:moveTo>
                  <a:lnTo>
                    <a:pt x="880" y="528"/>
                  </a:lnTo>
                  <a:lnTo>
                    <a:pt x="878" y="528"/>
                  </a:lnTo>
                  <a:lnTo>
                    <a:pt x="878" y="530"/>
                  </a:lnTo>
                  <a:lnTo>
                    <a:pt x="876" y="530"/>
                  </a:lnTo>
                  <a:lnTo>
                    <a:pt x="878" y="532"/>
                  </a:lnTo>
                  <a:lnTo>
                    <a:pt x="882" y="538"/>
                  </a:lnTo>
                  <a:lnTo>
                    <a:pt x="886" y="538"/>
                  </a:lnTo>
                  <a:lnTo>
                    <a:pt x="890" y="538"/>
                  </a:lnTo>
                  <a:lnTo>
                    <a:pt x="896" y="538"/>
                  </a:lnTo>
                  <a:lnTo>
                    <a:pt x="896" y="542"/>
                  </a:lnTo>
                  <a:lnTo>
                    <a:pt x="902" y="542"/>
                  </a:lnTo>
                  <a:lnTo>
                    <a:pt x="900" y="536"/>
                  </a:lnTo>
                  <a:lnTo>
                    <a:pt x="890" y="536"/>
                  </a:lnTo>
                  <a:lnTo>
                    <a:pt x="884" y="534"/>
                  </a:lnTo>
                  <a:lnTo>
                    <a:pt x="882" y="532"/>
                  </a:lnTo>
                  <a:lnTo>
                    <a:pt x="880" y="526"/>
                  </a:lnTo>
                  <a:close/>
                  <a:moveTo>
                    <a:pt x="928" y="524"/>
                  </a:moveTo>
                  <a:lnTo>
                    <a:pt x="926" y="526"/>
                  </a:lnTo>
                  <a:lnTo>
                    <a:pt x="922" y="526"/>
                  </a:lnTo>
                  <a:lnTo>
                    <a:pt x="918" y="526"/>
                  </a:lnTo>
                  <a:lnTo>
                    <a:pt x="914" y="536"/>
                  </a:lnTo>
                  <a:lnTo>
                    <a:pt x="910" y="550"/>
                  </a:lnTo>
                  <a:lnTo>
                    <a:pt x="916" y="552"/>
                  </a:lnTo>
                  <a:lnTo>
                    <a:pt x="916" y="548"/>
                  </a:lnTo>
                  <a:lnTo>
                    <a:pt x="914" y="546"/>
                  </a:lnTo>
                  <a:lnTo>
                    <a:pt x="914" y="542"/>
                  </a:lnTo>
                  <a:lnTo>
                    <a:pt x="920" y="540"/>
                  </a:lnTo>
                  <a:lnTo>
                    <a:pt x="920" y="536"/>
                  </a:lnTo>
                  <a:lnTo>
                    <a:pt x="920" y="532"/>
                  </a:lnTo>
                  <a:lnTo>
                    <a:pt x="920" y="530"/>
                  </a:lnTo>
                  <a:lnTo>
                    <a:pt x="926" y="526"/>
                  </a:lnTo>
                  <a:lnTo>
                    <a:pt x="930" y="524"/>
                  </a:lnTo>
                  <a:lnTo>
                    <a:pt x="928" y="524"/>
                  </a:lnTo>
                  <a:close/>
                  <a:moveTo>
                    <a:pt x="976" y="522"/>
                  </a:moveTo>
                  <a:lnTo>
                    <a:pt x="976" y="522"/>
                  </a:lnTo>
                  <a:lnTo>
                    <a:pt x="978" y="528"/>
                  </a:lnTo>
                  <a:lnTo>
                    <a:pt x="980" y="528"/>
                  </a:lnTo>
                  <a:lnTo>
                    <a:pt x="980" y="526"/>
                  </a:lnTo>
                  <a:lnTo>
                    <a:pt x="978" y="524"/>
                  </a:lnTo>
                  <a:lnTo>
                    <a:pt x="976" y="522"/>
                  </a:lnTo>
                  <a:close/>
                  <a:moveTo>
                    <a:pt x="908" y="512"/>
                  </a:moveTo>
                  <a:lnTo>
                    <a:pt x="908" y="512"/>
                  </a:lnTo>
                  <a:lnTo>
                    <a:pt x="906" y="514"/>
                  </a:lnTo>
                  <a:lnTo>
                    <a:pt x="906" y="516"/>
                  </a:lnTo>
                  <a:lnTo>
                    <a:pt x="908" y="512"/>
                  </a:lnTo>
                  <a:lnTo>
                    <a:pt x="910" y="512"/>
                  </a:lnTo>
                  <a:lnTo>
                    <a:pt x="908" y="512"/>
                  </a:lnTo>
                  <a:close/>
                  <a:moveTo>
                    <a:pt x="874" y="474"/>
                  </a:moveTo>
                  <a:lnTo>
                    <a:pt x="874" y="478"/>
                  </a:lnTo>
                  <a:lnTo>
                    <a:pt x="886" y="486"/>
                  </a:lnTo>
                  <a:lnTo>
                    <a:pt x="892" y="488"/>
                  </a:lnTo>
                  <a:lnTo>
                    <a:pt x="900" y="490"/>
                  </a:lnTo>
                  <a:lnTo>
                    <a:pt x="904" y="492"/>
                  </a:lnTo>
                  <a:lnTo>
                    <a:pt x="904" y="490"/>
                  </a:lnTo>
                  <a:lnTo>
                    <a:pt x="902" y="488"/>
                  </a:lnTo>
                  <a:lnTo>
                    <a:pt x="890" y="480"/>
                  </a:lnTo>
                  <a:lnTo>
                    <a:pt x="874" y="474"/>
                  </a:lnTo>
                  <a:close/>
                  <a:moveTo>
                    <a:pt x="200" y="474"/>
                  </a:moveTo>
                  <a:lnTo>
                    <a:pt x="200" y="474"/>
                  </a:lnTo>
                  <a:lnTo>
                    <a:pt x="202" y="480"/>
                  </a:lnTo>
                  <a:lnTo>
                    <a:pt x="206" y="482"/>
                  </a:lnTo>
                  <a:lnTo>
                    <a:pt x="204" y="480"/>
                  </a:lnTo>
                  <a:lnTo>
                    <a:pt x="200" y="474"/>
                  </a:lnTo>
                  <a:close/>
                  <a:moveTo>
                    <a:pt x="602" y="466"/>
                  </a:moveTo>
                  <a:lnTo>
                    <a:pt x="602" y="466"/>
                  </a:lnTo>
                  <a:lnTo>
                    <a:pt x="610" y="474"/>
                  </a:lnTo>
                  <a:lnTo>
                    <a:pt x="612" y="478"/>
                  </a:lnTo>
                  <a:lnTo>
                    <a:pt x="612" y="480"/>
                  </a:lnTo>
                  <a:lnTo>
                    <a:pt x="608" y="480"/>
                  </a:lnTo>
                  <a:lnTo>
                    <a:pt x="604" y="480"/>
                  </a:lnTo>
                  <a:lnTo>
                    <a:pt x="602" y="478"/>
                  </a:lnTo>
                  <a:lnTo>
                    <a:pt x="602" y="476"/>
                  </a:lnTo>
                  <a:lnTo>
                    <a:pt x="600" y="476"/>
                  </a:lnTo>
                  <a:lnTo>
                    <a:pt x="598" y="476"/>
                  </a:lnTo>
                  <a:lnTo>
                    <a:pt x="600" y="468"/>
                  </a:lnTo>
                  <a:lnTo>
                    <a:pt x="602" y="466"/>
                  </a:lnTo>
                  <a:close/>
                  <a:moveTo>
                    <a:pt x="170" y="460"/>
                  </a:moveTo>
                  <a:lnTo>
                    <a:pt x="178" y="460"/>
                  </a:lnTo>
                  <a:lnTo>
                    <a:pt x="176" y="466"/>
                  </a:lnTo>
                  <a:lnTo>
                    <a:pt x="166" y="466"/>
                  </a:lnTo>
                  <a:lnTo>
                    <a:pt x="164" y="462"/>
                  </a:lnTo>
                  <a:lnTo>
                    <a:pt x="170" y="460"/>
                  </a:lnTo>
                  <a:close/>
                  <a:moveTo>
                    <a:pt x="784" y="450"/>
                  </a:moveTo>
                  <a:lnTo>
                    <a:pt x="784" y="450"/>
                  </a:lnTo>
                  <a:lnTo>
                    <a:pt x="786" y="450"/>
                  </a:lnTo>
                  <a:lnTo>
                    <a:pt x="786" y="452"/>
                  </a:lnTo>
                  <a:lnTo>
                    <a:pt x="782" y="458"/>
                  </a:lnTo>
                  <a:lnTo>
                    <a:pt x="778" y="462"/>
                  </a:lnTo>
                  <a:lnTo>
                    <a:pt x="776" y="464"/>
                  </a:lnTo>
                  <a:lnTo>
                    <a:pt x="772" y="464"/>
                  </a:lnTo>
                  <a:lnTo>
                    <a:pt x="774" y="460"/>
                  </a:lnTo>
                  <a:lnTo>
                    <a:pt x="784" y="450"/>
                  </a:lnTo>
                  <a:close/>
                  <a:moveTo>
                    <a:pt x="970" y="444"/>
                  </a:moveTo>
                  <a:lnTo>
                    <a:pt x="970" y="444"/>
                  </a:lnTo>
                  <a:lnTo>
                    <a:pt x="966" y="446"/>
                  </a:lnTo>
                  <a:lnTo>
                    <a:pt x="964" y="450"/>
                  </a:lnTo>
                  <a:lnTo>
                    <a:pt x="962" y="454"/>
                  </a:lnTo>
                  <a:lnTo>
                    <a:pt x="956" y="454"/>
                  </a:lnTo>
                  <a:lnTo>
                    <a:pt x="956" y="458"/>
                  </a:lnTo>
                  <a:lnTo>
                    <a:pt x="956" y="462"/>
                  </a:lnTo>
                  <a:lnTo>
                    <a:pt x="952" y="474"/>
                  </a:lnTo>
                  <a:lnTo>
                    <a:pt x="948" y="484"/>
                  </a:lnTo>
                  <a:lnTo>
                    <a:pt x="954" y="484"/>
                  </a:lnTo>
                  <a:lnTo>
                    <a:pt x="954" y="488"/>
                  </a:lnTo>
                  <a:lnTo>
                    <a:pt x="952" y="488"/>
                  </a:lnTo>
                  <a:lnTo>
                    <a:pt x="952" y="492"/>
                  </a:lnTo>
                  <a:lnTo>
                    <a:pt x="950" y="492"/>
                  </a:lnTo>
                  <a:lnTo>
                    <a:pt x="948" y="490"/>
                  </a:lnTo>
                  <a:lnTo>
                    <a:pt x="948" y="488"/>
                  </a:lnTo>
                  <a:lnTo>
                    <a:pt x="944" y="488"/>
                  </a:lnTo>
                  <a:lnTo>
                    <a:pt x="944" y="490"/>
                  </a:lnTo>
                  <a:lnTo>
                    <a:pt x="944" y="494"/>
                  </a:lnTo>
                  <a:lnTo>
                    <a:pt x="942" y="494"/>
                  </a:lnTo>
                  <a:lnTo>
                    <a:pt x="940" y="496"/>
                  </a:lnTo>
                  <a:lnTo>
                    <a:pt x="942" y="498"/>
                  </a:lnTo>
                  <a:lnTo>
                    <a:pt x="936" y="508"/>
                  </a:lnTo>
                  <a:lnTo>
                    <a:pt x="934" y="512"/>
                  </a:lnTo>
                  <a:lnTo>
                    <a:pt x="936" y="514"/>
                  </a:lnTo>
                  <a:lnTo>
                    <a:pt x="938" y="514"/>
                  </a:lnTo>
                  <a:lnTo>
                    <a:pt x="940" y="512"/>
                  </a:lnTo>
                  <a:lnTo>
                    <a:pt x="942" y="512"/>
                  </a:lnTo>
                  <a:lnTo>
                    <a:pt x="948" y="510"/>
                  </a:lnTo>
                  <a:lnTo>
                    <a:pt x="954" y="512"/>
                  </a:lnTo>
                  <a:lnTo>
                    <a:pt x="962" y="512"/>
                  </a:lnTo>
                  <a:lnTo>
                    <a:pt x="964" y="512"/>
                  </a:lnTo>
                  <a:lnTo>
                    <a:pt x="966" y="512"/>
                  </a:lnTo>
                  <a:lnTo>
                    <a:pt x="970" y="510"/>
                  </a:lnTo>
                  <a:lnTo>
                    <a:pt x="968" y="512"/>
                  </a:lnTo>
                  <a:lnTo>
                    <a:pt x="970" y="512"/>
                  </a:lnTo>
                  <a:lnTo>
                    <a:pt x="982" y="510"/>
                  </a:lnTo>
                  <a:lnTo>
                    <a:pt x="986" y="510"/>
                  </a:lnTo>
                  <a:lnTo>
                    <a:pt x="984" y="512"/>
                  </a:lnTo>
                  <a:lnTo>
                    <a:pt x="984" y="514"/>
                  </a:lnTo>
                  <a:lnTo>
                    <a:pt x="988" y="516"/>
                  </a:lnTo>
                  <a:lnTo>
                    <a:pt x="988" y="518"/>
                  </a:lnTo>
                  <a:lnTo>
                    <a:pt x="986" y="520"/>
                  </a:lnTo>
                  <a:lnTo>
                    <a:pt x="982" y="522"/>
                  </a:lnTo>
                  <a:lnTo>
                    <a:pt x="984" y="522"/>
                  </a:lnTo>
                  <a:lnTo>
                    <a:pt x="984" y="524"/>
                  </a:lnTo>
                  <a:lnTo>
                    <a:pt x="986" y="524"/>
                  </a:lnTo>
                  <a:lnTo>
                    <a:pt x="988" y="524"/>
                  </a:lnTo>
                  <a:lnTo>
                    <a:pt x="994" y="516"/>
                  </a:lnTo>
                  <a:lnTo>
                    <a:pt x="998" y="510"/>
                  </a:lnTo>
                  <a:lnTo>
                    <a:pt x="1002" y="512"/>
                  </a:lnTo>
                  <a:lnTo>
                    <a:pt x="1004" y="512"/>
                  </a:lnTo>
                  <a:lnTo>
                    <a:pt x="1004" y="516"/>
                  </a:lnTo>
                  <a:lnTo>
                    <a:pt x="1002" y="518"/>
                  </a:lnTo>
                  <a:lnTo>
                    <a:pt x="1002" y="520"/>
                  </a:lnTo>
                  <a:lnTo>
                    <a:pt x="1002" y="522"/>
                  </a:lnTo>
                  <a:lnTo>
                    <a:pt x="1004" y="526"/>
                  </a:lnTo>
                  <a:lnTo>
                    <a:pt x="1006" y="524"/>
                  </a:lnTo>
                  <a:lnTo>
                    <a:pt x="1006" y="520"/>
                  </a:lnTo>
                  <a:lnTo>
                    <a:pt x="1010" y="520"/>
                  </a:lnTo>
                  <a:lnTo>
                    <a:pt x="1010" y="526"/>
                  </a:lnTo>
                  <a:lnTo>
                    <a:pt x="1014" y="526"/>
                  </a:lnTo>
                  <a:lnTo>
                    <a:pt x="1016" y="520"/>
                  </a:lnTo>
                  <a:lnTo>
                    <a:pt x="1018" y="510"/>
                  </a:lnTo>
                  <a:lnTo>
                    <a:pt x="1016" y="512"/>
                  </a:lnTo>
                  <a:lnTo>
                    <a:pt x="1016" y="516"/>
                  </a:lnTo>
                  <a:lnTo>
                    <a:pt x="1014" y="516"/>
                  </a:lnTo>
                  <a:lnTo>
                    <a:pt x="1014" y="514"/>
                  </a:lnTo>
                  <a:lnTo>
                    <a:pt x="1016" y="510"/>
                  </a:lnTo>
                  <a:lnTo>
                    <a:pt x="1018" y="506"/>
                  </a:lnTo>
                  <a:lnTo>
                    <a:pt x="1014" y="506"/>
                  </a:lnTo>
                  <a:lnTo>
                    <a:pt x="1010" y="510"/>
                  </a:lnTo>
                  <a:lnTo>
                    <a:pt x="1010" y="512"/>
                  </a:lnTo>
                  <a:lnTo>
                    <a:pt x="1010" y="514"/>
                  </a:lnTo>
                  <a:lnTo>
                    <a:pt x="1004" y="512"/>
                  </a:lnTo>
                  <a:lnTo>
                    <a:pt x="1010" y="510"/>
                  </a:lnTo>
                  <a:lnTo>
                    <a:pt x="1006" y="504"/>
                  </a:lnTo>
                  <a:lnTo>
                    <a:pt x="1010" y="498"/>
                  </a:lnTo>
                  <a:lnTo>
                    <a:pt x="1004" y="498"/>
                  </a:lnTo>
                  <a:lnTo>
                    <a:pt x="998" y="500"/>
                  </a:lnTo>
                  <a:lnTo>
                    <a:pt x="1000" y="496"/>
                  </a:lnTo>
                  <a:lnTo>
                    <a:pt x="998" y="496"/>
                  </a:lnTo>
                  <a:lnTo>
                    <a:pt x="996" y="498"/>
                  </a:lnTo>
                  <a:lnTo>
                    <a:pt x="998" y="496"/>
                  </a:lnTo>
                  <a:lnTo>
                    <a:pt x="996" y="494"/>
                  </a:lnTo>
                  <a:lnTo>
                    <a:pt x="994" y="492"/>
                  </a:lnTo>
                  <a:lnTo>
                    <a:pt x="996" y="492"/>
                  </a:lnTo>
                  <a:lnTo>
                    <a:pt x="998" y="486"/>
                  </a:lnTo>
                  <a:lnTo>
                    <a:pt x="998" y="484"/>
                  </a:lnTo>
                  <a:lnTo>
                    <a:pt x="996" y="482"/>
                  </a:lnTo>
                  <a:lnTo>
                    <a:pt x="994" y="482"/>
                  </a:lnTo>
                  <a:lnTo>
                    <a:pt x="994" y="484"/>
                  </a:lnTo>
                  <a:lnTo>
                    <a:pt x="990" y="484"/>
                  </a:lnTo>
                  <a:lnTo>
                    <a:pt x="986" y="482"/>
                  </a:lnTo>
                  <a:lnTo>
                    <a:pt x="984" y="482"/>
                  </a:lnTo>
                  <a:lnTo>
                    <a:pt x="984" y="484"/>
                  </a:lnTo>
                  <a:lnTo>
                    <a:pt x="984" y="486"/>
                  </a:lnTo>
                  <a:lnTo>
                    <a:pt x="982" y="486"/>
                  </a:lnTo>
                  <a:lnTo>
                    <a:pt x="976" y="486"/>
                  </a:lnTo>
                  <a:lnTo>
                    <a:pt x="970" y="484"/>
                  </a:lnTo>
                  <a:lnTo>
                    <a:pt x="974" y="478"/>
                  </a:lnTo>
                  <a:lnTo>
                    <a:pt x="974" y="476"/>
                  </a:lnTo>
                  <a:lnTo>
                    <a:pt x="970" y="474"/>
                  </a:lnTo>
                  <a:lnTo>
                    <a:pt x="970" y="472"/>
                  </a:lnTo>
                  <a:lnTo>
                    <a:pt x="962" y="480"/>
                  </a:lnTo>
                  <a:lnTo>
                    <a:pt x="962" y="472"/>
                  </a:lnTo>
                  <a:lnTo>
                    <a:pt x="962" y="470"/>
                  </a:lnTo>
                  <a:lnTo>
                    <a:pt x="964" y="466"/>
                  </a:lnTo>
                  <a:lnTo>
                    <a:pt x="970" y="462"/>
                  </a:lnTo>
                  <a:lnTo>
                    <a:pt x="968" y="458"/>
                  </a:lnTo>
                  <a:lnTo>
                    <a:pt x="968" y="456"/>
                  </a:lnTo>
                  <a:lnTo>
                    <a:pt x="970" y="454"/>
                  </a:lnTo>
                  <a:lnTo>
                    <a:pt x="974" y="454"/>
                  </a:lnTo>
                  <a:lnTo>
                    <a:pt x="970" y="448"/>
                  </a:lnTo>
                  <a:lnTo>
                    <a:pt x="974" y="448"/>
                  </a:lnTo>
                  <a:lnTo>
                    <a:pt x="976" y="444"/>
                  </a:lnTo>
                  <a:lnTo>
                    <a:pt x="972" y="444"/>
                  </a:lnTo>
                  <a:lnTo>
                    <a:pt x="970" y="444"/>
                  </a:lnTo>
                  <a:lnTo>
                    <a:pt x="970" y="442"/>
                  </a:lnTo>
                  <a:lnTo>
                    <a:pt x="970" y="444"/>
                  </a:lnTo>
                  <a:close/>
                  <a:moveTo>
                    <a:pt x="820" y="416"/>
                  </a:moveTo>
                  <a:lnTo>
                    <a:pt x="820" y="416"/>
                  </a:lnTo>
                  <a:lnTo>
                    <a:pt x="822" y="416"/>
                  </a:lnTo>
                  <a:lnTo>
                    <a:pt x="822" y="418"/>
                  </a:lnTo>
                  <a:lnTo>
                    <a:pt x="822" y="422"/>
                  </a:lnTo>
                  <a:lnTo>
                    <a:pt x="818" y="426"/>
                  </a:lnTo>
                  <a:lnTo>
                    <a:pt x="816" y="426"/>
                  </a:lnTo>
                  <a:lnTo>
                    <a:pt x="816" y="424"/>
                  </a:lnTo>
                  <a:lnTo>
                    <a:pt x="816" y="420"/>
                  </a:lnTo>
                  <a:lnTo>
                    <a:pt x="818" y="418"/>
                  </a:lnTo>
                  <a:lnTo>
                    <a:pt x="820" y="416"/>
                  </a:lnTo>
                  <a:close/>
                  <a:moveTo>
                    <a:pt x="878" y="410"/>
                  </a:moveTo>
                  <a:lnTo>
                    <a:pt x="878" y="410"/>
                  </a:lnTo>
                  <a:lnTo>
                    <a:pt x="880" y="412"/>
                  </a:lnTo>
                  <a:lnTo>
                    <a:pt x="882" y="416"/>
                  </a:lnTo>
                  <a:lnTo>
                    <a:pt x="884" y="418"/>
                  </a:lnTo>
                  <a:lnTo>
                    <a:pt x="882" y="416"/>
                  </a:lnTo>
                  <a:lnTo>
                    <a:pt x="882" y="418"/>
                  </a:lnTo>
                  <a:lnTo>
                    <a:pt x="880" y="418"/>
                  </a:lnTo>
                  <a:lnTo>
                    <a:pt x="878" y="414"/>
                  </a:lnTo>
                  <a:lnTo>
                    <a:pt x="878" y="410"/>
                  </a:lnTo>
                  <a:close/>
                  <a:moveTo>
                    <a:pt x="832" y="396"/>
                  </a:moveTo>
                  <a:lnTo>
                    <a:pt x="832" y="396"/>
                  </a:lnTo>
                  <a:lnTo>
                    <a:pt x="832" y="398"/>
                  </a:lnTo>
                  <a:lnTo>
                    <a:pt x="832" y="402"/>
                  </a:lnTo>
                  <a:lnTo>
                    <a:pt x="826" y="402"/>
                  </a:lnTo>
                  <a:lnTo>
                    <a:pt x="826" y="400"/>
                  </a:lnTo>
                  <a:lnTo>
                    <a:pt x="828" y="398"/>
                  </a:lnTo>
                  <a:lnTo>
                    <a:pt x="832" y="396"/>
                  </a:lnTo>
                  <a:close/>
                  <a:moveTo>
                    <a:pt x="830" y="280"/>
                  </a:moveTo>
                  <a:lnTo>
                    <a:pt x="832" y="282"/>
                  </a:lnTo>
                  <a:lnTo>
                    <a:pt x="834" y="282"/>
                  </a:lnTo>
                  <a:lnTo>
                    <a:pt x="832" y="282"/>
                  </a:lnTo>
                  <a:lnTo>
                    <a:pt x="830" y="280"/>
                  </a:lnTo>
                  <a:close/>
                  <a:moveTo>
                    <a:pt x="864" y="266"/>
                  </a:moveTo>
                  <a:lnTo>
                    <a:pt x="864" y="268"/>
                  </a:lnTo>
                  <a:lnTo>
                    <a:pt x="868" y="268"/>
                  </a:lnTo>
                  <a:lnTo>
                    <a:pt x="870" y="266"/>
                  </a:lnTo>
                  <a:lnTo>
                    <a:pt x="868" y="266"/>
                  </a:lnTo>
                  <a:lnTo>
                    <a:pt x="864" y="266"/>
                  </a:lnTo>
                  <a:close/>
                  <a:moveTo>
                    <a:pt x="706" y="120"/>
                  </a:moveTo>
                  <a:lnTo>
                    <a:pt x="706" y="126"/>
                  </a:lnTo>
                  <a:lnTo>
                    <a:pt x="712" y="124"/>
                  </a:lnTo>
                  <a:lnTo>
                    <a:pt x="706" y="120"/>
                  </a:lnTo>
                  <a:close/>
                  <a:moveTo>
                    <a:pt x="152" y="442"/>
                  </a:moveTo>
                  <a:lnTo>
                    <a:pt x="152" y="442"/>
                  </a:lnTo>
                  <a:lnTo>
                    <a:pt x="152" y="444"/>
                  </a:lnTo>
                  <a:lnTo>
                    <a:pt x="154" y="444"/>
                  </a:lnTo>
                  <a:lnTo>
                    <a:pt x="156" y="442"/>
                  </a:lnTo>
                  <a:lnTo>
                    <a:pt x="152" y="442"/>
                  </a:lnTo>
                  <a:close/>
                  <a:moveTo>
                    <a:pt x="478" y="438"/>
                  </a:moveTo>
                  <a:lnTo>
                    <a:pt x="478" y="438"/>
                  </a:lnTo>
                  <a:lnTo>
                    <a:pt x="482" y="442"/>
                  </a:lnTo>
                  <a:lnTo>
                    <a:pt x="486" y="450"/>
                  </a:lnTo>
                  <a:lnTo>
                    <a:pt x="492" y="464"/>
                  </a:lnTo>
                  <a:lnTo>
                    <a:pt x="488" y="468"/>
                  </a:lnTo>
                  <a:lnTo>
                    <a:pt x="486" y="460"/>
                  </a:lnTo>
                  <a:lnTo>
                    <a:pt x="484" y="454"/>
                  </a:lnTo>
                  <a:lnTo>
                    <a:pt x="478" y="448"/>
                  </a:lnTo>
                  <a:lnTo>
                    <a:pt x="476" y="442"/>
                  </a:lnTo>
                  <a:lnTo>
                    <a:pt x="476" y="440"/>
                  </a:lnTo>
                  <a:lnTo>
                    <a:pt x="476" y="438"/>
                  </a:lnTo>
                  <a:lnTo>
                    <a:pt x="478" y="438"/>
                  </a:lnTo>
                  <a:close/>
                  <a:moveTo>
                    <a:pt x="680" y="420"/>
                  </a:moveTo>
                  <a:lnTo>
                    <a:pt x="680" y="426"/>
                  </a:lnTo>
                  <a:lnTo>
                    <a:pt x="690" y="428"/>
                  </a:lnTo>
                  <a:lnTo>
                    <a:pt x="690" y="426"/>
                  </a:lnTo>
                  <a:lnTo>
                    <a:pt x="688" y="424"/>
                  </a:lnTo>
                  <a:lnTo>
                    <a:pt x="686" y="424"/>
                  </a:lnTo>
                  <a:lnTo>
                    <a:pt x="684" y="420"/>
                  </a:lnTo>
                  <a:lnTo>
                    <a:pt x="682" y="420"/>
                  </a:lnTo>
                  <a:lnTo>
                    <a:pt x="680" y="420"/>
                  </a:lnTo>
                  <a:close/>
                  <a:moveTo>
                    <a:pt x="468" y="412"/>
                  </a:moveTo>
                  <a:lnTo>
                    <a:pt x="468" y="412"/>
                  </a:lnTo>
                  <a:lnTo>
                    <a:pt x="470" y="416"/>
                  </a:lnTo>
                  <a:lnTo>
                    <a:pt x="474" y="420"/>
                  </a:lnTo>
                  <a:lnTo>
                    <a:pt x="474" y="424"/>
                  </a:lnTo>
                  <a:lnTo>
                    <a:pt x="472" y="426"/>
                  </a:lnTo>
                  <a:lnTo>
                    <a:pt x="472" y="440"/>
                  </a:lnTo>
                  <a:lnTo>
                    <a:pt x="470" y="438"/>
                  </a:lnTo>
                  <a:lnTo>
                    <a:pt x="466" y="438"/>
                  </a:lnTo>
                  <a:lnTo>
                    <a:pt x="468" y="430"/>
                  </a:lnTo>
                  <a:lnTo>
                    <a:pt x="466" y="422"/>
                  </a:lnTo>
                  <a:lnTo>
                    <a:pt x="460" y="416"/>
                  </a:lnTo>
                  <a:lnTo>
                    <a:pt x="464" y="416"/>
                  </a:lnTo>
                  <a:lnTo>
                    <a:pt x="466" y="416"/>
                  </a:lnTo>
                  <a:lnTo>
                    <a:pt x="468" y="414"/>
                  </a:lnTo>
                  <a:lnTo>
                    <a:pt x="468" y="412"/>
                  </a:lnTo>
                  <a:close/>
                  <a:moveTo>
                    <a:pt x="132" y="410"/>
                  </a:moveTo>
                  <a:lnTo>
                    <a:pt x="132" y="410"/>
                  </a:lnTo>
                  <a:lnTo>
                    <a:pt x="130" y="412"/>
                  </a:lnTo>
                  <a:lnTo>
                    <a:pt x="134" y="414"/>
                  </a:lnTo>
                  <a:lnTo>
                    <a:pt x="134" y="410"/>
                  </a:lnTo>
                  <a:lnTo>
                    <a:pt x="132" y="410"/>
                  </a:lnTo>
                  <a:close/>
                  <a:moveTo>
                    <a:pt x="102" y="408"/>
                  </a:moveTo>
                  <a:lnTo>
                    <a:pt x="102" y="408"/>
                  </a:lnTo>
                  <a:lnTo>
                    <a:pt x="104" y="418"/>
                  </a:lnTo>
                  <a:lnTo>
                    <a:pt x="106" y="426"/>
                  </a:lnTo>
                  <a:lnTo>
                    <a:pt x="110" y="424"/>
                  </a:lnTo>
                  <a:lnTo>
                    <a:pt x="114" y="422"/>
                  </a:lnTo>
                  <a:lnTo>
                    <a:pt x="110" y="428"/>
                  </a:lnTo>
                  <a:lnTo>
                    <a:pt x="110" y="430"/>
                  </a:lnTo>
                  <a:lnTo>
                    <a:pt x="112" y="434"/>
                  </a:lnTo>
                  <a:lnTo>
                    <a:pt x="116" y="438"/>
                  </a:lnTo>
                  <a:lnTo>
                    <a:pt x="120" y="440"/>
                  </a:lnTo>
                  <a:lnTo>
                    <a:pt x="122" y="442"/>
                  </a:lnTo>
                  <a:lnTo>
                    <a:pt x="120" y="432"/>
                  </a:lnTo>
                  <a:lnTo>
                    <a:pt x="118" y="424"/>
                  </a:lnTo>
                  <a:lnTo>
                    <a:pt x="114" y="422"/>
                  </a:lnTo>
                  <a:lnTo>
                    <a:pt x="114" y="414"/>
                  </a:lnTo>
                  <a:lnTo>
                    <a:pt x="116" y="408"/>
                  </a:lnTo>
                  <a:lnTo>
                    <a:pt x="110" y="410"/>
                  </a:lnTo>
                  <a:lnTo>
                    <a:pt x="106" y="412"/>
                  </a:lnTo>
                  <a:lnTo>
                    <a:pt x="106" y="410"/>
                  </a:lnTo>
                  <a:lnTo>
                    <a:pt x="104" y="408"/>
                  </a:lnTo>
                  <a:lnTo>
                    <a:pt x="102" y="408"/>
                  </a:lnTo>
                  <a:close/>
                  <a:moveTo>
                    <a:pt x="490" y="394"/>
                  </a:moveTo>
                  <a:lnTo>
                    <a:pt x="490" y="394"/>
                  </a:lnTo>
                  <a:lnTo>
                    <a:pt x="490" y="398"/>
                  </a:lnTo>
                  <a:lnTo>
                    <a:pt x="492" y="396"/>
                  </a:lnTo>
                  <a:lnTo>
                    <a:pt x="492" y="398"/>
                  </a:lnTo>
                  <a:lnTo>
                    <a:pt x="492" y="408"/>
                  </a:lnTo>
                  <a:lnTo>
                    <a:pt x="492" y="412"/>
                  </a:lnTo>
                  <a:lnTo>
                    <a:pt x="496" y="418"/>
                  </a:lnTo>
                  <a:lnTo>
                    <a:pt x="502" y="426"/>
                  </a:lnTo>
                  <a:lnTo>
                    <a:pt x="502" y="430"/>
                  </a:lnTo>
                  <a:lnTo>
                    <a:pt x="502" y="432"/>
                  </a:lnTo>
                  <a:lnTo>
                    <a:pt x="506" y="440"/>
                  </a:lnTo>
                  <a:lnTo>
                    <a:pt x="510" y="444"/>
                  </a:lnTo>
                  <a:lnTo>
                    <a:pt x="514" y="444"/>
                  </a:lnTo>
                  <a:lnTo>
                    <a:pt x="516" y="444"/>
                  </a:lnTo>
                  <a:lnTo>
                    <a:pt x="514" y="446"/>
                  </a:lnTo>
                  <a:lnTo>
                    <a:pt x="512" y="448"/>
                  </a:lnTo>
                  <a:lnTo>
                    <a:pt x="512" y="452"/>
                  </a:lnTo>
                  <a:lnTo>
                    <a:pt x="512" y="454"/>
                  </a:lnTo>
                  <a:lnTo>
                    <a:pt x="514" y="460"/>
                  </a:lnTo>
                  <a:lnTo>
                    <a:pt x="512" y="460"/>
                  </a:lnTo>
                  <a:lnTo>
                    <a:pt x="510" y="458"/>
                  </a:lnTo>
                  <a:lnTo>
                    <a:pt x="510" y="462"/>
                  </a:lnTo>
                  <a:lnTo>
                    <a:pt x="508" y="462"/>
                  </a:lnTo>
                  <a:lnTo>
                    <a:pt x="506" y="462"/>
                  </a:lnTo>
                  <a:lnTo>
                    <a:pt x="504" y="454"/>
                  </a:lnTo>
                  <a:lnTo>
                    <a:pt x="506" y="444"/>
                  </a:lnTo>
                  <a:lnTo>
                    <a:pt x="502" y="442"/>
                  </a:lnTo>
                  <a:lnTo>
                    <a:pt x="502" y="440"/>
                  </a:lnTo>
                  <a:lnTo>
                    <a:pt x="498" y="440"/>
                  </a:lnTo>
                  <a:lnTo>
                    <a:pt x="494" y="440"/>
                  </a:lnTo>
                  <a:lnTo>
                    <a:pt x="496" y="430"/>
                  </a:lnTo>
                  <a:lnTo>
                    <a:pt x="494" y="430"/>
                  </a:lnTo>
                  <a:lnTo>
                    <a:pt x="492" y="432"/>
                  </a:lnTo>
                  <a:lnTo>
                    <a:pt x="492" y="430"/>
                  </a:lnTo>
                  <a:lnTo>
                    <a:pt x="490" y="428"/>
                  </a:lnTo>
                  <a:lnTo>
                    <a:pt x="486" y="426"/>
                  </a:lnTo>
                  <a:lnTo>
                    <a:pt x="480" y="422"/>
                  </a:lnTo>
                  <a:lnTo>
                    <a:pt x="482" y="416"/>
                  </a:lnTo>
                  <a:lnTo>
                    <a:pt x="478" y="416"/>
                  </a:lnTo>
                  <a:lnTo>
                    <a:pt x="478" y="414"/>
                  </a:lnTo>
                  <a:lnTo>
                    <a:pt x="476" y="414"/>
                  </a:lnTo>
                  <a:lnTo>
                    <a:pt x="476" y="412"/>
                  </a:lnTo>
                  <a:lnTo>
                    <a:pt x="476" y="410"/>
                  </a:lnTo>
                  <a:lnTo>
                    <a:pt x="482" y="400"/>
                  </a:lnTo>
                  <a:lnTo>
                    <a:pt x="484" y="402"/>
                  </a:lnTo>
                  <a:lnTo>
                    <a:pt x="486" y="402"/>
                  </a:lnTo>
                  <a:lnTo>
                    <a:pt x="488" y="402"/>
                  </a:lnTo>
                  <a:lnTo>
                    <a:pt x="488" y="398"/>
                  </a:lnTo>
                  <a:lnTo>
                    <a:pt x="488" y="396"/>
                  </a:lnTo>
                  <a:lnTo>
                    <a:pt x="490" y="394"/>
                  </a:lnTo>
                  <a:close/>
                  <a:moveTo>
                    <a:pt x="776" y="366"/>
                  </a:moveTo>
                  <a:lnTo>
                    <a:pt x="776" y="366"/>
                  </a:lnTo>
                  <a:lnTo>
                    <a:pt x="774" y="372"/>
                  </a:lnTo>
                  <a:lnTo>
                    <a:pt x="772" y="372"/>
                  </a:lnTo>
                  <a:lnTo>
                    <a:pt x="772" y="370"/>
                  </a:lnTo>
                  <a:lnTo>
                    <a:pt x="776" y="366"/>
                  </a:lnTo>
                  <a:close/>
                  <a:moveTo>
                    <a:pt x="700" y="360"/>
                  </a:moveTo>
                  <a:lnTo>
                    <a:pt x="700" y="360"/>
                  </a:lnTo>
                  <a:lnTo>
                    <a:pt x="700" y="362"/>
                  </a:lnTo>
                  <a:lnTo>
                    <a:pt x="698" y="364"/>
                  </a:lnTo>
                  <a:lnTo>
                    <a:pt x="700" y="362"/>
                  </a:lnTo>
                  <a:lnTo>
                    <a:pt x="702" y="360"/>
                  </a:lnTo>
                  <a:lnTo>
                    <a:pt x="700" y="360"/>
                  </a:lnTo>
                  <a:close/>
                  <a:moveTo>
                    <a:pt x="760" y="358"/>
                  </a:moveTo>
                  <a:lnTo>
                    <a:pt x="760" y="358"/>
                  </a:lnTo>
                  <a:lnTo>
                    <a:pt x="762" y="358"/>
                  </a:lnTo>
                  <a:lnTo>
                    <a:pt x="764" y="360"/>
                  </a:lnTo>
                  <a:lnTo>
                    <a:pt x="762" y="362"/>
                  </a:lnTo>
                  <a:lnTo>
                    <a:pt x="758" y="362"/>
                  </a:lnTo>
                  <a:lnTo>
                    <a:pt x="758" y="360"/>
                  </a:lnTo>
                  <a:lnTo>
                    <a:pt x="758" y="358"/>
                  </a:lnTo>
                  <a:lnTo>
                    <a:pt x="760" y="358"/>
                  </a:lnTo>
                  <a:close/>
                  <a:moveTo>
                    <a:pt x="432" y="358"/>
                  </a:moveTo>
                  <a:lnTo>
                    <a:pt x="432" y="358"/>
                  </a:lnTo>
                  <a:lnTo>
                    <a:pt x="434" y="358"/>
                  </a:lnTo>
                  <a:lnTo>
                    <a:pt x="434" y="360"/>
                  </a:lnTo>
                  <a:lnTo>
                    <a:pt x="430" y="362"/>
                  </a:lnTo>
                  <a:lnTo>
                    <a:pt x="430" y="358"/>
                  </a:lnTo>
                  <a:lnTo>
                    <a:pt x="432" y="358"/>
                  </a:lnTo>
                  <a:close/>
                  <a:moveTo>
                    <a:pt x="706" y="356"/>
                  </a:moveTo>
                  <a:lnTo>
                    <a:pt x="706" y="356"/>
                  </a:lnTo>
                  <a:lnTo>
                    <a:pt x="706" y="366"/>
                  </a:lnTo>
                  <a:lnTo>
                    <a:pt x="704" y="366"/>
                  </a:lnTo>
                  <a:lnTo>
                    <a:pt x="708" y="368"/>
                  </a:lnTo>
                  <a:lnTo>
                    <a:pt x="708" y="364"/>
                  </a:lnTo>
                  <a:lnTo>
                    <a:pt x="710" y="362"/>
                  </a:lnTo>
                  <a:lnTo>
                    <a:pt x="708" y="358"/>
                  </a:lnTo>
                  <a:lnTo>
                    <a:pt x="706" y="354"/>
                  </a:lnTo>
                  <a:lnTo>
                    <a:pt x="706" y="356"/>
                  </a:lnTo>
                  <a:close/>
                  <a:moveTo>
                    <a:pt x="702" y="352"/>
                  </a:moveTo>
                  <a:lnTo>
                    <a:pt x="702" y="352"/>
                  </a:lnTo>
                  <a:lnTo>
                    <a:pt x="700" y="356"/>
                  </a:lnTo>
                  <a:lnTo>
                    <a:pt x="700" y="358"/>
                  </a:lnTo>
                  <a:lnTo>
                    <a:pt x="702" y="358"/>
                  </a:lnTo>
                  <a:lnTo>
                    <a:pt x="704" y="354"/>
                  </a:lnTo>
                  <a:lnTo>
                    <a:pt x="704" y="352"/>
                  </a:lnTo>
                  <a:lnTo>
                    <a:pt x="702" y="352"/>
                  </a:lnTo>
                  <a:close/>
                  <a:moveTo>
                    <a:pt x="446" y="328"/>
                  </a:moveTo>
                  <a:lnTo>
                    <a:pt x="446" y="328"/>
                  </a:lnTo>
                  <a:lnTo>
                    <a:pt x="452" y="330"/>
                  </a:lnTo>
                  <a:lnTo>
                    <a:pt x="448" y="342"/>
                  </a:lnTo>
                  <a:lnTo>
                    <a:pt x="444" y="354"/>
                  </a:lnTo>
                  <a:lnTo>
                    <a:pt x="438" y="354"/>
                  </a:lnTo>
                  <a:lnTo>
                    <a:pt x="438" y="348"/>
                  </a:lnTo>
                  <a:lnTo>
                    <a:pt x="438" y="344"/>
                  </a:lnTo>
                  <a:lnTo>
                    <a:pt x="438" y="336"/>
                  </a:lnTo>
                  <a:lnTo>
                    <a:pt x="446" y="328"/>
                  </a:lnTo>
                  <a:close/>
                  <a:moveTo>
                    <a:pt x="438" y="318"/>
                  </a:moveTo>
                  <a:lnTo>
                    <a:pt x="438" y="318"/>
                  </a:lnTo>
                  <a:lnTo>
                    <a:pt x="438" y="322"/>
                  </a:lnTo>
                  <a:lnTo>
                    <a:pt x="438" y="324"/>
                  </a:lnTo>
                  <a:lnTo>
                    <a:pt x="438" y="326"/>
                  </a:lnTo>
                  <a:lnTo>
                    <a:pt x="432" y="326"/>
                  </a:lnTo>
                  <a:lnTo>
                    <a:pt x="432" y="322"/>
                  </a:lnTo>
                  <a:lnTo>
                    <a:pt x="438" y="318"/>
                  </a:lnTo>
                  <a:close/>
                  <a:moveTo>
                    <a:pt x="364" y="296"/>
                  </a:moveTo>
                  <a:lnTo>
                    <a:pt x="364" y="296"/>
                  </a:lnTo>
                  <a:lnTo>
                    <a:pt x="366" y="298"/>
                  </a:lnTo>
                  <a:lnTo>
                    <a:pt x="368" y="300"/>
                  </a:lnTo>
                  <a:lnTo>
                    <a:pt x="370" y="300"/>
                  </a:lnTo>
                  <a:lnTo>
                    <a:pt x="374" y="300"/>
                  </a:lnTo>
                  <a:lnTo>
                    <a:pt x="376" y="296"/>
                  </a:lnTo>
                  <a:lnTo>
                    <a:pt x="390" y="298"/>
                  </a:lnTo>
                  <a:lnTo>
                    <a:pt x="378" y="302"/>
                  </a:lnTo>
                  <a:lnTo>
                    <a:pt x="368" y="306"/>
                  </a:lnTo>
                  <a:lnTo>
                    <a:pt x="352" y="320"/>
                  </a:lnTo>
                  <a:lnTo>
                    <a:pt x="350" y="322"/>
                  </a:lnTo>
                  <a:lnTo>
                    <a:pt x="350" y="324"/>
                  </a:lnTo>
                  <a:lnTo>
                    <a:pt x="344" y="324"/>
                  </a:lnTo>
                  <a:lnTo>
                    <a:pt x="340" y="320"/>
                  </a:lnTo>
                  <a:lnTo>
                    <a:pt x="344" y="320"/>
                  </a:lnTo>
                  <a:lnTo>
                    <a:pt x="364" y="296"/>
                  </a:lnTo>
                  <a:close/>
                  <a:moveTo>
                    <a:pt x="700" y="252"/>
                  </a:moveTo>
                  <a:lnTo>
                    <a:pt x="700" y="252"/>
                  </a:lnTo>
                  <a:lnTo>
                    <a:pt x="698" y="254"/>
                  </a:lnTo>
                  <a:lnTo>
                    <a:pt x="698" y="256"/>
                  </a:lnTo>
                  <a:lnTo>
                    <a:pt x="696" y="262"/>
                  </a:lnTo>
                  <a:lnTo>
                    <a:pt x="698" y="262"/>
                  </a:lnTo>
                  <a:lnTo>
                    <a:pt x="702" y="258"/>
                  </a:lnTo>
                  <a:lnTo>
                    <a:pt x="704" y="252"/>
                  </a:lnTo>
                  <a:lnTo>
                    <a:pt x="700" y="252"/>
                  </a:lnTo>
                  <a:close/>
                  <a:moveTo>
                    <a:pt x="722" y="240"/>
                  </a:moveTo>
                  <a:lnTo>
                    <a:pt x="724" y="244"/>
                  </a:lnTo>
                  <a:lnTo>
                    <a:pt x="726" y="244"/>
                  </a:lnTo>
                  <a:lnTo>
                    <a:pt x="724" y="244"/>
                  </a:lnTo>
                  <a:lnTo>
                    <a:pt x="722" y="240"/>
                  </a:lnTo>
                  <a:close/>
                  <a:moveTo>
                    <a:pt x="732" y="240"/>
                  </a:moveTo>
                  <a:lnTo>
                    <a:pt x="732" y="240"/>
                  </a:lnTo>
                  <a:lnTo>
                    <a:pt x="734" y="244"/>
                  </a:lnTo>
                  <a:lnTo>
                    <a:pt x="736" y="244"/>
                  </a:lnTo>
                  <a:lnTo>
                    <a:pt x="736" y="242"/>
                  </a:lnTo>
                  <a:lnTo>
                    <a:pt x="734" y="240"/>
                  </a:lnTo>
                  <a:lnTo>
                    <a:pt x="732" y="240"/>
                  </a:lnTo>
                  <a:close/>
                  <a:moveTo>
                    <a:pt x="666" y="236"/>
                  </a:moveTo>
                  <a:lnTo>
                    <a:pt x="666" y="236"/>
                  </a:lnTo>
                  <a:lnTo>
                    <a:pt x="662" y="240"/>
                  </a:lnTo>
                  <a:lnTo>
                    <a:pt x="656" y="244"/>
                  </a:lnTo>
                  <a:lnTo>
                    <a:pt x="648" y="246"/>
                  </a:lnTo>
                  <a:lnTo>
                    <a:pt x="644" y="252"/>
                  </a:lnTo>
                  <a:lnTo>
                    <a:pt x="648" y="252"/>
                  </a:lnTo>
                  <a:lnTo>
                    <a:pt x="652" y="252"/>
                  </a:lnTo>
                  <a:lnTo>
                    <a:pt x="654" y="248"/>
                  </a:lnTo>
                  <a:lnTo>
                    <a:pt x="658" y="248"/>
                  </a:lnTo>
                  <a:lnTo>
                    <a:pt x="662" y="248"/>
                  </a:lnTo>
                  <a:lnTo>
                    <a:pt x="664" y="240"/>
                  </a:lnTo>
                  <a:lnTo>
                    <a:pt x="666" y="240"/>
                  </a:lnTo>
                  <a:lnTo>
                    <a:pt x="670" y="240"/>
                  </a:lnTo>
                  <a:lnTo>
                    <a:pt x="668" y="238"/>
                  </a:lnTo>
                  <a:lnTo>
                    <a:pt x="668" y="236"/>
                  </a:lnTo>
                  <a:lnTo>
                    <a:pt x="666" y="236"/>
                  </a:lnTo>
                  <a:close/>
                  <a:moveTo>
                    <a:pt x="294" y="228"/>
                  </a:moveTo>
                  <a:lnTo>
                    <a:pt x="294" y="228"/>
                  </a:lnTo>
                  <a:lnTo>
                    <a:pt x="300" y="230"/>
                  </a:lnTo>
                  <a:lnTo>
                    <a:pt x="304" y="234"/>
                  </a:lnTo>
                  <a:lnTo>
                    <a:pt x="308" y="240"/>
                  </a:lnTo>
                  <a:lnTo>
                    <a:pt x="310" y="246"/>
                  </a:lnTo>
                  <a:lnTo>
                    <a:pt x="320" y="246"/>
                  </a:lnTo>
                  <a:lnTo>
                    <a:pt x="330" y="246"/>
                  </a:lnTo>
                  <a:lnTo>
                    <a:pt x="334" y="244"/>
                  </a:lnTo>
                  <a:lnTo>
                    <a:pt x="338" y="238"/>
                  </a:lnTo>
                  <a:lnTo>
                    <a:pt x="342" y="234"/>
                  </a:lnTo>
                  <a:lnTo>
                    <a:pt x="346" y="230"/>
                  </a:lnTo>
                  <a:lnTo>
                    <a:pt x="354" y="228"/>
                  </a:lnTo>
                  <a:lnTo>
                    <a:pt x="362" y="228"/>
                  </a:lnTo>
                  <a:lnTo>
                    <a:pt x="358" y="232"/>
                  </a:lnTo>
                  <a:lnTo>
                    <a:pt x="360" y="236"/>
                  </a:lnTo>
                  <a:lnTo>
                    <a:pt x="354" y="238"/>
                  </a:lnTo>
                  <a:lnTo>
                    <a:pt x="352" y="240"/>
                  </a:lnTo>
                  <a:lnTo>
                    <a:pt x="350" y="242"/>
                  </a:lnTo>
                  <a:lnTo>
                    <a:pt x="350" y="244"/>
                  </a:lnTo>
                  <a:lnTo>
                    <a:pt x="344" y="246"/>
                  </a:lnTo>
                  <a:lnTo>
                    <a:pt x="338" y="250"/>
                  </a:lnTo>
                  <a:lnTo>
                    <a:pt x="338" y="252"/>
                  </a:lnTo>
                  <a:lnTo>
                    <a:pt x="332" y="258"/>
                  </a:lnTo>
                  <a:lnTo>
                    <a:pt x="326" y="264"/>
                  </a:lnTo>
                  <a:lnTo>
                    <a:pt x="316" y="260"/>
                  </a:lnTo>
                  <a:lnTo>
                    <a:pt x="314" y="268"/>
                  </a:lnTo>
                  <a:lnTo>
                    <a:pt x="300" y="272"/>
                  </a:lnTo>
                  <a:lnTo>
                    <a:pt x="292" y="274"/>
                  </a:lnTo>
                  <a:lnTo>
                    <a:pt x="288" y="274"/>
                  </a:lnTo>
                  <a:lnTo>
                    <a:pt x="286" y="270"/>
                  </a:lnTo>
                  <a:lnTo>
                    <a:pt x="284" y="266"/>
                  </a:lnTo>
                  <a:lnTo>
                    <a:pt x="278" y="266"/>
                  </a:lnTo>
                  <a:lnTo>
                    <a:pt x="274" y="266"/>
                  </a:lnTo>
                  <a:lnTo>
                    <a:pt x="272" y="262"/>
                  </a:lnTo>
                  <a:lnTo>
                    <a:pt x="270" y="260"/>
                  </a:lnTo>
                  <a:lnTo>
                    <a:pt x="278" y="262"/>
                  </a:lnTo>
                  <a:lnTo>
                    <a:pt x="282" y="262"/>
                  </a:lnTo>
                  <a:lnTo>
                    <a:pt x="288" y="260"/>
                  </a:lnTo>
                  <a:lnTo>
                    <a:pt x="292" y="254"/>
                  </a:lnTo>
                  <a:lnTo>
                    <a:pt x="298" y="250"/>
                  </a:lnTo>
                  <a:lnTo>
                    <a:pt x="300" y="250"/>
                  </a:lnTo>
                  <a:lnTo>
                    <a:pt x="304" y="252"/>
                  </a:lnTo>
                  <a:lnTo>
                    <a:pt x="296" y="238"/>
                  </a:lnTo>
                  <a:lnTo>
                    <a:pt x="294" y="232"/>
                  </a:lnTo>
                  <a:lnTo>
                    <a:pt x="294" y="230"/>
                  </a:lnTo>
                  <a:lnTo>
                    <a:pt x="294" y="228"/>
                  </a:lnTo>
                  <a:close/>
                  <a:moveTo>
                    <a:pt x="248" y="222"/>
                  </a:moveTo>
                  <a:lnTo>
                    <a:pt x="248" y="222"/>
                  </a:lnTo>
                  <a:lnTo>
                    <a:pt x="256" y="226"/>
                  </a:lnTo>
                  <a:lnTo>
                    <a:pt x="266" y="228"/>
                  </a:lnTo>
                  <a:lnTo>
                    <a:pt x="266" y="230"/>
                  </a:lnTo>
                  <a:lnTo>
                    <a:pt x="264" y="228"/>
                  </a:lnTo>
                  <a:lnTo>
                    <a:pt x="252" y="230"/>
                  </a:lnTo>
                  <a:lnTo>
                    <a:pt x="236" y="230"/>
                  </a:lnTo>
                  <a:lnTo>
                    <a:pt x="236" y="226"/>
                  </a:lnTo>
                  <a:lnTo>
                    <a:pt x="240" y="226"/>
                  </a:lnTo>
                  <a:lnTo>
                    <a:pt x="244" y="226"/>
                  </a:lnTo>
                  <a:lnTo>
                    <a:pt x="244" y="224"/>
                  </a:lnTo>
                  <a:lnTo>
                    <a:pt x="248" y="222"/>
                  </a:lnTo>
                  <a:close/>
                  <a:moveTo>
                    <a:pt x="458" y="210"/>
                  </a:moveTo>
                  <a:lnTo>
                    <a:pt x="460" y="210"/>
                  </a:lnTo>
                  <a:lnTo>
                    <a:pt x="462" y="212"/>
                  </a:lnTo>
                  <a:lnTo>
                    <a:pt x="466" y="214"/>
                  </a:lnTo>
                  <a:lnTo>
                    <a:pt x="458" y="224"/>
                  </a:lnTo>
                  <a:lnTo>
                    <a:pt x="452" y="222"/>
                  </a:lnTo>
                  <a:lnTo>
                    <a:pt x="452" y="218"/>
                  </a:lnTo>
                  <a:lnTo>
                    <a:pt x="452" y="214"/>
                  </a:lnTo>
                  <a:lnTo>
                    <a:pt x="458" y="210"/>
                  </a:lnTo>
                  <a:close/>
                  <a:moveTo>
                    <a:pt x="262" y="196"/>
                  </a:moveTo>
                  <a:lnTo>
                    <a:pt x="262" y="196"/>
                  </a:lnTo>
                  <a:lnTo>
                    <a:pt x="262" y="198"/>
                  </a:lnTo>
                  <a:lnTo>
                    <a:pt x="260" y="196"/>
                  </a:lnTo>
                  <a:lnTo>
                    <a:pt x="258" y="196"/>
                  </a:lnTo>
                  <a:lnTo>
                    <a:pt x="262" y="196"/>
                  </a:lnTo>
                  <a:close/>
                  <a:moveTo>
                    <a:pt x="632" y="188"/>
                  </a:moveTo>
                  <a:lnTo>
                    <a:pt x="632" y="188"/>
                  </a:lnTo>
                  <a:lnTo>
                    <a:pt x="632" y="200"/>
                  </a:lnTo>
                  <a:lnTo>
                    <a:pt x="632" y="216"/>
                  </a:lnTo>
                  <a:lnTo>
                    <a:pt x="622" y="220"/>
                  </a:lnTo>
                  <a:lnTo>
                    <a:pt x="622" y="228"/>
                  </a:lnTo>
                  <a:lnTo>
                    <a:pt x="626" y="228"/>
                  </a:lnTo>
                  <a:lnTo>
                    <a:pt x="628" y="226"/>
                  </a:lnTo>
                  <a:lnTo>
                    <a:pt x="632" y="226"/>
                  </a:lnTo>
                  <a:lnTo>
                    <a:pt x="632" y="236"/>
                  </a:lnTo>
                  <a:lnTo>
                    <a:pt x="636" y="236"/>
                  </a:lnTo>
                  <a:lnTo>
                    <a:pt x="642" y="236"/>
                  </a:lnTo>
                  <a:lnTo>
                    <a:pt x="646" y="226"/>
                  </a:lnTo>
                  <a:lnTo>
                    <a:pt x="646" y="216"/>
                  </a:lnTo>
                  <a:lnTo>
                    <a:pt x="648" y="212"/>
                  </a:lnTo>
                  <a:lnTo>
                    <a:pt x="652" y="212"/>
                  </a:lnTo>
                  <a:lnTo>
                    <a:pt x="656" y="212"/>
                  </a:lnTo>
                  <a:lnTo>
                    <a:pt x="656" y="214"/>
                  </a:lnTo>
                  <a:lnTo>
                    <a:pt x="656" y="216"/>
                  </a:lnTo>
                  <a:lnTo>
                    <a:pt x="658" y="218"/>
                  </a:lnTo>
                  <a:lnTo>
                    <a:pt x="656" y="224"/>
                  </a:lnTo>
                  <a:lnTo>
                    <a:pt x="676" y="228"/>
                  </a:lnTo>
                  <a:lnTo>
                    <a:pt x="678" y="224"/>
                  </a:lnTo>
                  <a:lnTo>
                    <a:pt x="680" y="222"/>
                  </a:lnTo>
                  <a:lnTo>
                    <a:pt x="676" y="216"/>
                  </a:lnTo>
                  <a:lnTo>
                    <a:pt x="672" y="218"/>
                  </a:lnTo>
                  <a:lnTo>
                    <a:pt x="668" y="220"/>
                  </a:lnTo>
                  <a:lnTo>
                    <a:pt x="668" y="216"/>
                  </a:lnTo>
                  <a:lnTo>
                    <a:pt x="664" y="210"/>
                  </a:lnTo>
                  <a:lnTo>
                    <a:pt x="656" y="202"/>
                  </a:lnTo>
                  <a:lnTo>
                    <a:pt x="650" y="196"/>
                  </a:lnTo>
                  <a:lnTo>
                    <a:pt x="646" y="196"/>
                  </a:lnTo>
                  <a:lnTo>
                    <a:pt x="642" y="196"/>
                  </a:lnTo>
                  <a:lnTo>
                    <a:pt x="640" y="198"/>
                  </a:lnTo>
                  <a:lnTo>
                    <a:pt x="638" y="198"/>
                  </a:lnTo>
                  <a:lnTo>
                    <a:pt x="638" y="196"/>
                  </a:lnTo>
                  <a:lnTo>
                    <a:pt x="638" y="192"/>
                  </a:lnTo>
                  <a:lnTo>
                    <a:pt x="640" y="190"/>
                  </a:lnTo>
                  <a:lnTo>
                    <a:pt x="632" y="188"/>
                  </a:lnTo>
                  <a:close/>
                  <a:moveTo>
                    <a:pt x="636" y="184"/>
                  </a:moveTo>
                  <a:lnTo>
                    <a:pt x="640" y="188"/>
                  </a:lnTo>
                  <a:lnTo>
                    <a:pt x="642" y="188"/>
                  </a:lnTo>
                  <a:lnTo>
                    <a:pt x="642" y="186"/>
                  </a:lnTo>
                  <a:lnTo>
                    <a:pt x="642" y="184"/>
                  </a:lnTo>
                  <a:lnTo>
                    <a:pt x="636" y="184"/>
                  </a:lnTo>
                  <a:close/>
                  <a:moveTo>
                    <a:pt x="644" y="164"/>
                  </a:moveTo>
                  <a:lnTo>
                    <a:pt x="644" y="164"/>
                  </a:lnTo>
                  <a:lnTo>
                    <a:pt x="648" y="166"/>
                  </a:lnTo>
                  <a:lnTo>
                    <a:pt x="648" y="168"/>
                  </a:lnTo>
                  <a:lnTo>
                    <a:pt x="648" y="170"/>
                  </a:lnTo>
                  <a:lnTo>
                    <a:pt x="644" y="172"/>
                  </a:lnTo>
                  <a:lnTo>
                    <a:pt x="644" y="168"/>
                  </a:lnTo>
                  <a:lnTo>
                    <a:pt x="640" y="168"/>
                  </a:lnTo>
                  <a:lnTo>
                    <a:pt x="640" y="170"/>
                  </a:lnTo>
                  <a:lnTo>
                    <a:pt x="642" y="168"/>
                  </a:lnTo>
                  <a:lnTo>
                    <a:pt x="642" y="166"/>
                  </a:lnTo>
                  <a:lnTo>
                    <a:pt x="644" y="164"/>
                  </a:lnTo>
                  <a:close/>
                  <a:moveTo>
                    <a:pt x="244" y="158"/>
                  </a:moveTo>
                  <a:lnTo>
                    <a:pt x="244" y="158"/>
                  </a:lnTo>
                  <a:lnTo>
                    <a:pt x="252" y="158"/>
                  </a:lnTo>
                  <a:lnTo>
                    <a:pt x="262" y="160"/>
                  </a:lnTo>
                  <a:lnTo>
                    <a:pt x="258" y="164"/>
                  </a:lnTo>
                  <a:lnTo>
                    <a:pt x="254" y="164"/>
                  </a:lnTo>
                  <a:lnTo>
                    <a:pt x="252" y="162"/>
                  </a:lnTo>
                  <a:lnTo>
                    <a:pt x="246" y="166"/>
                  </a:lnTo>
                  <a:lnTo>
                    <a:pt x="250" y="170"/>
                  </a:lnTo>
                  <a:lnTo>
                    <a:pt x="260" y="172"/>
                  </a:lnTo>
                  <a:lnTo>
                    <a:pt x="266" y="174"/>
                  </a:lnTo>
                  <a:lnTo>
                    <a:pt x="270" y="172"/>
                  </a:lnTo>
                  <a:lnTo>
                    <a:pt x="272" y="170"/>
                  </a:lnTo>
                  <a:lnTo>
                    <a:pt x="274" y="170"/>
                  </a:lnTo>
                  <a:lnTo>
                    <a:pt x="274" y="172"/>
                  </a:lnTo>
                  <a:lnTo>
                    <a:pt x="274" y="176"/>
                  </a:lnTo>
                  <a:lnTo>
                    <a:pt x="272" y="180"/>
                  </a:lnTo>
                  <a:lnTo>
                    <a:pt x="270" y="182"/>
                  </a:lnTo>
                  <a:lnTo>
                    <a:pt x="272" y="184"/>
                  </a:lnTo>
                  <a:lnTo>
                    <a:pt x="274" y="186"/>
                  </a:lnTo>
                  <a:lnTo>
                    <a:pt x="264" y="188"/>
                  </a:lnTo>
                  <a:lnTo>
                    <a:pt x="252" y="186"/>
                  </a:lnTo>
                  <a:lnTo>
                    <a:pt x="252" y="192"/>
                  </a:lnTo>
                  <a:lnTo>
                    <a:pt x="260" y="196"/>
                  </a:lnTo>
                  <a:lnTo>
                    <a:pt x="248" y="196"/>
                  </a:lnTo>
                  <a:lnTo>
                    <a:pt x="244" y="198"/>
                  </a:lnTo>
                  <a:lnTo>
                    <a:pt x="240" y="198"/>
                  </a:lnTo>
                  <a:lnTo>
                    <a:pt x="238" y="202"/>
                  </a:lnTo>
                  <a:lnTo>
                    <a:pt x="234" y="206"/>
                  </a:lnTo>
                  <a:lnTo>
                    <a:pt x="232" y="206"/>
                  </a:lnTo>
                  <a:lnTo>
                    <a:pt x="232" y="204"/>
                  </a:lnTo>
                  <a:lnTo>
                    <a:pt x="236" y="198"/>
                  </a:lnTo>
                  <a:lnTo>
                    <a:pt x="242" y="194"/>
                  </a:lnTo>
                  <a:lnTo>
                    <a:pt x="246" y="194"/>
                  </a:lnTo>
                  <a:lnTo>
                    <a:pt x="248" y="194"/>
                  </a:lnTo>
                  <a:lnTo>
                    <a:pt x="246" y="192"/>
                  </a:lnTo>
                  <a:lnTo>
                    <a:pt x="246" y="190"/>
                  </a:lnTo>
                  <a:lnTo>
                    <a:pt x="240" y="190"/>
                  </a:lnTo>
                  <a:lnTo>
                    <a:pt x="236" y="190"/>
                  </a:lnTo>
                  <a:lnTo>
                    <a:pt x="234" y="194"/>
                  </a:lnTo>
                  <a:lnTo>
                    <a:pt x="230" y="200"/>
                  </a:lnTo>
                  <a:lnTo>
                    <a:pt x="228" y="202"/>
                  </a:lnTo>
                  <a:lnTo>
                    <a:pt x="224" y="202"/>
                  </a:lnTo>
                  <a:lnTo>
                    <a:pt x="216" y="200"/>
                  </a:lnTo>
                  <a:lnTo>
                    <a:pt x="212" y="196"/>
                  </a:lnTo>
                  <a:lnTo>
                    <a:pt x="216" y="196"/>
                  </a:lnTo>
                  <a:lnTo>
                    <a:pt x="216" y="194"/>
                  </a:lnTo>
                  <a:lnTo>
                    <a:pt x="216" y="192"/>
                  </a:lnTo>
                  <a:lnTo>
                    <a:pt x="214" y="192"/>
                  </a:lnTo>
                  <a:lnTo>
                    <a:pt x="214" y="190"/>
                  </a:lnTo>
                  <a:lnTo>
                    <a:pt x="220" y="182"/>
                  </a:lnTo>
                  <a:lnTo>
                    <a:pt x="218" y="180"/>
                  </a:lnTo>
                  <a:lnTo>
                    <a:pt x="218" y="178"/>
                  </a:lnTo>
                  <a:lnTo>
                    <a:pt x="216" y="176"/>
                  </a:lnTo>
                  <a:lnTo>
                    <a:pt x="220" y="176"/>
                  </a:lnTo>
                  <a:lnTo>
                    <a:pt x="226" y="178"/>
                  </a:lnTo>
                  <a:lnTo>
                    <a:pt x="232" y="178"/>
                  </a:lnTo>
                  <a:lnTo>
                    <a:pt x="228" y="174"/>
                  </a:lnTo>
                  <a:lnTo>
                    <a:pt x="224" y="170"/>
                  </a:lnTo>
                  <a:lnTo>
                    <a:pt x="216" y="168"/>
                  </a:lnTo>
                  <a:lnTo>
                    <a:pt x="208" y="168"/>
                  </a:lnTo>
                  <a:lnTo>
                    <a:pt x="206" y="168"/>
                  </a:lnTo>
                  <a:lnTo>
                    <a:pt x="202" y="170"/>
                  </a:lnTo>
                  <a:lnTo>
                    <a:pt x="202" y="164"/>
                  </a:lnTo>
                  <a:lnTo>
                    <a:pt x="210" y="164"/>
                  </a:lnTo>
                  <a:lnTo>
                    <a:pt x="220" y="164"/>
                  </a:lnTo>
                  <a:lnTo>
                    <a:pt x="232" y="160"/>
                  </a:lnTo>
                  <a:lnTo>
                    <a:pt x="244" y="158"/>
                  </a:lnTo>
                  <a:close/>
                  <a:moveTo>
                    <a:pt x="622" y="144"/>
                  </a:moveTo>
                  <a:lnTo>
                    <a:pt x="624" y="148"/>
                  </a:lnTo>
                  <a:lnTo>
                    <a:pt x="624" y="146"/>
                  </a:lnTo>
                  <a:lnTo>
                    <a:pt x="622" y="144"/>
                  </a:lnTo>
                  <a:close/>
                  <a:moveTo>
                    <a:pt x="592" y="506"/>
                  </a:moveTo>
                  <a:lnTo>
                    <a:pt x="592" y="506"/>
                  </a:lnTo>
                  <a:lnTo>
                    <a:pt x="592" y="502"/>
                  </a:lnTo>
                  <a:lnTo>
                    <a:pt x="594" y="498"/>
                  </a:lnTo>
                  <a:lnTo>
                    <a:pt x="598" y="498"/>
                  </a:lnTo>
                  <a:lnTo>
                    <a:pt x="602" y="498"/>
                  </a:lnTo>
                  <a:lnTo>
                    <a:pt x="602" y="496"/>
                  </a:lnTo>
                  <a:lnTo>
                    <a:pt x="602" y="492"/>
                  </a:lnTo>
                  <a:lnTo>
                    <a:pt x="604" y="494"/>
                  </a:lnTo>
                  <a:lnTo>
                    <a:pt x="606" y="498"/>
                  </a:lnTo>
                  <a:lnTo>
                    <a:pt x="606" y="492"/>
                  </a:lnTo>
                  <a:lnTo>
                    <a:pt x="608" y="490"/>
                  </a:lnTo>
                  <a:lnTo>
                    <a:pt x="614" y="490"/>
                  </a:lnTo>
                  <a:lnTo>
                    <a:pt x="624" y="492"/>
                  </a:lnTo>
                  <a:lnTo>
                    <a:pt x="626" y="502"/>
                  </a:lnTo>
                  <a:lnTo>
                    <a:pt x="630" y="506"/>
                  </a:lnTo>
                  <a:lnTo>
                    <a:pt x="632" y="508"/>
                  </a:lnTo>
                  <a:lnTo>
                    <a:pt x="636" y="508"/>
                  </a:lnTo>
                  <a:lnTo>
                    <a:pt x="642" y="508"/>
                  </a:lnTo>
                  <a:lnTo>
                    <a:pt x="642" y="514"/>
                  </a:lnTo>
                  <a:lnTo>
                    <a:pt x="646" y="516"/>
                  </a:lnTo>
                  <a:lnTo>
                    <a:pt x="646" y="520"/>
                  </a:lnTo>
                  <a:lnTo>
                    <a:pt x="646" y="524"/>
                  </a:lnTo>
                  <a:lnTo>
                    <a:pt x="646" y="528"/>
                  </a:lnTo>
                  <a:lnTo>
                    <a:pt x="648" y="532"/>
                  </a:lnTo>
                  <a:lnTo>
                    <a:pt x="650" y="532"/>
                  </a:lnTo>
                  <a:lnTo>
                    <a:pt x="654" y="532"/>
                  </a:lnTo>
                  <a:lnTo>
                    <a:pt x="654" y="536"/>
                  </a:lnTo>
                  <a:lnTo>
                    <a:pt x="670" y="538"/>
                  </a:lnTo>
                  <a:lnTo>
                    <a:pt x="684" y="542"/>
                  </a:lnTo>
                  <a:lnTo>
                    <a:pt x="686" y="542"/>
                  </a:lnTo>
                  <a:lnTo>
                    <a:pt x="690" y="540"/>
                  </a:lnTo>
                  <a:lnTo>
                    <a:pt x="694" y="546"/>
                  </a:lnTo>
                  <a:lnTo>
                    <a:pt x="698" y="548"/>
                  </a:lnTo>
                  <a:lnTo>
                    <a:pt x="698" y="552"/>
                  </a:lnTo>
                  <a:lnTo>
                    <a:pt x="698" y="556"/>
                  </a:lnTo>
                  <a:lnTo>
                    <a:pt x="700" y="558"/>
                  </a:lnTo>
                  <a:lnTo>
                    <a:pt x="704" y="562"/>
                  </a:lnTo>
                  <a:lnTo>
                    <a:pt x="698" y="562"/>
                  </a:lnTo>
                  <a:lnTo>
                    <a:pt x="698" y="568"/>
                  </a:lnTo>
                  <a:lnTo>
                    <a:pt x="696" y="568"/>
                  </a:lnTo>
                  <a:lnTo>
                    <a:pt x="694" y="566"/>
                  </a:lnTo>
                  <a:lnTo>
                    <a:pt x="684" y="562"/>
                  </a:lnTo>
                  <a:lnTo>
                    <a:pt x="680" y="566"/>
                  </a:lnTo>
                  <a:lnTo>
                    <a:pt x="678" y="572"/>
                  </a:lnTo>
                  <a:lnTo>
                    <a:pt x="678" y="586"/>
                  </a:lnTo>
                  <a:lnTo>
                    <a:pt x="674" y="588"/>
                  </a:lnTo>
                  <a:lnTo>
                    <a:pt x="670" y="590"/>
                  </a:lnTo>
                  <a:lnTo>
                    <a:pt x="670" y="596"/>
                  </a:lnTo>
                  <a:lnTo>
                    <a:pt x="668" y="598"/>
                  </a:lnTo>
                  <a:lnTo>
                    <a:pt x="666" y="600"/>
                  </a:lnTo>
                  <a:lnTo>
                    <a:pt x="666" y="602"/>
                  </a:lnTo>
                  <a:lnTo>
                    <a:pt x="666" y="604"/>
                  </a:lnTo>
                  <a:lnTo>
                    <a:pt x="668" y="606"/>
                  </a:lnTo>
                  <a:lnTo>
                    <a:pt x="670" y="606"/>
                  </a:lnTo>
                  <a:lnTo>
                    <a:pt x="674" y="604"/>
                  </a:lnTo>
                  <a:lnTo>
                    <a:pt x="674" y="602"/>
                  </a:lnTo>
                  <a:lnTo>
                    <a:pt x="686" y="594"/>
                  </a:lnTo>
                  <a:lnTo>
                    <a:pt x="694" y="594"/>
                  </a:lnTo>
                  <a:lnTo>
                    <a:pt x="696" y="590"/>
                  </a:lnTo>
                  <a:lnTo>
                    <a:pt x="700" y="590"/>
                  </a:lnTo>
                  <a:lnTo>
                    <a:pt x="706" y="590"/>
                  </a:lnTo>
                  <a:lnTo>
                    <a:pt x="706" y="586"/>
                  </a:lnTo>
                  <a:lnTo>
                    <a:pt x="700" y="584"/>
                  </a:lnTo>
                  <a:lnTo>
                    <a:pt x="704" y="582"/>
                  </a:lnTo>
                  <a:lnTo>
                    <a:pt x="706" y="580"/>
                  </a:lnTo>
                  <a:lnTo>
                    <a:pt x="710" y="578"/>
                  </a:lnTo>
                  <a:lnTo>
                    <a:pt x="714" y="576"/>
                  </a:lnTo>
                  <a:lnTo>
                    <a:pt x="720" y="578"/>
                  </a:lnTo>
                  <a:lnTo>
                    <a:pt x="730" y="580"/>
                  </a:lnTo>
                  <a:lnTo>
                    <a:pt x="732" y="578"/>
                  </a:lnTo>
                  <a:lnTo>
                    <a:pt x="734" y="576"/>
                  </a:lnTo>
                  <a:lnTo>
                    <a:pt x="730" y="574"/>
                  </a:lnTo>
                  <a:lnTo>
                    <a:pt x="724" y="574"/>
                  </a:lnTo>
                  <a:lnTo>
                    <a:pt x="724" y="570"/>
                  </a:lnTo>
                  <a:lnTo>
                    <a:pt x="732" y="572"/>
                  </a:lnTo>
                  <a:lnTo>
                    <a:pt x="738" y="572"/>
                  </a:lnTo>
                  <a:lnTo>
                    <a:pt x="740" y="570"/>
                  </a:lnTo>
                  <a:lnTo>
                    <a:pt x="744" y="568"/>
                  </a:lnTo>
                  <a:lnTo>
                    <a:pt x="744" y="566"/>
                  </a:lnTo>
                  <a:lnTo>
                    <a:pt x="754" y="560"/>
                  </a:lnTo>
                  <a:lnTo>
                    <a:pt x="762" y="556"/>
                  </a:lnTo>
                  <a:lnTo>
                    <a:pt x="766" y="556"/>
                  </a:lnTo>
                  <a:lnTo>
                    <a:pt x="784" y="554"/>
                  </a:lnTo>
                  <a:lnTo>
                    <a:pt x="798" y="552"/>
                  </a:lnTo>
                  <a:lnTo>
                    <a:pt x="800" y="550"/>
                  </a:lnTo>
                  <a:lnTo>
                    <a:pt x="802" y="548"/>
                  </a:lnTo>
                  <a:lnTo>
                    <a:pt x="808" y="544"/>
                  </a:lnTo>
                  <a:lnTo>
                    <a:pt x="810" y="540"/>
                  </a:lnTo>
                  <a:lnTo>
                    <a:pt x="812" y="538"/>
                  </a:lnTo>
                  <a:lnTo>
                    <a:pt x="814" y="532"/>
                  </a:lnTo>
                  <a:lnTo>
                    <a:pt x="816" y="530"/>
                  </a:lnTo>
                  <a:lnTo>
                    <a:pt x="818" y="522"/>
                  </a:lnTo>
                  <a:lnTo>
                    <a:pt x="820" y="520"/>
                  </a:lnTo>
                  <a:lnTo>
                    <a:pt x="822" y="522"/>
                  </a:lnTo>
                  <a:lnTo>
                    <a:pt x="822" y="524"/>
                  </a:lnTo>
                  <a:lnTo>
                    <a:pt x="824" y="526"/>
                  </a:lnTo>
                  <a:lnTo>
                    <a:pt x="824" y="524"/>
                  </a:lnTo>
                  <a:lnTo>
                    <a:pt x="826" y="522"/>
                  </a:lnTo>
                  <a:lnTo>
                    <a:pt x="828" y="520"/>
                  </a:lnTo>
                  <a:lnTo>
                    <a:pt x="834" y="524"/>
                  </a:lnTo>
                  <a:lnTo>
                    <a:pt x="836" y="526"/>
                  </a:lnTo>
                  <a:lnTo>
                    <a:pt x="836" y="530"/>
                  </a:lnTo>
                  <a:lnTo>
                    <a:pt x="836" y="540"/>
                  </a:lnTo>
                  <a:lnTo>
                    <a:pt x="836" y="546"/>
                  </a:lnTo>
                  <a:lnTo>
                    <a:pt x="838" y="546"/>
                  </a:lnTo>
                  <a:lnTo>
                    <a:pt x="840" y="546"/>
                  </a:lnTo>
                  <a:lnTo>
                    <a:pt x="840" y="548"/>
                  </a:lnTo>
                  <a:lnTo>
                    <a:pt x="840" y="552"/>
                  </a:lnTo>
                  <a:lnTo>
                    <a:pt x="840" y="554"/>
                  </a:lnTo>
                  <a:lnTo>
                    <a:pt x="842" y="554"/>
                  </a:lnTo>
                  <a:lnTo>
                    <a:pt x="842" y="556"/>
                  </a:lnTo>
                  <a:lnTo>
                    <a:pt x="846" y="560"/>
                  </a:lnTo>
                  <a:lnTo>
                    <a:pt x="854" y="560"/>
                  </a:lnTo>
                  <a:lnTo>
                    <a:pt x="858" y="558"/>
                  </a:lnTo>
                  <a:lnTo>
                    <a:pt x="856" y="556"/>
                  </a:lnTo>
                  <a:lnTo>
                    <a:pt x="856" y="554"/>
                  </a:lnTo>
                  <a:lnTo>
                    <a:pt x="858" y="554"/>
                  </a:lnTo>
                  <a:lnTo>
                    <a:pt x="860" y="556"/>
                  </a:lnTo>
                  <a:lnTo>
                    <a:pt x="866" y="550"/>
                  </a:lnTo>
                  <a:lnTo>
                    <a:pt x="872" y="542"/>
                  </a:lnTo>
                  <a:lnTo>
                    <a:pt x="872" y="544"/>
                  </a:lnTo>
                  <a:lnTo>
                    <a:pt x="874" y="544"/>
                  </a:lnTo>
                  <a:lnTo>
                    <a:pt x="874" y="546"/>
                  </a:lnTo>
                  <a:lnTo>
                    <a:pt x="872" y="546"/>
                  </a:lnTo>
                  <a:lnTo>
                    <a:pt x="870" y="550"/>
                  </a:lnTo>
                  <a:lnTo>
                    <a:pt x="870" y="554"/>
                  </a:lnTo>
                  <a:lnTo>
                    <a:pt x="884" y="552"/>
                  </a:lnTo>
                  <a:lnTo>
                    <a:pt x="886" y="552"/>
                  </a:lnTo>
                  <a:lnTo>
                    <a:pt x="886" y="554"/>
                  </a:lnTo>
                  <a:lnTo>
                    <a:pt x="882" y="556"/>
                  </a:lnTo>
                  <a:lnTo>
                    <a:pt x="882" y="560"/>
                  </a:lnTo>
                  <a:lnTo>
                    <a:pt x="872" y="558"/>
                  </a:lnTo>
                  <a:lnTo>
                    <a:pt x="864" y="562"/>
                  </a:lnTo>
                  <a:lnTo>
                    <a:pt x="864" y="566"/>
                  </a:lnTo>
                  <a:lnTo>
                    <a:pt x="860" y="566"/>
                  </a:lnTo>
                  <a:lnTo>
                    <a:pt x="854" y="574"/>
                  </a:lnTo>
                  <a:lnTo>
                    <a:pt x="854" y="578"/>
                  </a:lnTo>
                  <a:lnTo>
                    <a:pt x="860" y="580"/>
                  </a:lnTo>
                  <a:lnTo>
                    <a:pt x="862" y="584"/>
                  </a:lnTo>
                  <a:lnTo>
                    <a:pt x="864" y="584"/>
                  </a:lnTo>
                  <a:lnTo>
                    <a:pt x="866" y="584"/>
                  </a:lnTo>
                  <a:lnTo>
                    <a:pt x="866" y="582"/>
                  </a:lnTo>
                  <a:lnTo>
                    <a:pt x="868" y="582"/>
                  </a:lnTo>
                  <a:lnTo>
                    <a:pt x="868" y="584"/>
                  </a:lnTo>
                  <a:lnTo>
                    <a:pt x="870" y="586"/>
                  </a:lnTo>
                  <a:lnTo>
                    <a:pt x="876" y="580"/>
                  </a:lnTo>
                  <a:lnTo>
                    <a:pt x="878" y="576"/>
                  </a:lnTo>
                  <a:lnTo>
                    <a:pt x="878" y="574"/>
                  </a:lnTo>
                  <a:lnTo>
                    <a:pt x="878" y="572"/>
                  </a:lnTo>
                  <a:lnTo>
                    <a:pt x="882" y="570"/>
                  </a:lnTo>
                  <a:lnTo>
                    <a:pt x="882" y="572"/>
                  </a:lnTo>
                  <a:lnTo>
                    <a:pt x="886" y="572"/>
                  </a:lnTo>
                  <a:lnTo>
                    <a:pt x="888" y="566"/>
                  </a:lnTo>
                  <a:lnTo>
                    <a:pt x="892" y="566"/>
                  </a:lnTo>
                  <a:lnTo>
                    <a:pt x="896" y="566"/>
                  </a:lnTo>
                  <a:lnTo>
                    <a:pt x="902" y="562"/>
                  </a:lnTo>
                  <a:lnTo>
                    <a:pt x="906" y="558"/>
                  </a:lnTo>
                  <a:lnTo>
                    <a:pt x="906" y="554"/>
                  </a:lnTo>
                  <a:lnTo>
                    <a:pt x="910" y="554"/>
                  </a:lnTo>
                  <a:lnTo>
                    <a:pt x="906" y="544"/>
                  </a:lnTo>
                  <a:lnTo>
                    <a:pt x="900" y="550"/>
                  </a:lnTo>
                  <a:lnTo>
                    <a:pt x="896" y="550"/>
                  </a:lnTo>
                  <a:lnTo>
                    <a:pt x="890" y="550"/>
                  </a:lnTo>
                  <a:lnTo>
                    <a:pt x="888" y="546"/>
                  </a:lnTo>
                  <a:lnTo>
                    <a:pt x="884" y="546"/>
                  </a:lnTo>
                  <a:lnTo>
                    <a:pt x="884" y="548"/>
                  </a:lnTo>
                  <a:lnTo>
                    <a:pt x="882" y="548"/>
                  </a:lnTo>
                  <a:lnTo>
                    <a:pt x="882" y="546"/>
                  </a:lnTo>
                  <a:lnTo>
                    <a:pt x="880" y="544"/>
                  </a:lnTo>
                  <a:lnTo>
                    <a:pt x="884" y="544"/>
                  </a:lnTo>
                  <a:lnTo>
                    <a:pt x="884" y="542"/>
                  </a:lnTo>
                  <a:lnTo>
                    <a:pt x="886" y="540"/>
                  </a:lnTo>
                  <a:lnTo>
                    <a:pt x="874" y="538"/>
                  </a:lnTo>
                  <a:lnTo>
                    <a:pt x="874" y="532"/>
                  </a:lnTo>
                  <a:lnTo>
                    <a:pt x="874" y="530"/>
                  </a:lnTo>
                  <a:lnTo>
                    <a:pt x="874" y="528"/>
                  </a:lnTo>
                  <a:lnTo>
                    <a:pt x="876" y="528"/>
                  </a:lnTo>
                  <a:lnTo>
                    <a:pt x="874" y="526"/>
                  </a:lnTo>
                  <a:lnTo>
                    <a:pt x="872" y="526"/>
                  </a:lnTo>
                  <a:lnTo>
                    <a:pt x="870" y="526"/>
                  </a:lnTo>
                  <a:lnTo>
                    <a:pt x="872" y="526"/>
                  </a:lnTo>
                  <a:lnTo>
                    <a:pt x="870" y="526"/>
                  </a:lnTo>
                  <a:lnTo>
                    <a:pt x="872" y="522"/>
                  </a:lnTo>
                  <a:lnTo>
                    <a:pt x="872" y="520"/>
                  </a:lnTo>
                  <a:lnTo>
                    <a:pt x="874" y="516"/>
                  </a:lnTo>
                  <a:lnTo>
                    <a:pt x="874" y="514"/>
                  </a:lnTo>
                  <a:lnTo>
                    <a:pt x="874" y="512"/>
                  </a:lnTo>
                  <a:lnTo>
                    <a:pt x="860" y="512"/>
                  </a:lnTo>
                  <a:lnTo>
                    <a:pt x="856" y="506"/>
                  </a:lnTo>
                  <a:lnTo>
                    <a:pt x="858" y="506"/>
                  </a:lnTo>
                  <a:lnTo>
                    <a:pt x="860" y="504"/>
                  </a:lnTo>
                  <a:lnTo>
                    <a:pt x="864" y="510"/>
                  </a:lnTo>
                  <a:lnTo>
                    <a:pt x="866" y="508"/>
                  </a:lnTo>
                  <a:lnTo>
                    <a:pt x="870" y="508"/>
                  </a:lnTo>
                  <a:lnTo>
                    <a:pt x="870" y="504"/>
                  </a:lnTo>
                  <a:lnTo>
                    <a:pt x="872" y="500"/>
                  </a:lnTo>
                  <a:lnTo>
                    <a:pt x="876" y="500"/>
                  </a:lnTo>
                  <a:lnTo>
                    <a:pt x="876" y="496"/>
                  </a:lnTo>
                  <a:lnTo>
                    <a:pt x="876" y="492"/>
                  </a:lnTo>
                  <a:lnTo>
                    <a:pt x="878" y="492"/>
                  </a:lnTo>
                  <a:lnTo>
                    <a:pt x="880" y="490"/>
                  </a:lnTo>
                  <a:lnTo>
                    <a:pt x="876" y="488"/>
                  </a:lnTo>
                  <a:lnTo>
                    <a:pt x="874" y="484"/>
                  </a:lnTo>
                  <a:lnTo>
                    <a:pt x="868" y="482"/>
                  </a:lnTo>
                  <a:lnTo>
                    <a:pt x="862" y="482"/>
                  </a:lnTo>
                  <a:lnTo>
                    <a:pt x="852" y="484"/>
                  </a:lnTo>
                  <a:lnTo>
                    <a:pt x="846" y="488"/>
                  </a:lnTo>
                  <a:lnTo>
                    <a:pt x="834" y="496"/>
                  </a:lnTo>
                  <a:lnTo>
                    <a:pt x="824" y="504"/>
                  </a:lnTo>
                  <a:lnTo>
                    <a:pt x="814" y="514"/>
                  </a:lnTo>
                  <a:lnTo>
                    <a:pt x="806" y="524"/>
                  </a:lnTo>
                  <a:lnTo>
                    <a:pt x="812" y="514"/>
                  </a:lnTo>
                  <a:lnTo>
                    <a:pt x="816" y="506"/>
                  </a:lnTo>
                  <a:lnTo>
                    <a:pt x="812" y="506"/>
                  </a:lnTo>
                  <a:lnTo>
                    <a:pt x="812" y="504"/>
                  </a:lnTo>
                  <a:lnTo>
                    <a:pt x="814" y="504"/>
                  </a:lnTo>
                  <a:lnTo>
                    <a:pt x="818" y="502"/>
                  </a:lnTo>
                  <a:lnTo>
                    <a:pt x="820" y="498"/>
                  </a:lnTo>
                  <a:lnTo>
                    <a:pt x="824" y="492"/>
                  </a:lnTo>
                  <a:lnTo>
                    <a:pt x="826" y="492"/>
                  </a:lnTo>
                  <a:lnTo>
                    <a:pt x="830" y="492"/>
                  </a:lnTo>
                  <a:lnTo>
                    <a:pt x="830" y="490"/>
                  </a:lnTo>
                  <a:lnTo>
                    <a:pt x="830" y="486"/>
                  </a:lnTo>
                  <a:lnTo>
                    <a:pt x="832" y="486"/>
                  </a:lnTo>
                  <a:lnTo>
                    <a:pt x="834" y="486"/>
                  </a:lnTo>
                  <a:lnTo>
                    <a:pt x="844" y="476"/>
                  </a:lnTo>
                  <a:lnTo>
                    <a:pt x="846" y="472"/>
                  </a:lnTo>
                  <a:lnTo>
                    <a:pt x="850" y="470"/>
                  </a:lnTo>
                  <a:lnTo>
                    <a:pt x="852" y="468"/>
                  </a:lnTo>
                  <a:lnTo>
                    <a:pt x="864" y="466"/>
                  </a:lnTo>
                  <a:lnTo>
                    <a:pt x="874" y="466"/>
                  </a:lnTo>
                  <a:lnTo>
                    <a:pt x="884" y="468"/>
                  </a:lnTo>
                  <a:lnTo>
                    <a:pt x="890" y="468"/>
                  </a:lnTo>
                  <a:lnTo>
                    <a:pt x="892" y="466"/>
                  </a:lnTo>
                  <a:lnTo>
                    <a:pt x="894" y="464"/>
                  </a:lnTo>
                  <a:lnTo>
                    <a:pt x="898" y="464"/>
                  </a:lnTo>
                  <a:lnTo>
                    <a:pt x="900" y="466"/>
                  </a:lnTo>
                  <a:lnTo>
                    <a:pt x="900" y="468"/>
                  </a:lnTo>
                  <a:lnTo>
                    <a:pt x="902" y="468"/>
                  </a:lnTo>
                  <a:lnTo>
                    <a:pt x="904" y="466"/>
                  </a:lnTo>
                  <a:lnTo>
                    <a:pt x="904" y="464"/>
                  </a:lnTo>
                  <a:lnTo>
                    <a:pt x="906" y="464"/>
                  </a:lnTo>
                  <a:lnTo>
                    <a:pt x="910" y="470"/>
                  </a:lnTo>
                  <a:lnTo>
                    <a:pt x="914" y="470"/>
                  </a:lnTo>
                  <a:lnTo>
                    <a:pt x="914" y="466"/>
                  </a:lnTo>
                  <a:lnTo>
                    <a:pt x="918" y="466"/>
                  </a:lnTo>
                  <a:lnTo>
                    <a:pt x="920" y="466"/>
                  </a:lnTo>
                  <a:lnTo>
                    <a:pt x="920" y="468"/>
                  </a:lnTo>
                  <a:lnTo>
                    <a:pt x="924" y="468"/>
                  </a:lnTo>
                  <a:lnTo>
                    <a:pt x="924" y="464"/>
                  </a:lnTo>
                  <a:lnTo>
                    <a:pt x="928" y="464"/>
                  </a:lnTo>
                  <a:lnTo>
                    <a:pt x="930" y="464"/>
                  </a:lnTo>
                  <a:lnTo>
                    <a:pt x="932" y="462"/>
                  </a:lnTo>
                  <a:lnTo>
                    <a:pt x="932" y="458"/>
                  </a:lnTo>
                  <a:lnTo>
                    <a:pt x="938" y="458"/>
                  </a:lnTo>
                  <a:lnTo>
                    <a:pt x="942" y="456"/>
                  </a:lnTo>
                  <a:lnTo>
                    <a:pt x="940" y="450"/>
                  </a:lnTo>
                  <a:lnTo>
                    <a:pt x="942" y="448"/>
                  </a:lnTo>
                  <a:lnTo>
                    <a:pt x="942" y="444"/>
                  </a:lnTo>
                  <a:lnTo>
                    <a:pt x="950" y="442"/>
                  </a:lnTo>
                  <a:lnTo>
                    <a:pt x="958" y="440"/>
                  </a:lnTo>
                  <a:lnTo>
                    <a:pt x="960" y="442"/>
                  </a:lnTo>
                  <a:lnTo>
                    <a:pt x="962" y="442"/>
                  </a:lnTo>
                  <a:lnTo>
                    <a:pt x="976" y="430"/>
                  </a:lnTo>
                  <a:lnTo>
                    <a:pt x="974" y="412"/>
                  </a:lnTo>
                  <a:lnTo>
                    <a:pt x="972" y="412"/>
                  </a:lnTo>
                  <a:lnTo>
                    <a:pt x="970" y="414"/>
                  </a:lnTo>
                  <a:lnTo>
                    <a:pt x="966" y="412"/>
                  </a:lnTo>
                  <a:lnTo>
                    <a:pt x="962" y="408"/>
                  </a:lnTo>
                  <a:lnTo>
                    <a:pt x="958" y="404"/>
                  </a:lnTo>
                  <a:lnTo>
                    <a:pt x="950" y="404"/>
                  </a:lnTo>
                  <a:lnTo>
                    <a:pt x="952" y="408"/>
                  </a:lnTo>
                  <a:lnTo>
                    <a:pt x="942" y="410"/>
                  </a:lnTo>
                  <a:lnTo>
                    <a:pt x="928" y="416"/>
                  </a:lnTo>
                  <a:lnTo>
                    <a:pt x="928" y="420"/>
                  </a:lnTo>
                  <a:lnTo>
                    <a:pt x="924" y="420"/>
                  </a:lnTo>
                  <a:lnTo>
                    <a:pt x="922" y="418"/>
                  </a:lnTo>
                  <a:lnTo>
                    <a:pt x="922" y="416"/>
                  </a:lnTo>
                  <a:lnTo>
                    <a:pt x="922" y="414"/>
                  </a:lnTo>
                  <a:lnTo>
                    <a:pt x="928" y="414"/>
                  </a:lnTo>
                  <a:lnTo>
                    <a:pt x="932" y="414"/>
                  </a:lnTo>
                  <a:lnTo>
                    <a:pt x="938" y="410"/>
                  </a:lnTo>
                  <a:lnTo>
                    <a:pt x="942" y="404"/>
                  </a:lnTo>
                  <a:lnTo>
                    <a:pt x="948" y="404"/>
                  </a:lnTo>
                  <a:lnTo>
                    <a:pt x="954" y="402"/>
                  </a:lnTo>
                  <a:lnTo>
                    <a:pt x="956" y="400"/>
                  </a:lnTo>
                  <a:lnTo>
                    <a:pt x="958" y="396"/>
                  </a:lnTo>
                  <a:lnTo>
                    <a:pt x="954" y="398"/>
                  </a:lnTo>
                  <a:lnTo>
                    <a:pt x="952" y="394"/>
                  </a:lnTo>
                  <a:lnTo>
                    <a:pt x="954" y="394"/>
                  </a:lnTo>
                  <a:lnTo>
                    <a:pt x="952" y="392"/>
                  </a:lnTo>
                  <a:lnTo>
                    <a:pt x="950" y="390"/>
                  </a:lnTo>
                  <a:lnTo>
                    <a:pt x="950" y="392"/>
                  </a:lnTo>
                  <a:lnTo>
                    <a:pt x="948" y="394"/>
                  </a:lnTo>
                  <a:lnTo>
                    <a:pt x="946" y="394"/>
                  </a:lnTo>
                  <a:lnTo>
                    <a:pt x="944" y="392"/>
                  </a:lnTo>
                  <a:lnTo>
                    <a:pt x="942" y="392"/>
                  </a:lnTo>
                  <a:lnTo>
                    <a:pt x="942" y="388"/>
                  </a:lnTo>
                  <a:lnTo>
                    <a:pt x="942" y="386"/>
                  </a:lnTo>
                  <a:lnTo>
                    <a:pt x="932" y="388"/>
                  </a:lnTo>
                  <a:lnTo>
                    <a:pt x="922" y="386"/>
                  </a:lnTo>
                  <a:lnTo>
                    <a:pt x="922" y="382"/>
                  </a:lnTo>
                  <a:lnTo>
                    <a:pt x="922" y="380"/>
                  </a:lnTo>
                  <a:lnTo>
                    <a:pt x="922" y="376"/>
                  </a:lnTo>
                  <a:lnTo>
                    <a:pt x="920" y="376"/>
                  </a:lnTo>
                  <a:lnTo>
                    <a:pt x="918" y="374"/>
                  </a:lnTo>
                  <a:lnTo>
                    <a:pt x="914" y="372"/>
                  </a:lnTo>
                  <a:lnTo>
                    <a:pt x="910" y="372"/>
                  </a:lnTo>
                  <a:lnTo>
                    <a:pt x="906" y="362"/>
                  </a:lnTo>
                  <a:lnTo>
                    <a:pt x="902" y="364"/>
                  </a:lnTo>
                  <a:lnTo>
                    <a:pt x="904" y="358"/>
                  </a:lnTo>
                  <a:lnTo>
                    <a:pt x="902" y="358"/>
                  </a:lnTo>
                  <a:lnTo>
                    <a:pt x="902" y="356"/>
                  </a:lnTo>
                  <a:lnTo>
                    <a:pt x="914" y="356"/>
                  </a:lnTo>
                  <a:lnTo>
                    <a:pt x="914" y="350"/>
                  </a:lnTo>
                  <a:lnTo>
                    <a:pt x="904" y="348"/>
                  </a:lnTo>
                  <a:lnTo>
                    <a:pt x="904" y="344"/>
                  </a:lnTo>
                  <a:lnTo>
                    <a:pt x="904" y="338"/>
                  </a:lnTo>
                  <a:lnTo>
                    <a:pt x="902" y="338"/>
                  </a:lnTo>
                  <a:lnTo>
                    <a:pt x="900" y="338"/>
                  </a:lnTo>
                  <a:lnTo>
                    <a:pt x="898" y="336"/>
                  </a:lnTo>
                  <a:lnTo>
                    <a:pt x="896" y="332"/>
                  </a:lnTo>
                  <a:lnTo>
                    <a:pt x="898" y="326"/>
                  </a:lnTo>
                  <a:lnTo>
                    <a:pt x="886" y="326"/>
                  </a:lnTo>
                  <a:lnTo>
                    <a:pt x="894" y="322"/>
                  </a:lnTo>
                  <a:lnTo>
                    <a:pt x="888" y="310"/>
                  </a:lnTo>
                  <a:lnTo>
                    <a:pt x="882" y="310"/>
                  </a:lnTo>
                  <a:lnTo>
                    <a:pt x="882" y="308"/>
                  </a:lnTo>
                  <a:lnTo>
                    <a:pt x="880" y="308"/>
                  </a:lnTo>
                  <a:lnTo>
                    <a:pt x="880" y="302"/>
                  </a:lnTo>
                  <a:lnTo>
                    <a:pt x="880" y="294"/>
                  </a:lnTo>
                  <a:lnTo>
                    <a:pt x="876" y="292"/>
                  </a:lnTo>
                  <a:lnTo>
                    <a:pt x="878" y="288"/>
                  </a:lnTo>
                  <a:lnTo>
                    <a:pt x="878" y="284"/>
                  </a:lnTo>
                  <a:lnTo>
                    <a:pt x="874" y="284"/>
                  </a:lnTo>
                  <a:lnTo>
                    <a:pt x="868" y="296"/>
                  </a:lnTo>
                  <a:lnTo>
                    <a:pt x="864" y="308"/>
                  </a:lnTo>
                  <a:lnTo>
                    <a:pt x="862" y="306"/>
                  </a:lnTo>
                  <a:lnTo>
                    <a:pt x="862" y="302"/>
                  </a:lnTo>
                  <a:lnTo>
                    <a:pt x="858" y="306"/>
                  </a:lnTo>
                  <a:lnTo>
                    <a:pt x="858" y="310"/>
                  </a:lnTo>
                  <a:lnTo>
                    <a:pt x="856" y="310"/>
                  </a:lnTo>
                  <a:lnTo>
                    <a:pt x="854" y="308"/>
                  </a:lnTo>
                  <a:lnTo>
                    <a:pt x="854" y="312"/>
                  </a:lnTo>
                  <a:lnTo>
                    <a:pt x="852" y="316"/>
                  </a:lnTo>
                  <a:lnTo>
                    <a:pt x="844" y="322"/>
                  </a:lnTo>
                  <a:lnTo>
                    <a:pt x="836" y="314"/>
                  </a:lnTo>
                  <a:lnTo>
                    <a:pt x="834" y="316"/>
                  </a:lnTo>
                  <a:lnTo>
                    <a:pt x="834" y="318"/>
                  </a:lnTo>
                  <a:lnTo>
                    <a:pt x="832" y="318"/>
                  </a:lnTo>
                  <a:lnTo>
                    <a:pt x="830" y="308"/>
                  </a:lnTo>
                  <a:lnTo>
                    <a:pt x="822" y="308"/>
                  </a:lnTo>
                  <a:lnTo>
                    <a:pt x="814" y="306"/>
                  </a:lnTo>
                  <a:lnTo>
                    <a:pt x="814" y="296"/>
                  </a:lnTo>
                  <a:lnTo>
                    <a:pt x="812" y="286"/>
                  </a:lnTo>
                  <a:lnTo>
                    <a:pt x="816" y="286"/>
                  </a:lnTo>
                  <a:lnTo>
                    <a:pt x="818" y="284"/>
                  </a:lnTo>
                  <a:lnTo>
                    <a:pt x="818" y="282"/>
                  </a:lnTo>
                  <a:lnTo>
                    <a:pt x="816" y="282"/>
                  </a:lnTo>
                  <a:lnTo>
                    <a:pt x="814" y="282"/>
                  </a:lnTo>
                  <a:lnTo>
                    <a:pt x="820" y="270"/>
                  </a:lnTo>
                  <a:lnTo>
                    <a:pt x="818" y="272"/>
                  </a:lnTo>
                  <a:lnTo>
                    <a:pt x="816" y="274"/>
                  </a:lnTo>
                  <a:lnTo>
                    <a:pt x="812" y="274"/>
                  </a:lnTo>
                  <a:lnTo>
                    <a:pt x="806" y="272"/>
                  </a:lnTo>
                  <a:lnTo>
                    <a:pt x="806" y="270"/>
                  </a:lnTo>
                  <a:lnTo>
                    <a:pt x="808" y="268"/>
                  </a:lnTo>
                  <a:lnTo>
                    <a:pt x="810" y="266"/>
                  </a:lnTo>
                  <a:lnTo>
                    <a:pt x="806" y="264"/>
                  </a:lnTo>
                  <a:lnTo>
                    <a:pt x="802" y="266"/>
                  </a:lnTo>
                  <a:lnTo>
                    <a:pt x="796" y="266"/>
                  </a:lnTo>
                  <a:lnTo>
                    <a:pt x="792" y="266"/>
                  </a:lnTo>
                  <a:lnTo>
                    <a:pt x="792" y="260"/>
                  </a:lnTo>
                  <a:lnTo>
                    <a:pt x="790" y="260"/>
                  </a:lnTo>
                  <a:lnTo>
                    <a:pt x="790" y="256"/>
                  </a:lnTo>
                  <a:lnTo>
                    <a:pt x="786" y="252"/>
                  </a:lnTo>
                  <a:lnTo>
                    <a:pt x="782" y="248"/>
                  </a:lnTo>
                  <a:lnTo>
                    <a:pt x="772" y="242"/>
                  </a:lnTo>
                  <a:lnTo>
                    <a:pt x="766" y="244"/>
                  </a:lnTo>
                  <a:lnTo>
                    <a:pt x="762" y="250"/>
                  </a:lnTo>
                  <a:lnTo>
                    <a:pt x="758" y="250"/>
                  </a:lnTo>
                  <a:lnTo>
                    <a:pt x="752" y="250"/>
                  </a:lnTo>
                  <a:lnTo>
                    <a:pt x="752" y="252"/>
                  </a:lnTo>
                  <a:lnTo>
                    <a:pt x="748" y="254"/>
                  </a:lnTo>
                  <a:lnTo>
                    <a:pt x="744" y="252"/>
                  </a:lnTo>
                  <a:lnTo>
                    <a:pt x="734" y="250"/>
                  </a:lnTo>
                  <a:lnTo>
                    <a:pt x="726" y="250"/>
                  </a:lnTo>
                  <a:lnTo>
                    <a:pt x="722" y="252"/>
                  </a:lnTo>
                  <a:lnTo>
                    <a:pt x="720" y="256"/>
                  </a:lnTo>
                  <a:lnTo>
                    <a:pt x="726" y="258"/>
                  </a:lnTo>
                  <a:lnTo>
                    <a:pt x="726" y="262"/>
                  </a:lnTo>
                  <a:lnTo>
                    <a:pt x="724" y="262"/>
                  </a:lnTo>
                  <a:lnTo>
                    <a:pt x="724" y="264"/>
                  </a:lnTo>
                  <a:lnTo>
                    <a:pt x="724" y="266"/>
                  </a:lnTo>
                  <a:lnTo>
                    <a:pt x="720" y="274"/>
                  </a:lnTo>
                  <a:lnTo>
                    <a:pt x="718" y="274"/>
                  </a:lnTo>
                  <a:lnTo>
                    <a:pt x="720" y="278"/>
                  </a:lnTo>
                  <a:lnTo>
                    <a:pt x="724" y="278"/>
                  </a:lnTo>
                  <a:lnTo>
                    <a:pt x="724" y="286"/>
                  </a:lnTo>
                  <a:lnTo>
                    <a:pt x="724" y="288"/>
                  </a:lnTo>
                  <a:lnTo>
                    <a:pt x="728" y="292"/>
                  </a:lnTo>
                  <a:lnTo>
                    <a:pt x="728" y="294"/>
                  </a:lnTo>
                  <a:lnTo>
                    <a:pt x="728" y="296"/>
                  </a:lnTo>
                  <a:lnTo>
                    <a:pt x="726" y="294"/>
                  </a:lnTo>
                  <a:lnTo>
                    <a:pt x="724" y="298"/>
                  </a:lnTo>
                  <a:lnTo>
                    <a:pt x="720" y="296"/>
                  </a:lnTo>
                  <a:lnTo>
                    <a:pt x="722" y="300"/>
                  </a:lnTo>
                  <a:lnTo>
                    <a:pt x="724" y="302"/>
                  </a:lnTo>
                  <a:lnTo>
                    <a:pt x="724" y="306"/>
                  </a:lnTo>
                  <a:lnTo>
                    <a:pt x="718" y="306"/>
                  </a:lnTo>
                  <a:lnTo>
                    <a:pt x="712" y="308"/>
                  </a:lnTo>
                  <a:lnTo>
                    <a:pt x="712" y="318"/>
                  </a:lnTo>
                  <a:lnTo>
                    <a:pt x="718" y="320"/>
                  </a:lnTo>
                  <a:lnTo>
                    <a:pt x="724" y="322"/>
                  </a:lnTo>
                  <a:lnTo>
                    <a:pt x="726" y="324"/>
                  </a:lnTo>
                  <a:lnTo>
                    <a:pt x="728" y="330"/>
                  </a:lnTo>
                  <a:lnTo>
                    <a:pt x="728" y="336"/>
                  </a:lnTo>
                  <a:lnTo>
                    <a:pt x="730" y="340"/>
                  </a:lnTo>
                  <a:lnTo>
                    <a:pt x="734" y="342"/>
                  </a:lnTo>
                  <a:lnTo>
                    <a:pt x="738" y="346"/>
                  </a:lnTo>
                  <a:lnTo>
                    <a:pt x="736" y="352"/>
                  </a:lnTo>
                  <a:lnTo>
                    <a:pt x="734" y="362"/>
                  </a:lnTo>
                  <a:lnTo>
                    <a:pt x="734" y="360"/>
                  </a:lnTo>
                  <a:lnTo>
                    <a:pt x="738" y="360"/>
                  </a:lnTo>
                  <a:lnTo>
                    <a:pt x="738" y="362"/>
                  </a:lnTo>
                  <a:lnTo>
                    <a:pt x="738" y="366"/>
                  </a:lnTo>
                  <a:lnTo>
                    <a:pt x="736" y="366"/>
                  </a:lnTo>
                  <a:lnTo>
                    <a:pt x="734" y="366"/>
                  </a:lnTo>
                  <a:lnTo>
                    <a:pt x="728" y="376"/>
                  </a:lnTo>
                  <a:lnTo>
                    <a:pt x="718" y="386"/>
                  </a:lnTo>
                  <a:lnTo>
                    <a:pt x="706" y="392"/>
                  </a:lnTo>
                  <a:lnTo>
                    <a:pt x="712" y="420"/>
                  </a:lnTo>
                  <a:lnTo>
                    <a:pt x="712" y="434"/>
                  </a:lnTo>
                  <a:lnTo>
                    <a:pt x="710" y="446"/>
                  </a:lnTo>
                  <a:lnTo>
                    <a:pt x="704" y="446"/>
                  </a:lnTo>
                  <a:lnTo>
                    <a:pt x="702" y="450"/>
                  </a:lnTo>
                  <a:lnTo>
                    <a:pt x="700" y="452"/>
                  </a:lnTo>
                  <a:lnTo>
                    <a:pt x="698" y="452"/>
                  </a:lnTo>
                  <a:lnTo>
                    <a:pt x="692" y="450"/>
                  </a:lnTo>
                  <a:lnTo>
                    <a:pt x="680" y="438"/>
                  </a:lnTo>
                  <a:lnTo>
                    <a:pt x="680" y="434"/>
                  </a:lnTo>
                  <a:lnTo>
                    <a:pt x="680" y="432"/>
                  </a:lnTo>
                  <a:lnTo>
                    <a:pt x="680" y="430"/>
                  </a:lnTo>
                  <a:lnTo>
                    <a:pt x="672" y="426"/>
                  </a:lnTo>
                  <a:lnTo>
                    <a:pt x="672" y="422"/>
                  </a:lnTo>
                  <a:lnTo>
                    <a:pt x="672" y="416"/>
                  </a:lnTo>
                  <a:lnTo>
                    <a:pt x="670" y="416"/>
                  </a:lnTo>
                  <a:lnTo>
                    <a:pt x="670" y="414"/>
                  </a:lnTo>
                  <a:lnTo>
                    <a:pt x="672" y="412"/>
                  </a:lnTo>
                  <a:lnTo>
                    <a:pt x="670" y="408"/>
                  </a:lnTo>
                  <a:lnTo>
                    <a:pt x="672" y="408"/>
                  </a:lnTo>
                  <a:lnTo>
                    <a:pt x="672" y="406"/>
                  </a:lnTo>
                  <a:lnTo>
                    <a:pt x="674" y="396"/>
                  </a:lnTo>
                  <a:lnTo>
                    <a:pt x="672" y="394"/>
                  </a:lnTo>
                  <a:lnTo>
                    <a:pt x="672" y="392"/>
                  </a:lnTo>
                  <a:lnTo>
                    <a:pt x="672" y="390"/>
                  </a:lnTo>
                  <a:lnTo>
                    <a:pt x="674" y="390"/>
                  </a:lnTo>
                  <a:lnTo>
                    <a:pt x="672" y="386"/>
                  </a:lnTo>
                  <a:lnTo>
                    <a:pt x="666" y="384"/>
                  </a:lnTo>
                  <a:lnTo>
                    <a:pt x="658" y="384"/>
                  </a:lnTo>
                  <a:lnTo>
                    <a:pt x="652" y="384"/>
                  </a:lnTo>
                  <a:lnTo>
                    <a:pt x="644" y="384"/>
                  </a:lnTo>
                  <a:lnTo>
                    <a:pt x="638" y="380"/>
                  </a:lnTo>
                  <a:lnTo>
                    <a:pt x="632" y="376"/>
                  </a:lnTo>
                  <a:lnTo>
                    <a:pt x="614" y="370"/>
                  </a:lnTo>
                  <a:lnTo>
                    <a:pt x="612" y="368"/>
                  </a:lnTo>
                  <a:lnTo>
                    <a:pt x="612" y="364"/>
                  </a:lnTo>
                  <a:lnTo>
                    <a:pt x="612" y="360"/>
                  </a:lnTo>
                  <a:lnTo>
                    <a:pt x="610" y="358"/>
                  </a:lnTo>
                  <a:lnTo>
                    <a:pt x="606" y="356"/>
                  </a:lnTo>
                  <a:lnTo>
                    <a:pt x="602" y="356"/>
                  </a:lnTo>
                  <a:lnTo>
                    <a:pt x="592" y="348"/>
                  </a:lnTo>
                  <a:lnTo>
                    <a:pt x="586" y="348"/>
                  </a:lnTo>
                  <a:lnTo>
                    <a:pt x="582" y="346"/>
                  </a:lnTo>
                  <a:lnTo>
                    <a:pt x="578" y="344"/>
                  </a:lnTo>
                  <a:lnTo>
                    <a:pt x="574" y="342"/>
                  </a:lnTo>
                  <a:lnTo>
                    <a:pt x="568" y="344"/>
                  </a:lnTo>
                  <a:lnTo>
                    <a:pt x="560" y="348"/>
                  </a:lnTo>
                  <a:lnTo>
                    <a:pt x="554" y="332"/>
                  </a:lnTo>
                  <a:lnTo>
                    <a:pt x="548" y="314"/>
                  </a:lnTo>
                  <a:lnTo>
                    <a:pt x="540" y="314"/>
                  </a:lnTo>
                  <a:lnTo>
                    <a:pt x="536" y="316"/>
                  </a:lnTo>
                  <a:lnTo>
                    <a:pt x="532" y="314"/>
                  </a:lnTo>
                  <a:lnTo>
                    <a:pt x="530" y="308"/>
                  </a:lnTo>
                  <a:lnTo>
                    <a:pt x="526" y="304"/>
                  </a:lnTo>
                  <a:lnTo>
                    <a:pt x="528" y="290"/>
                  </a:lnTo>
                  <a:lnTo>
                    <a:pt x="534" y="286"/>
                  </a:lnTo>
                  <a:lnTo>
                    <a:pt x="532" y="284"/>
                  </a:lnTo>
                  <a:lnTo>
                    <a:pt x="532" y="282"/>
                  </a:lnTo>
                  <a:lnTo>
                    <a:pt x="530" y="280"/>
                  </a:lnTo>
                  <a:lnTo>
                    <a:pt x="532" y="280"/>
                  </a:lnTo>
                  <a:lnTo>
                    <a:pt x="536" y="280"/>
                  </a:lnTo>
                  <a:lnTo>
                    <a:pt x="536" y="274"/>
                  </a:lnTo>
                  <a:lnTo>
                    <a:pt x="536" y="270"/>
                  </a:lnTo>
                  <a:lnTo>
                    <a:pt x="540" y="268"/>
                  </a:lnTo>
                  <a:lnTo>
                    <a:pt x="542" y="266"/>
                  </a:lnTo>
                  <a:lnTo>
                    <a:pt x="544" y="264"/>
                  </a:lnTo>
                  <a:lnTo>
                    <a:pt x="544" y="262"/>
                  </a:lnTo>
                  <a:lnTo>
                    <a:pt x="548" y="262"/>
                  </a:lnTo>
                  <a:lnTo>
                    <a:pt x="550" y="262"/>
                  </a:lnTo>
                  <a:lnTo>
                    <a:pt x="550" y="258"/>
                  </a:lnTo>
                  <a:lnTo>
                    <a:pt x="550" y="252"/>
                  </a:lnTo>
                  <a:lnTo>
                    <a:pt x="554" y="252"/>
                  </a:lnTo>
                  <a:lnTo>
                    <a:pt x="554" y="250"/>
                  </a:lnTo>
                  <a:lnTo>
                    <a:pt x="556" y="252"/>
                  </a:lnTo>
                  <a:lnTo>
                    <a:pt x="558" y="252"/>
                  </a:lnTo>
                  <a:lnTo>
                    <a:pt x="560" y="252"/>
                  </a:lnTo>
                  <a:lnTo>
                    <a:pt x="560" y="250"/>
                  </a:lnTo>
                  <a:lnTo>
                    <a:pt x="558" y="248"/>
                  </a:lnTo>
                  <a:lnTo>
                    <a:pt x="564" y="244"/>
                  </a:lnTo>
                  <a:lnTo>
                    <a:pt x="562" y="244"/>
                  </a:lnTo>
                  <a:lnTo>
                    <a:pt x="560" y="244"/>
                  </a:lnTo>
                  <a:lnTo>
                    <a:pt x="560" y="242"/>
                  </a:lnTo>
                  <a:lnTo>
                    <a:pt x="564" y="242"/>
                  </a:lnTo>
                  <a:lnTo>
                    <a:pt x="566" y="244"/>
                  </a:lnTo>
                  <a:lnTo>
                    <a:pt x="568" y="244"/>
                  </a:lnTo>
                  <a:lnTo>
                    <a:pt x="572" y="244"/>
                  </a:lnTo>
                  <a:lnTo>
                    <a:pt x="578" y="240"/>
                  </a:lnTo>
                  <a:lnTo>
                    <a:pt x="578" y="236"/>
                  </a:lnTo>
                  <a:lnTo>
                    <a:pt x="580" y="234"/>
                  </a:lnTo>
                  <a:lnTo>
                    <a:pt x="574" y="230"/>
                  </a:lnTo>
                  <a:lnTo>
                    <a:pt x="574" y="226"/>
                  </a:lnTo>
                  <a:lnTo>
                    <a:pt x="578" y="228"/>
                  </a:lnTo>
                  <a:lnTo>
                    <a:pt x="582" y="228"/>
                  </a:lnTo>
                  <a:lnTo>
                    <a:pt x="584" y="214"/>
                  </a:lnTo>
                  <a:lnTo>
                    <a:pt x="590" y="214"/>
                  </a:lnTo>
                  <a:lnTo>
                    <a:pt x="590" y="212"/>
                  </a:lnTo>
                  <a:lnTo>
                    <a:pt x="592" y="212"/>
                  </a:lnTo>
                  <a:lnTo>
                    <a:pt x="598" y="212"/>
                  </a:lnTo>
                  <a:lnTo>
                    <a:pt x="600" y="214"/>
                  </a:lnTo>
                  <a:lnTo>
                    <a:pt x="602" y="214"/>
                  </a:lnTo>
                  <a:lnTo>
                    <a:pt x="610" y="212"/>
                  </a:lnTo>
                  <a:lnTo>
                    <a:pt x="612" y="210"/>
                  </a:lnTo>
                  <a:lnTo>
                    <a:pt x="616" y="210"/>
                  </a:lnTo>
                  <a:lnTo>
                    <a:pt x="614" y="206"/>
                  </a:lnTo>
                  <a:lnTo>
                    <a:pt x="614" y="202"/>
                  </a:lnTo>
                  <a:lnTo>
                    <a:pt x="616" y="202"/>
                  </a:lnTo>
                  <a:lnTo>
                    <a:pt x="616" y="198"/>
                  </a:lnTo>
                  <a:lnTo>
                    <a:pt x="618" y="200"/>
                  </a:lnTo>
                  <a:lnTo>
                    <a:pt x="618" y="198"/>
                  </a:lnTo>
                  <a:lnTo>
                    <a:pt x="616" y="196"/>
                  </a:lnTo>
                  <a:lnTo>
                    <a:pt x="580" y="194"/>
                  </a:lnTo>
                  <a:lnTo>
                    <a:pt x="588" y="190"/>
                  </a:lnTo>
                  <a:lnTo>
                    <a:pt x="590" y="184"/>
                  </a:lnTo>
                  <a:lnTo>
                    <a:pt x="592" y="184"/>
                  </a:lnTo>
                  <a:lnTo>
                    <a:pt x="592" y="186"/>
                  </a:lnTo>
                  <a:lnTo>
                    <a:pt x="602" y="186"/>
                  </a:lnTo>
                  <a:lnTo>
                    <a:pt x="610" y="188"/>
                  </a:lnTo>
                  <a:lnTo>
                    <a:pt x="614" y="190"/>
                  </a:lnTo>
                  <a:lnTo>
                    <a:pt x="622" y="196"/>
                  </a:lnTo>
                  <a:lnTo>
                    <a:pt x="622" y="192"/>
                  </a:lnTo>
                  <a:lnTo>
                    <a:pt x="622" y="190"/>
                  </a:lnTo>
                  <a:lnTo>
                    <a:pt x="628" y="186"/>
                  </a:lnTo>
                  <a:lnTo>
                    <a:pt x="624" y="174"/>
                  </a:lnTo>
                  <a:lnTo>
                    <a:pt x="634" y="172"/>
                  </a:lnTo>
                  <a:lnTo>
                    <a:pt x="636" y="174"/>
                  </a:lnTo>
                  <a:lnTo>
                    <a:pt x="638" y="178"/>
                  </a:lnTo>
                  <a:lnTo>
                    <a:pt x="642" y="180"/>
                  </a:lnTo>
                  <a:lnTo>
                    <a:pt x="646" y="182"/>
                  </a:lnTo>
                  <a:lnTo>
                    <a:pt x="652" y="180"/>
                  </a:lnTo>
                  <a:lnTo>
                    <a:pt x="652" y="176"/>
                  </a:lnTo>
                  <a:lnTo>
                    <a:pt x="646" y="174"/>
                  </a:lnTo>
                  <a:lnTo>
                    <a:pt x="646" y="172"/>
                  </a:lnTo>
                  <a:lnTo>
                    <a:pt x="648" y="172"/>
                  </a:lnTo>
                  <a:lnTo>
                    <a:pt x="650" y="170"/>
                  </a:lnTo>
                  <a:lnTo>
                    <a:pt x="652" y="170"/>
                  </a:lnTo>
                  <a:lnTo>
                    <a:pt x="652" y="172"/>
                  </a:lnTo>
                  <a:lnTo>
                    <a:pt x="658" y="176"/>
                  </a:lnTo>
                  <a:lnTo>
                    <a:pt x="662" y="172"/>
                  </a:lnTo>
                  <a:lnTo>
                    <a:pt x="666" y="168"/>
                  </a:lnTo>
                  <a:lnTo>
                    <a:pt x="668" y="168"/>
                  </a:lnTo>
                  <a:lnTo>
                    <a:pt x="670" y="168"/>
                  </a:lnTo>
                  <a:lnTo>
                    <a:pt x="672" y="164"/>
                  </a:lnTo>
                  <a:lnTo>
                    <a:pt x="682" y="160"/>
                  </a:lnTo>
                  <a:lnTo>
                    <a:pt x="692" y="158"/>
                  </a:lnTo>
                  <a:lnTo>
                    <a:pt x="692" y="152"/>
                  </a:lnTo>
                  <a:lnTo>
                    <a:pt x="692" y="148"/>
                  </a:lnTo>
                  <a:lnTo>
                    <a:pt x="686" y="146"/>
                  </a:lnTo>
                  <a:lnTo>
                    <a:pt x="680" y="142"/>
                  </a:lnTo>
                  <a:lnTo>
                    <a:pt x="676" y="138"/>
                  </a:lnTo>
                  <a:lnTo>
                    <a:pt x="676" y="134"/>
                  </a:lnTo>
                  <a:lnTo>
                    <a:pt x="676" y="130"/>
                  </a:lnTo>
                  <a:lnTo>
                    <a:pt x="678" y="130"/>
                  </a:lnTo>
                  <a:lnTo>
                    <a:pt x="678" y="128"/>
                  </a:lnTo>
                  <a:lnTo>
                    <a:pt x="680" y="128"/>
                  </a:lnTo>
                  <a:lnTo>
                    <a:pt x="682" y="126"/>
                  </a:lnTo>
                  <a:lnTo>
                    <a:pt x="684" y="124"/>
                  </a:lnTo>
                  <a:lnTo>
                    <a:pt x="680" y="124"/>
                  </a:lnTo>
                  <a:lnTo>
                    <a:pt x="678" y="124"/>
                  </a:lnTo>
                  <a:lnTo>
                    <a:pt x="680" y="120"/>
                  </a:lnTo>
                  <a:lnTo>
                    <a:pt x="684" y="114"/>
                  </a:lnTo>
                  <a:lnTo>
                    <a:pt x="684" y="112"/>
                  </a:lnTo>
                  <a:lnTo>
                    <a:pt x="684" y="110"/>
                  </a:lnTo>
                  <a:lnTo>
                    <a:pt x="684" y="108"/>
                  </a:lnTo>
                  <a:lnTo>
                    <a:pt x="680" y="110"/>
                  </a:lnTo>
                  <a:lnTo>
                    <a:pt x="678" y="112"/>
                  </a:lnTo>
                  <a:lnTo>
                    <a:pt x="676" y="110"/>
                  </a:lnTo>
                  <a:lnTo>
                    <a:pt x="672" y="110"/>
                  </a:lnTo>
                  <a:lnTo>
                    <a:pt x="670" y="98"/>
                  </a:lnTo>
                  <a:lnTo>
                    <a:pt x="654" y="98"/>
                  </a:lnTo>
                  <a:lnTo>
                    <a:pt x="640" y="96"/>
                  </a:lnTo>
                  <a:lnTo>
                    <a:pt x="644" y="108"/>
                  </a:lnTo>
                  <a:lnTo>
                    <a:pt x="648" y="118"/>
                  </a:lnTo>
                  <a:lnTo>
                    <a:pt x="646" y="120"/>
                  </a:lnTo>
                  <a:lnTo>
                    <a:pt x="646" y="122"/>
                  </a:lnTo>
                  <a:lnTo>
                    <a:pt x="640" y="122"/>
                  </a:lnTo>
                  <a:lnTo>
                    <a:pt x="638" y="136"/>
                  </a:lnTo>
                  <a:lnTo>
                    <a:pt x="634" y="136"/>
                  </a:lnTo>
                  <a:lnTo>
                    <a:pt x="628" y="148"/>
                  </a:lnTo>
                  <a:lnTo>
                    <a:pt x="626" y="152"/>
                  </a:lnTo>
                  <a:lnTo>
                    <a:pt x="622" y="158"/>
                  </a:lnTo>
                  <a:lnTo>
                    <a:pt x="624" y="158"/>
                  </a:lnTo>
                  <a:lnTo>
                    <a:pt x="622" y="158"/>
                  </a:lnTo>
                  <a:lnTo>
                    <a:pt x="616" y="158"/>
                  </a:lnTo>
                  <a:lnTo>
                    <a:pt x="614" y="154"/>
                  </a:lnTo>
                  <a:lnTo>
                    <a:pt x="612" y="148"/>
                  </a:lnTo>
                  <a:lnTo>
                    <a:pt x="610" y="146"/>
                  </a:lnTo>
                  <a:lnTo>
                    <a:pt x="606" y="144"/>
                  </a:lnTo>
                  <a:lnTo>
                    <a:pt x="604" y="140"/>
                  </a:lnTo>
                  <a:lnTo>
                    <a:pt x="602" y="136"/>
                  </a:lnTo>
                  <a:lnTo>
                    <a:pt x="604" y="132"/>
                  </a:lnTo>
                  <a:lnTo>
                    <a:pt x="606" y="128"/>
                  </a:lnTo>
                  <a:lnTo>
                    <a:pt x="610" y="118"/>
                  </a:lnTo>
                  <a:lnTo>
                    <a:pt x="612" y="118"/>
                  </a:lnTo>
                  <a:lnTo>
                    <a:pt x="612" y="116"/>
                  </a:lnTo>
                  <a:lnTo>
                    <a:pt x="610" y="116"/>
                  </a:lnTo>
                  <a:lnTo>
                    <a:pt x="608" y="112"/>
                  </a:lnTo>
                  <a:lnTo>
                    <a:pt x="606" y="106"/>
                  </a:lnTo>
                  <a:lnTo>
                    <a:pt x="596" y="110"/>
                  </a:lnTo>
                  <a:lnTo>
                    <a:pt x="594" y="128"/>
                  </a:lnTo>
                  <a:lnTo>
                    <a:pt x="590" y="128"/>
                  </a:lnTo>
                  <a:lnTo>
                    <a:pt x="588" y="130"/>
                  </a:lnTo>
                  <a:lnTo>
                    <a:pt x="588" y="132"/>
                  </a:lnTo>
                  <a:lnTo>
                    <a:pt x="588" y="134"/>
                  </a:lnTo>
                  <a:lnTo>
                    <a:pt x="584" y="134"/>
                  </a:lnTo>
                  <a:lnTo>
                    <a:pt x="584" y="132"/>
                  </a:lnTo>
                  <a:lnTo>
                    <a:pt x="586" y="130"/>
                  </a:lnTo>
                  <a:lnTo>
                    <a:pt x="582" y="124"/>
                  </a:lnTo>
                  <a:lnTo>
                    <a:pt x="582" y="118"/>
                  </a:lnTo>
                  <a:lnTo>
                    <a:pt x="580" y="114"/>
                  </a:lnTo>
                  <a:lnTo>
                    <a:pt x="578" y="110"/>
                  </a:lnTo>
                  <a:lnTo>
                    <a:pt x="576" y="108"/>
                  </a:lnTo>
                  <a:lnTo>
                    <a:pt x="572" y="108"/>
                  </a:lnTo>
                  <a:lnTo>
                    <a:pt x="564" y="106"/>
                  </a:lnTo>
                  <a:lnTo>
                    <a:pt x="560" y="100"/>
                  </a:lnTo>
                  <a:lnTo>
                    <a:pt x="568" y="90"/>
                  </a:lnTo>
                  <a:lnTo>
                    <a:pt x="570" y="90"/>
                  </a:lnTo>
                  <a:lnTo>
                    <a:pt x="568" y="88"/>
                  </a:lnTo>
                  <a:lnTo>
                    <a:pt x="564" y="88"/>
                  </a:lnTo>
                  <a:lnTo>
                    <a:pt x="562" y="90"/>
                  </a:lnTo>
                  <a:lnTo>
                    <a:pt x="560" y="90"/>
                  </a:lnTo>
                  <a:lnTo>
                    <a:pt x="562" y="86"/>
                  </a:lnTo>
                  <a:lnTo>
                    <a:pt x="562" y="82"/>
                  </a:lnTo>
                  <a:lnTo>
                    <a:pt x="574" y="86"/>
                  </a:lnTo>
                  <a:lnTo>
                    <a:pt x="574" y="82"/>
                  </a:lnTo>
                  <a:lnTo>
                    <a:pt x="574" y="80"/>
                  </a:lnTo>
                  <a:lnTo>
                    <a:pt x="572" y="80"/>
                  </a:lnTo>
                  <a:lnTo>
                    <a:pt x="570" y="80"/>
                  </a:lnTo>
                  <a:lnTo>
                    <a:pt x="570" y="76"/>
                  </a:lnTo>
                  <a:lnTo>
                    <a:pt x="562" y="76"/>
                  </a:lnTo>
                  <a:lnTo>
                    <a:pt x="558" y="68"/>
                  </a:lnTo>
                  <a:lnTo>
                    <a:pt x="552" y="66"/>
                  </a:lnTo>
                  <a:lnTo>
                    <a:pt x="546" y="64"/>
                  </a:lnTo>
                  <a:lnTo>
                    <a:pt x="546" y="62"/>
                  </a:lnTo>
                  <a:lnTo>
                    <a:pt x="536" y="58"/>
                  </a:lnTo>
                  <a:lnTo>
                    <a:pt x="536" y="54"/>
                  </a:lnTo>
                  <a:lnTo>
                    <a:pt x="534" y="56"/>
                  </a:lnTo>
                  <a:lnTo>
                    <a:pt x="536" y="46"/>
                  </a:lnTo>
                  <a:lnTo>
                    <a:pt x="540" y="46"/>
                  </a:lnTo>
                  <a:lnTo>
                    <a:pt x="540" y="42"/>
                  </a:lnTo>
                  <a:lnTo>
                    <a:pt x="540" y="40"/>
                  </a:lnTo>
                  <a:lnTo>
                    <a:pt x="538" y="40"/>
                  </a:lnTo>
                  <a:lnTo>
                    <a:pt x="536" y="36"/>
                  </a:lnTo>
                  <a:lnTo>
                    <a:pt x="540" y="34"/>
                  </a:lnTo>
                  <a:lnTo>
                    <a:pt x="552" y="32"/>
                  </a:lnTo>
                  <a:lnTo>
                    <a:pt x="560" y="30"/>
                  </a:lnTo>
                  <a:lnTo>
                    <a:pt x="566" y="30"/>
                  </a:lnTo>
                  <a:lnTo>
                    <a:pt x="572" y="28"/>
                  </a:lnTo>
                  <a:lnTo>
                    <a:pt x="574" y="24"/>
                  </a:lnTo>
                  <a:lnTo>
                    <a:pt x="578" y="18"/>
                  </a:lnTo>
                  <a:lnTo>
                    <a:pt x="582" y="8"/>
                  </a:lnTo>
                  <a:lnTo>
                    <a:pt x="574" y="6"/>
                  </a:lnTo>
                  <a:lnTo>
                    <a:pt x="566" y="6"/>
                  </a:lnTo>
                  <a:lnTo>
                    <a:pt x="560" y="8"/>
                  </a:lnTo>
                  <a:lnTo>
                    <a:pt x="560" y="4"/>
                  </a:lnTo>
                  <a:lnTo>
                    <a:pt x="552" y="0"/>
                  </a:lnTo>
                  <a:lnTo>
                    <a:pt x="546" y="0"/>
                  </a:lnTo>
                  <a:lnTo>
                    <a:pt x="540" y="0"/>
                  </a:lnTo>
                  <a:lnTo>
                    <a:pt x="538" y="4"/>
                  </a:lnTo>
                  <a:lnTo>
                    <a:pt x="524" y="4"/>
                  </a:lnTo>
                  <a:lnTo>
                    <a:pt x="524" y="8"/>
                  </a:lnTo>
                  <a:lnTo>
                    <a:pt x="520" y="10"/>
                  </a:lnTo>
                  <a:lnTo>
                    <a:pt x="522" y="26"/>
                  </a:lnTo>
                  <a:lnTo>
                    <a:pt x="528" y="34"/>
                  </a:lnTo>
                  <a:lnTo>
                    <a:pt x="526" y="34"/>
                  </a:lnTo>
                  <a:lnTo>
                    <a:pt x="524" y="36"/>
                  </a:lnTo>
                  <a:lnTo>
                    <a:pt x="530" y="40"/>
                  </a:lnTo>
                  <a:lnTo>
                    <a:pt x="530" y="50"/>
                  </a:lnTo>
                  <a:lnTo>
                    <a:pt x="528" y="52"/>
                  </a:lnTo>
                  <a:lnTo>
                    <a:pt x="526" y="54"/>
                  </a:lnTo>
                  <a:lnTo>
                    <a:pt x="522" y="56"/>
                  </a:lnTo>
                  <a:lnTo>
                    <a:pt x="522" y="58"/>
                  </a:lnTo>
                  <a:lnTo>
                    <a:pt x="522" y="62"/>
                  </a:lnTo>
                  <a:lnTo>
                    <a:pt x="526" y="62"/>
                  </a:lnTo>
                  <a:lnTo>
                    <a:pt x="526" y="64"/>
                  </a:lnTo>
                  <a:lnTo>
                    <a:pt x="522" y="64"/>
                  </a:lnTo>
                  <a:lnTo>
                    <a:pt x="520" y="62"/>
                  </a:lnTo>
                  <a:lnTo>
                    <a:pt x="516" y="72"/>
                  </a:lnTo>
                  <a:lnTo>
                    <a:pt x="514" y="78"/>
                  </a:lnTo>
                  <a:lnTo>
                    <a:pt x="518" y="82"/>
                  </a:lnTo>
                  <a:lnTo>
                    <a:pt x="512" y="82"/>
                  </a:lnTo>
                  <a:lnTo>
                    <a:pt x="512" y="84"/>
                  </a:lnTo>
                  <a:lnTo>
                    <a:pt x="510" y="86"/>
                  </a:lnTo>
                  <a:lnTo>
                    <a:pt x="520" y="94"/>
                  </a:lnTo>
                  <a:lnTo>
                    <a:pt x="518" y="96"/>
                  </a:lnTo>
                  <a:lnTo>
                    <a:pt x="516" y="98"/>
                  </a:lnTo>
                  <a:lnTo>
                    <a:pt x="518" y="100"/>
                  </a:lnTo>
                  <a:lnTo>
                    <a:pt x="522" y="100"/>
                  </a:lnTo>
                  <a:lnTo>
                    <a:pt x="522" y="102"/>
                  </a:lnTo>
                  <a:lnTo>
                    <a:pt x="524" y="102"/>
                  </a:lnTo>
                  <a:lnTo>
                    <a:pt x="524" y="98"/>
                  </a:lnTo>
                  <a:lnTo>
                    <a:pt x="524" y="94"/>
                  </a:lnTo>
                  <a:lnTo>
                    <a:pt x="528" y="94"/>
                  </a:lnTo>
                  <a:lnTo>
                    <a:pt x="530" y="94"/>
                  </a:lnTo>
                  <a:lnTo>
                    <a:pt x="536" y="102"/>
                  </a:lnTo>
                  <a:lnTo>
                    <a:pt x="540" y="104"/>
                  </a:lnTo>
                  <a:lnTo>
                    <a:pt x="546" y="102"/>
                  </a:lnTo>
                  <a:lnTo>
                    <a:pt x="554" y="98"/>
                  </a:lnTo>
                  <a:lnTo>
                    <a:pt x="554" y="102"/>
                  </a:lnTo>
                  <a:lnTo>
                    <a:pt x="548" y="102"/>
                  </a:lnTo>
                  <a:lnTo>
                    <a:pt x="546" y="108"/>
                  </a:lnTo>
                  <a:lnTo>
                    <a:pt x="548" y="112"/>
                  </a:lnTo>
                  <a:lnTo>
                    <a:pt x="542" y="110"/>
                  </a:lnTo>
                  <a:lnTo>
                    <a:pt x="536" y="110"/>
                  </a:lnTo>
                  <a:lnTo>
                    <a:pt x="534" y="124"/>
                  </a:lnTo>
                  <a:lnTo>
                    <a:pt x="540" y="122"/>
                  </a:lnTo>
                  <a:lnTo>
                    <a:pt x="544" y="122"/>
                  </a:lnTo>
                  <a:lnTo>
                    <a:pt x="544" y="124"/>
                  </a:lnTo>
                  <a:lnTo>
                    <a:pt x="544" y="126"/>
                  </a:lnTo>
                  <a:lnTo>
                    <a:pt x="546" y="128"/>
                  </a:lnTo>
                  <a:lnTo>
                    <a:pt x="540" y="128"/>
                  </a:lnTo>
                  <a:lnTo>
                    <a:pt x="536" y="130"/>
                  </a:lnTo>
                  <a:lnTo>
                    <a:pt x="528" y="136"/>
                  </a:lnTo>
                  <a:lnTo>
                    <a:pt x="522" y="144"/>
                  </a:lnTo>
                  <a:lnTo>
                    <a:pt x="520" y="148"/>
                  </a:lnTo>
                  <a:lnTo>
                    <a:pt x="518" y="152"/>
                  </a:lnTo>
                  <a:lnTo>
                    <a:pt x="520" y="156"/>
                  </a:lnTo>
                  <a:lnTo>
                    <a:pt x="524" y="158"/>
                  </a:lnTo>
                  <a:lnTo>
                    <a:pt x="524" y="160"/>
                  </a:lnTo>
                  <a:lnTo>
                    <a:pt x="522" y="162"/>
                  </a:lnTo>
                  <a:lnTo>
                    <a:pt x="514" y="158"/>
                  </a:lnTo>
                  <a:lnTo>
                    <a:pt x="510" y="152"/>
                  </a:lnTo>
                  <a:lnTo>
                    <a:pt x="508" y="148"/>
                  </a:lnTo>
                  <a:lnTo>
                    <a:pt x="506" y="132"/>
                  </a:lnTo>
                  <a:lnTo>
                    <a:pt x="504" y="134"/>
                  </a:lnTo>
                  <a:lnTo>
                    <a:pt x="504" y="136"/>
                  </a:lnTo>
                  <a:lnTo>
                    <a:pt x="502" y="136"/>
                  </a:lnTo>
                  <a:lnTo>
                    <a:pt x="492" y="126"/>
                  </a:lnTo>
                  <a:lnTo>
                    <a:pt x="488" y="132"/>
                  </a:lnTo>
                  <a:lnTo>
                    <a:pt x="488" y="138"/>
                  </a:lnTo>
                  <a:lnTo>
                    <a:pt x="490" y="142"/>
                  </a:lnTo>
                  <a:lnTo>
                    <a:pt x="480" y="144"/>
                  </a:lnTo>
                  <a:lnTo>
                    <a:pt x="474" y="144"/>
                  </a:lnTo>
                  <a:lnTo>
                    <a:pt x="468" y="144"/>
                  </a:lnTo>
                  <a:lnTo>
                    <a:pt x="466" y="140"/>
                  </a:lnTo>
                  <a:lnTo>
                    <a:pt x="462" y="140"/>
                  </a:lnTo>
                  <a:lnTo>
                    <a:pt x="458" y="142"/>
                  </a:lnTo>
                  <a:lnTo>
                    <a:pt x="456" y="146"/>
                  </a:lnTo>
                  <a:lnTo>
                    <a:pt x="452" y="146"/>
                  </a:lnTo>
                  <a:lnTo>
                    <a:pt x="450" y="144"/>
                  </a:lnTo>
                  <a:lnTo>
                    <a:pt x="444" y="142"/>
                  </a:lnTo>
                  <a:lnTo>
                    <a:pt x="442" y="142"/>
                  </a:lnTo>
                  <a:lnTo>
                    <a:pt x="438" y="142"/>
                  </a:lnTo>
                  <a:lnTo>
                    <a:pt x="434" y="138"/>
                  </a:lnTo>
                  <a:lnTo>
                    <a:pt x="430" y="134"/>
                  </a:lnTo>
                  <a:lnTo>
                    <a:pt x="428" y="136"/>
                  </a:lnTo>
                  <a:lnTo>
                    <a:pt x="424" y="138"/>
                  </a:lnTo>
                  <a:lnTo>
                    <a:pt x="424" y="136"/>
                  </a:lnTo>
                  <a:lnTo>
                    <a:pt x="424" y="138"/>
                  </a:lnTo>
                  <a:lnTo>
                    <a:pt x="420" y="138"/>
                  </a:lnTo>
                  <a:lnTo>
                    <a:pt x="420" y="136"/>
                  </a:lnTo>
                  <a:lnTo>
                    <a:pt x="422" y="134"/>
                  </a:lnTo>
                  <a:lnTo>
                    <a:pt x="422" y="132"/>
                  </a:lnTo>
                  <a:lnTo>
                    <a:pt x="416" y="130"/>
                  </a:lnTo>
                  <a:lnTo>
                    <a:pt x="414" y="132"/>
                  </a:lnTo>
                  <a:lnTo>
                    <a:pt x="412" y="134"/>
                  </a:lnTo>
                  <a:lnTo>
                    <a:pt x="406" y="118"/>
                  </a:lnTo>
                  <a:lnTo>
                    <a:pt x="374" y="120"/>
                  </a:lnTo>
                  <a:lnTo>
                    <a:pt x="370" y="136"/>
                  </a:lnTo>
                  <a:lnTo>
                    <a:pt x="374" y="134"/>
                  </a:lnTo>
                  <a:lnTo>
                    <a:pt x="374" y="136"/>
                  </a:lnTo>
                  <a:lnTo>
                    <a:pt x="378" y="136"/>
                  </a:lnTo>
                  <a:lnTo>
                    <a:pt x="376" y="130"/>
                  </a:lnTo>
                  <a:lnTo>
                    <a:pt x="378" y="130"/>
                  </a:lnTo>
                  <a:lnTo>
                    <a:pt x="380" y="132"/>
                  </a:lnTo>
                  <a:lnTo>
                    <a:pt x="384" y="132"/>
                  </a:lnTo>
                  <a:lnTo>
                    <a:pt x="386" y="128"/>
                  </a:lnTo>
                  <a:lnTo>
                    <a:pt x="390" y="128"/>
                  </a:lnTo>
                  <a:lnTo>
                    <a:pt x="396" y="130"/>
                  </a:lnTo>
                  <a:lnTo>
                    <a:pt x="372" y="144"/>
                  </a:lnTo>
                  <a:lnTo>
                    <a:pt x="376" y="152"/>
                  </a:lnTo>
                  <a:lnTo>
                    <a:pt x="376" y="154"/>
                  </a:lnTo>
                  <a:lnTo>
                    <a:pt x="374" y="156"/>
                  </a:lnTo>
                  <a:lnTo>
                    <a:pt x="374" y="158"/>
                  </a:lnTo>
                  <a:lnTo>
                    <a:pt x="376" y="158"/>
                  </a:lnTo>
                  <a:lnTo>
                    <a:pt x="378" y="160"/>
                  </a:lnTo>
                  <a:lnTo>
                    <a:pt x="380" y="160"/>
                  </a:lnTo>
                  <a:lnTo>
                    <a:pt x="380" y="162"/>
                  </a:lnTo>
                  <a:lnTo>
                    <a:pt x="378" y="162"/>
                  </a:lnTo>
                  <a:lnTo>
                    <a:pt x="376" y="162"/>
                  </a:lnTo>
                  <a:lnTo>
                    <a:pt x="374" y="168"/>
                  </a:lnTo>
                  <a:lnTo>
                    <a:pt x="370" y="164"/>
                  </a:lnTo>
                  <a:lnTo>
                    <a:pt x="368" y="154"/>
                  </a:lnTo>
                  <a:lnTo>
                    <a:pt x="366" y="150"/>
                  </a:lnTo>
                  <a:lnTo>
                    <a:pt x="366" y="152"/>
                  </a:lnTo>
                  <a:lnTo>
                    <a:pt x="364" y="158"/>
                  </a:lnTo>
                  <a:lnTo>
                    <a:pt x="360" y="144"/>
                  </a:lnTo>
                  <a:lnTo>
                    <a:pt x="354" y="144"/>
                  </a:lnTo>
                  <a:lnTo>
                    <a:pt x="352" y="140"/>
                  </a:lnTo>
                  <a:lnTo>
                    <a:pt x="350" y="136"/>
                  </a:lnTo>
                  <a:lnTo>
                    <a:pt x="342" y="144"/>
                  </a:lnTo>
                  <a:lnTo>
                    <a:pt x="340" y="144"/>
                  </a:lnTo>
                  <a:lnTo>
                    <a:pt x="340" y="142"/>
                  </a:lnTo>
                  <a:lnTo>
                    <a:pt x="332" y="142"/>
                  </a:lnTo>
                  <a:lnTo>
                    <a:pt x="324" y="144"/>
                  </a:lnTo>
                  <a:lnTo>
                    <a:pt x="314" y="148"/>
                  </a:lnTo>
                  <a:lnTo>
                    <a:pt x="304" y="146"/>
                  </a:lnTo>
                  <a:lnTo>
                    <a:pt x="302" y="144"/>
                  </a:lnTo>
                  <a:lnTo>
                    <a:pt x="302" y="140"/>
                  </a:lnTo>
                  <a:lnTo>
                    <a:pt x="302" y="138"/>
                  </a:lnTo>
                  <a:lnTo>
                    <a:pt x="304" y="136"/>
                  </a:lnTo>
                  <a:lnTo>
                    <a:pt x="304" y="134"/>
                  </a:lnTo>
                  <a:lnTo>
                    <a:pt x="302" y="132"/>
                  </a:lnTo>
                  <a:lnTo>
                    <a:pt x="314" y="132"/>
                  </a:lnTo>
                  <a:lnTo>
                    <a:pt x="306" y="124"/>
                  </a:lnTo>
                  <a:lnTo>
                    <a:pt x="300" y="118"/>
                  </a:lnTo>
                  <a:lnTo>
                    <a:pt x="294" y="118"/>
                  </a:lnTo>
                  <a:lnTo>
                    <a:pt x="292" y="120"/>
                  </a:lnTo>
                  <a:lnTo>
                    <a:pt x="290" y="124"/>
                  </a:lnTo>
                  <a:lnTo>
                    <a:pt x="284" y="124"/>
                  </a:lnTo>
                  <a:lnTo>
                    <a:pt x="274" y="118"/>
                  </a:lnTo>
                  <a:lnTo>
                    <a:pt x="268" y="118"/>
                  </a:lnTo>
                  <a:lnTo>
                    <a:pt x="262" y="116"/>
                  </a:lnTo>
                  <a:lnTo>
                    <a:pt x="262" y="114"/>
                  </a:lnTo>
                  <a:lnTo>
                    <a:pt x="262" y="112"/>
                  </a:lnTo>
                  <a:lnTo>
                    <a:pt x="258" y="112"/>
                  </a:lnTo>
                  <a:lnTo>
                    <a:pt x="258" y="114"/>
                  </a:lnTo>
                  <a:lnTo>
                    <a:pt x="256" y="114"/>
                  </a:lnTo>
                  <a:lnTo>
                    <a:pt x="252" y="110"/>
                  </a:lnTo>
                  <a:lnTo>
                    <a:pt x="236" y="102"/>
                  </a:lnTo>
                  <a:lnTo>
                    <a:pt x="226" y="100"/>
                  </a:lnTo>
                  <a:lnTo>
                    <a:pt x="220" y="98"/>
                  </a:lnTo>
                  <a:lnTo>
                    <a:pt x="216" y="100"/>
                  </a:lnTo>
                  <a:lnTo>
                    <a:pt x="216" y="102"/>
                  </a:lnTo>
                  <a:lnTo>
                    <a:pt x="206" y="108"/>
                  </a:lnTo>
                  <a:lnTo>
                    <a:pt x="202" y="90"/>
                  </a:lnTo>
                  <a:lnTo>
                    <a:pt x="200" y="92"/>
                  </a:lnTo>
                  <a:lnTo>
                    <a:pt x="198" y="94"/>
                  </a:lnTo>
                  <a:lnTo>
                    <a:pt x="200" y="96"/>
                  </a:lnTo>
                  <a:lnTo>
                    <a:pt x="198" y="100"/>
                  </a:lnTo>
                  <a:lnTo>
                    <a:pt x="196" y="110"/>
                  </a:lnTo>
                  <a:lnTo>
                    <a:pt x="194" y="110"/>
                  </a:lnTo>
                  <a:lnTo>
                    <a:pt x="182" y="102"/>
                  </a:lnTo>
                  <a:lnTo>
                    <a:pt x="174" y="92"/>
                  </a:lnTo>
                  <a:lnTo>
                    <a:pt x="174" y="90"/>
                  </a:lnTo>
                  <a:lnTo>
                    <a:pt x="170" y="90"/>
                  </a:lnTo>
                  <a:lnTo>
                    <a:pt x="170" y="88"/>
                  </a:lnTo>
                  <a:lnTo>
                    <a:pt x="160" y="80"/>
                  </a:lnTo>
                  <a:lnTo>
                    <a:pt x="152" y="72"/>
                  </a:lnTo>
                  <a:lnTo>
                    <a:pt x="150" y="80"/>
                  </a:lnTo>
                  <a:lnTo>
                    <a:pt x="152" y="80"/>
                  </a:lnTo>
                  <a:lnTo>
                    <a:pt x="152" y="82"/>
                  </a:lnTo>
                  <a:lnTo>
                    <a:pt x="150" y="84"/>
                  </a:lnTo>
                  <a:lnTo>
                    <a:pt x="144" y="96"/>
                  </a:lnTo>
                  <a:lnTo>
                    <a:pt x="142" y="96"/>
                  </a:lnTo>
                  <a:lnTo>
                    <a:pt x="138" y="94"/>
                  </a:lnTo>
                  <a:lnTo>
                    <a:pt x="132" y="96"/>
                  </a:lnTo>
                  <a:lnTo>
                    <a:pt x="130" y="100"/>
                  </a:lnTo>
                  <a:lnTo>
                    <a:pt x="126" y="110"/>
                  </a:lnTo>
                  <a:lnTo>
                    <a:pt x="124" y="108"/>
                  </a:lnTo>
                  <a:lnTo>
                    <a:pt x="124" y="106"/>
                  </a:lnTo>
                  <a:lnTo>
                    <a:pt x="118" y="110"/>
                  </a:lnTo>
                  <a:lnTo>
                    <a:pt x="118" y="106"/>
                  </a:lnTo>
                  <a:lnTo>
                    <a:pt x="112" y="110"/>
                  </a:lnTo>
                  <a:lnTo>
                    <a:pt x="108" y="112"/>
                  </a:lnTo>
                  <a:lnTo>
                    <a:pt x="104" y="122"/>
                  </a:lnTo>
                  <a:lnTo>
                    <a:pt x="100" y="124"/>
                  </a:lnTo>
                  <a:lnTo>
                    <a:pt x="98" y="124"/>
                  </a:lnTo>
                  <a:lnTo>
                    <a:pt x="96" y="122"/>
                  </a:lnTo>
                  <a:lnTo>
                    <a:pt x="98" y="122"/>
                  </a:lnTo>
                  <a:lnTo>
                    <a:pt x="96" y="122"/>
                  </a:lnTo>
                  <a:lnTo>
                    <a:pt x="108" y="102"/>
                  </a:lnTo>
                  <a:lnTo>
                    <a:pt x="112" y="100"/>
                  </a:lnTo>
                  <a:lnTo>
                    <a:pt x="116" y="98"/>
                  </a:lnTo>
                  <a:lnTo>
                    <a:pt x="122" y="98"/>
                  </a:lnTo>
                  <a:lnTo>
                    <a:pt x="126" y="96"/>
                  </a:lnTo>
                  <a:lnTo>
                    <a:pt x="134" y="90"/>
                  </a:lnTo>
                  <a:lnTo>
                    <a:pt x="136" y="88"/>
                  </a:lnTo>
                  <a:lnTo>
                    <a:pt x="130" y="86"/>
                  </a:lnTo>
                  <a:lnTo>
                    <a:pt x="122" y="86"/>
                  </a:lnTo>
                  <a:lnTo>
                    <a:pt x="118" y="96"/>
                  </a:lnTo>
                  <a:lnTo>
                    <a:pt x="112" y="92"/>
                  </a:lnTo>
                  <a:lnTo>
                    <a:pt x="98" y="98"/>
                  </a:lnTo>
                  <a:lnTo>
                    <a:pt x="96" y="102"/>
                  </a:lnTo>
                  <a:lnTo>
                    <a:pt x="96" y="104"/>
                  </a:lnTo>
                  <a:lnTo>
                    <a:pt x="88" y="106"/>
                  </a:lnTo>
                  <a:lnTo>
                    <a:pt x="88" y="102"/>
                  </a:lnTo>
                  <a:lnTo>
                    <a:pt x="84" y="100"/>
                  </a:lnTo>
                  <a:lnTo>
                    <a:pt x="82" y="98"/>
                  </a:lnTo>
                  <a:lnTo>
                    <a:pt x="80" y="104"/>
                  </a:lnTo>
                  <a:lnTo>
                    <a:pt x="80" y="108"/>
                  </a:lnTo>
                  <a:lnTo>
                    <a:pt x="78" y="108"/>
                  </a:lnTo>
                  <a:lnTo>
                    <a:pt x="78" y="106"/>
                  </a:lnTo>
                  <a:lnTo>
                    <a:pt x="74" y="106"/>
                  </a:lnTo>
                  <a:lnTo>
                    <a:pt x="74" y="108"/>
                  </a:lnTo>
                  <a:lnTo>
                    <a:pt x="74" y="110"/>
                  </a:lnTo>
                  <a:lnTo>
                    <a:pt x="74" y="112"/>
                  </a:lnTo>
                  <a:lnTo>
                    <a:pt x="70" y="112"/>
                  </a:lnTo>
                  <a:lnTo>
                    <a:pt x="64" y="110"/>
                  </a:lnTo>
                  <a:lnTo>
                    <a:pt x="64" y="112"/>
                  </a:lnTo>
                  <a:lnTo>
                    <a:pt x="66" y="114"/>
                  </a:lnTo>
                  <a:lnTo>
                    <a:pt x="66" y="116"/>
                  </a:lnTo>
                  <a:lnTo>
                    <a:pt x="70" y="116"/>
                  </a:lnTo>
                  <a:lnTo>
                    <a:pt x="70" y="118"/>
                  </a:lnTo>
                  <a:lnTo>
                    <a:pt x="70" y="120"/>
                  </a:lnTo>
                  <a:lnTo>
                    <a:pt x="68" y="120"/>
                  </a:lnTo>
                  <a:lnTo>
                    <a:pt x="66" y="120"/>
                  </a:lnTo>
                  <a:lnTo>
                    <a:pt x="64" y="116"/>
                  </a:lnTo>
                  <a:lnTo>
                    <a:pt x="60" y="114"/>
                  </a:lnTo>
                  <a:lnTo>
                    <a:pt x="56" y="114"/>
                  </a:lnTo>
                  <a:lnTo>
                    <a:pt x="54" y="110"/>
                  </a:lnTo>
                  <a:lnTo>
                    <a:pt x="40" y="106"/>
                  </a:lnTo>
                  <a:lnTo>
                    <a:pt x="34" y="102"/>
                  </a:lnTo>
                  <a:lnTo>
                    <a:pt x="30" y="100"/>
                  </a:lnTo>
                  <a:lnTo>
                    <a:pt x="28" y="96"/>
                  </a:lnTo>
                  <a:lnTo>
                    <a:pt x="22" y="96"/>
                  </a:lnTo>
                  <a:lnTo>
                    <a:pt x="20" y="96"/>
                  </a:lnTo>
                  <a:lnTo>
                    <a:pt x="16" y="98"/>
                  </a:lnTo>
                  <a:lnTo>
                    <a:pt x="12" y="98"/>
                  </a:lnTo>
                  <a:lnTo>
                    <a:pt x="6" y="96"/>
                  </a:lnTo>
                  <a:lnTo>
                    <a:pt x="0" y="94"/>
                  </a:lnTo>
                  <a:lnTo>
                    <a:pt x="6" y="278"/>
                  </a:lnTo>
                  <a:lnTo>
                    <a:pt x="10" y="276"/>
                  </a:lnTo>
                  <a:lnTo>
                    <a:pt x="12" y="276"/>
                  </a:lnTo>
                  <a:lnTo>
                    <a:pt x="16" y="276"/>
                  </a:lnTo>
                  <a:lnTo>
                    <a:pt x="20" y="278"/>
                  </a:lnTo>
                  <a:lnTo>
                    <a:pt x="22" y="280"/>
                  </a:lnTo>
                  <a:lnTo>
                    <a:pt x="24" y="278"/>
                  </a:lnTo>
                  <a:lnTo>
                    <a:pt x="28" y="276"/>
                  </a:lnTo>
                  <a:lnTo>
                    <a:pt x="28" y="282"/>
                  </a:lnTo>
                  <a:lnTo>
                    <a:pt x="32" y="290"/>
                  </a:lnTo>
                  <a:lnTo>
                    <a:pt x="36" y="294"/>
                  </a:lnTo>
                  <a:lnTo>
                    <a:pt x="40" y="296"/>
                  </a:lnTo>
                  <a:lnTo>
                    <a:pt x="44" y="300"/>
                  </a:lnTo>
                  <a:lnTo>
                    <a:pt x="46" y="302"/>
                  </a:lnTo>
                  <a:lnTo>
                    <a:pt x="48" y="306"/>
                  </a:lnTo>
                  <a:lnTo>
                    <a:pt x="48" y="308"/>
                  </a:lnTo>
                  <a:lnTo>
                    <a:pt x="52" y="306"/>
                  </a:lnTo>
                  <a:lnTo>
                    <a:pt x="58" y="304"/>
                  </a:lnTo>
                  <a:lnTo>
                    <a:pt x="60" y="302"/>
                  </a:lnTo>
                  <a:lnTo>
                    <a:pt x="62" y="300"/>
                  </a:lnTo>
                  <a:lnTo>
                    <a:pt x="62" y="298"/>
                  </a:lnTo>
                  <a:lnTo>
                    <a:pt x="62" y="296"/>
                  </a:lnTo>
                  <a:lnTo>
                    <a:pt x="62" y="294"/>
                  </a:lnTo>
                  <a:lnTo>
                    <a:pt x="68" y="292"/>
                  </a:lnTo>
                  <a:lnTo>
                    <a:pt x="70" y="292"/>
                  </a:lnTo>
                  <a:lnTo>
                    <a:pt x="72" y="294"/>
                  </a:lnTo>
                  <a:lnTo>
                    <a:pt x="76" y="296"/>
                  </a:lnTo>
                  <a:lnTo>
                    <a:pt x="78" y="296"/>
                  </a:lnTo>
                  <a:lnTo>
                    <a:pt x="80" y="298"/>
                  </a:lnTo>
                  <a:lnTo>
                    <a:pt x="82" y="300"/>
                  </a:lnTo>
                  <a:lnTo>
                    <a:pt x="82" y="304"/>
                  </a:lnTo>
                  <a:lnTo>
                    <a:pt x="84" y="306"/>
                  </a:lnTo>
                  <a:lnTo>
                    <a:pt x="86" y="306"/>
                  </a:lnTo>
                  <a:lnTo>
                    <a:pt x="90" y="308"/>
                  </a:lnTo>
                  <a:lnTo>
                    <a:pt x="92" y="310"/>
                  </a:lnTo>
                  <a:lnTo>
                    <a:pt x="96" y="316"/>
                  </a:lnTo>
                  <a:lnTo>
                    <a:pt x="112" y="332"/>
                  </a:lnTo>
                  <a:lnTo>
                    <a:pt x="114" y="338"/>
                  </a:lnTo>
                  <a:lnTo>
                    <a:pt x="116" y="342"/>
                  </a:lnTo>
                  <a:lnTo>
                    <a:pt x="118" y="344"/>
                  </a:lnTo>
                  <a:lnTo>
                    <a:pt x="122" y="346"/>
                  </a:lnTo>
                  <a:lnTo>
                    <a:pt x="122" y="350"/>
                  </a:lnTo>
                  <a:lnTo>
                    <a:pt x="122" y="354"/>
                  </a:lnTo>
                  <a:lnTo>
                    <a:pt x="126" y="356"/>
                  </a:lnTo>
                  <a:lnTo>
                    <a:pt x="134" y="360"/>
                  </a:lnTo>
                  <a:lnTo>
                    <a:pt x="138" y="362"/>
                  </a:lnTo>
                  <a:lnTo>
                    <a:pt x="138" y="364"/>
                  </a:lnTo>
                  <a:lnTo>
                    <a:pt x="140" y="366"/>
                  </a:lnTo>
                  <a:lnTo>
                    <a:pt x="140" y="368"/>
                  </a:lnTo>
                  <a:lnTo>
                    <a:pt x="142" y="368"/>
                  </a:lnTo>
                  <a:lnTo>
                    <a:pt x="142" y="366"/>
                  </a:lnTo>
                  <a:lnTo>
                    <a:pt x="144" y="366"/>
                  </a:lnTo>
                  <a:lnTo>
                    <a:pt x="146" y="368"/>
                  </a:lnTo>
                  <a:lnTo>
                    <a:pt x="146" y="372"/>
                  </a:lnTo>
                  <a:lnTo>
                    <a:pt x="146" y="374"/>
                  </a:lnTo>
                  <a:lnTo>
                    <a:pt x="148" y="374"/>
                  </a:lnTo>
                  <a:lnTo>
                    <a:pt x="146" y="376"/>
                  </a:lnTo>
                  <a:lnTo>
                    <a:pt x="146" y="378"/>
                  </a:lnTo>
                  <a:lnTo>
                    <a:pt x="146" y="380"/>
                  </a:lnTo>
                  <a:lnTo>
                    <a:pt x="146" y="382"/>
                  </a:lnTo>
                  <a:lnTo>
                    <a:pt x="146" y="384"/>
                  </a:lnTo>
                  <a:lnTo>
                    <a:pt x="142" y="388"/>
                  </a:lnTo>
                  <a:lnTo>
                    <a:pt x="142" y="390"/>
                  </a:lnTo>
                  <a:lnTo>
                    <a:pt x="138" y="396"/>
                  </a:lnTo>
                  <a:lnTo>
                    <a:pt x="136" y="396"/>
                  </a:lnTo>
                  <a:lnTo>
                    <a:pt x="136" y="398"/>
                  </a:lnTo>
                  <a:lnTo>
                    <a:pt x="136" y="400"/>
                  </a:lnTo>
                  <a:lnTo>
                    <a:pt x="134" y="400"/>
                  </a:lnTo>
                  <a:lnTo>
                    <a:pt x="134" y="402"/>
                  </a:lnTo>
                  <a:lnTo>
                    <a:pt x="132" y="404"/>
                  </a:lnTo>
                  <a:lnTo>
                    <a:pt x="138" y="406"/>
                  </a:lnTo>
                  <a:lnTo>
                    <a:pt x="138" y="420"/>
                  </a:lnTo>
                  <a:lnTo>
                    <a:pt x="142" y="424"/>
                  </a:lnTo>
                  <a:lnTo>
                    <a:pt x="140" y="426"/>
                  </a:lnTo>
                  <a:lnTo>
                    <a:pt x="144" y="426"/>
                  </a:lnTo>
                  <a:lnTo>
                    <a:pt x="146" y="424"/>
                  </a:lnTo>
                  <a:lnTo>
                    <a:pt x="146" y="422"/>
                  </a:lnTo>
                  <a:lnTo>
                    <a:pt x="144" y="422"/>
                  </a:lnTo>
                  <a:lnTo>
                    <a:pt x="144" y="420"/>
                  </a:lnTo>
                  <a:lnTo>
                    <a:pt x="148" y="420"/>
                  </a:lnTo>
                  <a:lnTo>
                    <a:pt x="152" y="418"/>
                  </a:lnTo>
                  <a:lnTo>
                    <a:pt x="150" y="428"/>
                  </a:lnTo>
                  <a:lnTo>
                    <a:pt x="146" y="428"/>
                  </a:lnTo>
                  <a:lnTo>
                    <a:pt x="146" y="430"/>
                  </a:lnTo>
                  <a:lnTo>
                    <a:pt x="148" y="432"/>
                  </a:lnTo>
                  <a:lnTo>
                    <a:pt x="150" y="434"/>
                  </a:lnTo>
                  <a:lnTo>
                    <a:pt x="150" y="438"/>
                  </a:lnTo>
                  <a:lnTo>
                    <a:pt x="152" y="438"/>
                  </a:lnTo>
                  <a:lnTo>
                    <a:pt x="152" y="434"/>
                  </a:lnTo>
                  <a:lnTo>
                    <a:pt x="164" y="442"/>
                  </a:lnTo>
                  <a:lnTo>
                    <a:pt x="164" y="462"/>
                  </a:lnTo>
                  <a:lnTo>
                    <a:pt x="156" y="462"/>
                  </a:lnTo>
                  <a:lnTo>
                    <a:pt x="158" y="470"/>
                  </a:lnTo>
                  <a:lnTo>
                    <a:pt x="160" y="476"/>
                  </a:lnTo>
                  <a:lnTo>
                    <a:pt x="168" y="476"/>
                  </a:lnTo>
                  <a:lnTo>
                    <a:pt x="172" y="474"/>
                  </a:lnTo>
                  <a:lnTo>
                    <a:pt x="178" y="476"/>
                  </a:lnTo>
                  <a:lnTo>
                    <a:pt x="178" y="482"/>
                  </a:lnTo>
                  <a:lnTo>
                    <a:pt x="176" y="484"/>
                  </a:lnTo>
                  <a:lnTo>
                    <a:pt x="180" y="482"/>
                  </a:lnTo>
                  <a:lnTo>
                    <a:pt x="182" y="482"/>
                  </a:lnTo>
                  <a:lnTo>
                    <a:pt x="188" y="486"/>
                  </a:lnTo>
                  <a:lnTo>
                    <a:pt x="194" y="490"/>
                  </a:lnTo>
                  <a:lnTo>
                    <a:pt x="194" y="488"/>
                  </a:lnTo>
                  <a:lnTo>
                    <a:pt x="196" y="492"/>
                  </a:lnTo>
                  <a:lnTo>
                    <a:pt x="196" y="494"/>
                  </a:lnTo>
                  <a:lnTo>
                    <a:pt x="196" y="496"/>
                  </a:lnTo>
                  <a:lnTo>
                    <a:pt x="198" y="498"/>
                  </a:lnTo>
                  <a:lnTo>
                    <a:pt x="204" y="500"/>
                  </a:lnTo>
                  <a:lnTo>
                    <a:pt x="208" y="502"/>
                  </a:lnTo>
                  <a:lnTo>
                    <a:pt x="218" y="500"/>
                  </a:lnTo>
                  <a:lnTo>
                    <a:pt x="220" y="500"/>
                  </a:lnTo>
                  <a:lnTo>
                    <a:pt x="208" y="484"/>
                  </a:lnTo>
                  <a:lnTo>
                    <a:pt x="202" y="482"/>
                  </a:lnTo>
                  <a:lnTo>
                    <a:pt x="194" y="480"/>
                  </a:lnTo>
                  <a:lnTo>
                    <a:pt x="190" y="472"/>
                  </a:lnTo>
                  <a:lnTo>
                    <a:pt x="192" y="470"/>
                  </a:lnTo>
                  <a:lnTo>
                    <a:pt x="180" y="468"/>
                  </a:lnTo>
                  <a:lnTo>
                    <a:pt x="192" y="466"/>
                  </a:lnTo>
                  <a:lnTo>
                    <a:pt x="190" y="466"/>
                  </a:lnTo>
                  <a:lnTo>
                    <a:pt x="192" y="464"/>
                  </a:lnTo>
                  <a:lnTo>
                    <a:pt x="194" y="462"/>
                  </a:lnTo>
                  <a:lnTo>
                    <a:pt x="198" y="470"/>
                  </a:lnTo>
                  <a:lnTo>
                    <a:pt x="206" y="472"/>
                  </a:lnTo>
                  <a:lnTo>
                    <a:pt x="208" y="476"/>
                  </a:lnTo>
                  <a:lnTo>
                    <a:pt x="206" y="478"/>
                  </a:lnTo>
                  <a:lnTo>
                    <a:pt x="206" y="480"/>
                  </a:lnTo>
                  <a:lnTo>
                    <a:pt x="210" y="480"/>
                  </a:lnTo>
                  <a:lnTo>
                    <a:pt x="210" y="478"/>
                  </a:lnTo>
                  <a:lnTo>
                    <a:pt x="214" y="476"/>
                  </a:lnTo>
                  <a:lnTo>
                    <a:pt x="214" y="478"/>
                  </a:lnTo>
                  <a:lnTo>
                    <a:pt x="214" y="480"/>
                  </a:lnTo>
                  <a:lnTo>
                    <a:pt x="212" y="482"/>
                  </a:lnTo>
                  <a:lnTo>
                    <a:pt x="218" y="486"/>
                  </a:lnTo>
                  <a:lnTo>
                    <a:pt x="220" y="488"/>
                  </a:lnTo>
                  <a:lnTo>
                    <a:pt x="222" y="490"/>
                  </a:lnTo>
                  <a:lnTo>
                    <a:pt x="530" y="492"/>
                  </a:lnTo>
                  <a:lnTo>
                    <a:pt x="530" y="488"/>
                  </a:lnTo>
                  <a:lnTo>
                    <a:pt x="530" y="486"/>
                  </a:lnTo>
                  <a:lnTo>
                    <a:pt x="532" y="486"/>
                  </a:lnTo>
                  <a:lnTo>
                    <a:pt x="534" y="488"/>
                  </a:lnTo>
                  <a:lnTo>
                    <a:pt x="536" y="492"/>
                  </a:lnTo>
                  <a:lnTo>
                    <a:pt x="536" y="496"/>
                  </a:lnTo>
                  <a:lnTo>
                    <a:pt x="538" y="498"/>
                  </a:lnTo>
                  <a:lnTo>
                    <a:pt x="542" y="498"/>
                  </a:lnTo>
                  <a:lnTo>
                    <a:pt x="548" y="500"/>
                  </a:lnTo>
                  <a:lnTo>
                    <a:pt x="550" y="500"/>
                  </a:lnTo>
                  <a:lnTo>
                    <a:pt x="552" y="496"/>
                  </a:lnTo>
                  <a:lnTo>
                    <a:pt x="556" y="496"/>
                  </a:lnTo>
                  <a:lnTo>
                    <a:pt x="560" y="500"/>
                  </a:lnTo>
                  <a:lnTo>
                    <a:pt x="564" y="502"/>
                  </a:lnTo>
                  <a:lnTo>
                    <a:pt x="572" y="502"/>
                  </a:lnTo>
                  <a:lnTo>
                    <a:pt x="578" y="502"/>
                  </a:lnTo>
                  <a:lnTo>
                    <a:pt x="582" y="502"/>
                  </a:lnTo>
                  <a:lnTo>
                    <a:pt x="584" y="504"/>
                  </a:lnTo>
                  <a:lnTo>
                    <a:pt x="586" y="506"/>
                  </a:lnTo>
                  <a:lnTo>
                    <a:pt x="590" y="506"/>
                  </a:lnTo>
                  <a:lnTo>
                    <a:pt x="592" y="50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4" name="Freeform 662">
              <a:extLst>
                <a:ext uri="{FF2B5EF4-FFF2-40B4-BE49-F238E27FC236}">
                  <a16:creationId xmlns:a16="http://schemas.microsoft.com/office/drawing/2014/main" id="{35B38361-C8B8-449E-8B98-B175B7F67A29}"/>
                </a:ext>
              </a:extLst>
            </p:cNvPr>
            <p:cNvSpPr>
              <a:spLocks noEditPoints="1"/>
            </p:cNvSpPr>
            <p:nvPr/>
          </p:nvSpPr>
          <p:spPr bwMode="gray">
            <a:xfrm>
              <a:off x="1777720" y="1633222"/>
              <a:ext cx="1332467" cy="866377"/>
            </a:xfrm>
            <a:custGeom>
              <a:avLst/>
              <a:gdLst>
                <a:gd name="T0" fmla="*/ 2147483647 w 720"/>
                <a:gd name="T1" fmla="*/ 2147483647 h 468"/>
                <a:gd name="T2" fmla="*/ 2147483647 w 720"/>
                <a:gd name="T3" fmla="*/ 2147483647 h 468"/>
                <a:gd name="T4" fmla="*/ 2147483647 w 720"/>
                <a:gd name="T5" fmla="*/ 2147483647 h 468"/>
                <a:gd name="T6" fmla="*/ 2147483647 w 720"/>
                <a:gd name="T7" fmla="*/ 2147483647 h 468"/>
                <a:gd name="T8" fmla="*/ 2147483647 w 720"/>
                <a:gd name="T9" fmla="*/ 2147483647 h 468"/>
                <a:gd name="T10" fmla="*/ 2147483647 w 720"/>
                <a:gd name="T11" fmla="*/ 2147483647 h 468"/>
                <a:gd name="T12" fmla="*/ 2147483647 w 720"/>
                <a:gd name="T13" fmla="*/ 2147483647 h 468"/>
                <a:gd name="T14" fmla="*/ 2147483647 w 720"/>
                <a:gd name="T15" fmla="*/ 2147483647 h 468"/>
                <a:gd name="T16" fmla="*/ 2147483647 w 720"/>
                <a:gd name="T17" fmla="*/ 2147483647 h 468"/>
                <a:gd name="T18" fmla="*/ 2147483647 w 720"/>
                <a:gd name="T19" fmla="*/ 2147483647 h 468"/>
                <a:gd name="T20" fmla="*/ 2147483647 w 720"/>
                <a:gd name="T21" fmla="*/ 2147483647 h 468"/>
                <a:gd name="T22" fmla="*/ 2147483647 w 720"/>
                <a:gd name="T23" fmla="*/ 2147483647 h 468"/>
                <a:gd name="T24" fmla="*/ 2147483647 w 720"/>
                <a:gd name="T25" fmla="*/ 2147483647 h 468"/>
                <a:gd name="T26" fmla="*/ 2147483647 w 720"/>
                <a:gd name="T27" fmla="*/ 2147483647 h 468"/>
                <a:gd name="T28" fmla="*/ 2147483647 w 720"/>
                <a:gd name="T29" fmla="*/ 2147483647 h 468"/>
                <a:gd name="T30" fmla="*/ 2147483647 w 720"/>
                <a:gd name="T31" fmla="*/ 2147483647 h 468"/>
                <a:gd name="T32" fmla="*/ 2147483647 w 720"/>
                <a:gd name="T33" fmla="*/ 2147483647 h 468"/>
                <a:gd name="T34" fmla="*/ 2147483647 w 720"/>
                <a:gd name="T35" fmla="*/ 2147483647 h 468"/>
                <a:gd name="T36" fmla="*/ 2147483647 w 720"/>
                <a:gd name="T37" fmla="*/ 2147483647 h 468"/>
                <a:gd name="T38" fmla="*/ 2147483647 w 720"/>
                <a:gd name="T39" fmla="*/ 2147483647 h 468"/>
                <a:gd name="T40" fmla="*/ 2147483647 w 720"/>
                <a:gd name="T41" fmla="*/ 2147483647 h 468"/>
                <a:gd name="T42" fmla="*/ 2147483647 w 720"/>
                <a:gd name="T43" fmla="*/ 2147483647 h 468"/>
                <a:gd name="T44" fmla="*/ 2147483647 w 720"/>
                <a:gd name="T45" fmla="*/ 2147483647 h 468"/>
                <a:gd name="T46" fmla="*/ 2147483647 w 720"/>
                <a:gd name="T47" fmla="*/ 2147483647 h 468"/>
                <a:gd name="T48" fmla="*/ 2147483647 w 720"/>
                <a:gd name="T49" fmla="*/ 2147483647 h 468"/>
                <a:gd name="T50" fmla="*/ 2147483647 w 720"/>
                <a:gd name="T51" fmla="*/ 2147483647 h 468"/>
                <a:gd name="T52" fmla="*/ 2147483647 w 720"/>
                <a:gd name="T53" fmla="*/ 2147483647 h 468"/>
                <a:gd name="T54" fmla="*/ 2147483647 w 720"/>
                <a:gd name="T55" fmla="*/ 2147483647 h 468"/>
                <a:gd name="T56" fmla="*/ 2147483647 w 720"/>
                <a:gd name="T57" fmla="*/ 2147483647 h 468"/>
                <a:gd name="T58" fmla="*/ 2147483647 w 720"/>
                <a:gd name="T59" fmla="*/ 2147483647 h 468"/>
                <a:gd name="T60" fmla="*/ 2147483647 w 720"/>
                <a:gd name="T61" fmla="*/ 2147483647 h 468"/>
                <a:gd name="T62" fmla="*/ 2147483647 w 720"/>
                <a:gd name="T63" fmla="*/ 2147483647 h 468"/>
                <a:gd name="T64" fmla="*/ 2147483647 w 720"/>
                <a:gd name="T65" fmla="*/ 2147483647 h 468"/>
                <a:gd name="T66" fmla="*/ 2147483647 w 720"/>
                <a:gd name="T67" fmla="*/ 2147483647 h 468"/>
                <a:gd name="T68" fmla="*/ 2147483647 w 720"/>
                <a:gd name="T69" fmla="*/ 2147483647 h 468"/>
                <a:gd name="T70" fmla="*/ 2147483647 w 720"/>
                <a:gd name="T71" fmla="*/ 2147483647 h 468"/>
                <a:gd name="T72" fmla="*/ 2147483647 w 720"/>
                <a:gd name="T73" fmla="*/ 2147483647 h 468"/>
                <a:gd name="T74" fmla="*/ 2147483647 w 720"/>
                <a:gd name="T75" fmla="*/ 2147483647 h 468"/>
                <a:gd name="T76" fmla="*/ 2147483647 w 720"/>
                <a:gd name="T77" fmla="*/ 2147483647 h 468"/>
                <a:gd name="T78" fmla="*/ 2147483647 w 720"/>
                <a:gd name="T79" fmla="*/ 2147483647 h 468"/>
                <a:gd name="T80" fmla="*/ 2147483647 w 720"/>
                <a:gd name="T81" fmla="*/ 2147483647 h 468"/>
                <a:gd name="T82" fmla="*/ 2147483647 w 720"/>
                <a:gd name="T83" fmla="*/ 2147483647 h 468"/>
                <a:gd name="T84" fmla="*/ 2147483647 w 720"/>
                <a:gd name="T85" fmla="*/ 2147483647 h 468"/>
                <a:gd name="T86" fmla="*/ 2147483647 w 720"/>
                <a:gd name="T87" fmla="*/ 2147483647 h 468"/>
                <a:gd name="T88" fmla="*/ 2147483647 w 720"/>
                <a:gd name="T89" fmla="*/ 2147483647 h 468"/>
                <a:gd name="T90" fmla="*/ 2147483647 w 720"/>
                <a:gd name="T91" fmla="*/ 2147483647 h 468"/>
                <a:gd name="T92" fmla="*/ 2147483647 w 720"/>
                <a:gd name="T93" fmla="*/ 2147483647 h 468"/>
                <a:gd name="T94" fmla="*/ 2147483647 w 720"/>
                <a:gd name="T95" fmla="*/ 2147483647 h 468"/>
                <a:gd name="T96" fmla="*/ 2147483647 w 720"/>
                <a:gd name="T97" fmla="*/ 2147483647 h 468"/>
                <a:gd name="T98" fmla="*/ 2147483647 w 720"/>
                <a:gd name="T99" fmla="*/ 2147483647 h 468"/>
                <a:gd name="T100" fmla="*/ 2147483647 w 720"/>
                <a:gd name="T101" fmla="*/ 2147483647 h 468"/>
                <a:gd name="T102" fmla="*/ 2147483647 w 720"/>
                <a:gd name="T103" fmla="*/ 2147483647 h 468"/>
                <a:gd name="T104" fmla="*/ 2147483647 w 720"/>
                <a:gd name="T105" fmla="*/ 2147483647 h 468"/>
                <a:gd name="T106" fmla="*/ 2147483647 w 720"/>
                <a:gd name="T107" fmla="*/ 2147483647 h 468"/>
                <a:gd name="T108" fmla="*/ 2147483647 w 720"/>
                <a:gd name="T109" fmla="*/ 2147483647 h 468"/>
                <a:gd name="T110" fmla="*/ 2147483647 w 720"/>
                <a:gd name="T111" fmla="*/ 2147483647 h 468"/>
                <a:gd name="T112" fmla="*/ 2147483647 w 720"/>
                <a:gd name="T113" fmla="*/ 2147483647 h 468"/>
                <a:gd name="T114" fmla="*/ 2147483647 w 720"/>
                <a:gd name="T115" fmla="*/ 2147483647 h 468"/>
                <a:gd name="T116" fmla="*/ 2147483647 w 720"/>
                <a:gd name="T117" fmla="*/ 2147483647 h 468"/>
                <a:gd name="T118" fmla="*/ 2147483647 w 720"/>
                <a:gd name="T119" fmla="*/ 2147483647 h 468"/>
                <a:gd name="T120" fmla="*/ 2147483647 w 720"/>
                <a:gd name="T121" fmla="*/ 2147483647 h 468"/>
                <a:gd name="T122" fmla="*/ 2147483647 w 720"/>
                <a:gd name="T123" fmla="*/ 2147483647 h 468"/>
                <a:gd name="T124" fmla="*/ 2147483647 w 720"/>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20"/>
                <a:gd name="T190" fmla="*/ 0 h 468"/>
                <a:gd name="T191" fmla="*/ 720 w 720"/>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20" h="468">
                  <a:moveTo>
                    <a:pt x="564" y="96"/>
                  </a:moveTo>
                  <a:lnTo>
                    <a:pt x="564" y="96"/>
                  </a:lnTo>
                  <a:lnTo>
                    <a:pt x="564" y="102"/>
                  </a:lnTo>
                  <a:lnTo>
                    <a:pt x="568" y="102"/>
                  </a:lnTo>
                  <a:lnTo>
                    <a:pt x="572" y="104"/>
                  </a:lnTo>
                  <a:lnTo>
                    <a:pt x="576" y="104"/>
                  </a:lnTo>
                  <a:lnTo>
                    <a:pt x="576" y="100"/>
                  </a:lnTo>
                  <a:lnTo>
                    <a:pt x="578" y="98"/>
                  </a:lnTo>
                  <a:lnTo>
                    <a:pt x="578" y="96"/>
                  </a:lnTo>
                  <a:lnTo>
                    <a:pt x="564" y="96"/>
                  </a:lnTo>
                  <a:close/>
                  <a:moveTo>
                    <a:pt x="678" y="42"/>
                  </a:moveTo>
                  <a:lnTo>
                    <a:pt x="678" y="42"/>
                  </a:lnTo>
                  <a:lnTo>
                    <a:pt x="680" y="40"/>
                  </a:lnTo>
                  <a:lnTo>
                    <a:pt x="678" y="42"/>
                  </a:lnTo>
                  <a:lnTo>
                    <a:pt x="680" y="42"/>
                  </a:lnTo>
                  <a:lnTo>
                    <a:pt x="672" y="48"/>
                  </a:lnTo>
                  <a:lnTo>
                    <a:pt x="666" y="48"/>
                  </a:lnTo>
                  <a:lnTo>
                    <a:pt x="662" y="46"/>
                  </a:lnTo>
                  <a:lnTo>
                    <a:pt x="676" y="44"/>
                  </a:lnTo>
                  <a:lnTo>
                    <a:pt x="676" y="42"/>
                  </a:lnTo>
                  <a:lnTo>
                    <a:pt x="678" y="42"/>
                  </a:lnTo>
                  <a:close/>
                  <a:moveTo>
                    <a:pt x="636" y="18"/>
                  </a:moveTo>
                  <a:lnTo>
                    <a:pt x="636" y="18"/>
                  </a:lnTo>
                  <a:lnTo>
                    <a:pt x="638" y="18"/>
                  </a:lnTo>
                  <a:lnTo>
                    <a:pt x="638" y="20"/>
                  </a:lnTo>
                  <a:lnTo>
                    <a:pt x="636" y="22"/>
                  </a:lnTo>
                  <a:lnTo>
                    <a:pt x="630" y="22"/>
                  </a:lnTo>
                  <a:lnTo>
                    <a:pt x="636" y="18"/>
                  </a:lnTo>
                  <a:close/>
                  <a:moveTo>
                    <a:pt x="588" y="274"/>
                  </a:moveTo>
                  <a:lnTo>
                    <a:pt x="590" y="276"/>
                  </a:lnTo>
                  <a:lnTo>
                    <a:pt x="590" y="274"/>
                  </a:lnTo>
                  <a:lnTo>
                    <a:pt x="588" y="274"/>
                  </a:lnTo>
                  <a:close/>
                  <a:moveTo>
                    <a:pt x="516" y="260"/>
                  </a:moveTo>
                  <a:lnTo>
                    <a:pt x="516" y="260"/>
                  </a:lnTo>
                  <a:lnTo>
                    <a:pt x="516" y="264"/>
                  </a:lnTo>
                  <a:lnTo>
                    <a:pt x="516" y="268"/>
                  </a:lnTo>
                  <a:lnTo>
                    <a:pt x="514" y="268"/>
                  </a:lnTo>
                  <a:lnTo>
                    <a:pt x="514" y="264"/>
                  </a:lnTo>
                  <a:lnTo>
                    <a:pt x="514" y="262"/>
                  </a:lnTo>
                  <a:lnTo>
                    <a:pt x="516" y="260"/>
                  </a:lnTo>
                  <a:close/>
                  <a:moveTo>
                    <a:pt x="606" y="464"/>
                  </a:moveTo>
                  <a:lnTo>
                    <a:pt x="608" y="466"/>
                  </a:lnTo>
                  <a:lnTo>
                    <a:pt x="610" y="468"/>
                  </a:lnTo>
                  <a:lnTo>
                    <a:pt x="610" y="466"/>
                  </a:lnTo>
                  <a:lnTo>
                    <a:pt x="606" y="464"/>
                  </a:lnTo>
                  <a:close/>
                  <a:moveTo>
                    <a:pt x="688" y="448"/>
                  </a:moveTo>
                  <a:lnTo>
                    <a:pt x="688" y="448"/>
                  </a:lnTo>
                  <a:lnTo>
                    <a:pt x="680" y="450"/>
                  </a:lnTo>
                  <a:lnTo>
                    <a:pt x="680" y="454"/>
                  </a:lnTo>
                  <a:lnTo>
                    <a:pt x="686" y="456"/>
                  </a:lnTo>
                  <a:lnTo>
                    <a:pt x="690" y="452"/>
                  </a:lnTo>
                  <a:lnTo>
                    <a:pt x="690" y="448"/>
                  </a:lnTo>
                  <a:lnTo>
                    <a:pt x="688" y="448"/>
                  </a:lnTo>
                  <a:close/>
                  <a:moveTo>
                    <a:pt x="602" y="408"/>
                  </a:moveTo>
                  <a:lnTo>
                    <a:pt x="602" y="408"/>
                  </a:lnTo>
                  <a:lnTo>
                    <a:pt x="608" y="408"/>
                  </a:lnTo>
                  <a:lnTo>
                    <a:pt x="612" y="410"/>
                  </a:lnTo>
                  <a:lnTo>
                    <a:pt x="614" y="414"/>
                  </a:lnTo>
                  <a:lnTo>
                    <a:pt x="616" y="418"/>
                  </a:lnTo>
                  <a:lnTo>
                    <a:pt x="616" y="424"/>
                  </a:lnTo>
                  <a:lnTo>
                    <a:pt x="614" y="424"/>
                  </a:lnTo>
                  <a:lnTo>
                    <a:pt x="612" y="424"/>
                  </a:lnTo>
                  <a:lnTo>
                    <a:pt x="600" y="424"/>
                  </a:lnTo>
                  <a:lnTo>
                    <a:pt x="602" y="420"/>
                  </a:lnTo>
                  <a:lnTo>
                    <a:pt x="604" y="418"/>
                  </a:lnTo>
                  <a:lnTo>
                    <a:pt x="602" y="412"/>
                  </a:lnTo>
                  <a:lnTo>
                    <a:pt x="600" y="408"/>
                  </a:lnTo>
                  <a:lnTo>
                    <a:pt x="602" y="408"/>
                  </a:lnTo>
                  <a:close/>
                  <a:moveTo>
                    <a:pt x="610" y="366"/>
                  </a:moveTo>
                  <a:lnTo>
                    <a:pt x="610" y="366"/>
                  </a:lnTo>
                  <a:lnTo>
                    <a:pt x="614" y="372"/>
                  </a:lnTo>
                  <a:lnTo>
                    <a:pt x="618" y="372"/>
                  </a:lnTo>
                  <a:lnTo>
                    <a:pt x="624" y="372"/>
                  </a:lnTo>
                  <a:lnTo>
                    <a:pt x="628" y="376"/>
                  </a:lnTo>
                  <a:lnTo>
                    <a:pt x="634" y="380"/>
                  </a:lnTo>
                  <a:lnTo>
                    <a:pt x="634" y="384"/>
                  </a:lnTo>
                  <a:lnTo>
                    <a:pt x="630" y="384"/>
                  </a:lnTo>
                  <a:lnTo>
                    <a:pt x="626" y="384"/>
                  </a:lnTo>
                  <a:lnTo>
                    <a:pt x="626" y="386"/>
                  </a:lnTo>
                  <a:lnTo>
                    <a:pt x="618" y="386"/>
                  </a:lnTo>
                  <a:lnTo>
                    <a:pt x="612" y="392"/>
                  </a:lnTo>
                  <a:lnTo>
                    <a:pt x="608" y="382"/>
                  </a:lnTo>
                  <a:lnTo>
                    <a:pt x="606" y="378"/>
                  </a:lnTo>
                  <a:lnTo>
                    <a:pt x="606" y="372"/>
                  </a:lnTo>
                  <a:lnTo>
                    <a:pt x="610" y="366"/>
                  </a:lnTo>
                  <a:close/>
                  <a:moveTo>
                    <a:pt x="570" y="348"/>
                  </a:moveTo>
                  <a:lnTo>
                    <a:pt x="570" y="354"/>
                  </a:lnTo>
                  <a:lnTo>
                    <a:pt x="574" y="352"/>
                  </a:lnTo>
                  <a:lnTo>
                    <a:pt x="576" y="350"/>
                  </a:lnTo>
                  <a:lnTo>
                    <a:pt x="574" y="350"/>
                  </a:lnTo>
                  <a:lnTo>
                    <a:pt x="570" y="348"/>
                  </a:lnTo>
                  <a:close/>
                  <a:moveTo>
                    <a:pt x="554" y="342"/>
                  </a:moveTo>
                  <a:lnTo>
                    <a:pt x="554" y="342"/>
                  </a:lnTo>
                  <a:lnTo>
                    <a:pt x="546" y="348"/>
                  </a:lnTo>
                  <a:lnTo>
                    <a:pt x="548" y="360"/>
                  </a:lnTo>
                  <a:lnTo>
                    <a:pt x="558" y="358"/>
                  </a:lnTo>
                  <a:lnTo>
                    <a:pt x="560" y="354"/>
                  </a:lnTo>
                  <a:lnTo>
                    <a:pt x="560" y="348"/>
                  </a:lnTo>
                  <a:lnTo>
                    <a:pt x="554" y="342"/>
                  </a:lnTo>
                  <a:close/>
                  <a:moveTo>
                    <a:pt x="574" y="338"/>
                  </a:moveTo>
                  <a:lnTo>
                    <a:pt x="572" y="342"/>
                  </a:lnTo>
                  <a:lnTo>
                    <a:pt x="574" y="342"/>
                  </a:lnTo>
                  <a:lnTo>
                    <a:pt x="572" y="344"/>
                  </a:lnTo>
                  <a:lnTo>
                    <a:pt x="574" y="344"/>
                  </a:lnTo>
                  <a:lnTo>
                    <a:pt x="576" y="344"/>
                  </a:lnTo>
                  <a:lnTo>
                    <a:pt x="576" y="340"/>
                  </a:lnTo>
                  <a:lnTo>
                    <a:pt x="576" y="338"/>
                  </a:lnTo>
                  <a:lnTo>
                    <a:pt x="574" y="338"/>
                  </a:lnTo>
                  <a:close/>
                  <a:moveTo>
                    <a:pt x="518" y="320"/>
                  </a:moveTo>
                  <a:lnTo>
                    <a:pt x="520" y="324"/>
                  </a:lnTo>
                  <a:lnTo>
                    <a:pt x="522" y="324"/>
                  </a:lnTo>
                  <a:lnTo>
                    <a:pt x="522" y="322"/>
                  </a:lnTo>
                  <a:lnTo>
                    <a:pt x="518" y="320"/>
                  </a:lnTo>
                  <a:close/>
                  <a:moveTo>
                    <a:pt x="548" y="318"/>
                  </a:moveTo>
                  <a:lnTo>
                    <a:pt x="548" y="318"/>
                  </a:lnTo>
                  <a:lnTo>
                    <a:pt x="548" y="320"/>
                  </a:lnTo>
                  <a:lnTo>
                    <a:pt x="552" y="322"/>
                  </a:lnTo>
                  <a:lnTo>
                    <a:pt x="552" y="320"/>
                  </a:lnTo>
                  <a:lnTo>
                    <a:pt x="552" y="318"/>
                  </a:lnTo>
                  <a:lnTo>
                    <a:pt x="548" y="318"/>
                  </a:lnTo>
                  <a:close/>
                  <a:moveTo>
                    <a:pt x="268" y="316"/>
                  </a:moveTo>
                  <a:lnTo>
                    <a:pt x="268" y="316"/>
                  </a:lnTo>
                  <a:lnTo>
                    <a:pt x="270" y="320"/>
                  </a:lnTo>
                  <a:lnTo>
                    <a:pt x="268" y="316"/>
                  </a:lnTo>
                  <a:close/>
                  <a:moveTo>
                    <a:pt x="524" y="314"/>
                  </a:moveTo>
                  <a:lnTo>
                    <a:pt x="524" y="318"/>
                  </a:lnTo>
                  <a:lnTo>
                    <a:pt x="528" y="318"/>
                  </a:lnTo>
                  <a:lnTo>
                    <a:pt x="526" y="318"/>
                  </a:lnTo>
                  <a:lnTo>
                    <a:pt x="526" y="316"/>
                  </a:lnTo>
                  <a:lnTo>
                    <a:pt x="524" y="314"/>
                  </a:lnTo>
                  <a:close/>
                  <a:moveTo>
                    <a:pt x="516" y="310"/>
                  </a:moveTo>
                  <a:lnTo>
                    <a:pt x="512" y="314"/>
                  </a:lnTo>
                  <a:lnTo>
                    <a:pt x="504" y="314"/>
                  </a:lnTo>
                  <a:lnTo>
                    <a:pt x="504" y="316"/>
                  </a:lnTo>
                  <a:lnTo>
                    <a:pt x="508" y="318"/>
                  </a:lnTo>
                  <a:lnTo>
                    <a:pt x="516" y="318"/>
                  </a:lnTo>
                  <a:lnTo>
                    <a:pt x="520" y="312"/>
                  </a:lnTo>
                  <a:lnTo>
                    <a:pt x="520" y="310"/>
                  </a:lnTo>
                  <a:lnTo>
                    <a:pt x="516" y="310"/>
                  </a:lnTo>
                  <a:close/>
                  <a:moveTo>
                    <a:pt x="626" y="308"/>
                  </a:moveTo>
                  <a:lnTo>
                    <a:pt x="626" y="308"/>
                  </a:lnTo>
                  <a:lnTo>
                    <a:pt x="630" y="310"/>
                  </a:lnTo>
                  <a:lnTo>
                    <a:pt x="630" y="312"/>
                  </a:lnTo>
                  <a:lnTo>
                    <a:pt x="626" y="312"/>
                  </a:lnTo>
                  <a:lnTo>
                    <a:pt x="624" y="310"/>
                  </a:lnTo>
                  <a:lnTo>
                    <a:pt x="622" y="308"/>
                  </a:lnTo>
                  <a:lnTo>
                    <a:pt x="626" y="308"/>
                  </a:lnTo>
                  <a:close/>
                  <a:moveTo>
                    <a:pt x="622" y="302"/>
                  </a:moveTo>
                  <a:lnTo>
                    <a:pt x="622" y="304"/>
                  </a:lnTo>
                  <a:lnTo>
                    <a:pt x="618" y="304"/>
                  </a:lnTo>
                  <a:lnTo>
                    <a:pt x="622" y="302"/>
                  </a:lnTo>
                  <a:close/>
                  <a:moveTo>
                    <a:pt x="480" y="294"/>
                  </a:moveTo>
                  <a:lnTo>
                    <a:pt x="480" y="294"/>
                  </a:lnTo>
                  <a:lnTo>
                    <a:pt x="484" y="296"/>
                  </a:lnTo>
                  <a:lnTo>
                    <a:pt x="482" y="298"/>
                  </a:lnTo>
                  <a:lnTo>
                    <a:pt x="480" y="298"/>
                  </a:lnTo>
                  <a:lnTo>
                    <a:pt x="478" y="296"/>
                  </a:lnTo>
                  <a:lnTo>
                    <a:pt x="478" y="294"/>
                  </a:lnTo>
                  <a:lnTo>
                    <a:pt x="480" y="294"/>
                  </a:lnTo>
                  <a:close/>
                  <a:moveTo>
                    <a:pt x="612" y="288"/>
                  </a:moveTo>
                  <a:lnTo>
                    <a:pt x="612" y="288"/>
                  </a:lnTo>
                  <a:lnTo>
                    <a:pt x="614" y="298"/>
                  </a:lnTo>
                  <a:lnTo>
                    <a:pt x="612" y="298"/>
                  </a:lnTo>
                  <a:lnTo>
                    <a:pt x="610" y="292"/>
                  </a:lnTo>
                  <a:lnTo>
                    <a:pt x="612" y="288"/>
                  </a:lnTo>
                  <a:close/>
                  <a:moveTo>
                    <a:pt x="490" y="228"/>
                  </a:moveTo>
                  <a:lnTo>
                    <a:pt x="490" y="228"/>
                  </a:lnTo>
                  <a:lnTo>
                    <a:pt x="490" y="230"/>
                  </a:lnTo>
                  <a:lnTo>
                    <a:pt x="492" y="232"/>
                  </a:lnTo>
                  <a:lnTo>
                    <a:pt x="492" y="234"/>
                  </a:lnTo>
                  <a:lnTo>
                    <a:pt x="490" y="242"/>
                  </a:lnTo>
                  <a:lnTo>
                    <a:pt x="502" y="246"/>
                  </a:lnTo>
                  <a:lnTo>
                    <a:pt x="508" y="248"/>
                  </a:lnTo>
                  <a:lnTo>
                    <a:pt x="516" y="246"/>
                  </a:lnTo>
                  <a:lnTo>
                    <a:pt x="518" y="246"/>
                  </a:lnTo>
                  <a:lnTo>
                    <a:pt x="520" y="246"/>
                  </a:lnTo>
                  <a:lnTo>
                    <a:pt x="520" y="250"/>
                  </a:lnTo>
                  <a:lnTo>
                    <a:pt x="534" y="258"/>
                  </a:lnTo>
                  <a:lnTo>
                    <a:pt x="518" y="254"/>
                  </a:lnTo>
                  <a:lnTo>
                    <a:pt x="518" y="258"/>
                  </a:lnTo>
                  <a:lnTo>
                    <a:pt x="518" y="260"/>
                  </a:lnTo>
                  <a:lnTo>
                    <a:pt x="516" y="260"/>
                  </a:lnTo>
                  <a:lnTo>
                    <a:pt x="516" y="258"/>
                  </a:lnTo>
                  <a:lnTo>
                    <a:pt x="516" y="254"/>
                  </a:lnTo>
                  <a:lnTo>
                    <a:pt x="508" y="256"/>
                  </a:lnTo>
                  <a:lnTo>
                    <a:pt x="510" y="256"/>
                  </a:lnTo>
                  <a:lnTo>
                    <a:pt x="508" y="258"/>
                  </a:lnTo>
                  <a:lnTo>
                    <a:pt x="504" y="258"/>
                  </a:lnTo>
                  <a:lnTo>
                    <a:pt x="506" y="256"/>
                  </a:lnTo>
                  <a:lnTo>
                    <a:pt x="504" y="252"/>
                  </a:lnTo>
                  <a:lnTo>
                    <a:pt x="502" y="252"/>
                  </a:lnTo>
                  <a:lnTo>
                    <a:pt x="500" y="252"/>
                  </a:lnTo>
                  <a:lnTo>
                    <a:pt x="496" y="258"/>
                  </a:lnTo>
                  <a:lnTo>
                    <a:pt x="496" y="260"/>
                  </a:lnTo>
                  <a:lnTo>
                    <a:pt x="500" y="260"/>
                  </a:lnTo>
                  <a:lnTo>
                    <a:pt x="498" y="262"/>
                  </a:lnTo>
                  <a:lnTo>
                    <a:pt x="498" y="264"/>
                  </a:lnTo>
                  <a:lnTo>
                    <a:pt x="490" y="264"/>
                  </a:lnTo>
                  <a:lnTo>
                    <a:pt x="488" y="264"/>
                  </a:lnTo>
                  <a:lnTo>
                    <a:pt x="488" y="262"/>
                  </a:lnTo>
                  <a:lnTo>
                    <a:pt x="490" y="262"/>
                  </a:lnTo>
                  <a:lnTo>
                    <a:pt x="490" y="256"/>
                  </a:lnTo>
                  <a:lnTo>
                    <a:pt x="492" y="256"/>
                  </a:lnTo>
                  <a:lnTo>
                    <a:pt x="492" y="254"/>
                  </a:lnTo>
                  <a:lnTo>
                    <a:pt x="490" y="254"/>
                  </a:lnTo>
                  <a:lnTo>
                    <a:pt x="490" y="252"/>
                  </a:lnTo>
                  <a:lnTo>
                    <a:pt x="490" y="246"/>
                  </a:lnTo>
                  <a:lnTo>
                    <a:pt x="488" y="244"/>
                  </a:lnTo>
                  <a:lnTo>
                    <a:pt x="486" y="242"/>
                  </a:lnTo>
                  <a:lnTo>
                    <a:pt x="486" y="240"/>
                  </a:lnTo>
                  <a:lnTo>
                    <a:pt x="486" y="236"/>
                  </a:lnTo>
                  <a:lnTo>
                    <a:pt x="488" y="236"/>
                  </a:lnTo>
                  <a:lnTo>
                    <a:pt x="488" y="232"/>
                  </a:lnTo>
                  <a:lnTo>
                    <a:pt x="490" y="228"/>
                  </a:lnTo>
                  <a:close/>
                  <a:moveTo>
                    <a:pt x="504" y="196"/>
                  </a:moveTo>
                  <a:lnTo>
                    <a:pt x="506" y="200"/>
                  </a:lnTo>
                  <a:lnTo>
                    <a:pt x="508" y="200"/>
                  </a:lnTo>
                  <a:lnTo>
                    <a:pt x="510" y="198"/>
                  </a:lnTo>
                  <a:lnTo>
                    <a:pt x="504" y="196"/>
                  </a:lnTo>
                  <a:close/>
                  <a:moveTo>
                    <a:pt x="512" y="168"/>
                  </a:moveTo>
                  <a:lnTo>
                    <a:pt x="512" y="168"/>
                  </a:lnTo>
                  <a:lnTo>
                    <a:pt x="508" y="170"/>
                  </a:lnTo>
                  <a:lnTo>
                    <a:pt x="506" y="172"/>
                  </a:lnTo>
                  <a:lnTo>
                    <a:pt x="508" y="174"/>
                  </a:lnTo>
                  <a:lnTo>
                    <a:pt x="512" y="178"/>
                  </a:lnTo>
                  <a:lnTo>
                    <a:pt x="514" y="172"/>
                  </a:lnTo>
                  <a:lnTo>
                    <a:pt x="514" y="168"/>
                  </a:lnTo>
                  <a:lnTo>
                    <a:pt x="512" y="168"/>
                  </a:lnTo>
                  <a:close/>
                  <a:moveTo>
                    <a:pt x="488" y="138"/>
                  </a:moveTo>
                  <a:lnTo>
                    <a:pt x="488" y="138"/>
                  </a:lnTo>
                  <a:lnTo>
                    <a:pt x="496" y="140"/>
                  </a:lnTo>
                  <a:lnTo>
                    <a:pt x="492" y="140"/>
                  </a:lnTo>
                  <a:lnTo>
                    <a:pt x="488" y="138"/>
                  </a:lnTo>
                  <a:lnTo>
                    <a:pt x="486" y="138"/>
                  </a:lnTo>
                  <a:lnTo>
                    <a:pt x="488" y="138"/>
                  </a:lnTo>
                  <a:close/>
                  <a:moveTo>
                    <a:pt x="516" y="28"/>
                  </a:moveTo>
                  <a:lnTo>
                    <a:pt x="516" y="28"/>
                  </a:lnTo>
                  <a:lnTo>
                    <a:pt x="518" y="28"/>
                  </a:lnTo>
                  <a:lnTo>
                    <a:pt x="518" y="30"/>
                  </a:lnTo>
                  <a:lnTo>
                    <a:pt x="516" y="32"/>
                  </a:lnTo>
                  <a:lnTo>
                    <a:pt x="514" y="30"/>
                  </a:lnTo>
                  <a:lnTo>
                    <a:pt x="512" y="30"/>
                  </a:lnTo>
                  <a:lnTo>
                    <a:pt x="516" y="28"/>
                  </a:lnTo>
                  <a:close/>
                  <a:moveTo>
                    <a:pt x="548" y="22"/>
                  </a:moveTo>
                  <a:lnTo>
                    <a:pt x="548" y="22"/>
                  </a:lnTo>
                  <a:lnTo>
                    <a:pt x="550" y="22"/>
                  </a:lnTo>
                  <a:lnTo>
                    <a:pt x="550" y="24"/>
                  </a:lnTo>
                  <a:lnTo>
                    <a:pt x="548" y="26"/>
                  </a:lnTo>
                  <a:lnTo>
                    <a:pt x="546" y="28"/>
                  </a:lnTo>
                  <a:lnTo>
                    <a:pt x="546" y="24"/>
                  </a:lnTo>
                  <a:lnTo>
                    <a:pt x="546" y="22"/>
                  </a:lnTo>
                  <a:lnTo>
                    <a:pt x="548" y="22"/>
                  </a:lnTo>
                  <a:close/>
                  <a:moveTo>
                    <a:pt x="220" y="334"/>
                  </a:moveTo>
                  <a:lnTo>
                    <a:pt x="220" y="334"/>
                  </a:lnTo>
                  <a:lnTo>
                    <a:pt x="218" y="334"/>
                  </a:lnTo>
                  <a:lnTo>
                    <a:pt x="222" y="336"/>
                  </a:lnTo>
                  <a:lnTo>
                    <a:pt x="228" y="338"/>
                  </a:lnTo>
                  <a:lnTo>
                    <a:pt x="226" y="336"/>
                  </a:lnTo>
                  <a:lnTo>
                    <a:pt x="224" y="334"/>
                  </a:lnTo>
                  <a:lnTo>
                    <a:pt x="220" y="334"/>
                  </a:lnTo>
                  <a:close/>
                  <a:moveTo>
                    <a:pt x="258" y="328"/>
                  </a:moveTo>
                  <a:lnTo>
                    <a:pt x="258" y="328"/>
                  </a:lnTo>
                  <a:lnTo>
                    <a:pt x="256" y="330"/>
                  </a:lnTo>
                  <a:lnTo>
                    <a:pt x="256" y="332"/>
                  </a:lnTo>
                  <a:lnTo>
                    <a:pt x="256" y="334"/>
                  </a:lnTo>
                  <a:lnTo>
                    <a:pt x="258" y="334"/>
                  </a:lnTo>
                  <a:lnTo>
                    <a:pt x="262" y="330"/>
                  </a:lnTo>
                  <a:lnTo>
                    <a:pt x="260" y="328"/>
                  </a:lnTo>
                  <a:lnTo>
                    <a:pt x="258" y="328"/>
                  </a:lnTo>
                  <a:close/>
                  <a:moveTo>
                    <a:pt x="274" y="324"/>
                  </a:moveTo>
                  <a:lnTo>
                    <a:pt x="274" y="324"/>
                  </a:lnTo>
                  <a:lnTo>
                    <a:pt x="272" y="326"/>
                  </a:lnTo>
                  <a:lnTo>
                    <a:pt x="270" y="328"/>
                  </a:lnTo>
                  <a:lnTo>
                    <a:pt x="272" y="328"/>
                  </a:lnTo>
                  <a:lnTo>
                    <a:pt x="274" y="328"/>
                  </a:lnTo>
                  <a:lnTo>
                    <a:pt x="276" y="328"/>
                  </a:lnTo>
                  <a:lnTo>
                    <a:pt x="278" y="326"/>
                  </a:lnTo>
                  <a:lnTo>
                    <a:pt x="278" y="324"/>
                  </a:lnTo>
                  <a:lnTo>
                    <a:pt x="274" y="324"/>
                  </a:lnTo>
                  <a:close/>
                  <a:moveTo>
                    <a:pt x="300" y="308"/>
                  </a:moveTo>
                  <a:lnTo>
                    <a:pt x="300" y="310"/>
                  </a:lnTo>
                  <a:lnTo>
                    <a:pt x="296" y="312"/>
                  </a:lnTo>
                  <a:lnTo>
                    <a:pt x="294" y="316"/>
                  </a:lnTo>
                  <a:lnTo>
                    <a:pt x="294" y="322"/>
                  </a:lnTo>
                  <a:lnTo>
                    <a:pt x="290" y="322"/>
                  </a:lnTo>
                  <a:lnTo>
                    <a:pt x="286" y="324"/>
                  </a:lnTo>
                  <a:lnTo>
                    <a:pt x="286" y="326"/>
                  </a:lnTo>
                  <a:lnTo>
                    <a:pt x="286" y="328"/>
                  </a:lnTo>
                  <a:lnTo>
                    <a:pt x="290" y="330"/>
                  </a:lnTo>
                  <a:lnTo>
                    <a:pt x="292" y="330"/>
                  </a:lnTo>
                  <a:lnTo>
                    <a:pt x="294" y="330"/>
                  </a:lnTo>
                  <a:lnTo>
                    <a:pt x="296" y="330"/>
                  </a:lnTo>
                  <a:lnTo>
                    <a:pt x="298" y="328"/>
                  </a:lnTo>
                  <a:lnTo>
                    <a:pt x="298" y="330"/>
                  </a:lnTo>
                  <a:lnTo>
                    <a:pt x="298" y="334"/>
                  </a:lnTo>
                  <a:lnTo>
                    <a:pt x="304" y="338"/>
                  </a:lnTo>
                  <a:lnTo>
                    <a:pt x="310" y="340"/>
                  </a:lnTo>
                  <a:lnTo>
                    <a:pt x="310" y="338"/>
                  </a:lnTo>
                  <a:lnTo>
                    <a:pt x="312" y="336"/>
                  </a:lnTo>
                  <a:lnTo>
                    <a:pt x="312" y="334"/>
                  </a:lnTo>
                  <a:lnTo>
                    <a:pt x="314" y="334"/>
                  </a:lnTo>
                  <a:lnTo>
                    <a:pt x="316" y="336"/>
                  </a:lnTo>
                  <a:lnTo>
                    <a:pt x="330" y="332"/>
                  </a:lnTo>
                  <a:lnTo>
                    <a:pt x="328" y="330"/>
                  </a:lnTo>
                  <a:lnTo>
                    <a:pt x="326" y="330"/>
                  </a:lnTo>
                  <a:lnTo>
                    <a:pt x="326" y="324"/>
                  </a:lnTo>
                  <a:lnTo>
                    <a:pt x="326" y="318"/>
                  </a:lnTo>
                  <a:lnTo>
                    <a:pt x="322" y="316"/>
                  </a:lnTo>
                  <a:lnTo>
                    <a:pt x="314" y="312"/>
                  </a:lnTo>
                  <a:lnTo>
                    <a:pt x="306" y="308"/>
                  </a:lnTo>
                  <a:lnTo>
                    <a:pt x="300" y="308"/>
                  </a:lnTo>
                  <a:close/>
                  <a:moveTo>
                    <a:pt x="426" y="302"/>
                  </a:moveTo>
                  <a:lnTo>
                    <a:pt x="426" y="302"/>
                  </a:lnTo>
                  <a:lnTo>
                    <a:pt x="428" y="310"/>
                  </a:lnTo>
                  <a:lnTo>
                    <a:pt x="430" y="312"/>
                  </a:lnTo>
                  <a:lnTo>
                    <a:pt x="432" y="312"/>
                  </a:lnTo>
                  <a:lnTo>
                    <a:pt x="434" y="312"/>
                  </a:lnTo>
                  <a:lnTo>
                    <a:pt x="436" y="314"/>
                  </a:lnTo>
                  <a:lnTo>
                    <a:pt x="436" y="312"/>
                  </a:lnTo>
                  <a:lnTo>
                    <a:pt x="430" y="308"/>
                  </a:lnTo>
                  <a:lnTo>
                    <a:pt x="426" y="302"/>
                  </a:lnTo>
                  <a:close/>
                  <a:moveTo>
                    <a:pt x="272" y="288"/>
                  </a:moveTo>
                  <a:lnTo>
                    <a:pt x="272" y="288"/>
                  </a:lnTo>
                  <a:lnTo>
                    <a:pt x="270" y="290"/>
                  </a:lnTo>
                  <a:lnTo>
                    <a:pt x="268" y="294"/>
                  </a:lnTo>
                  <a:lnTo>
                    <a:pt x="268" y="296"/>
                  </a:lnTo>
                  <a:lnTo>
                    <a:pt x="272" y="296"/>
                  </a:lnTo>
                  <a:lnTo>
                    <a:pt x="272" y="292"/>
                  </a:lnTo>
                  <a:lnTo>
                    <a:pt x="272" y="290"/>
                  </a:lnTo>
                  <a:lnTo>
                    <a:pt x="272" y="288"/>
                  </a:lnTo>
                  <a:close/>
                  <a:moveTo>
                    <a:pt x="312" y="230"/>
                  </a:moveTo>
                  <a:lnTo>
                    <a:pt x="312" y="232"/>
                  </a:lnTo>
                  <a:lnTo>
                    <a:pt x="316" y="232"/>
                  </a:lnTo>
                  <a:lnTo>
                    <a:pt x="316" y="230"/>
                  </a:lnTo>
                  <a:lnTo>
                    <a:pt x="312" y="230"/>
                  </a:lnTo>
                  <a:close/>
                  <a:moveTo>
                    <a:pt x="114" y="226"/>
                  </a:moveTo>
                  <a:lnTo>
                    <a:pt x="114" y="226"/>
                  </a:lnTo>
                  <a:lnTo>
                    <a:pt x="108" y="232"/>
                  </a:lnTo>
                  <a:lnTo>
                    <a:pt x="102" y="238"/>
                  </a:lnTo>
                  <a:lnTo>
                    <a:pt x="96" y="238"/>
                  </a:lnTo>
                  <a:lnTo>
                    <a:pt x="90" y="238"/>
                  </a:lnTo>
                  <a:lnTo>
                    <a:pt x="82" y="244"/>
                  </a:lnTo>
                  <a:lnTo>
                    <a:pt x="80" y="244"/>
                  </a:lnTo>
                  <a:lnTo>
                    <a:pt x="78" y="244"/>
                  </a:lnTo>
                  <a:lnTo>
                    <a:pt x="76" y="246"/>
                  </a:lnTo>
                  <a:lnTo>
                    <a:pt x="76" y="250"/>
                  </a:lnTo>
                  <a:lnTo>
                    <a:pt x="76" y="252"/>
                  </a:lnTo>
                  <a:lnTo>
                    <a:pt x="76" y="256"/>
                  </a:lnTo>
                  <a:lnTo>
                    <a:pt x="74" y="256"/>
                  </a:lnTo>
                  <a:lnTo>
                    <a:pt x="68" y="262"/>
                  </a:lnTo>
                  <a:lnTo>
                    <a:pt x="62" y="268"/>
                  </a:lnTo>
                  <a:lnTo>
                    <a:pt x="60" y="268"/>
                  </a:lnTo>
                  <a:lnTo>
                    <a:pt x="60" y="272"/>
                  </a:lnTo>
                  <a:lnTo>
                    <a:pt x="66" y="272"/>
                  </a:lnTo>
                  <a:lnTo>
                    <a:pt x="68" y="274"/>
                  </a:lnTo>
                  <a:lnTo>
                    <a:pt x="72" y="274"/>
                  </a:lnTo>
                  <a:lnTo>
                    <a:pt x="74" y="272"/>
                  </a:lnTo>
                  <a:lnTo>
                    <a:pt x="76" y="270"/>
                  </a:lnTo>
                  <a:lnTo>
                    <a:pt x="76" y="272"/>
                  </a:lnTo>
                  <a:lnTo>
                    <a:pt x="80" y="274"/>
                  </a:lnTo>
                  <a:lnTo>
                    <a:pt x="74" y="276"/>
                  </a:lnTo>
                  <a:lnTo>
                    <a:pt x="72" y="276"/>
                  </a:lnTo>
                  <a:lnTo>
                    <a:pt x="72" y="278"/>
                  </a:lnTo>
                  <a:lnTo>
                    <a:pt x="78" y="278"/>
                  </a:lnTo>
                  <a:lnTo>
                    <a:pt x="82" y="278"/>
                  </a:lnTo>
                  <a:lnTo>
                    <a:pt x="82" y="274"/>
                  </a:lnTo>
                  <a:lnTo>
                    <a:pt x="110" y="272"/>
                  </a:lnTo>
                  <a:lnTo>
                    <a:pt x="112" y="274"/>
                  </a:lnTo>
                  <a:lnTo>
                    <a:pt x="100" y="276"/>
                  </a:lnTo>
                  <a:lnTo>
                    <a:pt x="90" y="278"/>
                  </a:lnTo>
                  <a:lnTo>
                    <a:pt x="88" y="282"/>
                  </a:lnTo>
                  <a:lnTo>
                    <a:pt x="82" y="284"/>
                  </a:lnTo>
                  <a:lnTo>
                    <a:pt x="76" y="284"/>
                  </a:lnTo>
                  <a:lnTo>
                    <a:pt x="76" y="288"/>
                  </a:lnTo>
                  <a:lnTo>
                    <a:pt x="78" y="288"/>
                  </a:lnTo>
                  <a:lnTo>
                    <a:pt x="80" y="290"/>
                  </a:lnTo>
                  <a:lnTo>
                    <a:pt x="114" y="290"/>
                  </a:lnTo>
                  <a:lnTo>
                    <a:pt x="122" y="288"/>
                  </a:lnTo>
                  <a:lnTo>
                    <a:pt x="124" y="290"/>
                  </a:lnTo>
                  <a:lnTo>
                    <a:pt x="126" y="290"/>
                  </a:lnTo>
                  <a:lnTo>
                    <a:pt x="128" y="290"/>
                  </a:lnTo>
                  <a:lnTo>
                    <a:pt x="134" y="286"/>
                  </a:lnTo>
                  <a:lnTo>
                    <a:pt x="136" y="286"/>
                  </a:lnTo>
                  <a:lnTo>
                    <a:pt x="136" y="288"/>
                  </a:lnTo>
                  <a:lnTo>
                    <a:pt x="138" y="290"/>
                  </a:lnTo>
                  <a:lnTo>
                    <a:pt x="144" y="290"/>
                  </a:lnTo>
                  <a:lnTo>
                    <a:pt x="150" y="288"/>
                  </a:lnTo>
                  <a:lnTo>
                    <a:pt x="146" y="294"/>
                  </a:lnTo>
                  <a:lnTo>
                    <a:pt x="142" y="300"/>
                  </a:lnTo>
                  <a:lnTo>
                    <a:pt x="134" y="300"/>
                  </a:lnTo>
                  <a:lnTo>
                    <a:pt x="128" y="298"/>
                  </a:lnTo>
                  <a:lnTo>
                    <a:pt x="122" y="298"/>
                  </a:lnTo>
                  <a:lnTo>
                    <a:pt x="114" y="298"/>
                  </a:lnTo>
                  <a:lnTo>
                    <a:pt x="106" y="302"/>
                  </a:lnTo>
                  <a:lnTo>
                    <a:pt x="98" y="304"/>
                  </a:lnTo>
                  <a:lnTo>
                    <a:pt x="88" y="302"/>
                  </a:lnTo>
                  <a:lnTo>
                    <a:pt x="88" y="314"/>
                  </a:lnTo>
                  <a:lnTo>
                    <a:pt x="92" y="316"/>
                  </a:lnTo>
                  <a:lnTo>
                    <a:pt x="94" y="316"/>
                  </a:lnTo>
                  <a:lnTo>
                    <a:pt x="94" y="320"/>
                  </a:lnTo>
                  <a:lnTo>
                    <a:pt x="100" y="322"/>
                  </a:lnTo>
                  <a:lnTo>
                    <a:pt x="108" y="322"/>
                  </a:lnTo>
                  <a:lnTo>
                    <a:pt x="116" y="324"/>
                  </a:lnTo>
                  <a:lnTo>
                    <a:pt x="122" y="326"/>
                  </a:lnTo>
                  <a:lnTo>
                    <a:pt x="122" y="330"/>
                  </a:lnTo>
                  <a:lnTo>
                    <a:pt x="122" y="336"/>
                  </a:lnTo>
                  <a:lnTo>
                    <a:pt x="124" y="336"/>
                  </a:lnTo>
                  <a:lnTo>
                    <a:pt x="126" y="334"/>
                  </a:lnTo>
                  <a:lnTo>
                    <a:pt x="128" y="334"/>
                  </a:lnTo>
                  <a:lnTo>
                    <a:pt x="128" y="338"/>
                  </a:lnTo>
                  <a:lnTo>
                    <a:pt x="152" y="336"/>
                  </a:lnTo>
                  <a:lnTo>
                    <a:pt x="162" y="334"/>
                  </a:lnTo>
                  <a:lnTo>
                    <a:pt x="172" y="332"/>
                  </a:lnTo>
                  <a:lnTo>
                    <a:pt x="174" y="328"/>
                  </a:lnTo>
                  <a:lnTo>
                    <a:pt x="188" y="324"/>
                  </a:lnTo>
                  <a:lnTo>
                    <a:pt x="194" y="324"/>
                  </a:lnTo>
                  <a:lnTo>
                    <a:pt x="202" y="316"/>
                  </a:lnTo>
                  <a:lnTo>
                    <a:pt x="210" y="310"/>
                  </a:lnTo>
                  <a:lnTo>
                    <a:pt x="216" y="310"/>
                  </a:lnTo>
                  <a:lnTo>
                    <a:pt x="214" y="314"/>
                  </a:lnTo>
                  <a:lnTo>
                    <a:pt x="212" y="318"/>
                  </a:lnTo>
                  <a:lnTo>
                    <a:pt x="224" y="322"/>
                  </a:lnTo>
                  <a:lnTo>
                    <a:pt x="224" y="328"/>
                  </a:lnTo>
                  <a:lnTo>
                    <a:pt x="228" y="326"/>
                  </a:lnTo>
                  <a:lnTo>
                    <a:pt x="230" y="324"/>
                  </a:lnTo>
                  <a:lnTo>
                    <a:pt x="232" y="328"/>
                  </a:lnTo>
                  <a:lnTo>
                    <a:pt x="242" y="328"/>
                  </a:lnTo>
                  <a:lnTo>
                    <a:pt x="244" y="328"/>
                  </a:lnTo>
                  <a:lnTo>
                    <a:pt x="246" y="328"/>
                  </a:lnTo>
                  <a:lnTo>
                    <a:pt x="246" y="326"/>
                  </a:lnTo>
                  <a:lnTo>
                    <a:pt x="252" y="326"/>
                  </a:lnTo>
                  <a:lnTo>
                    <a:pt x="256" y="326"/>
                  </a:lnTo>
                  <a:lnTo>
                    <a:pt x="258" y="326"/>
                  </a:lnTo>
                  <a:lnTo>
                    <a:pt x="262" y="320"/>
                  </a:lnTo>
                  <a:lnTo>
                    <a:pt x="258" y="318"/>
                  </a:lnTo>
                  <a:lnTo>
                    <a:pt x="254" y="314"/>
                  </a:lnTo>
                  <a:lnTo>
                    <a:pt x="252" y="318"/>
                  </a:lnTo>
                  <a:lnTo>
                    <a:pt x="248" y="318"/>
                  </a:lnTo>
                  <a:lnTo>
                    <a:pt x="244" y="318"/>
                  </a:lnTo>
                  <a:lnTo>
                    <a:pt x="244" y="316"/>
                  </a:lnTo>
                  <a:lnTo>
                    <a:pt x="244" y="314"/>
                  </a:lnTo>
                  <a:lnTo>
                    <a:pt x="240" y="312"/>
                  </a:lnTo>
                  <a:lnTo>
                    <a:pt x="246" y="312"/>
                  </a:lnTo>
                  <a:lnTo>
                    <a:pt x="258" y="314"/>
                  </a:lnTo>
                  <a:lnTo>
                    <a:pt x="260" y="314"/>
                  </a:lnTo>
                  <a:lnTo>
                    <a:pt x="256" y="312"/>
                  </a:lnTo>
                  <a:lnTo>
                    <a:pt x="256" y="308"/>
                  </a:lnTo>
                  <a:lnTo>
                    <a:pt x="258" y="308"/>
                  </a:lnTo>
                  <a:lnTo>
                    <a:pt x="260" y="306"/>
                  </a:lnTo>
                  <a:lnTo>
                    <a:pt x="262" y="306"/>
                  </a:lnTo>
                  <a:lnTo>
                    <a:pt x="262" y="310"/>
                  </a:lnTo>
                  <a:lnTo>
                    <a:pt x="268" y="310"/>
                  </a:lnTo>
                  <a:lnTo>
                    <a:pt x="268" y="314"/>
                  </a:lnTo>
                  <a:lnTo>
                    <a:pt x="272" y="316"/>
                  </a:lnTo>
                  <a:lnTo>
                    <a:pt x="274" y="312"/>
                  </a:lnTo>
                  <a:lnTo>
                    <a:pt x="274" y="310"/>
                  </a:lnTo>
                  <a:lnTo>
                    <a:pt x="272" y="310"/>
                  </a:lnTo>
                  <a:lnTo>
                    <a:pt x="272" y="304"/>
                  </a:lnTo>
                  <a:lnTo>
                    <a:pt x="272" y="302"/>
                  </a:lnTo>
                  <a:lnTo>
                    <a:pt x="272" y="300"/>
                  </a:lnTo>
                  <a:lnTo>
                    <a:pt x="264" y="298"/>
                  </a:lnTo>
                  <a:lnTo>
                    <a:pt x="256" y="298"/>
                  </a:lnTo>
                  <a:lnTo>
                    <a:pt x="250" y="298"/>
                  </a:lnTo>
                  <a:lnTo>
                    <a:pt x="248" y="296"/>
                  </a:lnTo>
                  <a:lnTo>
                    <a:pt x="246" y="292"/>
                  </a:lnTo>
                  <a:lnTo>
                    <a:pt x="246" y="290"/>
                  </a:lnTo>
                  <a:lnTo>
                    <a:pt x="246" y="288"/>
                  </a:lnTo>
                  <a:lnTo>
                    <a:pt x="244" y="288"/>
                  </a:lnTo>
                  <a:lnTo>
                    <a:pt x="244" y="292"/>
                  </a:lnTo>
                  <a:lnTo>
                    <a:pt x="244" y="294"/>
                  </a:lnTo>
                  <a:lnTo>
                    <a:pt x="244" y="292"/>
                  </a:lnTo>
                  <a:lnTo>
                    <a:pt x="234" y="290"/>
                  </a:lnTo>
                  <a:lnTo>
                    <a:pt x="234" y="288"/>
                  </a:lnTo>
                  <a:lnTo>
                    <a:pt x="232" y="284"/>
                  </a:lnTo>
                  <a:lnTo>
                    <a:pt x="230" y="280"/>
                  </a:lnTo>
                  <a:lnTo>
                    <a:pt x="228" y="274"/>
                  </a:lnTo>
                  <a:lnTo>
                    <a:pt x="226" y="272"/>
                  </a:lnTo>
                  <a:lnTo>
                    <a:pt x="222" y="272"/>
                  </a:lnTo>
                  <a:lnTo>
                    <a:pt x="220" y="268"/>
                  </a:lnTo>
                  <a:lnTo>
                    <a:pt x="220" y="264"/>
                  </a:lnTo>
                  <a:lnTo>
                    <a:pt x="220" y="260"/>
                  </a:lnTo>
                  <a:lnTo>
                    <a:pt x="218" y="258"/>
                  </a:lnTo>
                  <a:lnTo>
                    <a:pt x="218" y="256"/>
                  </a:lnTo>
                  <a:lnTo>
                    <a:pt x="210" y="256"/>
                  </a:lnTo>
                  <a:lnTo>
                    <a:pt x="212" y="254"/>
                  </a:lnTo>
                  <a:lnTo>
                    <a:pt x="214" y="252"/>
                  </a:lnTo>
                  <a:lnTo>
                    <a:pt x="214" y="248"/>
                  </a:lnTo>
                  <a:lnTo>
                    <a:pt x="214" y="246"/>
                  </a:lnTo>
                  <a:lnTo>
                    <a:pt x="198" y="228"/>
                  </a:lnTo>
                  <a:lnTo>
                    <a:pt x="192" y="232"/>
                  </a:lnTo>
                  <a:lnTo>
                    <a:pt x="194" y="242"/>
                  </a:lnTo>
                  <a:lnTo>
                    <a:pt x="196" y="248"/>
                  </a:lnTo>
                  <a:lnTo>
                    <a:pt x="200" y="250"/>
                  </a:lnTo>
                  <a:lnTo>
                    <a:pt x="210" y="252"/>
                  </a:lnTo>
                  <a:lnTo>
                    <a:pt x="208" y="256"/>
                  </a:lnTo>
                  <a:lnTo>
                    <a:pt x="206" y="256"/>
                  </a:lnTo>
                  <a:lnTo>
                    <a:pt x="206" y="254"/>
                  </a:lnTo>
                  <a:lnTo>
                    <a:pt x="204" y="254"/>
                  </a:lnTo>
                  <a:lnTo>
                    <a:pt x="202" y="256"/>
                  </a:lnTo>
                  <a:lnTo>
                    <a:pt x="200" y="258"/>
                  </a:lnTo>
                  <a:lnTo>
                    <a:pt x="198" y="258"/>
                  </a:lnTo>
                  <a:lnTo>
                    <a:pt x="198" y="256"/>
                  </a:lnTo>
                  <a:lnTo>
                    <a:pt x="196" y="254"/>
                  </a:lnTo>
                  <a:lnTo>
                    <a:pt x="194" y="254"/>
                  </a:lnTo>
                  <a:lnTo>
                    <a:pt x="192" y="260"/>
                  </a:lnTo>
                  <a:lnTo>
                    <a:pt x="190" y="266"/>
                  </a:lnTo>
                  <a:lnTo>
                    <a:pt x="182" y="268"/>
                  </a:lnTo>
                  <a:lnTo>
                    <a:pt x="182" y="264"/>
                  </a:lnTo>
                  <a:lnTo>
                    <a:pt x="184" y="258"/>
                  </a:lnTo>
                  <a:lnTo>
                    <a:pt x="186" y="254"/>
                  </a:lnTo>
                  <a:lnTo>
                    <a:pt x="188" y="252"/>
                  </a:lnTo>
                  <a:lnTo>
                    <a:pt x="188" y="248"/>
                  </a:lnTo>
                  <a:lnTo>
                    <a:pt x="182" y="246"/>
                  </a:lnTo>
                  <a:lnTo>
                    <a:pt x="180" y="242"/>
                  </a:lnTo>
                  <a:lnTo>
                    <a:pt x="178" y="238"/>
                  </a:lnTo>
                  <a:lnTo>
                    <a:pt x="176" y="240"/>
                  </a:lnTo>
                  <a:lnTo>
                    <a:pt x="170" y="236"/>
                  </a:lnTo>
                  <a:lnTo>
                    <a:pt x="164" y="248"/>
                  </a:lnTo>
                  <a:lnTo>
                    <a:pt x="160" y="248"/>
                  </a:lnTo>
                  <a:lnTo>
                    <a:pt x="154" y="240"/>
                  </a:lnTo>
                  <a:lnTo>
                    <a:pt x="152" y="238"/>
                  </a:lnTo>
                  <a:lnTo>
                    <a:pt x="148" y="234"/>
                  </a:lnTo>
                  <a:lnTo>
                    <a:pt x="140" y="234"/>
                  </a:lnTo>
                  <a:lnTo>
                    <a:pt x="140" y="246"/>
                  </a:lnTo>
                  <a:lnTo>
                    <a:pt x="142" y="256"/>
                  </a:lnTo>
                  <a:lnTo>
                    <a:pt x="136" y="258"/>
                  </a:lnTo>
                  <a:lnTo>
                    <a:pt x="122" y="248"/>
                  </a:lnTo>
                  <a:lnTo>
                    <a:pt x="124" y="238"/>
                  </a:lnTo>
                  <a:lnTo>
                    <a:pt x="122" y="228"/>
                  </a:lnTo>
                  <a:lnTo>
                    <a:pt x="118" y="226"/>
                  </a:lnTo>
                  <a:lnTo>
                    <a:pt x="114" y="226"/>
                  </a:lnTo>
                  <a:close/>
                  <a:moveTo>
                    <a:pt x="294" y="220"/>
                  </a:moveTo>
                  <a:lnTo>
                    <a:pt x="294" y="220"/>
                  </a:lnTo>
                  <a:lnTo>
                    <a:pt x="296" y="218"/>
                  </a:lnTo>
                  <a:lnTo>
                    <a:pt x="296" y="220"/>
                  </a:lnTo>
                  <a:lnTo>
                    <a:pt x="294" y="222"/>
                  </a:lnTo>
                  <a:lnTo>
                    <a:pt x="290" y="222"/>
                  </a:lnTo>
                  <a:lnTo>
                    <a:pt x="294" y="220"/>
                  </a:lnTo>
                  <a:close/>
                  <a:moveTo>
                    <a:pt x="298" y="210"/>
                  </a:moveTo>
                  <a:lnTo>
                    <a:pt x="298" y="214"/>
                  </a:lnTo>
                  <a:lnTo>
                    <a:pt x="282" y="220"/>
                  </a:lnTo>
                  <a:lnTo>
                    <a:pt x="284" y="220"/>
                  </a:lnTo>
                  <a:lnTo>
                    <a:pt x="286" y="222"/>
                  </a:lnTo>
                  <a:lnTo>
                    <a:pt x="276" y="222"/>
                  </a:lnTo>
                  <a:lnTo>
                    <a:pt x="272" y="220"/>
                  </a:lnTo>
                  <a:lnTo>
                    <a:pt x="264" y="224"/>
                  </a:lnTo>
                  <a:lnTo>
                    <a:pt x="264" y="228"/>
                  </a:lnTo>
                  <a:lnTo>
                    <a:pt x="262" y="228"/>
                  </a:lnTo>
                  <a:lnTo>
                    <a:pt x="262" y="230"/>
                  </a:lnTo>
                  <a:lnTo>
                    <a:pt x="264" y="232"/>
                  </a:lnTo>
                  <a:lnTo>
                    <a:pt x="270" y="234"/>
                  </a:lnTo>
                  <a:lnTo>
                    <a:pt x="276" y="234"/>
                  </a:lnTo>
                  <a:lnTo>
                    <a:pt x="276" y="242"/>
                  </a:lnTo>
                  <a:lnTo>
                    <a:pt x="276" y="244"/>
                  </a:lnTo>
                  <a:lnTo>
                    <a:pt x="274" y="246"/>
                  </a:lnTo>
                  <a:lnTo>
                    <a:pt x="272" y="246"/>
                  </a:lnTo>
                  <a:lnTo>
                    <a:pt x="264" y="246"/>
                  </a:lnTo>
                  <a:lnTo>
                    <a:pt x="256" y="244"/>
                  </a:lnTo>
                  <a:lnTo>
                    <a:pt x="254" y="238"/>
                  </a:lnTo>
                  <a:lnTo>
                    <a:pt x="250" y="240"/>
                  </a:lnTo>
                  <a:lnTo>
                    <a:pt x="246" y="240"/>
                  </a:lnTo>
                  <a:lnTo>
                    <a:pt x="248" y="246"/>
                  </a:lnTo>
                  <a:lnTo>
                    <a:pt x="248" y="248"/>
                  </a:lnTo>
                  <a:lnTo>
                    <a:pt x="254" y="254"/>
                  </a:lnTo>
                  <a:lnTo>
                    <a:pt x="258" y="258"/>
                  </a:lnTo>
                  <a:lnTo>
                    <a:pt x="260" y="258"/>
                  </a:lnTo>
                  <a:lnTo>
                    <a:pt x="268" y="254"/>
                  </a:lnTo>
                  <a:lnTo>
                    <a:pt x="272" y="262"/>
                  </a:lnTo>
                  <a:lnTo>
                    <a:pt x="278" y="264"/>
                  </a:lnTo>
                  <a:lnTo>
                    <a:pt x="282" y="264"/>
                  </a:lnTo>
                  <a:lnTo>
                    <a:pt x="284" y="268"/>
                  </a:lnTo>
                  <a:lnTo>
                    <a:pt x="284" y="272"/>
                  </a:lnTo>
                  <a:lnTo>
                    <a:pt x="286" y="276"/>
                  </a:lnTo>
                  <a:lnTo>
                    <a:pt x="286" y="278"/>
                  </a:lnTo>
                  <a:lnTo>
                    <a:pt x="290" y="280"/>
                  </a:lnTo>
                  <a:lnTo>
                    <a:pt x="292" y="280"/>
                  </a:lnTo>
                  <a:lnTo>
                    <a:pt x="298" y="276"/>
                  </a:lnTo>
                  <a:lnTo>
                    <a:pt x="306" y="272"/>
                  </a:lnTo>
                  <a:lnTo>
                    <a:pt x="308" y="268"/>
                  </a:lnTo>
                  <a:lnTo>
                    <a:pt x="314" y="268"/>
                  </a:lnTo>
                  <a:lnTo>
                    <a:pt x="318" y="266"/>
                  </a:lnTo>
                  <a:lnTo>
                    <a:pt x="320" y="264"/>
                  </a:lnTo>
                  <a:lnTo>
                    <a:pt x="322" y="260"/>
                  </a:lnTo>
                  <a:lnTo>
                    <a:pt x="320" y="246"/>
                  </a:lnTo>
                  <a:lnTo>
                    <a:pt x="322" y="246"/>
                  </a:lnTo>
                  <a:lnTo>
                    <a:pt x="316" y="244"/>
                  </a:lnTo>
                  <a:lnTo>
                    <a:pt x="314" y="246"/>
                  </a:lnTo>
                  <a:lnTo>
                    <a:pt x="312" y="248"/>
                  </a:lnTo>
                  <a:lnTo>
                    <a:pt x="308" y="240"/>
                  </a:lnTo>
                  <a:lnTo>
                    <a:pt x="300" y="238"/>
                  </a:lnTo>
                  <a:lnTo>
                    <a:pt x="298" y="232"/>
                  </a:lnTo>
                  <a:lnTo>
                    <a:pt x="308" y="230"/>
                  </a:lnTo>
                  <a:lnTo>
                    <a:pt x="310" y="228"/>
                  </a:lnTo>
                  <a:lnTo>
                    <a:pt x="304" y="220"/>
                  </a:lnTo>
                  <a:lnTo>
                    <a:pt x="300" y="220"/>
                  </a:lnTo>
                  <a:lnTo>
                    <a:pt x="298" y="218"/>
                  </a:lnTo>
                  <a:lnTo>
                    <a:pt x="300" y="214"/>
                  </a:lnTo>
                  <a:lnTo>
                    <a:pt x="304" y="210"/>
                  </a:lnTo>
                  <a:lnTo>
                    <a:pt x="302" y="210"/>
                  </a:lnTo>
                  <a:lnTo>
                    <a:pt x="298" y="210"/>
                  </a:lnTo>
                  <a:close/>
                  <a:moveTo>
                    <a:pt x="38" y="204"/>
                  </a:moveTo>
                  <a:lnTo>
                    <a:pt x="38" y="204"/>
                  </a:lnTo>
                  <a:lnTo>
                    <a:pt x="32" y="206"/>
                  </a:lnTo>
                  <a:lnTo>
                    <a:pt x="28" y="208"/>
                  </a:lnTo>
                  <a:lnTo>
                    <a:pt x="16" y="212"/>
                  </a:lnTo>
                  <a:lnTo>
                    <a:pt x="4" y="216"/>
                  </a:lnTo>
                  <a:lnTo>
                    <a:pt x="4" y="230"/>
                  </a:lnTo>
                  <a:lnTo>
                    <a:pt x="6" y="236"/>
                  </a:lnTo>
                  <a:lnTo>
                    <a:pt x="8" y="240"/>
                  </a:lnTo>
                  <a:lnTo>
                    <a:pt x="6" y="242"/>
                  </a:lnTo>
                  <a:lnTo>
                    <a:pt x="2" y="242"/>
                  </a:lnTo>
                  <a:lnTo>
                    <a:pt x="4" y="246"/>
                  </a:lnTo>
                  <a:lnTo>
                    <a:pt x="6" y="248"/>
                  </a:lnTo>
                  <a:lnTo>
                    <a:pt x="0" y="264"/>
                  </a:lnTo>
                  <a:lnTo>
                    <a:pt x="4" y="268"/>
                  </a:lnTo>
                  <a:lnTo>
                    <a:pt x="10" y="272"/>
                  </a:lnTo>
                  <a:lnTo>
                    <a:pt x="12" y="278"/>
                  </a:lnTo>
                  <a:lnTo>
                    <a:pt x="12" y="280"/>
                  </a:lnTo>
                  <a:lnTo>
                    <a:pt x="14" y="282"/>
                  </a:lnTo>
                  <a:lnTo>
                    <a:pt x="20" y="282"/>
                  </a:lnTo>
                  <a:lnTo>
                    <a:pt x="24" y="282"/>
                  </a:lnTo>
                  <a:lnTo>
                    <a:pt x="32" y="270"/>
                  </a:lnTo>
                  <a:lnTo>
                    <a:pt x="34" y="270"/>
                  </a:lnTo>
                  <a:lnTo>
                    <a:pt x="34" y="272"/>
                  </a:lnTo>
                  <a:lnTo>
                    <a:pt x="36" y="272"/>
                  </a:lnTo>
                  <a:lnTo>
                    <a:pt x="38" y="272"/>
                  </a:lnTo>
                  <a:lnTo>
                    <a:pt x="36" y="274"/>
                  </a:lnTo>
                  <a:lnTo>
                    <a:pt x="46" y="272"/>
                  </a:lnTo>
                  <a:lnTo>
                    <a:pt x="52" y="272"/>
                  </a:lnTo>
                  <a:lnTo>
                    <a:pt x="54" y="268"/>
                  </a:lnTo>
                  <a:lnTo>
                    <a:pt x="54" y="264"/>
                  </a:lnTo>
                  <a:lnTo>
                    <a:pt x="56" y="260"/>
                  </a:lnTo>
                  <a:lnTo>
                    <a:pt x="56" y="256"/>
                  </a:lnTo>
                  <a:lnTo>
                    <a:pt x="64" y="248"/>
                  </a:lnTo>
                  <a:lnTo>
                    <a:pt x="74" y="240"/>
                  </a:lnTo>
                  <a:lnTo>
                    <a:pt x="88" y="232"/>
                  </a:lnTo>
                  <a:lnTo>
                    <a:pt x="98" y="230"/>
                  </a:lnTo>
                  <a:lnTo>
                    <a:pt x="100" y="230"/>
                  </a:lnTo>
                  <a:lnTo>
                    <a:pt x="102" y="232"/>
                  </a:lnTo>
                  <a:lnTo>
                    <a:pt x="104" y="232"/>
                  </a:lnTo>
                  <a:lnTo>
                    <a:pt x="104" y="230"/>
                  </a:lnTo>
                  <a:lnTo>
                    <a:pt x="108" y="228"/>
                  </a:lnTo>
                  <a:lnTo>
                    <a:pt x="108" y="224"/>
                  </a:lnTo>
                  <a:lnTo>
                    <a:pt x="100" y="222"/>
                  </a:lnTo>
                  <a:lnTo>
                    <a:pt x="98" y="218"/>
                  </a:lnTo>
                  <a:lnTo>
                    <a:pt x="94" y="216"/>
                  </a:lnTo>
                  <a:lnTo>
                    <a:pt x="86" y="214"/>
                  </a:lnTo>
                  <a:lnTo>
                    <a:pt x="76" y="214"/>
                  </a:lnTo>
                  <a:lnTo>
                    <a:pt x="70" y="216"/>
                  </a:lnTo>
                  <a:lnTo>
                    <a:pt x="64" y="216"/>
                  </a:lnTo>
                  <a:lnTo>
                    <a:pt x="60" y="212"/>
                  </a:lnTo>
                  <a:lnTo>
                    <a:pt x="40" y="206"/>
                  </a:lnTo>
                  <a:lnTo>
                    <a:pt x="40" y="204"/>
                  </a:lnTo>
                  <a:lnTo>
                    <a:pt x="38" y="204"/>
                  </a:lnTo>
                  <a:close/>
                  <a:moveTo>
                    <a:pt x="306" y="202"/>
                  </a:moveTo>
                  <a:lnTo>
                    <a:pt x="306" y="202"/>
                  </a:lnTo>
                  <a:lnTo>
                    <a:pt x="304" y="204"/>
                  </a:lnTo>
                  <a:lnTo>
                    <a:pt x="308" y="206"/>
                  </a:lnTo>
                  <a:lnTo>
                    <a:pt x="308" y="202"/>
                  </a:lnTo>
                  <a:lnTo>
                    <a:pt x="306" y="202"/>
                  </a:lnTo>
                  <a:close/>
                  <a:moveTo>
                    <a:pt x="232" y="186"/>
                  </a:moveTo>
                  <a:lnTo>
                    <a:pt x="232" y="186"/>
                  </a:lnTo>
                  <a:lnTo>
                    <a:pt x="232" y="194"/>
                  </a:lnTo>
                  <a:lnTo>
                    <a:pt x="234" y="194"/>
                  </a:lnTo>
                  <a:lnTo>
                    <a:pt x="236" y="192"/>
                  </a:lnTo>
                  <a:lnTo>
                    <a:pt x="234" y="188"/>
                  </a:lnTo>
                  <a:lnTo>
                    <a:pt x="232" y="186"/>
                  </a:lnTo>
                  <a:close/>
                  <a:moveTo>
                    <a:pt x="330" y="178"/>
                  </a:moveTo>
                  <a:lnTo>
                    <a:pt x="330" y="178"/>
                  </a:lnTo>
                  <a:lnTo>
                    <a:pt x="328" y="182"/>
                  </a:lnTo>
                  <a:lnTo>
                    <a:pt x="326" y="188"/>
                  </a:lnTo>
                  <a:lnTo>
                    <a:pt x="324" y="188"/>
                  </a:lnTo>
                  <a:lnTo>
                    <a:pt x="320" y="198"/>
                  </a:lnTo>
                  <a:lnTo>
                    <a:pt x="326" y="198"/>
                  </a:lnTo>
                  <a:lnTo>
                    <a:pt x="328" y="202"/>
                  </a:lnTo>
                  <a:lnTo>
                    <a:pt x="332" y="204"/>
                  </a:lnTo>
                  <a:lnTo>
                    <a:pt x="336" y="204"/>
                  </a:lnTo>
                  <a:lnTo>
                    <a:pt x="340" y="204"/>
                  </a:lnTo>
                  <a:lnTo>
                    <a:pt x="342" y="204"/>
                  </a:lnTo>
                  <a:lnTo>
                    <a:pt x="344" y="206"/>
                  </a:lnTo>
                  <a:lnTo>
                    <a:pt x="348" y="202"/>
                  </a:lnTo>
                  <a:lnTo>
                    <a:pt x="350" y="198"/>
                  </a:lnTo>
                  <a:lnTo>
                    <a:pt x="350" y="192"/>
                  </a:lnTo>
                  <a:lnTo>
                    <a:pt x="348" y="188"/>
                  </a:lnTo>
                  <a:lnTo>
                    <a:pt x="342" y="178"/>
                  </a:lnTo>
                  <a:lnTo>
                    <a:pt x="336" y="180"/>
                  </a:lnTo>
                  <a:lnTo>
                    <a:pt x="334" y="180"/>
                  </a:lnTo>
                  <a:lnTo>
                    <a:pt x="332" y="180"/>
                  </a:lnTo>
                  <a:lnTo>
                    <a:pt x="330" y="178"/>
                  </a:lnTo>
                  <a:close/>
                  <a:moveTo>
                    <a:pt x="324" y="178"/>
                  </a:moveTo>
                  <a:lnTo>
                    <a:pt x="324" y="178"/>
                  </a:lnTo>
                  <a:lnTo>
                    <a:pt x="322" y="180"/>
                  </a:lnTo>
                  <a:lnTo>
                    <a:pt x="316" y="182"/>
                  </a:lnTo>
                  <a:lnTo>
                    <a:pt x="316" y="184"/>
                  </a:lnTo>
                  <a:lnTo>
                    <a:pt x="316" y="186"/>
                  </a:lnTo>
                  <a:lnTo>
                    <a:pt x="318" y="186"/>
                  </a:lnTo>
                  <a:lnTo>
                    <a:pt x="324" y="180"/>
                  </a:lnTo>
                  <a:lnTo>
                    <a:pt x="326" y="178"/>
                  </a:lnTo>
                  <a:lnTo>
                    <a:pt x="324" y="178"/>
                  </a:lnTo>
                  <a:close/>
                  <a:moveTo>
                    <a:pt x="76" y="168"/>
                  </a:moveTo>
                  <a:lnTo>
                    <a:pt x="76" y="168"/>
                  </a:lnTo>
                  <a:lnTo>
                    <a:pt x="74" y="170"/>
                  </a:lnTo>
                  <a:lnTo>
                    <a:pt x="74" y="172"/>
                  </a:lnTo>
                  <a:lnTo>
                    <a:pt x="74" y="176"/>
                  </a:lnTo>
                  <a:lnTo>
                    <a:pt x="70" y="178"/>
                  </a:lnTo>
                  <a:lnTo>
                    <a:pt x="66" y="180"/>
                  </a:lnTo>
                  <a:lnTo>
                    <a:pt x="64" y="184"/>
                  </a:lnTo>
                  <a:lnTo>
                    <a:pt x="66" y="188"/>
                  </a:lnTo>
                  <a:lnTo>
                    <a:pt x="70" y="188"/>
                  </a:lnTo>
                  <a:lnTo>
                    <a:pt x="74" y="188"/>
                  </a:lnTo>
                  <a:lnTo>
                    <a:pt x="78" y="176"/>
                  </a:lnTo>
                  <a:lnTo>
                    <a:pt x="80" y="170"/>
                  </a:lnTo>
                  <a:lnTo>
                    <a:pt x="78" y="168"/>
                  </a:lnTo>
                  <a:lnTo>
                    <a:pt x="76" y="168"/>
                  </a:lnTo>
                  <a:close/>
                  <a:moveTo>
                    <a:pt x="98" y="160"/>
                  </a:moveTo>
                  <a:lnTo>
                    <a:pt x="98" y="164"/>
                  </a:lnTo>
                  <a:lnTo>
                    <a:pt x="102" y="164"/>
                  </a:lnTo>
                  <a:lnTo>
                    <a:pt x="102" y="162"/>
                  </a:lnTo>
                  <a:lnTo>
                    <a:pt x="102" y="160"/>
                  </a:lnTo>
                  <a:lnTo>
                    <a:pt x="98" y="160"/>
                  </a:lnTo>
                  <a:close/>
                  <a:moveTo>
                    <a:pt x="468" y="152"/>
                  </a:moveTo>
                  <a:lnTo>
                    <a:pt x="468" y="152"/>
                  </a:lnTo>
                  <a:lnTo>
                    <a:pt x="472" y="158"/>
                  </a:lnTo>
                  <a:lnTo>
                    <a:pt x="472" y="160"/>
                  </a:lnTo>
                  <a:lnTo>
                    <a:pt x="470" y="160"/>
                  </a:lnTo>
                  <a:lnTo>
                    <a:pt x="468" y="156"/>
                  </a:lnTo>
                  <a:lnTo>
                    <a:pt x="468" y="154"/>
                  </a:lnTo>
                  <a:lnTo>
                    <a:pt x="468" y="152"/>
                  </a:lnTo>
                  <a:close/>
                  <a:moveTo>
                    <a:pt x="384" y="152"/>
                  </a:moveTo>
                  <a:lnTo>
                    <a:pt x="384" y="152"/>
                  </a:lnTo>
                  <a:lnTo>
                    <a:pt x="386" y="152"/>
                  </a:lnTo>
                  <a:lnTo>
                    <a:pt x="384" y="152"/>
                  </a:lnTo>
                  <a:lnTo>
                    <a:pt x="380" y="152"/>
                  </a:lnTo>
                  <a:lnTo>
                    <a:pt x="386" y="160"/>
                  </a:lnTo>
                  <a:lnTo>
                    <a:pt x="390" y="160"/>
                  </a:lnTo>
                  <a:lnTo>
                    <a:pt x="390" y="158"/>
                  </a:lnTo>
                  <a:lnTo>
                    <a:pt x="390" y="152"/>
                  </a:lnTo>
                  <a:lnTo>
                    <a:pt x="384" y="152"/>
                  </a:lnTo>
                  <a:close/>
                  <a:moveTo>
                    <a:pt x="232" y="152"/>
                  </a:moveTo>
                  <a:lnTo>
                    <a:pt x="232" y="152"/>
                  </a:lnTo>
                  <a:lnTo>
                    <a:pt x="230" y="154"/>
                  </a:lnTo>
                  <a:lnTo>
                    <a:pt x="230" y="158"/>
                  </a:lnTo>
                  <a:lnTo>
                    <a:pt x="232" y="162"/>
                  </a:lnTo>
                  <a:lnTo>
                    <a:pt x="232" y="160"/>
                  </a:lnTo>
                  <a:lnTo>
                    <a:pt x="232" y="162"/>
                  </a:lnTo>
                  <a:lnTo>
                    <a:pt x="230" y="164"/>
                  </a:lnTo>
                  <a:lnTo>
                    <a:pt x="230" y="168"/>
                  </a:lnTo>
                  <a:lnTo>
                    <a:pt x="240" y="166"/>
                  </a:lnTo>
                  <a:lnTo>
                    <a:pt x="244" y="168"/>
                  </a:lnTo>
                  <a:lnTo>
                    <a:pt x="246" y="168"/>
                  </a:lnTo>
                  <a:lnTo>
                    <a:pt x="244" y="168"/>
                  </a:lnTo>
                  <a:lnTo>
                    <a:pt x="236" y="172"/>
                  </a:lnTo>
                  <a:lnTo>
                    <a:pt x="234" y="174"/>
                  </a:lnTo>
                  <a:lnTo>
                    <a:pt x="238" y="174"/>
                  </a:lnTo>
                  <a:lnTo>
                    <a:pt x="242" y="174"/>
                  </a:lnTo>
                  <a:lnTo>
                    <a:pt x="240" y="176"/>
                  </a:lnTo>
                  <a:lnTo>
                    <a:pt x="240" y="178"/>
                  </a:lnTo>
                  <a:lnTo>
                    <a:pt x="236" y="182"/>
                  </a:lnTo>
                  <a:lnTo>
                    <a:pt x="236" y="184"/>
                  </a:lnTo>
                  <a:lnTo>
                    <a:pt x="238" y="184"/>
                  </a:lnTo>
                  <a:lnTo>
                    <a:pt x="244" y="184"/>
                  </a:lnTo>
                  <a:lnTo>
                    <a:pt x="248" y="182"/>
                  </a:lnTo>
                  <a:lnTo>
                    <a:pt x="256" y="176"/>
                  </a:lnTo>
                  <a:lnTo>
                    <a:pt x="254" y="174"/>
                  </a:lnTo>
                  <a:lnTo>
                    <a:pt x="254" y="172"/>
                  </a:lnTo>
                  <a:lnTo>
                    <a:pt x="256" y="170"/>
                  </a:lnTo>
                  <a:lnTo>
                    <a:pt x="254" y="164"/>
                  </a:lnTo>
                  <a:lnTo>
                    <a:pt x="248" y="166"/>
                  </a:lnTo>
                  <a:lnTo>
                    <a:pt x="248" y="158"/>
                  </a:lnTo>
                  <a:lnTo>
                    <a:pt x="242" y="158"/>
                  </a:lnTo>
                  <a:lnTo>
                    <a:pt x="240" y="158"/>
                  </a:lnTo>
                  <a:lnTo>
                    <a:pt x="242" y="152"/>
                  </a:lnTo>
                  <a:lnTo>
                    <a:pt x="236" y="152"/>
                  </a:lnTo>
                  <a:lnTo>
                    <a:pt x="232" y="152"/>
                  </a:lnTo>
                  <a:close/>
                  <a:moveTo>
                    <a:pt x="280" y="150"/>
                  </a:moveTo>
                  <a:lnTo>
                    <a:pt x="280" y="150"/>
                  </a:lnTo>
                  <a:lnTo>
                    <a:pt x="276" y="150"/>
                  </a:lnTo>
                  <a:lnTo>
                    <a:pt x="274" y="152"/>
                  </a:lnTo>
                  <a:lnTo>
                    <a:pt x="276" y="154"/>
                  </a:lnTo>
                  <a:lnTo>
                    <a:pt x="282" y="156"/>
                  </a:lnTo>
                  <a:lnTo>
                    <a:pt x="282" y="160"/>
                  </a:lnTo>
                  <a:lnTo>
                    <a:pt x="272" y="160"/>
                  </a:lnTo>
                  <a:lnTo>
                    <a:pt x="276" y="164"/>
                  </a:lnTo>
                  <a:lnTo>
                    <a:pt x="278" y="166"/>
                  </a:lnTo>
                  <a:lnTo>
                    <a:pt x="280" y="166"/>
                  </a:lnTo>
                  <a:lnTo>
                    <a:pt x="280" y="168"/>
                  </a:lnTo>
                  <a:lnTo>
                    <a:pt x="278" y="170"/>
                  </a:lnTo>
                  <a:lnTo>
                    <a:pt x="278" y="172"/>
                  </a:lnTo>
                  <a:lnTo>
                    <a:pt x="282" y="174"/>
                  </a:lnTo>
                  <a:lnTo>
                    <a:pt x="280" y="176"/>
                  </a:lnTo>
                  <a:lnTo>
                    <a:pt x="280" y="178"/>
                  </a:lnTo>
                  <a:lnTo>
                    <a:pt x="274" y="178"/>
                  </a:lnTo>
                  <a:lnTo>
                    <a:pt x="276" y="172"/>
                  </a:lnTo>
                  <a:lnTo>
                    <a:pt x="270" y="166"/>
                  </a:lnTo>
                  <a:lnTo>
                    <a:pt x="264" y="158"/>
                  </a:lnTo>
                  <a:lnTo>
                    <a:pt x="258" y="158"/>
                  </a:lnTo>
                  <a:lnTo>
                    <a:pt x="258" y="164"/>
                  </a:lnTo>
                  <a:lnTo>
                    <a:pt x="260" y="164"/>
                  </a:lnTo>
                  <a:lnTo>
                    <a:pt x="260" y="166"/>
                  </a:lnTo>
                  <a:lnTo>
                    <a:pt x="258" y="170"/>
                  </a:lnTo>
                  <a:lnTo>
                    <a:pt x="264" y="174"/>
                  </a:lnTo>
                  <a:lnTo>
                    <a:pt x="264" y="180"/>
                  </a:lnTo>
                  <a:lnTo>
                    <a:pt x="252" y="180"/>
                  </a:lnTo>
                  <a:lnTo>
                    <a:pt x="252" y="184"/>
                  </a:lnTo>
                  <a:lnTo>
                    <a:pt x="250" y="184"/>
                  </a:lnTo>
                  <a:lnTo>
                    <a:pt x="252" y="188"/>
                  </a:lnTo>
                  <a:lnTo>
                    <a:pt x="252" y="192"/>
                  </a:lnTo>
                  <a:lnTo>
                    <a:pt x="264" y="186"/>
                  </a:lnTo>
                  <a:lnTo>
                    <a:pt x="278" y="182"/>
                  </a:lnTo>
                  <a:lnTo>
                    <a:pt x="280" y="182"/>
                  </a:lnTo>
                  <a:lnTo>
                    <a:pt x="282" y="184"/>
                  </a:lnTo>
                  <a:lnTo>
                    <a:pt x="272" y="190"/>
                  </a:lnTo>
                  <a:lnTo>
                    <a:pt x="274" y="198"/>
                  </a:lnTo>
                  <a:lnTo>
                    <a:pt x="280" y="198"/>
                  </a:lnTo>
                  <a:lnTo>
                    <a:pt x="286" y="198"/>
                  </a:lnTo>
                  <a:lnTo>
                    <a:pt x="296" y="196"/>
                  </a:lnTo>
                  <a:lnTo>
                    <a:pt x="304" y="196"/>
                  </a:lnTo>
                  <a:lnTo>
                    <a:pt x="310" y="196"/>
                  </a:lnTo>
                  <a:lnTo>
                    <a:pt x="310" y="194"/>
                  </a:lnTo>
                  <a:lnTo>
                    <a:pt x="312" y="192"/>
                  </a:lnTo>
                  <a:lnTo>
                    <a:pt x="310" y="188"/>
                  </a:lnTo>
                  <a:lnTo>
                    <a:pt x="308" y="186"/>
                  </a:lnTo>
                  <a:lnTo>
                    <a:pt x="308" y="188"/>
                  </a:lnTo>
                  <a:lnTo>
                    <a:pt x="310" y="184"/>
                  </a:lnTo>
                  <a:lnTo>
                    <a:pt x="310" y="178"/>
                  </a:lnTo>
                  <a:lnTo>
                    <a:pt x="304" y="178"/>
                  </a:lnTo>
                  <a:lnTo>
                    <a:pt x="304" y="174"/>
                  </a:lnTo>
                  <a:lnTo>
                    <a:pt x="304" y="168"/>
                  </a:lnTo>
                  <a:lnTo>
                    <a:pt x="304" y="164"/>
                  </a:lnTo>
                  <a:lnTo>
                    <a:pt x="302" y="160"/>
                  </a:lnTo>
                  <a:lnTo>
                    <a:pt x="296" y="158"/>
                  </a:lnTo>
                  <a:lnTo>
                    <a:pt x="296" y="156"/>
                  </a:lnTo>
                  <a:lnTo>
                    <a:pt x="296" y="154"/>
                  </a:lnTo>
                  <a:lnTo>
                    <a:pt x="294" y="152"/>
                  </a:lnTo>
                  <a:lnTo>
                    <a:pt x="292" y="152"/>
                  </a:lnTo>
                  <a:lnTo>
                    <a:pt x="290" y="154"/>
                  </a:lnTo>
                  <a:lnTo>
                    <a:pt x="290" y="158"/>
                  </a:lnTo>
                  <a:lnTo>
                    <a:pt x="292" y="158"/>
                  </a:lnTo>
                  <a:lnTo>
                    <a:pt x="294" y="158"/>
                  </a:lnTo>
                  <a:lnTo>
                    <a:pt x="292" y="160"/>
                  </a:lnTo>
                  <a:lnTo>
                    <a:pt x="288" y="160"/>
                  </a:lnTo>
                  <a:lnTo>
                    <a:pt x="286" y="160"/>
                  </a:lnTo>
                  <a:lnTo>
                    <a:pt x="284" y="158"/>
                  </a:lnTo>
                  <a:lnTo>
                    <a:pt x="286" y="158"/>
                  </a:lnTo>
                  <a:lnTo>
                    <a:pt x="280" y="150"/>
                  </a:lnTo>
                  <a:close/>
                  <a:moveTo>
                    <a:pt x="108" y="150"/>
                  </a:moveTo>
                  <a:lnTo>
                    <a:pt x="108" y="150"/>
                  </a:lnTo>
                  <a:lnTo>
                    <a:pt x="108" y="152"/>
                  </a:lnTo>
                  <a:lnTo>
                    <a:pt x="108" y="154"/>
                  </a:lnTo>
                  <a:lnTo>
                    <a:pt x="112" y="154"/>
                  </a:lnTo>
                  <a:lnTo>
                    <a:pt x="112" y="152"/>
                  </a:lnTo>
                  <a:lnTo>
                    <a:pt x="112" y="150"/>
                  </a:lnTo>
                  <a:lnTo>
                    <a:pt x="108" y="150"/>
                  </a:lnTo>
                  <a:close/>
                  <a:moveTo>
                    <a:pt x="326" y="148"/>
                  </a:moveTo>
                  <a:lnTo>
                    <a:pt x="326" y="148"/>
                  </a:lnTo>
                  <a:lnTo>
                    <a:pt x="322" y="150"/>
                  </a:lnTo>
                  <a:lnTo>
                    <a:pt x="320" y="152"/>
                  </a:lnTo>
                  <a:lnTo>
                    <a:pt x="324" y="160"/>
                  </a:lnTo>
                  <a:lnTo>
                    <a:pt x="330" y="164"/>
                  </a:lnTo>
                  <a:lnTo>
                    <a:pt x="336" y="164"/>
                  </a:lnTo>
                  <a:lnTo>
                    <a:pt x="340" y="164"/>
                  </a:lnTo>
                  <a:lnTo>
                    <a:pt x="344" y="168"/>
                  </a:lnTo>
                  <a:lnTo>
                    <a:pt x="348" y="168"/>
                  </a:lnTo>
                  <a:lnTo>
                    <a:pt x="350" y="166"/>
                  </a:lnTo>
                  <a:lnTo>
                    <a:pt x="352" y="166"/>
                  </a:lnTo>
                  <a:lnTo>
                    <a:pt x="354" y="164"/>
                  </a:lnTo>
                  <a:lnTo>
                    <a:pt x="356" y="168"/>
                  </a:lnTo>
                  <a:lnTo>
                    <a:pt x="364" y="172"/>
                  </a:lnTo>
                  <a:lnTo>
                    <a:pt x="368" y="174"/>
                  </a:lnTo>
                  <a:lnTo>
                    <a:pt x="372" y="180"/>
                  </a:lnTo>
                  <a:lnTo>
                    <a:pt x="370" y="188"/>
                  </a:lnTo>
                  <a:lnTo>
                    <a:pt x="368" y="194"/>
                  </a:lnTo>
                  <a:lnTo>
                    <a:pt x="370" y="202"/>
                  </a:lnTo>
                  <a:lnTo>
                    <a:pt x="372" y="210"/>
                  </a:lnTo>
                  <a:lnTo>
                    <a:pt x="378" y="208"/>
                  </a:lnTo>
                  <a:lnTo>
                    <a:pt x="378" y="206"/>
                  </a:lnTo>
                  <a:lnTo>
                    <a:pt x="380" y="206"/>
                  </a:lnTo>
                  <a:lnTo>
                    <a:pt x="382" y="208"/>
                  </a:lnTo>
                  <a:lnTo>
                    <a:pt x="382" y="210"/>
                  </a:lnTo>
                  <a:lnTo>
                    <a:pt x="386" y="208"/>
                  </a:lnTo>
                  <a:lnTo>
                    <a:pt x="388" y="206"/>
                  </a:lnTo>
                  <a:lnTo>
                    <a:pt x="398" y="204"/>
                  </a:lnTo>
                  <a:lnTo>
                    <a:pt x="402" y="198"/>
                  </a:lnTo>
                  <a:lnTo>
                    <a:pt x="406" y="208"/>
                  </a:lnTo>
                  <a:lnTo>
                    <a:pt x="414" y="208"/>
                  </a:lnTo>
                  <a:lnTo>
                    <a:pt x="422" y="208"/>
                  </a:lnTo>
                  <a:lnTo>
                    <a:pt x="426" y="204"/>
                  </a:lnTo>
                  <a:lnTo>
                    <a:pt x="428" y="204"/>
                  </a:lnTo>
                  <a:lnTo>
                    <a:pt x="430" y="208"/>
                  </a:lnTo>
                  <a:lnTo>
                    <a:pt x="440" y="206"/>
                  </a:lnTo>
                  <a:lnTo>
                    <a:pt x="440" y="208"/>
                  </a:lnTo>
                  <a:lnTo>
                    <a:pt x="442" y="208"/>
                  </a:lnTo>
                  <a:lnTo>
                    <a:pt x="454" y="206"/>
                  </a:lnTo>
                  <a:lnTo>
                    <a:pt x="458" y="206"/>
                  </a:lnTo>
                  <a:lnTo>
                    <a:pt x="462" y="206"/>
                  </a:lnTo>
                  <a:lnTo>
                    <a:pt x="466" y="204"/>
                  </a:lnTo>
                  <a:lnTo>
                    <a:pt x="464" y="202"/>
                  </a:lnTo>
                  <a:lnTo>
                    <a:pt x="468" y="200"/>
                  </a:lnTo>
                  <a:lnTo>
                    <a:pt x="470" y="204"/>
                  </a:lnTo>
                  <a:lnTo>
                    <a:pt x="472" y="206"/>
                  </a:lnTo>
                  <a:lnTo>
                    <a:pt x="474" y="204"/>
                  </a:lnTo>
                  <a:lnTo>
                    <a:pt x="476" y="204"/>
                  </a:lnTo>
                  <a:lnTo>
                    <a:pt x="476" y="206"/>
                  </a:lnTo>
                  <a:lnTo>
                    <a:pt x="488" y="206"/>
                  </a:lnTo>
                  <a:lnTo>
                    <a:pt x="502" y="206"/>
                  </a:lnTo>
                  <a:lnTo>
                    <a:pt x="502" y="200"/>
                  </a:lnTo>
                  <a:lnTo>
                    <a:pt x="502" y="196"/>
                  </a:lnTo>
                  <a:lnTo>
                    <a:pt x="504" y="194"/>
                  </a:lnTo>
                  <a:lnTo>
                    <a:pt x="506" y="192"/>
                  </a:lnTo>
                  <a:lnTo>
                    <a:pt x="510" y="192"/>
                  </a:lnTo>
                  <a:lnTo>
                    <a:pt x="510" y="188"/>
                  </a:lnTo>
                  <a:lnTo>
                    <a:pt x="510" y="186"/>
                  </a:lnTo>
                  <a:lnTo>
                    <a:pt x="498" y="178"/>
                  </a:lnTo>
                  <a:lnTo>
                    <a:pt x="494" y="180"/>
                  </a:lnTo>
                  <a:lnTo>
                    <a:pt x="492" y="180"/>
                  </a:lnTo>
                  <a:lnTo>
                    <a:pt x="490" y="180"/>
                  </a:lnTo>
                  <a:lnTo>
                    <a:pt x="488" y="180"/>
                  </a:lnTo>
                  <a:lnTo>
                    <a:pt x="484" y="176"/>
                  </a:lnTo>
                  <a:lnTo>
                    <a:pt x="478" y="174"/>
                  </a:lnTo>
                  <a:lnTo>
                    <a:pt x="472" y="174"/>
                  </a:lnTo>
                  <a:lnTo>
                    <a:pt x="470" y="178"/>
                  </a:lnTo>
                  <a:lnTo>
                    <a:pt x="468" y="178"/>
                  </a:lnTo>
                  <a:lnTo>
                    <a:pt x="466" y="176"/>
                  </a:lnTo>
                  <a:lnTo>
                    <a:pt x="462" y="176"/>
                  </a:lnTo>
                  <a:lnTo>
                    <a:pt x="462" y="174"/>
                  </a:lnTo>
                  <a:lnTo>
                    <a:pt x="458" y="174"/>
                  </a:lnTo>
                  <a:lnTo>
                    <a:pt x="450" y="178"/>
                  </a:lnTo>
                  <a:lnTo>
                    <a:pt x="434" y="180"/>
                  </a:lnTo>
                  <a:lnTo>
                    <a:pt x="428" y="180"/>
                  </a:lnTo>
                  <a:lnTo>
                    <a:pt x="420" y="178"/>
                  </a:lnTo>
                  <a:lnTo>
                    <a:pt x="420" y="184"/>
                  </a:lnTo>
                  <a:lnTo>
                    <a:pt x="418" y="182"/>
                  </a:lnTo>
                  <a:lnTo>
                    <a:pt x="416" y="180"/>
                  </a:lnTo>
                  <a:lnTo>
                    <a:pt x="414" y="180"/>
                  </a:lnTo>
                  <a:lnTo>
                    <a:pt x="412" y="182"/>
                  </a:lnTo>
                  <a:lnTo>
                    <a:pt x="410" y="182"/>
                  </a:lnTo>
                  <a:lnTo>
                    <a:pt x="398" y="178"/>
                  </a:lnTo>
                  <a:lnTo>
                    <a:pt x="398" y="180"/>
                  </a:lnTo>
                  <a:lnTo>
                    <a:pt x="396" y="180"/>
                  </a:lnTo>
                  <a:lnTo>
                    <a:pt x="396" y="174"/>
                  </a:lnTo>
                  <a:lnTo>
                    <a:pt x="386" y="176"/>
                  </a:lnTo>
                  <a:lnTo>
                    <a:pt x="386" y="172"/>
                  </a:lnTo>
                  <a:lnTo>
                    <a:pt x="380" y="170"/>
                  </a:lnTo>
                  <a:lnTo>
                    <a:pt x="386" y="172"/>
                  </a:lnTo>
                  <a:lnTo>
                    <a:pt x="390" y="172"/>
                  </a:lnTo>
                  <a:lnTo>
                    <a:pt x="392" y="170"/>
                  </a:lnTo>
                  <a:lnTo>
                    <a:pt x="394" y="168"/>
                  </a:lnTo>
                  <a:lnTo>
                    <a:pt x="394" y="164"/>
                  </a:lnTo>
                  <a:lnTo>
                    <a:pt x="390" y="164"/>
                  </a:lnTo>
                  <a:lnTo>
                    <a:pt x="380" y="162"/>
                  </a:lnTo>
                  <a:lnTo>
                    <a:pt x="378" y="158"/>
                  </a:lnTo>
                  <a:lnTo>
                    <a:pt x="376" y="154"/>
                  </a:lnTo>
                  <a:lnTo>
                    <a:pt x="372" y="154"/>
                  </a:lnTo>
                  <a:lnTo>
                    <a:pt x="368" y="156"/>
                  </a:lnTo>
                  <a:lnTo>
                    <a:pt x="362" y="158"/>
                  </a:lnTo>
                  <a:lnTo>
                    <a:pt x="356" y="158"/>
                  </a:lnTo>
                  <a:lnTo>
                    <a:pt x="354" y="154"/>
                  </a:lnTo>
                  <a:lnTo>
                    <a:pt x="352" y="152"/>
                  </a:lnTo>
                  <a:lnTo>
                    <a:pt x="338" y="148"/>
                  </a:lnTo>
                  <a:lnTo>
                    <a:pt x="326" y="148"/>
                  </a:lnTo>
                  <a:close/>
                  <a:moveTo>
                    <a:pt x="168" y="148"/>
                  </a:moveTo>
                  <a:lnTo>
                    <a:pt x="168" y="148"/>
                  </a:lnTo>
                  <a:lnTo>
                    <a:pt x="168" y="150"/>
                  </a:lnTo>
                  <a:lnTo>
                    <a:pt x="164" y="150"/>
                  </a:lnTo>
                  <a:lnTo>
                    <a:pt x="166" y="158"/>
                  </a:lnTo>
                  <a:lnTo>
                    <a:pt x="164" y="166"/>
                  </a:lnTo>
                  <a:lnTo>
                    <a:pt x="172" y="170"/>
                  </a:lnTo>
                  <a:lnTo>
                    <a:pt x="170" y="172"/>
                  </a:lnTo>
                  <a:lnTo>
                    <a:pt x="170" y="176"/>
                  </a:lnTo>
                  <a:lnTo>
                    <a:pt x="170" y="178"/>
                  </a:lnTo>
                  <a:lnTo>
                    <a:pt x="174" y="178"/>
                  </a:lnTo>
                  <a:lnTo>
                    <a:pt x="176" y="182"/>
                  </a:lnTo>
                  <a:lnTo>
                    <a:pt x="162" y="182"/>
                  </a:lnTo>
                  <a:lnTo>
                    <a:pt x="150" y="180"/>
                  </a:lnTo>
                  <a:lnTo>
                    <a:pt x="144" y="176"/>
                  </a:lnTo>
                  <a:lnTo>
                    <a:pt x="138" y="172"/>
                  </a:lnTo>
                  <a:lnTo>
                    <a:pt x="134" y="172"/>
                  </a:lnTo>
                  <a:lnTo>
                    <a:pt x="130" y="172"/>
                  </a:lnTo>
                  <a:lnTo>
                    <a:pt x="122" y="166"/>
                  </a:lnTo>
                  <a:lnTo>
                    <a:pt x="112" y="166"/>
                  </a:lnTo>
                  <a:lnTo>
                    <a:pt x="106" y="164"/>
                  </a:lnTo>
                  <a:lnTo>
                    <a:pt x="104" y="168"/>
                  </a:lnTo>
                  <a:lnTo>
                    <a:pt x="100" y="168"/>
                  </a:lnTo>
                  <a:lnTo>
                    <a:pt x="94" y="166"/>
                  </a:lnTo>
                  <a:lnTo>
                    <a:pt x="94" y="176"/>
                  </a:lnTo>
                  <a:lnTo>
                    <a:pt x="102" y="174"/>
                  </a:lnTo>
                  <a:lnTo>
                    <a:pt x="100" y="176"/>
                  </a:lnTo>
                  <a:lnTo>
                    <a:pt x="90" y="178"/>
                  </a:lnTo>
                  <a:lnTo>
                    <a:pt x="90" y="184"/>
                  </a:lnTo>
                  <a:lnTo>
                    <a:pt x="100" y="184"/>
                  </a:lnTo>
                  <a:lnTo>
                    <a:pt x="88" y="188"/>
                  </a:lnTo>
                  <a:lnTo>
                    <a:pt x="88" y="192"/>
                  </a:lnTo>
                  <a:lnTo>
                    <a:pt x="96" y="192"/>
                  </a:lnTo>
                  <a:lnTo>
                    <a:pt x="102" y="192"/>
                  </a:lnTo>
                  <a:lnTo>
                    <a:pt x="102" y="194"/>
                  </a:lnTo>
                  <a:lnTo>
                    <a:pt x="104" y="194"/>
                  </a:lnTo>
                  <a:lnTo>
                    <a:pt x="106" y="194"/>
                  </a:lnTo>
                  <a:lnTo>
                    <a:pt x="106" y="190"/>
                  </a:lnTo>
                  <a:lnTo>
                    <a:pt x="108" y="190"/>
                  </a:lnTo>
                  <a:lnTo>
                    <a:pt x="110" y="190"/>
                  </a:lnTo>
                  <a:lnTo>
                    <a:pt x="108" y="192"/>
                  </a:lnTo>
                  <a:lnTo>
                    <a:pt x="108" y="196"/>
                  </a:lnTo>
                  <a:lnTo>
                    <a:pt x="110" y="196"/>
                  </a:lnTo>
                  <a:lnTo>
                    <a:pt x="112" y="194"/>
                  </a:lnTo>
                  <a:lnTo>
                    <a:pt x="110" y="192"/>
                  </a:lnTo>
                  <a:lnTo>
                    <a:pt x="114" y="192"/>
                  </a:lnTo>
                  <a:lnTo>
                    <a:pt x="114" y="190"/>
                  </a:lnTo>
                  <a:lnTo>
                    <a:pt x="114" y="186"/>
                  </a:lnTo>
                  <a:lnTo>
                    <a:pt x="112" y="182"/>
                  </a:lnTo>
                  <a:lnTo>
                    <a:pt x="114" y="178"/>
                  </a:lnTo>
                  <a:lnTo>
                    <a:pt x="116" y="178"/>
                  </a:lnTo>
                  <a:lnTo>
                    <a:pt x="118" y="178"/>
                  </a:lnTo>
                  <a:lnTo>
                    <a:pt x="120" y="182"/>
                  </a:lnTo>
                  <a:lnTo>
                    <a:pt x="118" y="192"/>
                  </a:lnTo>
                  <a:lnTo>
                    <a:pt x="136" y="190"/>
                  </a:lnTo>
                  <a:lnTo>
                    <a:pt x="136" y="186"/>
                  </a:lnTo>
                  <a:lnTo>
                    <a:pt x="138" y="186"/>
                  </a:lnTo>
                  <a:lnTo>
                    <a:pt x="142" y="188"/>
                  </a:lnTo>
                  <a:lnTo>
                    <a:pt x="148" y="190"/>
                  </a:lnTo>
                  <a:lnTo>
                    <a:pt x="152" y="190"/>
                  </a:lnTo>
                  <a:lnTo>
                    <a:pt x="158" y="184"/>
                  </a:lnTo>
                  <a:lnTo>
                    <a:pt x="154" y="192"/>
                  </a:lnTo>
                  <a:lnTo>
                    <a:pt x="148" y="194"/>
                  </a:lnTo>
                  <a:lnTo>
                    <a:pt x="144" y="196"/>
                  </a:lnTo>
                  <a:lnTo>
                    <a:pt x="140" y="196"/>
                  </a:lnTo>
                  <a:lnTo>
                    <a:pt x="132" y="196"/>
                  </a:lnTo>
                  <a:lnTo>
                    <a:pt x="120" y="204"/>
                  </a:lnTo>
                  <a:lnTo>
                    <a:pt x="120" y="206"/>
                  </a:lnTo>
                  <a:lnTo>
                    <a:pt x="122" y="210"/>
                  </a:lnTo>
                  <a:lnTo>
                    <a:pt x="128" y="212"/>
                  </a:lnTo>
                  <a:lnTo>
                    <a:pt x="134" y="212"/>
                  </a:lnTo>
                  <a:lnTo>
                    <a:pt x="138" y="210"/>
                  </a:lnTo>
                  <a:lnTo>
                    <a:pt x="142" y="208"/>
                  </a:lnTo>
                  <a:lnTo>
                    <a:pt x="146" y="204"/>
                  </a:lnTo>
                  <a:lnTo>
                    <a:pt x="150" y="200"/>
                  </a:lnTo>
                  <a:lnTo>
                    <a:pt x="152" y="196"/>
                  </a:lnTo>
                  <a:lnTo>
                    <a:pt x="162" y="198"/>
                  </a:lnTo>
                  <a:lnTo>
                    <a:pt x="174" y="192"/>
                  </a:lnTo>
                  <a:lnTo>
                    <a:pt x="178" y="194"/>
                  </a:lnTo>
                  <a:lnTo>
                    <a:pt x="180" y="196"/>
                  </a:lnTo>
                  <a:lnTo>
                    <a:pt x="184" y="198"/>
                  </a:lnTo>
                  <a:lnTo>
                    <a:pt x="190" y="196"/>
                  </a:lnTo>
                  <a:lnTo>
                    <a:pt x="190" y="192"/>
                  </a:lnTo>
                  <a:lnTo>
                    <a:pt x="192" y="192"/>
                  </a:lnTo>
                  <a:lnTo>
                    <a:pt x="194" y="192"/>
                  </a:lnTo>
                  <a:lnTo>
                    <a:pt x="192" y="192"/>
                  </a:lnTo>
                  <a:lnTo>
                    <a:pt x="202" y="192"/>
                  </a:lnTo>
                  <a:lnTo>
                    <a:pt x="210" y="190"/>
                  </a:lnTo>
                  <a:lnTo>
                    <a:pt x="212" y="188"/>
                  </a:lnTo>
                  <a:lnTo>
                    <a:pt x="214" y="184"/>
                  </a:lnTo>
                  <a:lnTo>
                    <a:pt x="212" y="174"/>
                  </a:lnTo>
                  <a:lnTo>
                    <a:pt x="210" y="168"/>
                  </a:lnTo>
                  <a:lnTo>
                    <a:pt x="208" y="166"/>
                  </a:lnTo>
                  <a:lnTo>
                    <a:pt x="204" y="166"/>
                  </a:lnTo>
                  <a:lnTo>
                    <a:pt x="202" y="164"/>
                  </a:lnTo>
                  <a:lnTo>
                    <a:pt x="202" y="166"/>
                  </a:lnTo>
                  <a:lnTo>
                    <a:pt x="202" y="172"/>
                  </a:lnTo>
                  <a:lnTo>
                    <a:pt x="202" y="178"/>
                  </a:lnTo>
                  <a:lnTo>
                    <a:pt x="198" y="178"/>
                  </a:lnTo>
                  <a:lnTo>
                    <a:pt x="198" y="176"/>
                  </a:lnTo>
                  <a:lnTo>
                    <a:pt x="198" y="174"/>
                  </a:lnTo>
                  <a:lnTo>
                    <a:pt x="198" y="172"/>
                  </a:lnTo>
                  <a:lnTo>
                    <a:pt x="196" y="172"/>
                  </a:lnTo>
                  <a:lnTo>
                    <a:pt x="194" y="172"/>
                  </a:lnTo>
                  <a:lnTo>
                    <a:pt x="192" y="174"/>
                  </a:lnTo>
                  <a:lnTo>
                    <a:pt x="192" y="170"/>
                  </a:lnTo>
                  <a:lnTo>
                    <a:pt x="192" y="164"/>
                  </a:lnTo>
                  <a:lnTo>
                    <a:pt x="186" y="166"/>
                  </a:lnTo>
                  <a:lnTo>
                    <a:pt x="182" y="164"/>
                  </a:lnTo>
                  <a:lnTo>
                    <a:pt x="172" y="156"/>
                  </a:lnTo>
                  <a:lnTo>
                    <a:pt x="174" y="154"/>
                  </a:lnTo>
                  <a:lnTo>
                    <a:pt x="174" y="152"/>
                  </a:lnTo>
                  <a:lnTo>
                    <a:pt x="168" y="148"/>
                  </a:lnTo>
                  <a:close/>
                  <a:moveTo>
                    <a:pt x="346" y="132"/>
                  </a:moveTo>
                  <a:lnTo>
                    <a:pt x="346" y="132"/>
                  </a:lnTo>
                  <a:lnTo>
                    <a:pt x="334" y="138"/>
                  </a:lnTo>
                  <a:lnTo>
                    <a:pt x="330" y="138"/>
                  </a:lnTo>
                  <a:lnTo>
                    <a:pt x="328" y="136"/>
                  </a:lnTo>
                  <a:lnTo>
                    <a:pt x="326" y="136"/>
                  </a:lnTo>
                  <a:lnTo>
                    <a:pt x="324" y="140"/>
                  </a:lnTo>
                  <a:lnTo>
                    <a:pt x="326" y="140"/>
                  </a:lnTo>
                  <a:lnTo>
                    <a:pt x="330" y="138"/>
                  </a:lnTo>
                  <a:lnTo>
                    <a:pt x="338" y="142"/>
                  </a:lnTo>
                  <a:lnTo>
                    <a:pt x="346" y="144"/>
                  </a:lnTo>
                  <a:lnTo>
                    <a:pt x="352" y="144"/>
                  </a:lnTo>
                  <a:lnTo>
                    <a:pt x="358" y="142"/>
                  </a:lnTo>
                  <a:lnTo>
                    <a:pt x="360" y="140"/>
                  </a:lnTo>
                  <a:lnTo>
                    <a:pt x="360" y="136"/>
                  </a:lnTo>
                  <a:lnTo>
                    <a:pt x="360" y="134"/>
                  </a:lnTo>
                  <a:lnTo>
                    <a:pt x="358" y="132"/>
                  </a:lnTo>
                  <a:lnTo>
                    <a:pt x="352" y="132"/>
                  </a:lnTo>
                  <a:lnTo>
                    <a:pt x="346" y="132"/>
                  </a:lnTo>
                  <a:close/>
                  <a:moveTo>
                    <a:pt x="386" y="128"/>
                  </a:moveTo>
                  <a:lnTo>
                    <a:pt x="386" y="128"/>
                  </a:lnTo>
                  <a:lnTo>
                    <a:pt x="380" y="136"/>
                  </a:lnTo>
                  <a:lnTo>
                    <a:pt x="382" y="138"/>
                  </a:lnTo>
                  <a:lnTo>
                    <a:pt x="382" y="140"/>
                  </a:lnTo>
                  <a:lnTo>
                    <a:pt x="390" y="140"/>
                  </a:lnTo>
                  <a:lnTo>
                    <a:pt x="394" y="132"/>
                  </a:lnTo>
                  <a:lnTo>
                    <a:pt x="386" y="128"/>
                  </a:lnTo>
                  <a:close/>
                  <a:moveTo>
                    <a:pt x="260" y="128"/>
                  </a:moveTo>
                  <a:lnTo>
                    <a:pt x="260" y="128"/>
                  </a:lnTo>
                  <a:lnTo>
                    <a:pt x="258" y="134"/>
                  </a:lnTo>
                  <a:lnTo>
                    <a:pt x="264" y="138"/>
                  </a:lnTo>
                  <a:lnTo>
                    <a:pt x="264" y="136"/>
                  </a:lnTo>
                  <a:lnTo>
                    <a:pt x="266" y="136"/>
                  </a:lnTo>
                  <a:lnTo>
                    <a:pt x="268" y="134"/>
                  </a:lnTo>
                  <a:lnTo>
                    <a:pt x="268" y="132"/>
                  </a:lnTo>
                  <a:lnTo>
                    <a:pt x="260" y="128"/>
                  </a:lnTo>
                  <a:close/>
                  <a:moveTo>
                    <a:pt x="220" y="128"/>
                  </a:moveTo>
                  <a:lnTo>
                    <a:pt x="220" y="128"/>
                  </a:lnTo>
                  <a:lnTo>
                    <a:pt x="224" y="142"/>
                  </a:lnTo>
                  <a:lnTo>
                    <a:pt x="228" y="142"/>
                  </a:lnTo>
                  <a:lnTo>
                    <a:pt x="228" y="136"/>
                  </a:lnTo>
                  <a:lnTo>
                    <a:pt x="224" y="128"/>
                  </a:lnTo>
                  <a:lnTo>
                    <a:pt x="220" y="128"/>
                  </a:lnTo>
                  <a:close/>
                  <a:moveTo>
                    <a:pt x="86" y="126"/>
                  </a:moveTo>
                  <a:lnTo>
                    <a:pt x="86" y="126"/>
                  </a:lnTo>
                  <a:lnTo>
                    <a:pt x="84" y="130"/>
                  </a:lnTo>
                  <a:lnTo>
                    <a:pt x="82" y="132"/>
                  </a:lnTo>
                  <a:lnTo>
                    <a:pt x="80" y="134"/>
                  </a:lnTo>
                  <a:lnTo>
                    <a:pt x="78" y="136"/>
                  </a:lnTo>
                  <a:lnTo>
                    <a:pt x="74" y="138"/>
                  </a:lnTo>
                  <a:lnTo>
                    <a:pt x="68" y="134"/>
                  </a:lnTo>
                  <a:lnTo>
                    <a:pt x="58" y="134"/>
                  </a:lnTo>
                  <a:lnTo>
                    <a:pt x="50" y="138"/>
                  </a:lnTo>
                  <a:lnTo>
                    <a:pt x="42" y="144"/>
                  </a:lnTo>
                  <a:lnTo>
                    <a:pt x="36" y="150"/>
                  </a:lnTo>
                  <a:lnTo>
                    <a:pt x="34" y="150"/>
                  </a:lnTo>
                  <a:lnTo>
                    <a:pt x="32" y="148"/>
                  </a:lnTo>
                  <a:lnTo>
                    <a:pt x="30" y="148"/>
                  </a:lnTo>
                  <a:lnTo>
                    <a:pt x="28" y="150"/>
                  </a:lnTo>
                  <a:lnTo>
                    <a:pt x="26" y="154"/>
                  </a:lnTo>
                  <a:lnTo>
                    <a:pt x="24" y="154"/>
                  </a:lnTo>
                  <a:lnTo>
                    <a:pt x="24" y="160"/>
                  </a:lnTo>
                  <a:lnTo>
                    <a:pt x="20" y="160"/>
                  </a:lnTo>
                  <a:lnTo>
                    <a:pt x="14" y="160"/>
                  </a:lnTo>
                  <a:lnTo>
                    <a:pt x="6" y="164"/>
                  </a:lnTo>
                  <a:lnTo>
                    <a:pt x="12" y="172"/>
                  </a:lnTo>
                  <a:lnTo>
                    <a:pt x="18" y="178"/>
                  </a:lnTo>
                  <a:lnTo>
                    <a:pt x="28" y="174"/>
                  </a:lnTo>
                  <a:lnTo>
                    <a:pt x="28" y="176"/>
                  </a:lnTo>
                  <a:lnTo>
                    <a:pt x="30" y="176"/>
                  </a:lnTo>
                  <a:lnTo>
                    <a:pt x="32" y="178"/>
                  </a:lnTo>
                  <a:lnTo>
                    <a:pt x="34" y="176"/>
                  </a:lnTo>
                  <a:lnTo>
                    <a:pt x="36" y="174"/>
                  </a:lnTo>
                  <a:lnTo>
                    <a:pt x="38" y="174"/>
                  </a:lnTo>
                  <a:lnTo>
                    <a:pt x="40" y="176"/>
                  </a:lnTo>
                  <a:lnTo>
                    <a:pt x="40" y="168"/>
                  </a:lnTo>
                  <a:lnTo>
                    <a:pt x="42" y="176"/>
                  </a:lnTo>
                  <a:lnTo>
                    <a:pt x="48" y="178"/>
                  </a:lnTo>
                  <a:lnTo>
                    <a:pt x="54" y="172"/>
                  </a:lnTo>
                  <a:lnTo>
                    <a:pt x="54" y="166"/>
                  </a:lnTo>
                  <a:lnTo>
                    <a:pt x="58" y="168"/>
                  </a:lnTo>
                  <a:lnTo>
                    <a:pt x="58" y="164"/>
                  </a:lnTo>
                  <a:lnTo>
                    <a:pt x="62" y="164"/>
                  </a:lnTo>
                  <a:lnTo>
                    <a:pt x="62" y="160"/>
                  </a:lnTo>
                  <a:lnTo>
                    <a:pt x="62" y="154"/>
                  </a:lnTo>
                  <a:lnTo>
                    <a:pt x="64" y="154"/>
                  </a:lnTo>
                  <a:lnTo>
                    <a:pt x="68" y="156"/>
                  </a:lnTo>
                  <a:lnTo>
                    <a:pt x="68" y="150"/>
                  </a:lnTo>
                  <a:lnTo>
                    <a:pt x="74" y="150"/>
                  </a:lnTo>
                  <a:lnTo>
                    <a:pt x="68" y="162"/>
                  </a:lnTo>
                  <a:lnTo>
                    <a:pt x="72" y="162"/>
                  </a:lnTo>
                  <a:lnTo>
                    <a:pt x="76" y="164"/>
                  </a:lnTo>
                  <a:lnTo>
                    <a:pt x="80" y="160"/>
                  </a:lnTo>
                  <a:lnTo>
                    <a:pt x="86" y="154"/>
                  </a:lnTo>
                  <a:lnTo>
                    <a:pt x="88" y="150"/>
                  </a:lnTo>
                  <a:lnTo>
                    <a:pt x="88" y="148"/>
                  </a:lnTo>
                  <a:lnTo>
                    <a:pt x="86" y="146"/>
                  </a:lnTo>
                  <a:lnTo>
                    <a:pt x="90" y="146"/>
                  </a:lnTo>
                  <a:lnTo>
                    <a:pt x="96" y="148"/>
                  </a:lnTo>
                  <a:lnTo>
                    <a:pt x="96" y="146"/>
                  </a:lnTo>
                  <a:lnTo>
                    <a:pt x="94" y="144"/>
                  </a:lnTo>
                  <a:lnTo>
                    <a:pt x="94" y="142"/>
                  </a:lnTo>
                  <a:lnTo>
                    <a:pt x="98" y="142"/>
                  </a:lnTo>
                  <a:lnTo>
                    <a:pt x="98" y="140"/>
                  </a:lnTo>
                  <a:lnTo>
                    <a:pt x="98" y="138"/>
                  </a:lnTo>
                  <a:lnTo>
                    <a:pt x="100" y="138"/>
                  </a:lnTo>
                  <a:lnTo>
                    <a:pt x="100" y="132"/>
                  </a:lnTo>
                  <a:lnTo>
                    <a:pt x="96" y="130"/>
                  </a:lnTo>
                  <a:lnTo>
                    <a:pt x="86" y="126"/>
                  </a:lnTo>
                  <a:close/>
                  <a:moveTo>
                    <a:pt x="476" y="124"/>
                  </a:moveTo>
                  <a:lnTo>
                    <a:pt x="476" y="124"/>
                  </a:lnTo>
                  <a:lnTo>
                    <a:pt x="476" y="126"/>
                  </a:lnTo>
                  <a:lnTo>
                    <a:pt x="476" y="128"/>
                  </a:lnTo>
                  <a:lnTo>
                    <a:pt x="474" y="128"/>
                  </a:lnTo>
                  <a:lnTo>
                    <a:pt x="474" y="126"/>
                  </a:lnTo>
                  <a:lnTo>
                    <a:pt x="474" y="124"/>
                  </a:lnTo>
                  <a:lnTo>
                    <a:pt x="476" y="124"/>
                  </a:lnTo>
                  <a:close/>
                  <a:moveTo>
                    <a:pt x="158" y="124"/>
                  </a:moveTo>
                  <a:lnTo>
                    <a:pt x="156" y="126"/>
                  </a:lnTo>
                  <a:lnTo>
                    <a:pt x="154" y="126"/>
                  </a:lnTo>
                  <a:lnTo>
                    <a:pt x="150" y="124"/>
                  </a:lnTo>
                  <a:lnTo>
                    <a:pt x="142" y="130"/>
                  </a:lnTo>
                  <a:lnTo>
                    <a:pt x="138" y="132"/>
                  </a:lnTo>
                  <a:lnTo>
                    <a:pt x="134" y="134"/>
                  </a:lnTo>
                  <a:lnTo>
                    <a:pt x="130" y="132"/>
                  </a:lnTo>
                  <a:lnTo>
                    <a:pt x="128" y="132"/>
                  </a:lnTo>
                  <a:lnTo>
                    <a:pt x="128" y="148"/>
                  </a:lnTo>
                  <a:lnTo>
                    <a:pt x="136" y="152"/>
                  </a:lnTo>
                  <a:lnTo>
                    <a:pt x="148" y="150"/>
                  </a:lnTo>
                  <a:lnTo>
                    <a:pt x="158" y="148"/>
                  </a:lnTo>
                  <a:lnTo>
                    <a:pt x="160" y="144"/>
                  </a:lnTo>
                  <a:lnTo>
                    <a:pt x="162" y="138"/>
                  </a:lnTo>
                  <a:lnTo>
                    <a:pt x="160" y="136"/>
                  </a:lnTo>
                  <a:lnTo>
                    <a:pt x="158" y="134"/>
                  </a:lnTo>
                  <a:lnTo>
                    <a:pt x="162" y="134"/>
                  </a:lnTo>
                  <a:lnTo>
                    <a:pt x="164" y="134"/>
                  </a:lnTo>
                  <a:lnTo>
                    <a:pt x="168" y="130"/>
                  </a:lnTo>
                  <a:lnTo>
                    <a:pt x="168" y="128"/>
                  </a:lnTo>
                  <a:lnTo>
                    <a:pt x="164" y="124"/>
                  </a:lnTo>
                  <a:lnTo>
                    <a:pt x="158" y="124"/>
                  </a:lnTo>
                  <a:close/>
                  <a:moveTo>
                    <a:pt x="110" y="120"/>
                  </a:moveTo>
                  <a:lnTo>
                    <a:pt x="110" y="120"/>
                  </a:lnTo>
                  <a:lnTo>
                    <a:pt x="104" y="124"/>
                  </a:lnTo>
                  <a:lnTo>
                    <a:pt x="104" y="130"/>
                  </a:lnTo>
                  <a:lnTo>
                    <a:pt x="106" y="132"/>
                  </a:lnTo>
                  <a:lnTo>
                    <a:pt x="108" y="134"/>
                  </a:lnTo>
                  <a:lnTo>
                    <a:pt x="114" y="134"/>
                  </a:lnTo>
                  <a:lnTo>
                    <a:pt x="118" y="126"/>
                  </a:lnTo>
                  <a:lnTo>
                    <a:pt x="110" y="120"/>
                  </a:lnTo>
                  <a:close/>
                  <a:moveTo>
                    <a:pt x="126" y="112"/>
                  </a:moveTo>
                  <a:lnTo>
                    <a:pt x="126" y="112"/>
                  </a:lnTo>
                  <a:lnTo>
                    <a:pt x="122" y="120"/>
                  </a:lnTo>
                  <a:lnTo>
                    <a:pt x="136" y="118"/>
                  </a:lnTo>
                  <a:lnTo>
                    <a:pt x="142" y="122"/>
                  </a:lnTo>
                  <a:lnTo>
                    <a:pt x="142" y="124"/>
                  </a:lnTo>
                  <a:lnTo>
                    <a:pt x="150" y="118"/>
                  </a:lnTo>
                  <a:lnTo>
                    <a:pt x="148" y="116"/>
                  </a:lnTo>
                  <a:lnTo>
                    <a:pt x="148" y="112"/>
                  </a:lnTo>
                  <a:lnTo>
                    <a:pt x="126" y="112"/>
                  </a:lnTo>
                  <a:close/>
                  <a:moveTo>
                    <a:pt x="164" y="108"/>
                  </a:moveTo>
                  <a:lnTo>
                    <a:pt x="164" y="108"/>
                  </a:lnTo>
                  <a:lnTo>
                    <a:pt x="160" y="110"/>
                  </a:lnTo>
                  <a:lnTo>
                    <a:pt x="156" y="112"/>
                  </a:lnTo>
                  <a:lnTo>
                    <a:pt x="150" y="112"/>
                  </a:lnTo>
                  <a:lnTo>
                    <a:pt x="152" y="114"/>
                  </a:lnTo>
                  <a:lnTo>
                    <a:pt x="152" y="116"/>
                  </a:lnTo>
                  <a:lnTo>
                    <a:pt x="152" y="118"/>
                  </a:lnTo>
                  <a:lnTo>
                    <a:pt x="160" y="120"/>
                  </a:lnTo>
                  <a:lnTo>
                    <a:pt x="162" y="120"/>
                  </a:lnTo>
                  <a:lnTo>
                    <a:pt x="168" y="122"/>
                  </a:lnTo>
                  <a:lnTo>
                    <a:pt x="172" y="120"/>
                  </a:lnTo>
                  <a:lnTo>
                    <a:pt x="174" y="118"/>
                  </a:lnTo>
                  <a:lnTo>
                    <a:pt x="174" y="114"/>
                  </a:lnTo>
                  <a:lnTo>
                    <a:pt x="172" y="110"/>
                  </a:lnTo>
                  <a:lnTo>
                    <a:pt x="164" y="108"/>
                  </a:lnTo>
                  <a:close/>
                  <a:moveTo>
                    <a:pt x="438" y="106"/>
                  </a:moveTo>
                  <a:lnTo>
                    <a:pt x="438" y="106"/>
                  </a:lnTo>
                  <a:lnTo>
                    <a:pt x="440" y="106"/>
                  </a:lnTo>
                  <a:lnTo>
                    <a:pt x="438" y="108"/>
                  </a:lnTo>
                  <a:lnTo>
                    <a:pt x="436" y="110"/>
                  </a:lnTo>
                  <a:lnTo>
                    <a:pt x="436" y="106"/>
                  </a:lnTo>
                  <a:lnTo>
                    <a:pt x="438" y="106"/>
                  </a:lnTo>
                  <a:close/>
                  <a:moveTo>
                    <a:pt x="298" y="106"/>
                  </a:moveTo>
                  <a:lnTo>
                    <a:pt x="298" y="120"/>
                  </a:lnTo>
                  <a:lnTo>
                    <a:pt x="306" y="122"/>
                  </a:lnTo>
                  <a:lnTo>
                    <a:pt x="312" y="124"/>
                  </a:lnTo>
                  <a:lnTo>
                    <a:pt x="310" y="124"/>
                  </a:lnTo>
                  <a:lnTo>
                    <a:pt x="308" y="124"/>
                  </a:lnTo>
                  <a:lnTo>
                    <a:pt x="314" y="134"/>
                  </a:lnTo>
                  <a:lnTo>
                    <a:pt x="318" y="136"/>
                  </a:lnTo>
                  <a:lnTo>
                    <a:pt x="326" y="134"/>
                  </a:lnTo>
                  <a:lnTo>
                    <a:pt x="338" y="132"/>
                  </a:lnTo>
                  <a:lnTo>
                    <a:pt x="334" y="120"/>
                  </a:lnTo>
                  <a:lnTo>
                    <a:pt x="332" y="118"/>
                  </a:lnTo>
                  <a:lnTo>
                    <a:pt x="330" y="118"/>
                  </a:lnTo>
                  <a:lnTo>
                    <a:pt x="324" y="118"/>
                  </a:lnTo>
                  <a:lnTo>
                    <a:pt x="318" y="112"/>
                  </a:lnTo>
                  <a:lnTo>
                    <a:pt x="308" y="110"/>
                  </a:lnTo>
                  <a:lnTo>
                    <a:pt x="298" y="106"/>
                  </a:lnTo>
                  <a:close/>
                  <a:moveTo>
                    <a:pt x="214" y="96"/>
                  </a:moveTo>
                  <a:lnTo>
                    <a:pt x="214" y="96"/>
                  </a:lnTo>
                  <a:lnTo>
                    <a:pt x="212" y="98"/>
                  </a:lnTo>
                  <a:lnTo>
                    <a:pt x="210" y="100"/>
                  </a:lnTo>
                  <a:lnTo>
                    <a:pt x="210" y="108"/>
                  </a:lnTo>
                  <a:lnTo>
                    <a:pt x="216" y="106"/>
                  </a:lnTo>
                  <a:lnTo>
                    <a:pt x="216" y="110"/>
                  </a:lnTo>
                  <a:lnTo>
                    <a:pt x="218" y="110"/>
                  </a:lnTo>
                  <a:lnTo>
                    <a:pt x="218" y="108"/>
                  </a:lnTo>
                  <a:lnTo>
                    <a:pt x="220" y="110"/>
                  </a:lnTo>
                  <a:lnTo>
                    <a:pt x="218" y="114"/>
                  </a:lnTo>
                  <a:lnTo>
                    <a:pt x="220" y="114"/>
                  </a:lnTo>
                  <a:lnTo>
                    <a:pt x="222" y="114"/>
                  </a:lnTo>
                  <a:lnTo>
                    <a:pt x="226" y="112"/>
                  </a:lnTo>
                  <a:lnTo>
                    <a:pt x="226" y="114"/>
                  </a:lnTo>
                  <a:lnTo>
                    <a:pt x="226" y="116"/>
                  </a:lnTo>
                  <a:lnTo>
                    <a:pt x="224" y="116"/>
                  </a:lnTo>
                  <a:lnTo>
                    <a:pt x="228" y="120"/>
                  </a:lnTo>
                  <a:lnTo>
                    <a:pt x="222" y="122"/>
                  </a:lnTo>
                  <a:lnTo>
                    <a:pt x="222" y="124"/>
                  </a:lnTo>
                  <a:lnTo>
                    <a:pt x="234" y="120"/>
                  </a:lnTo>
                  <a:lnTo>
                    <a:pt x="244" y="118"/>
                  </a:lnTo>
                  <a:lnTo>
                    <a:pt x="254" y="118"/>
                  </a:lnTo>
                  <a:lnTo>
                    <a:pt x="264" y="124"/>
                  </a:lnTo>
                  <a:lnTo>
                    <a:pt x="266" y="126"/>
                  </a:lnTo>
                  <a:lnTo>
                    <a:pt x="268" y="128"/>
                  </a:lnTo>
                  <a:lnTo>
                    <a:pt x="274" y="130"/>
                  </a:lnTo>
                  <a:lnTo>
                    <a:pt x="278" y="134"/>
                  </a:lnTo>
                  <a:lnTo>
                    <a:pt x="280" y="138"/>
                  </a:lnTo>
                  <a:lnTo>
                    <a:pt x="284" y="136"/>
                  </a:lnTo>
                  <a:lnTo>
                    <a:pt x="286" y="138"/>
                  </a:lnTo>
                  <a:lnTo>
                    <a:pt x="290" y="132"/>
                  </a:lnTo>
                  <a:lnTo>
                    <a:pt x="290" y="130"/>
                  </a:lnTo>
                  <a:lnTo>
                    <a:pt x="290" y="126"/>
                  </a:lnTo>
                  <a:lnTo>
                    <a:pt x="286" y="124"/>
                  </a:lnTo>
                  <a:lnTo>
                    <a:pt x="282" y="118"/>
                  </a:lnTo>
                  <a:lnTo>
                    <a:pt x="280" y="116"/>
                  </a:lnTo>
                  <a:lnTo>
                    <a:pt x="276" y="118"/>
                  </a:lnTo>
                  <a:lnTo>
                    <a:pt x="270" y="116"/>
                  </a:lnTo>
                  <a:lnTo>
                    <a:pt x="262" y="108"/>
                  </a:lnTo>
                  <a:lnTo>
                    <a:pt x="260" y="108"/>
                  </a:lnTo>
                  <a:lnTo>
                    <a:pt x="258" y="110"/>
                  </a:lnTo>
                  <a:lnTo>
                    <a:pt x="256" y="106"/>
                  </a:lnTo>
                  <a:lnTo>
                    <a:pt x="254" y="104"/>
                  </a:lnTo>
                  <a:lnTo>
                    <a:pt x="250" y="104"/>
                  </a:lnTo>
                  <a:lnTo>
                    <a:pt x="248" y="106"/>
                  </a:lnTo>
                  <a:lnTo>
                    <a:pt x="248" y="108"/>
                  </a:lnTo>
                  <a:lnTo>
                    <a:pt x="244" y="108"/>
                  </a:lnTo>
                  <a:lnTo>
                    <a:pt x="244" y="104"/>
                  </a:lnTo>
                  <a:lnTo>
                    <a:pt x="234" y="100"/>
                  </a:lnTo>
                  <a:lnTo>
                    <a:pt x="234" y="106"/>
                  </a:lnTo>
                  <a:lnTo>
                    <a:pt x="230" y="108"/>
                  </a:lnTo>
                  <a:lnTo>
                    <a:pt x="228" y="100"/>
                  </a:lnTo>
                  <a:lnTo>
                    <a:pt x="214" y="96"/>
                  </a:lnTo>
                  <a:close/>
                  <a:moveTo>
                    <a:pt x="450" y="88"/>
                  </a:moveTo>
                  <a:lnTo>
                    <a:pt x="450" y="88"/>
                  </a:lnTo>
                  <a:lnTo>
                    <a:pt x="456" y="96"/>
                  </a:lnTo>
                  <a:lnTo>
                    <a:pt x="462" y="98"/>
                  </a:lnTo>
                  <a:lnTo>
                    <a:pt x="464" y="102"/>
                  </a:lnTo>
                  <a:lnTo>
                    <a:pt x="456" y="104"/>
                  </a:lnTo>
                  <a:lnTo>
                    <a:pt x="458" y="106"/>
                  </a:lnTo>
                  <a:lnTo>
                    <a:pt x="478" y="106"/>
                  </a:lnTo>
                  <a:lnTo>
                    <a:pt x="478" y="110"/>
                  </a:lnTo>
                  <a:lnTo>
                    <a:pt x="440" y="108"/>
                  </a:lnTo>
                  <a:lnTo>
                    <a:pt x="440" y="104"/>
                  </a:lnTo>
                  <a:lnTo>
                    <a:pt x="452" y="100"/>
                  </a:lnTo>
                  <a:lnTo>
                    <a:pt x="452" y="96"/>
                  </a:lnTo>
                  <a:lnTo>
                    <a:pt x="448" y="92"/>
                  </a:lnTo>
                  <a:lnTo>
                    <a:pt x="450" y="88"/>
                  </a:lnTo>
                  <a:close/>
                  <a:moveTo>
                    <a:pt x="506" y="68"/>
                  </a:moveTo>
                  <a:lnTo>
                    <a:pt x="506" y="68"/>
                  </a:lnTo>
                  <a:lnTo>
                    <a:pt x="494" y="70"/>
                  </a:lnTo>
                  <a:lnTo>
                    <a:pt x="482" y="72"/>
                  </a:lnTo>
                  <a:lnTo>
                    <a:pt x="482" y="74"/>
                  </a:lnTo>
                  <a:lnTo>
                    <a:pt x="484" y="74"/>
                  </a:lnTo>
                  <a:lnTo>
                    <a:pt x="486" y="74"/>
                  </a:lnTo>
                  <a:lnTo>
                    <a:pt x="486" y="80"/>
                  </a:lnTo>
                  <a:lnTo>
                    <a:pt x="486" y="82"/>
                  </a:lnTo>
                  <a:lnTo>
                    <a:pt x="488" y="84"/>
                  </a:lnTo>
                  <a:lnTo>
                    <a:pt x="494" y="86"/>
                  </a:lnTo>
                  <a:lnTo>
                    <a:pt x="498" y="86"/>
                  </a:lnTo>
                  <a:lnTo>
                    <a:pt x="500" y="84"/>
                  </a:lnTo>
                  <a:lnTo>
                    <a:pt x="504" y="84"/>
                  </a:lnTo>
                  <a:lnTo>
                    <a:pt x="504" y="86"/>
                  </a:lnTo>
                  <a:lnTo>
                    <a:pt x="500" y="90"/>
                  </a:lnTo>
                  <a:lnTo>
                    <a:pt x="494" y="90"/>
                  </a:lnTo>
                  <a:lnTo>
                    <a:pt x="488" y="88"/>
                  </a:lnTo>
                  <a:lnTo>
                    <a:pt x="486" y="86"/>
                  </a:lnTo>
                  <a:lnTo>
                    <a:pt x="484" y="82"/>
                  </a:lnTo>
                  <a:lnTo>
                    <a:pt x="480" y="76"/>
                  </a:lnTo>
                  <a:lnTo>
                    <a:pt x="478" y="72"/>
                  </a:lnTo>
                  <a:lnTo>
                    <a:pt x="476" y="70"/>
                  </a:lnTo>
                  <a:lnTo>
                    <a:pt x="468" y="70"/>
                  </a:lnTo>
                  <a:lnTo>
                    <a:pt x="458" y="68"/>
                  </a:lnTo>
                  <a:lnTo>
                    <a:pt x="442" y="70"/>
                  </a:lnTo>
                  <a:lnTo>
                    <a:pt x="438" y="72"/>
                  </a:lnTo>
                  <a:lnTo>
                    <a:pt x="438" y="76"/>
                  </a:lnTo>
                  <a:lnTo>
                    <a:pt x="440" y="78"/>
                  </a:lnTo>
                  <a:lnTo>
                    <a:pt x="430" y="86"/>
                  </a:lnTo>
                  <a:lnTo>
                    <a:pt x="430" y="84"/>
                  </a:lnTo>
                  <a:lnTo>
                    <a:pt x="430" y="82"/>
                  </a:lnTo>
                  <a:lnTo>
                    <a:pt x="432" y="78"/>
                  </a:lnTo>
                  <a:lnTo>
                    <a:pt x="428" y="76"/>
                  </a:lnTo>
                  <a:lnTo>
                    <a:pt x="426" y="74"/>
                  </a:lnTo>
                  <a:lnTo>
                    <a:pt x="426" y="70"/>
                  </a:lnTo>
                  <a:lnTo>
                    <a:pt x="424" y="68"/>
                  </a:lnTo>
                  <a:lnTo>
                    <a:pt x="424" y="70"/>
                  </a:lnTo>
                  <a:lnTo>
                    <a:pt x="424" y="72"/>
                  </a:lnTo>
                  <a:lnTo>
                    <a:pt x="414" y="70"/>
                  </a:lnTo>
                  <a:lnTo>
                    <a:pt x="414" y="72"/>
                  </a:lnTo>
                  <a:lnTo>
                    <a:pt x="388" y="72"/>
                  </a:lnTo>
                  <a:lnTo>
                    <a:pt x="384" y="70"/>
                  </a:lnTo>
                  <a:lnTo>
                    <a:pt x="380" y="70"/>
                  </a:lnTo>
                  <a:lnTo>
                    <a:pt x="376" y="60"/>
                  </a:lnTo>
                  <a:lnTo>
                    <a:pt x="374" y="54"/>
                  </a:lnTo>
                  <a:lnTo>
                    <a:pt x="372" y="52"/>
                  </a:lnTo>
                  <a:lnTo>
                    <a:pt x="364" y="48"/>
                  </a:lnTo>
                  <a:lnTo>
                    <a:pt x="352" y="46"/>
                  </a:lnTo>
                  <a:lnTo>
                    <a:pt x="326" y="44"/>
                  </a:lnTo>
                  <a:lnTo>
                    <a:pt x="326" y="48"/>
                  </a:lnTo>
                  <a:lnTo>
                    <a:pt x="346" y="50"/>
                  </a:lnTo>
                  <a:lnTo>
                    <a:pt x="344" y="58"/>
                  </a:lnTo>
                  <a:lnTo>
                    <a:pt x="326" y="54"/>
                  </a:lnTo>
                  <a:lnTo>
                    <a:pt x="326" y="60"/>
                  </a:lnTo>
                  <a:lnTo>
                    <a:pt x="340" y="60"/>
                  </a:lnTo>
                  <a:lnTo>
                    <a:pt x="344" y="64"/>
                  </a:lnTo>
                  <a:lnTo>
                    <a:pt x="346" y="64"/>
                  </a:lnTo>
                  <a:lnTo>
                    <a:pt x="348" y="62"/>
                  </a:lnTo>
                  <a:lnTo>
                    <a:pt x="352" y="62"/>
                  </a:lnTo>
                  <a:lnTo>
                    <a:pt x="354" y="64"/>
                  </a:lnTo>
                  <a:lnTo>
                    <a:pt x="356" y="68"/>
                  </a:lnTo>
                  <a:lnTo>
                    <a:pt x="338" y="70"/>
                  </a:lnTo>
                  <a:lnTo>
                    <a:pt x="338" y="72"/>
                  </a:lnTo>
                  <a:lnTo>
                    <a:pt x="340" y="76"/>
                  </a:lnTo>
                  <a:lnTo>
                    <a:pt x="332" y="76"/>
                  </a:lnTo>
                  <a:lnTo>
                    <a:pt x="348" y="80"/>
                  </a:lnTo>
                  <a:lnTo>
                    <a:pt x="348" y="76"/>
                  </a:lnTo>
                  <a:lnTo>
                    <a:pt x="350" y="78"/>
                  </a:lnTo>
                  <a:lnTo>
                    <a:pt x="350" y="82"/>
                  </a:lnTo>
                  <a:lnTo>
                    <a:pt x="354" y="80"/>
                  </a:lnTo>
                  <a:lnTo>
                    <a:pt x="358" y="80"/>
                  </a:lnTo>
                  <a:lnTo>
                    <a:pt x="360" y="82"/>
                  </a:lnTo>
                  <a:lnTo>
                    <a:pt x="348" y="82"/>
                  </a:lnTo>
                  <a:lnTo>
                    <a:pt x="338" y="82"/>
                  </a:lnTo>
                  <a:lnTo>
                    <a:pt x="340" y="92"/>
                  </a:lnTo>
                  <a:lnTo>
                    <a:pt x="342" y="94"/>
                  </a:lnTo>
                  <a:lnTo>
                    <a:pt x="348" y="96"/>
                  </a:lnTo>
                  <a:lnTo>
                    <a:pt x="358" y="98"/>
                  </a:lnTo>
                  <a:lnTo>
                    <a:pt x="360" y="98"/>
                  </a:lnTo>
                  <a:lnTo>
                    <a:pt x="354" y="98"/>
                  </a:lnTo>
                  <a:lnTo>
                    <a:pt x="348" y="100"/>
                  </a:lnTo>
                  <a:lnTo>
                    <a:pt x="346" y="100"/>
                  </a:lnTo>
                  <a:lnTo>
                    <a:pt x="348" y="102"/>
                  </a:lnTo>
                  <a:lnTo>
                    <a:pt x="356" y="106"/>
                  </a:lnTo>
                  <a:lnTo>
                    <a:pt x="360" y="104"/>
                  </a:lnTo>
                  <a:lnTo>
                    <a:pt x="362" y="104"/>
                  </a:lnTo>
                  <a:lnTo>
                    <a:pt x="366" y="100"/>
                  </a:lnTo>
                  <a:lnTo>
                    <a:pt x="372" y="100"/>
                  </a:lnTo>
                  <a:lnTo>
                    <a:pt x="378" y="100"/>
                  </a:lnTo>
                  <a:lnTo>
                    <a:pt x="378" y="104"/>
                  </a:lnTo>
                  <a:lnTo>
                    <a:pt x="360" y="108"/>
                  </a:lnTo>
                  <a:lnTo>
                    <a:pt x="366" y="120"/>
                  </a:lnTo>
                  <a:lnTo>
                    <a:pt x="368" y="120"/>
                  </a:lnTo>
                  <a:lnTo>
                    <a:pt x="368" y="122"/>
                  </a:lnTo>
                  <a:lnTo>
                    <a:pt x="366" y="124"/>
                  </a:lnTo>
                  <a:lnTo>
                    <a:pt x="366" y="126"/>
                  </a:lnTo>
                  <a:lnTo>
                    <a:pt x="382" y="126"/>
                  </a:lnTo>
                  <a:lnTo>
                    <a:pt x="384" y="122"/>
                  </a:lnTo>
                  <a:lnTo>
                    <a:pt x="386" y="122"/>
                  </a:lnTo>
                  <a:lnTo>
                    <a:pt x="388" y="124"/>
                  </a:lnTo>
                  <a:lnTo>
                    <a:pt x="392" y="126"/>
                  </a:lnTo>
                  <a:lnTo>
                    <a:pt x="394" y="126"/>
                  </a:lnTo>
                  <a:lnTo>
                    <a:pt x="398" y="124"/>
                  </a:lnTo>
                  <a:lnTo>
                    <a:pt x="400" y="122"/>
                  </a:lnTo>
                  <a:lnTo>
                    <a:pt x="400" y="120"/>
                  </a:lnTo>
                  <a:lnTo>
                    <a:pt x="402" y="118"/>
                  </a:lnTo>
                  <a:lnTo>
                    <a:pt x="408" y="118"/>
                  </a:lnTo>
                  <a:lnTo>
                    <a:pt x="412" y="116"/>
                  </a:lnTo>
                  <a:lnTo>
                    <a:pt x="412" y="112"/>
                  </a:lnTo>
                  <a:lnTo>
                    <a:pt x="412" y="110"/>
                  </a:lnTo>
                  <a:lnTo>
                    <a:pt x="412" y="108"/>
                  </a:lnTo>
                  <a:lnTo>
                    <a:pt x="414" y="108"/>
                  </a:lnTo>
                  <a:lnTo>
                    <a:pt x="414" y="112"/>
                  </a:lnTo>
                  <a:lnTo>
                    <a:pt x="418" y="112"/>
                  </a:lnTo>
                  <a:lnTo>
                    <a:pt x="424" y="108"/>
                  </a:lnTo>
                  <a:lnTo>
                    <a:pt x="434" y="106"/>
                  </a:lnTo>
                  <a:lnTo>
                    <a:pt x="432" y="108"/>
                  </a:lnTo>
                  <a:lnTo>
                    <a:pt x="434" y="108"/>
                  </a:lnTo>
                  <a:lnTo>
                    <a:pt x="434" y="110"/>
                  </a:lnTo>
                  <a:lnTo>
                    <a:pt x="432" y="112"/>
                  </a:lnTo>
                  <a:lnTo>
                    <a:pt x="426" y="114"/>
                  </a:lnTo>
                  <a:lnTo>
                    <a:pt x="420" y="114"/>
                  </a:lnTo>
                  <a:lnTo>
                    <a:pt x="420" y="120"/>
                  </a:lnTo>
                  <a:lnTo>
                    <a:pt x="418" y="120"/>
                  </a:lnTo>
                  <a:lnTo>
                    <a:pt x="418" y="122"/>
                  </a:lnTo>
                  <a:lnTo>
                    <a:pt x="418" y="126"/>
                  </a:lnTo>
                  <a:lnTo>
                    <a:pt x="430" y="124"/>
                  </a:lnTo>
                  <a:lnTo>
                    <a:pt x="438" y="124"/>
                  </a:lnTo>
                  <a:lnTo>
                    <a:pt x="446" y="122"/>
                  </a:lnTo>
                  <a:lnTo>
                    <a:pt x="454" y="116"/>
                  </a:lnTo>
                  <a:lnTo>
                    <a:pt x="452" y="128"/>
                  </a:lnTo>
                  <a:lnTo>
                    <a:pt x="454" y="132"/>
                  </a:lnTo>
                  <a:lnTo>
                    <a:pt x="456" y="132"/>
                  </a:lnTo>
                  <a:lnTo>
                    <a:pt x="462" y="134"/>
                  </a:lnTo>
                  <a:lnTo>
                    <a:pt x="472" y="134"/>
                  </a:lnTo>
                  <a:lnTo>
                    <a:pt x="470" y="136"/>
                  </a:lnTo>
                  <a:lnTo>
                    <a:pt x="470" y="140"/>
                  </a:lnTo>
                  <a:lnTo>
                    <a:pt x="468" y="142"/>
                  </a:lnTo>
                  <a:lnTo>
                    <a:pt x="466" y="144"/>
                  </a:lnTo>
                  <a:lnTo>
                    <a:pt x="458" y="144"/>
                  </a:lnTo>
                  <a:lnTo>
                    <a:pt x="448" y="142"/>
                  </a:lnTo>
                  <a:lnTo>
                    <a:pt x="448" y="136"/>
                  </a:lnTo>
                  <a:lnTo>
                    <a:pt x="444" y="136"/>
                  </a:lnTo>
                  <a:lnTo>
                    <a:pt x="440" y="136"/>
                  </a:lnTo>
                  <a:lnTo>
                    <a:pt x="436" y="130"/>
                  </a:lnTo>
                  <a:lnTo>
                    <a:pt x="430" y="130"/>
                  </a:lnTo>
                  <a:lnTo>
                    <a:pt x="426" y="130"/>
                  </a:lnTo>
                  <a:lnTo>
                    <a:pt x="414" y="132"/>
                  </a:lnTo>
                  <a:lnTo>
                    <a:pt x="416" y="138"/>
                  </a:lnTo>
                  <a:lnTo>
                    <a:pt x="420" y="140"/>
                  </a:lnTo>
                  <a:lnTo>
                    <a:pt x="422" y="140"/>
                  </a:lnTo>
                  <a:lnTo>
                    <a:pt x="422" y="138"/>
                  </a:lnTo>
                  <a:lnTo>
                    <a:pt x="422" y="144"/>
                  </a:lnTo>
                  <a:lnTo>
                    <a:pt x="408" y="150"/>
                  </a:lnTo>
                  <a:lnTo>
                    <a:pt x="400" y="152"/>
                  </a:lnTo>
                  <a:lnTo>
                    <a:pt x="396" y="156"/>
                  </a:lnTo>
                  <a:lnTo>
                    <a:pt x="396" y="160"/>
                  </a:lnTo>
                  <a:lnTo>
                    <a:pt x="398" y="166"/>
                  </a:lnTo>
                  <a:lnTo>
                    <a:pt x="400" y="166"/>
                  </a:lnTo>
                  <a:lnTo>
                    <a:pt x="402" y="164"/>
                  </a:lnTo>
                  <a:lnTo>
                    <a:pt x="406" y="164"/>
                  </a:lnTo>
                  <a:lnTo>
                    <a:pt x="408" y="166"/>
                  </a:lnTo>
                  <a:lnTo>
                    <a:pt x="412" y="168"/>
                  </a:lnTo>
                  <a:lnTo>
                    <a:pt x="418" y="166"/>
                  </a:lnTo>
                  <a:lnTo>
                    <a:pt x="416" y="164"/>
                  </a:lnTo>
                  <a:lnTo>
                    <a:pt x="422" y="162"/>
                  </a:lnTo>
                  <a:lnTo>
                    <a:pt x="424" y="164"/>
                  </a:lnTo>
                  <a:lnTo>
                    <a:pt x="426" y="166"/>
                  </a:lnTo>
                  <a:lnTo>
                    <a:pt x="426" y="164"/>
                  </a:lnTo>
                  <a:lnTo>
                    <a:pt x="426" y="162"/>
                  </a:lnTo>
                  <a:lnTo>
                    <a:pt x="428" y="162"/>
                  </a:lnTo>
                  <a:lnTo>
                    <a:pt x="428" y="164"/>
                  </a:lnTo>
                  <a:lnTo>
                    <a:pt x="448" y="170"/>
                  </a:lnTo>
                  <a:lnTo>
                    <a:pt x="450" y="166"/>
                  </a:lnTo>
                  <a:lnTo>
                    <a:pt x="452" y="164"/>
                  </a:lnTo>
                  <a:lnTo>
                    <a:pt x="448" y="158"/>
                  </a:lnTo>
                  <a:lnTo>
                    <a:pt x="452" y="158"/>
                  </a:lnTo>
                  <a:lnTo>
                    <a:pt x="456" y="160"/>
                  </a:lnTo>
                  <a:lnTo>
                    <a:pt x="458" y="156"/>
                  </a:lnTo>
                  <a:lnTo>
                    <a:pt x="462" y="152"/>
                  </a:lnTo>
                  <a:lnTo>
                    <a:pt x="462" y="164"/>
                  </a:lnTo>
                  <a:lnTo>
                    <a:pt x="482" y="162"/>
                  </a:lnTo>
                  <a:lnTo>
                    <a:pt x="484" y="158"/>
                  </a:lnTo>
                  <a:lnTo>
                    <a:pt x="484" y="156"/>
                  </a:lnTo>
                  <a:lnTo>
                    <a:pt x="486" y="154"/>
                  </a:lnTo>
                  <a:lnTo>
                    <a:pt x="488" y="162"/>
                  </a:lnTo>
                  <a:lnTo>
                    <a:pt x="490" y="160"/>
                  </a:lnTo>
                  <a:lnTo>
                    <a:pt x="490" y="158"/>
                  </a:lnTo>
                  <a:lnTo>
                    <a:pt x="494" y="160"/>
                  </a:lnTo>
                  <a:lnTo>
                    <a:pt x="498" y="160"/>
                  </a:lnTo>
                  <a:lnTo>
                    <a:pt x="498" y="172"/>
                  </a:lnTo>
                  <a:lnTo>
                    <a:pt x="514" y="160"/>
                  </a:lnTo>
                  <a:lnTo>
                    <a:pt x="516" y="162"/>
                  </a:lnTo>
                  <a:lnTo>
                    <a:pt x="518" y="164"/>
                  </a:lnTo>
                  <a:lnTo>
                    <a:pt x="520" y="164"/>
                  </a:lnTo>
                  <a:lnTo>
                    <a:pt x="524" y="160"/>
                  </a:lnTo>
                  <a:lnTo>
                    <a:pt x="530" y="154"/>
                  </a:lnTo>
                  <a:lnTo>
                    <a:pt x="532" y="154"/>
                  </a:lnTo>
                  <a:lnTo>
                    <a:pt x="530" y="154"/>
                  </a:lnTo>
                  <a:lnTo>
                    <a:pt x="530" y="152"/>
                  </a:lnTo>
                  <a:lnTo>
                    <a:pt x="522" y="152"/>
                  </a:lnTo>
                  <a:lnTo>
                    <a:pt x="520" y="148"/>
                  </a:lnTo>
                  <a:lnTo>
                    <a:pt x="516" y="144"/>
                  </a:lnTo>
                  <a:lnTo>
                    <a:pt x="504" y="140"/>
                  </a:lnTo>
                  <a:lnTo>
                    <a:pt x="530" y="138"/>
                  </a:lnTo>
                  <a:lnTo>
                    <a:pt x="530" y="128"/>
                  </a:lnTo>
                  <a:lnTo>
                    <a:pt x="542" y="130"/>
                  </a:lnTo>
                  <a:lnTo>
                    <a:pt x="548" y="130"/>
                  </a:lnTo>
                  <a:lnTo>
                    <a:pt x="554" y="128"/>
                  </a:lnTo>
                  <a:lnTo>
                    <a:pt x="556" y="124"/>
                  </a:lnTo>
                  <a:lnTo>
                    <a:pt x="552" y="124"/>
                  </a:lnTo>
                  <a:lnTo>
                    <a:pt x="552" y="122"/>
                  </a:lnTo>
                  <a:lnTo>
                    <a:pt x="562" y="122"/>
                  </a:lnTo>
                  <a:lnTo>
                    <a:pt x="560" y="120"/>
                  </a:lnTo>
                  <a:lnTo>
                    <a:pt x="560" y="118"/>
                  </a:lnTo>
                  <a:lnTo>
                    <a:pt x="558" y="116"/>
                  </a:lnTo>
                  <a:lnTo>
                    <a:pt x="564" y="116"/>
                  </a:lnTo>
                  <a:lnTo>
                    <a:pt x="570" y="116"/>
                  </a:lnTo>
                  <a:lnTo>
                    <a:pt x="570" y="114"/>
                  </a:lnTo>
                  <a:lnTo>
                    <a:pt x="572" y="112"/>
                  </a:lnTo>
                  <a:lnTo>
                    <a:pt x="572" y="110"/>
                  </a:lnTo>
                  <a:lnTo>
                    <a:pt x="572" y="108"/>
                  </a:lnTo>
                  <a:lnTo>
                    <a:pt x="568" y="108"/>
                  </a:lnTo>
                  <a:lnTo>
                    <a:pt x="566" y="108"/>
                  </a:lnTo>
                  <a:lnTo>
                    <a:pt x="566" y="110"/>
                  </a:lnTo>
                  <a:lnTo>
                    <a:pt x="562" y="110"/>
                  </a:lnTo>
                  <a:lnTo>
                    <a:pt x="562" y="106"/>
                  </a:lnTo>
                  <a:lnTo>
                    <a:pt x="556" y="104"/>
                  </a:lnTo>
                  <a:lnTo>
                    <a:pt x="550" y="104"/>
                  </a:lnTo>
                  <a:lnTo>
                    <a:pt x="544" y="106"/>
                  </a:lnTo>
                  <a:lnTo>
                    <a:pt x="532" y="110"/>
                  </a:lnTo>
                  <a:lnTo>
                    <a:pt x="532" y="108"/>
                  </a:lnTo>
                  <a:lnTo>
                    <a:pt x="536" y="108"/>
                  </a:lnTo>
                  <a:lnTo>
                    <a:pt x="536" y="104"/>
                  </a:lnTo>
                  <a:lnTo>
                    <a:pt x="530" y="100"/>
                  </a:lnTo>
                  <a:lnTo>
                    <a:pt x="548" y="102"/>
                  </a:lnTo>
                  <a:lnTo>
                    <a:pt x="556" y="102"/>
                  </a:lnTo>
                  <a:lnTo>
                    <a:pt x="556" y="100"/>
                  </a:lnTo>
                  <a:lnTo>
                    <a:pt x="554" y="98"/>
                  </a:lnTo>
                  <a:lnTo>
                    <a:pt x="546" y="96"/>
                  </a:lnTo>
                  <a:lnTo>
                    <a:pt x="562" y="96"/>
                  </a:lnTo>
                  <a:lnTo>
                    <a:pt x="560" y="94"/>
                  </a:lnTo>
                  <a:lnTo>
                    <a:pt x="552" y="92"/>
                  </a:lnTo>
                  <a:lnTo>
                    <a:pt x="542" y="92"/>
                  </a:lnTo>
                  <a:lnTo>
                    <a:pt x="542" y="88"/>
                  </a:lnTo>
                  <a:lnTo>
                    <a:pt x="544" y="88"/>
                  </a:lnTo>
                  <a:lnTo>
                    <a:pt x="546" y="90"/>
                  </a:lnTo>
                  <a:lnTo>
                    <a:pt x="548" y="90"/>
                  </a:lnTo>
                  <a:lnTo>
                    <a:pt x="550" y="90"/>
                  </a:lnTo>
                  <a:lnTo>
                    <a:pt x="552" y="88"/>
                  </a:lnTo>
                  <a:lnTo>
                    <a:pt x="552" y="86"/>
                  </a:lnTo>
                  <a:lnTo>
                    <a:pt x="554" y="86"/>
                  </a:lnTo>
                  <a:lnTo>
                    <a:pt x="558" y="90"/>
                  </a:lnTo>
                  <a:lnTo>
                    <a:pt x="562" y="94"/>
                  </a:lnTo>
                  <a:lnTo>
                    <a:pt x="564" y="94"/>
                  </a:lnTo>
                  <a:lnTo>
                    <a:pt x="564" y="92"/>
                  </a:lnTo>
                  <a:lnTo>
                    <a:pt x="564" y="90"/>
                  </a:lnTo>
                  <a:lnTo>
                    <a:pt x="582" y="90"/>
                  </a:lnTo>
                  <a:lnTo>
                    <a:pt x="586" y="90"/>
                  </a:lnTo>
                  <a:lnTo>
                    <a:pt x="592" y="90"/>
                  </a:lnTo>
                  <a:lnTo>
                    <a:pt x="596" y="90"/>
                  </a:lnTo>
                  <a:lnTo>
                    <a:pt x="596" y="88"/>
                  </a:lnTo>
                  <a:lnTo>
                    <a:pt x="594" y="84"/>
                  </a:lnTo>
                  <a:lnTo>
                    <a:pt x="606" y="82"/>
                  </a:lnTo>
                  <a:lnTo>
                    <a:pt x="608" y="80"/>
                  </a:lnTo>
                  <a:lnTo>
                    <a:pt x="602" y="76"/>
                  </a:lnTo>
                  <a:lnTo>
                    <a:pt x="604" y="76"/>
                  </a:lnTo>
                  <a:lnTo>
                    <a:pt x="606" y="76"/>
                  </a:lnTo>
                  <a:lnTo>
                    <a:pt x="604" y="74"/>
                  </a:lnTo>
                  <a:lnTo>
                    <a:pt x="614" y="76"/>
                  </a:lnTo>
                  <a:lnTo>
                    <a:pt x="624" y="70"/>
                  </a:lnTo>
                  <a:lnTo>
                    <a:pt x="622" y="70"/>
                  </a:lnTo>
                  <a:lnTo>
                    <a:pt x="622" y="68"/>
                  </a:lnTo>
                  <a:lnTo>
                    <a:pt x="624" y="66"/>
                  </a:lnTo>
                  <a:lnTo>
                    <a:pt x="628" y="70"/>
                  </a:lnTo>
                  <a:lnTo>
                    <a:pt x="638" y="64"/>
                  </a:lnTo>
                  <a:lnTo>
                    <a:pt x="648" y="56"/>
                  </a:lnTo>
                  <a:lnTo>
                    <a:pt x="656" y="56"/>
                  </a:lnTo>
                  <a:lnTo>
                    <a:pt x="666" y="54"/>
                  </a:lnTo>
                  <a:lnTo>
                    <a:pt x="674" y="54"/>
                  </a:lnTo>
                  <a:lnTo>
                    <a:pt x="682" y="52"/>
                  </a:lnTo>
                  <a:lnTo>
                    <a:pt x="686" y="50"/>
                  </a:lnTo>
                  <a:lnTo>
                    <a:pt x="686" y="46"/>
                  </a:lnTo>
                  <a:lnTo>
                    <a:pt x="686" y="44"/>
                  </a:lnTo>
                  <a:lnTo>
                    <a:pt x="682" y="42"/>
                  </a:lnTo>
                  <a:lnTo>
                    <a:pt x="692" y="38"/>
                  </a:lnTo>
                  <a:lnTo>
                    <a:pt x="702" y="34"/>
                  </a:lnTo>
                  <a:lnTo>
                    <a:pt x="708" y="32"/>
                  </a:lnTo>
                  <a:lnTo>
                    <a:pt x="708" y="28"/>
                  </a:lnTo>
                  <a:lnTo>
                    <a:pt x="712" y="28"/>
                  </a:lnTo>
                  <a:lnTo>
                    <a:pt x="718" y="28"/>
                  </a:lnTo>
                  <a:lnTo>
                    <a:pt x="718" y="26"/>
                  </a:lnTo>
                  <a:lnTo>
                    <a:pt x="720" y="24"/>
                  </a:lnTo>
                  <a:lnTo>
                    <a:pt x="720" y="22"/>
                  </a:lnTo>
                  <a:lnTo>
                    <a:pt x="720" y="20"/>
                  </a:lnTo>
                  <a:lnTo>
                    <a:pt x="708" y="20"/>
                  </a:lnTo>
                  <a:lnTo>
                    <a:pt x="706" y="18"/>
                  </a:lnTo>
                  <a:lnTo>
                    <a:pt x="704" y="16"/>
                  </a:lnTo>
                  <a:lnTo>
                    <a:pt x="702" y="18"/>
                  </a:lnTo>
                  <a:lnTo>
                    <a:pt x="698" y="18"/>
                  </a:lnTo>
                  <a:lnTo>
                    <a:pt x="696" y="14"/>
                  </a:lnTo>
                  <a:lnTo>
                    <a:pt x="690" y="10"/>
                  </a:lnTo>
                  <a:lnTo>
                    <a:pt x="684" y="10"/>
                  </a:lnTo>
                  <a:lnTo>
                    <a:pt x="668" y="8"/>
                  </a:lnTo>
                  <a:lnTo>
                    <a:pt x="664" y="8"/>
                  </a:lnTo>
                  <a:lnTo>
                    <a:pt x="664" y="6"/>
                  </a:lnTo>
                  <a:lnTo>
                    <a:pt x="662" y="6"/>
                  </a:lnTo>
                  <a:lnTo>
                    <a:pt x="660" y="6"/>
                  </a:lnTo>
                  <a:lnTo>
                    <a:pt x="658" y="12"/>
                  </a:lnTo>
                  <a:lnTo>
                    <a:pt x="642" y="20"/>
                  </a:lnTo>
                  <a:lnTo>
                    <a:pt x="640" y="18"/>
                  </a:lnTo>
                  <a:lnTo>
                    <a:pt x="652" y="12"/>
                  </a:lnTo>
                  <a:lnTo>
                    <a:pt x="652" y="8"/>
                  </a:lnTo>
                  <a:lnTo>
                    <a:pt x="652" y="6"/>
                  </a:lnTo>
                  <a:lnTo>
                    <a:pt x="650" y="4"/>
                  </a:lnTo>
                  <a:lnTo>
                    <a:pt x="646" y="4"/>
                  </a:lnTo>
                  <a:lnTo>
                    <a:pt x="640" y="4"/>
                  </a:lnTo>
                  <a:lnTo>
                    <a:pt x="630" y="6"/>
                  </a:lnTo>
                  <a:lnTo>
                    <a:pt x="624" y="4"/>
                  </a:lnTo>
                  <a:lnTo>
                    <a:pt x="618" y="2"/>
                  </a:lnTo>
                  <a:lnTo>
                    <a:pt x="614" y="0"/>
                  </a:lnTo>
                  <a:lnTo>
                    <a:pt x="608" y="2"/>
                  </a:lnTo>
                  <a:lnTo>
                    <a:pt x="600" y="6"/>
                  </a:lnTo>
                  <a:lnTo>
                    <a:pt x="602" y="10"/>
                  </a:lnTo>
                  <a:lnTo>
                    <a:pt x="598" y="10"/>
                  </a:lnTo>
                  <a:lnTo>
                    <a:pt x="600" y="10"/>
                  </a:lnTo>
                  <a:lnTo>
                    <a:pt x="598" y="8"/>
                  </a:lnTo>
                  <a:lnTo>
                    <a:pt x="594" y="8"/>
                  </a:lnTo>
                  <a:lnTo>
                    <a:pt x="588" y="12"/>
                  </a:lnTo>
                  <a:lnTo>
                    <a:pt x="584" y="14"/>
                  </a:lnTo>
                  <a:lnTo>
                    <a:pt x="580" y="14"/>
                  </a:lnTo>
                  <a:lnTo>
                    <a:pt x="578" y="12"/>
                  </a:lnTo>
                  <a:lnTo>
                    <a:pt x="578" y="10"/>
                  </a:lnTo>
                  <a:lnTo>
                    <a:pt x="576" y="10"/>
                  </a:lnTo>
                  <a:lnTo>
                    <a:pt x="546" y="10"/>
                  </a:lnTo>
                  <a:lnTo>
                    <a:pt x="546" y="12"/>
                  </a:lnTo>
                  <a:lnTo>
                    <a:pt x="544" y="12"/>
                  </a:lnTo>
                  <a:lnTo>
                    <a:pt x="542" y="10"/>
                  </a:lnTo>
                  <a:lnTo>
                    <a:pt x="544" y="10"/>
                  </a:lnTo>
                  <a:lnTo>
                    <a:pt x="542" y="10"/>
                  </a:lnTo>
                  <a:lnTo>
                    <a:pt x="538" y="12"/>
                  </a:lnTo>
                  <a:lnTo>
                    <a:pt x="536" y="14"/>
                  </a:lnTo>
                  <a:lnTo>
                    <a:pt x="536" y="16"/>
                  </a:lnTo>
                  <a:lnTo>
                    <a:pt x="538" y="14"/>
                  </a:lnTo>
                  <a:lnTo>
                    <a:pt x="538" y="18"/>
                  </a:lnTo>
                  <a:lnTo>
                    <a:pt x="544" y="18"/>
                  </a:lnTo>
                  <a:lnTo>
                    <a:pt x="546" y="22"/>
                  </a:lnTo>
                  <a:lnTo>
                    <a:pt x="542" y="22"/>
                  </a:lnTo>
                  <a:lnTo>
                    <a:pt x="536" y="20"/>
                  </a:lnTo>
                  <a:lnTo>
                    <a:pt x="536" y="16"/>
                  </a:lnTo>
                  <a:lnTo>
                    <a:pt x="530" y="18"/>
                  </a:lnTo>
                  <a:lnTo>
                    <a:pt x="520" y="18"/>
                  </a:lnTo>
                  <a:lnTo>
                    <a:pt x="520" y="16"/>
                  </a:lnTo>
                  <a:lnTo>
                    <a:pt x="520" y="14"/>
                  </a:lnTo>
                  <a:lnTo>
                    <a:pt x="518" y="14"/>
                  </a:lnTo>
                  <a:lnTo>
                    <a:pt x="516" y="24"/>
                  </a:lnTo>
                  <a:lnTo>
                    <a:pt x="508" y="24"/>
                  </a:lnTo>
                  <a:lnTo>
                    <a:pt x="510" y="22"/>
                  </a:lnTo>
                  <a:lnTo>
                    <a:pt x="508" y="22"/>
                  </a:lnTo>
                  <a:lnTo>
                    <a:pt x="504" y="20"/>
                  </a:lnTo>
                  <a:lnTo>
                    <a:pt x="504" y="26"/>
                  </a:lnTo>
                  <a:lnTo>
                    <a:pt x="484" y="20"/>
                  </a:lnTo>
                  <a:lnTo>
                    <a:pt x="486" y="32"/>
                  </a:lnTo>
                  <a:lnTo>
                    <a:pt x="484" y="32"/>
                  </a:lnTo>
                  <a:lnTo>
                    <a:pt x="480" y="30"/>
                  </a:lnTo>
                  <a:lnTo>
                    <a:pt x="480" y="36"/>
                  </a:lnTo>
                  <a:lnTo>
                    <a:pt x="476" y="30"/>
                  </a:lnTo>
                  <a:lnTo>
                    <a:pt x="472" y="26"/>
                  </a:lnTo>
                  <a:lnTo>
                    <a:pt x="466" y="24"/>
                  </a:lnTo>
                  <a:lnTo>
                    <a:pt x="458" y="24"/>
                  </a:lnTo>
                  <a:lnTo>
                    <a:pt x="452" y="20"/>
                  </a:lnTo>
                  <a:lnTo>
                    <a:pt x="448" y="16"/>
                  </a:lnTo>
                  <a:lnTo>
                    <a:pt x="438" y="16"/>
                  </a:lnTo>
                  <a:lnTo>
                    <a:pt x="438" y="20"/>
                  </a:lnTo>
                  <a:lnTo>
                    <a:pt x="440" y="20"/>
                  </a:lnTo>
                  <a:lnTo>
                    <a:pt x="442" y="22"/>
                  </a:lnTo>
                  <a:lnTo>
                    <a:pt x="442" y="26"/>
                  </a:lnTo>
                  <a:lnTo>
                    <a:pt x="422" y="26"/>
                  </a:lnTo>
                  <a:lnTo>
                    <a:pt x="424" y="28"/>
                  </a:lnTo>
                  <a:lnTo>
                    <a:pt x="424" y="32"/>
                  </a:lnTo>
                  <a:lnTo>
                    <a:pt x="426" y="32"/>
                  </a:lnTo>
                  <a:lnTo>
                    <a:pt x="428" y="32"/>
                  </a:lnTo>
                  <a:lnTo>
                    <a:pt x="430" y="30"/>
                  </a:lnTo>
                  <a:lnTo>
                    <a:pt x="434" y="34"/>
                  </a:lnTo>
                  <a:lnTo>
                    <a:pt x="442" y="34"/>
                  </a:lnTo>
                  <a:lnTo>
                    <a:pt x="454" y="32"/>
                  </a:lnTo>
                  <a:lnTo>
                    <a:pt x="448" y="42"/>
                  </a:lnTo>
                  <a:lnTo>
                    <a:pt x="448" y="36"/>
                  </a:lnTo>
                  <a:lnTo>
                    <a:pt x="442" y="38"/>
                  </a:lnTo>
                  <a:lnTo>
                    <a:pt x="438" y="40"/>
                  </a:lnTo>
                  <a:lnTo>
                    <a:pt x="434" y="36"/>
                  </a:lnTo>
                  <a:lnTo>
                    <a:pt x="428" y="34"/>
                  </a:lnTo>
                  <a:lnTo>
                    <a:pt x="426" y="36"/>
                  </a:lnTo>
                  <a:lnTo>
                    <a:pt x="428" y="38"/>
                  </a:lnTo>
                  <a:lnTo>
                    <a:pt x="428" y="40"/>
                  </a:lnTo>
                  <a:lnTo>
                    <a:pt x="426" y="42"/>
                  </a:lnTo>
                  <a:lnTo>
                    <a:pt x="418" y="32"/>
                  </a:lnTo>
                  <a:lnTo>
                    <a:pt x="414" y="30"/>
                  </a:lnTo>
                  <a:lnTo>
                    <a:pt x="408" y="32"/>
                  </a:lnTo>
                  <a:lnTo>
                    <a:pt x="402" y="38"/>
                  </a:lnTo>
                  <a:lnTo>
                    <a:pt x="400" y="42"/>
                  </a:lnTo>
                  <a:lnTo>
                    <a:pt x="398" y="42"/>
                  </a:lnTo>
                  <a:lnTo>
                    <a:pt x="392" y="40"/>
                  </a:lnTo>
                  <a:lnTo>
                    <a:pt x="386" y="40"/>
                  </a:lnTo>
                  <a:lnTo>
                    <a:pt x="380" y="40"/>
                  </a:lnTo>
                  <a:lnTo>
                    <a:pt x="374" y="42"/>
                  </a:lnTo>
                  <a:lnTo>
                    <a:pt x="374" y="44"/>
                  </a:lnTo>
                  <a:lnTo>
                    <a:pt x="390" y="42"/>
                  </a:lnTo>
                  <a:lnTo>
                    <a:pt x="380" y="46"/>
                  </a:lnTo>
                  <a:lnTo>
                    <a:pt x="380" y="48"/>
                  </a:lnTo>
                  <a:lnTo>
                    <a:pt x="384" y="48"/>
                  </a:lnTo>
                  <a:lnTo>
                    <a:pt x="406" y="46"/>
                  </a:lnTo>
                  <a:lnTo>
                    <a:pt x="382" y="52"/>
                  </a:lnTo>
                  <a:lnTo>
                    <a:pt x="380" y="56"/>
                  </a:lnTo>
                  <a:lnTo>
                    <a:pt x="396" y="52"/>
                  </a:lnTo>
                  <a:lnTo>
                    <a:pt x="412" y="50"/>
                  </a:lnTo>
                  <a:lnTo>
                    <a:pt x="408" y="54"/>
                  </a:lnTo>
                  <a:lnTo>
                    <a:pt x="400" y="54"/>
                  </a:lnTo>
                  <a:lnTo>
                    <a:pt x="394" y="56"/>
                  </a:lnTo>
                  <a:lnTo>
                    <a:pt x="388" y="58"/>
                  </a:lnTo>
                  <a:lnTo>
                    <a:pt x="386" y="62"/>
                  </a:lnTo>
                  <a:lnTo>
                    <a:pt x="404" y="60"/>
                  </a:lnTo>
                  <a:lnTo>
                    <a:pt x="422" y="60"/>
                  </a:lnTo>
                  <a:lnTo>
                    <a:pt x="424" y="62"/>
                  </a:lnTo>
                  <a:lnTo>
                    <a:pt x="424" y="64"/>
                  </a:lnTo>
                  <a:lnTo>
                    <a:pt x="428" y="64"/>
                  </a:lnTo>
                  <a:lnTo>
                    <a:pt x="430" y="60"/>
                  </a:lnTo>
                  <a:lnTo>
                    <a:pt x="432" y="60"/>
                  </a:lnTo>
                  <a:lnTo>
                    <a:pt x="434" y="58"/>
                  </a:lnTo>
                  <a:lnTo>
                    <a:pt x="434" y="66"/>
                  </a:lnTo>
                  <a:lnTo>
                    <a:pt x="450" y="68"/>
                  </a:lnTo>
                  <a:lnTo>
                    <a:pt x="452" y="68"/>
                  </a:lnTo>
                  <a:lnTo>
                    <a:pt x="454" y="62"/>
                  </a:lnTo>
                  <a:lnTo>
                    <a:pt x="458" y="62"/>
                  </a:lnTo>
                  <a:lnTo>
                    <a:pt x="458" y="60"/>
                  </a:lnTo>
                  <a:lnTo>
                    <a:pt x="458" y="56"/>
                  </a:lnTo>
                  <a:lnTo>
                    <a:pt x="460" y="60"/>
                  </a:lnTo>
                  <a:lnTo>
                    <a:pt x="462" y="62"/>
                  </a:lnTo>
                  <a:lnTo>
                    <a:pt x="466" y="62"/>
                  </a:lnTo>
                  <a:lnTo>
                    <a:pt x="472" y="62"/>
                  </a:lnTo>
                  <a:lnTo>
                    <a:pt x="482" y="58"/>
                  </a:lnTo>
                  <a:lnTo>
                    <a:pt x="498" y="58"/>
                  </a:lnTo>
                  <a:lnTo>
                    <a:pt x="516" y="56"/>
                  </a:lnTo>
                  <a:lnTo>
                    <a:pt x="528" y="54"/>
                  </a:lnTo>
                  <a:lnTo>
                    <a:pt x="544" y="50"/>
                  </a:lnTo>
                  <a:lnTo>
                    <a:pt x="540" y="52"/>
                  </a:lnTo>
                  <a:lnTo>
                    <a:pt x="536" y="52"/>
                  </a:lnTo>
                  <a:lnTo>
                    <a:pt x="536" y="56"/>
                  </a:lnTo>
                  <a:lnTo>
                    <a:pt x="548" y="56"/>
                  </a:lnTo>
                  <a:lnTo>
                    <a:pt x="534" y="58"/>
                  </a:lnTo>
                  <a:lnTo>
                    <a:pt x="520" y="60"/>
                  </a:lnTo>
                  <a:lnTo>
                    <a:pt x="518" y="64"/>
                  </a:lnTo>
                  <a:lnTo>
                    <a:pt x="530" y="64"/>
                  </a:lnTo>
                  <a:lnTo>
                    <a:pt x="538" y="62"/>
                  </a:lnTo>
                  <a:lnTo>
                    <a:pt x="534" y="64"/>
                  </a:lnTo>
                  <a:lnTo>
                    <a:pt x="530" y="68"/>
                  </a:lnTo>
                  <a:lnTo>
                    <a:pt x="524" y="68"/>
                  </a:lnTo>
                  <a:lnTo>
                    <a:pt x="518" y="68"/>
                  </a:lnTo>
                  <a:lnTo>
                    <a:pt x="506" y="68"/>
                  </a:lnTo>
                  <a:close/>
                  <a:moveTo>
                    <a:pt x="706" y="384"/>
                  </a:moveTo>
                  <a:lnTo>
                    <a:pt x="706" y="384"/>
                  </a:lnTo>
                  <a:lnTo>
                    <a:pt x="710" y="384"/>
                  </a:lnTo>
                  <a:lnTo>
                    <a:pt x="710" y="382"/>
                  </a:lnTo>
                  <a:lnTo>
                    <a:pt x="708" y="380"/>
                  </a:lnTo>
                  <a:lnTo>
                    <a:pt x="712" y="380"/>
                  </a:lnTo>
                  <a:lnTo>
                    <a:pt x="718" y="384"/>
                  </a:lnTo>
                  <a:lnTo>
                    <a:pt x="720" y="370"/>
                  </a:lnTo>
                  <a:lnTo>
                    <a:pt x="714" y="366"/>
                  </a:lnTo>
                  <a:lnTo>
                    <a:pt x="716" y="364"/>
                  </a:lnTo>
                  <a:lnTo>
                    <a:pt x="712" y="364"/>
                  </a:lnTo>
                  <a:lnTo>
                    <a:pt x="712" y="362"/>
                  </a:lnTo>
                  <a:lnTo>
                    <a:pt x="710" y="364"/>
                  </a:lnTo>
                  <a:lnTo>
                    <a:pt x="710" y="366"/>
                  </a:lnTo>
                  <a:lnTo>
                    <a:pt x="710" y="368"/>
                  </a:lnTo>
                  <a:lnTo>
                    <a:pt x="706" y="368"/>
                  </a:lnTo>
                  <a:lnTo>
                    <a:pt x="702" y="368"/>
                  </a:lnTo>
                  <a:lnTo>
                    <a:pt x="698" y="372"/>
                  </a:lnTo>
                  <a:lnTo>
                    <a:pt x="702" y="364"/>
                  </a:lnTo>
                  <a:lnTo>
                    <a:pt x="696" y="364"/>
                  </a:lnTo>
                  <a:lnTo>
                    <a:pt x="696" y="370"/>
                  </a:lnTo>
                  <a:lnTo>
                    <a:pt x="696" y="368"/>
                  </a:lnTo>
                  <a:lnTo>
                    <a:pt x="694" y="368"/>
                  </a:lnTo>
                  <a:lnTo>
                    <a:pt x="694" y="366"/>
                  </a:lnTo>
                  <a:lnTo>
                    <a:pt x="688" y="366"/>
                  </a:lnTo>
                  <a:lnTo>
                    <a:pt x="682" y="366"/>
                  </a:lnTo>
                  <a:lnTo>
                    <a:pt x="684" y="362"/>
                  </a:lnTo>
                  <a:lnTo>
                    <a:pt x="686" y="360"/>
                  </a:lnTo>
                  <a:lnTo>
                    <a:pt x="684" y="356"/>
                  </a:lnTo>
                  <a:lnTo>
                    <a:pt x="682" y="354"/>
                  </a:lnTo>
                  <a:lnTo>
                    <a:pt x="680" y="354"/>
                  </a:lnTo>
                  <a:lnTo>
                    <a:pt x="680" y="358"/>
                  </a:lnTo>
                  <a:lnTo>
                    <a:pt x="676" y="358"/>
                  </a:lnTo>
                  <a:lnTo>
                    <a:pt x="678" y="350"/>
                  </a:lnTo>
                  <a:lnTo>
                    <a:pt x="672" y="350"/>
                  </a:lnTo>
                  <a:lnTo>
                    <a:pt x="672" y="356"/>
                  </a:lnTo>
                  <a:lnTo>
                    <a:pt x="670" y="354"/>
                  </a:lnTo>
                  <a:lnTo>
                    <a:pt x="668" y="354"/>
                  </a:lnTo>
                  <a:lnTo>
                    <a:pt x="668" y="352"/>
                  </a:lnTo>
                  <a:lnTo>
                    <a:pt x="666" y="352"/>
                  </a:lnTo>
                  <a:lnTo>
                    <a:pt x="666" y="356"/>
                  </a:lnTo>
                  <a:lnTo>
                    <a:pt x="662" y="356"/>
                  </a:lnTo>
                  <a:lnTo>
                    <a:pt x="658" y="358"/>
                  </a:lnTo>
                  <a:lnTo>
                    <a:pt x="660" y="350"/>
                  </a:lnTo>
                  <a:lnTo>
                    <a:pt x="658" y="350"/>
                  </a:lnTo>
                  <a:lnTo>
                    <a:pt x="654" y="350"/>
                  </a:lnTo>
                  <a:lnTo>
                    <a:pt x="652" y="342"/>
                  </a:lnTo>
                  <a:lnTo>
                    <a:pt x="650" y="342"/>
                  </a:lnTo>
                  <a:lnTo>
                    <a:pt x="646" y="342"/>
                  </a:lnTo>
                  <a:lnTo>
                    <a:pt x="638" y="340"/>
                  </a:lnTo>
                  <a:lnTo>
                    <a:pt x="634" y="334"/>
                  </a:lnTo>
                  <a:lnTo>
                    <a:pt x="642" y="332"/>
                  </a:lnTo>
                  <a:lnTo>
                    <a:pt x="642" y="330"/>
                  </a:lnTo>
                  <a:lnTo>
                    <a:pt x="644" y="328"/>
                  </a:lnTo>
                  <a:lnTo>
                    <a:pt x="640" y="322"/>
                  </a:lnTo>
                  <a:lnTo>
                    <a:pt x="652" y="322"/>
                  </a:lnTo>
                  <a:lnTo>
                    <a:pt x="648" y="318"/>
                  </a:lnTo>
                  <a:lnTo>
                    <a:pt x="642" y="314"/>
                  </a:lnTo>
                  <a:lnTo>
                    <a:pt x="640" y="316"/>
                  </a:lnTo>
                  <a:lnTo>
                    <a:pt x="638" y="316"/>
                  </a:lnTo>
                  <a:lnTo>
                    <a:pt x="634" y="312"/>
                  </a:lnTo>
                  <a:lnTo>
                    <a:pt x="638" y="312"/>
                  </a:lnTo>
                  <a:lnTo>
                    <a:pt x="640" y="310"/>
                  </a:lnTo>
                  <a:lnTo>
                    <a:pt x="644" y="308"/>
                  </a:lnTo>
                  <a:lnTo>
                    <a:pt x="646" y="308"/>
                  </a:lnTo>
                  <a:lnTo>
                    <a:pt x="646" y="304"/>
                  </a:lnTo>
                  <a:lnTo>
                    <a:pt x="646" y="300"/>
                  </a:lnTo>
                  <a:lnTo>
                    <a:pt x="644" y="302"/>
                  </a:lnTo>
                  <a:lnTo>
                    <a:pt x="644" y="298"/>
                  </a:lnTo>
                  <a:lnTo>
                    <a:pt x="642" y="298"/>
                  </a:lnTo>
                  <a:lnTo>
                    <a:pt x="640" y="296"/>
                  </a:lnTo>
                  <a:lnTo>
                    <a:pt x="638" y="302"/>
                  </a:lnTo>
                  <a:lnTo>
                    <a:pt x="634" y="304"/>
                  </a:lnTo>
                  <a:lnTo>
                    <a:pt x="632" y="304"/>
                  </a:lnTo>
                  <a:lnTo>
                    <a:pt x="632" y="300"/>
                  </a:lnTo>
                  <a:lnTo>
                    <a:pt x="630" y="300"/>
                  </a:lnTo>
                  <a:lnTo>
                    <a:pt x="630" y="298"/>
                  </a:lnTo>
                  <a:lnTo>
                    <a:pt x="632" y="294"/>
                  </a:lnTo>
                  <a:lnTo>
                    <a:pt x="634" y="294"/>
                  </a:lnTo>
                  <a:lnTo>
                    <a:pt x="634" y="296"/>
                  </a:lnTo>
                  <a:lnTo>
                    <a:pt x="636" y="296"/>
                  </a:lnTo>
                  <a:lnTo>
                    <a:pt x="636" y="292"/>
                  </a:lnTo>
                  <a:lnTo>
                    <a:pt x="632" y="292"/>
                  </a:lnTo>
                  <a:lnTo>
                    <a:pt x="630" y="292"/>
                  </a:lnTo>
                  <a:lnTo>
                    <a:pt x="628" y="290"/>
                  </a:lnTo>
                  <a:lnTo>
                    <a:pt x="628" y="288"/>
                  </a:lnTo>
                  <a:lnTo>
                    <a:pt x="626" y="288"/>
                  </a:lnTo>
                  <a:lnTo>
                    <a:pt x="624" y="288"/>
                  </a:lnTo>
                  <a:lnTo>
                    <a:pt x="622" y="290"/>
                  </a:lnTo>
                  <a:lnTo>
                    <a:pt x="620" y="290"/>
                  </a:lnTo>
                  <a:lnTo>
                    <a:pt x="618" y="290"/>
                  </a:lnTo>
                  <a:lnTo>
                    <a:pt x="620" y="288"/>
                  </a:lnTo>
                  <a:lnTo>
                    <a:pt x="614" y="286"/>
                  </a:lnTo>
                  <a:lnTo>
                    <a:pt x="612" y="284"/>
                  </a:lnTo>
                  <a:lnTo>
                    <a:pt x="610" y="284"/>
                  </a:lnTo>
                  <a:lnTo>
                    <a:pt x="610" y="282"/>
                  </a:lnTo>
                  <a:lnTo>
                    <a:pt x="608" y="280"/>
                  </a:lnTo>
                  <a:lnTo>
                    <a:pt x="608" y="286"/>
                  </a:lnTo>
                  <a:lnTo>
                    <a:pt x="604" y="286"/>
                  </a:lnTo>
                  <a:lnTo>
                    <a:pt x="600" y="286"/>
                  </a:lnTo>
                  <a:lnTo>
                    <a:pt x="602" y="282"/>
                  </a:lnTo>
                  <a:lnTo>
                    <a:pt x="604" y="282"/>
                  </a:lnTo>
                  <a:lnTo>
                    <a:pt x="606" y="282"/>
                  </a:lnTo>
                  <a:lnTo>
                    <a:pt x="606" y="278"/>
                  </a:lnTo>
                  <a:lnTo>
                    <a:pt x="598" y="276"/>
                  </a:lnTo>
                  <a:lnTo>
                    <a:pt x="600" y="276"/>
                  </a:lnTo>
                  <a:lnTo>
                    <a:pt x="598" y="274"/>
                  </a:lnTo>
                  <a:lnTo>
                    <a:pt x="596" y="274"/>
                  </a:lnTo>
                  <a:lnTo>
                    <a:pt x="592" y="274"/>
                  </a:lnTo>
                  <a:lnTo>
                    <a:pt x="590" y="280"/>
                  </a:lnTo>
                  <a:lnTo>
                    <a:pt x="588" y="280"/>
                  </a:lnTo>
                  <a:lnTo>
                    <a:pt x="584" y="280"/>
                  </a:lnTo>
                  <a:lnTo>
                    <a:pt x="584" y="274"/>
                  </a:lnTo>
                  <a:lnTo>
                    <a:pt x="584" y="272"/>
                  </a:lnTo>
                  <a:lnTo>
                    <a:pt x="582" y="274"/>
                  </a:lnTo>
                  <a:lnTo>
                    <a:pt x="576" y="280"/>
                  </a:lnTo>
                  <a:lnTo>
                    <a:pt x="574" y="274"/>
                  </a:lnTo>
                  <a:lnTo>
                    <a:pt x="574" y="270"/>
                  </a:lnTo>
                  <a:lnTo>
                    <a:pt x="578" y="270"/>
                  </a:lnTo>
                  <a:lnTo>
                    <a:pt x="578" y="266"/>
                  </a:lnTo>
                  <a:lnTo>
                    <a:pt x="580" y="262"/>
                  </a:lnTo>
                  <a:lnTo>
                    <a:pt x="572" y="260"/>
                  </a:lnTo>
                  <a:lnTo>
                    <a:pt x="574" y="258"/>
                  </a:lnTo>
                  <a:lnTo>
                    <a:pt x="574" y="256"/>
                  </a:lnTo>
                  <a:lnTo>
                    <a:pt x="574" y="254"/>
                  </a:lnTo>
                  <a:lnTo>
                    <a:pt x="572" y="252"/>
                  </a:lnTo>
                  <a:lnTo>
                    <a:pt x="572" y="248"/>
                  </a:lnTo>
                  <a:lnTo>
                    <a:pt x="566" y="248"/>
                  </a:lnTo>
                  <a:lnTo>
                    <a:pt x="562" y="250"/>
                  </a:lnTo>
                  <a:lnTo>
                    <a:pt x="558" y="252"/>
                  </a:lnTo>
                  <a:lnTo>
                    <a:pt x="554" y="252"/>
                  </a:lnTo>
                  <a:lnTo>
                    <a:pt x="550" y="248"/>
                  </a:lnTo>
                  <a:lnTo>
                    <a:pt x="538" y="246"/>
                  </a:lnTo>
                  <a:lnTo>
                    <a:pt x="522" y="244"/>
                  </a:lnTo>
                  <a:lnTo>
                    <a:pt x="524" y="240"/>
                  </a:lnTo>
                  <a:lnTo>
                    <a:pt x="534" y="238"/>
                  </a:lnTo>
                  <a:lnTo>
                    <a:pt x="538" y="236"/>
                  </a:lnTo>
                  <a:lnTo>
                    <a:pt x="540" y="234"/>
                  </a:lnTo>
                  <a:lnTo>
                    <a:pt x="540" y="232"/>
                  </a:lnTo>
                  <a:lnTo>
                    <a:pt x="532" y="222"/>
                  </a:lnTo>
                  <a:lnTo>
                    <a:pt x="530" y="220"/>
                  </a:lnTo>
                  <a:lnTo>
                    <a:pt x="526" y="218"/>
                  </a:lnTo>
                  <a:lnTo>
                    <a:pt x="516" y="222"/>
                  </a:lnTo>
                  <a:lnTo>
                    <a:pt x="514" y="222"/>
                  </a:lnTo>
                  <a:lnTo>
                    <a:pt x="512" y="222"/>
                  </a:lnTo>
                  <a:lnTo>
                    <a:pt x="510" y="220"/>
                  </a:lnTo>
                  <a:lnTo>
                    <a:pt x="504" y="218"/>
                  </a:lnTo>
                  <a:lnTo>
                    <a:pt x="500" y="220"/>
                  </a:lnTo>
                  <a:lnTo>
                    <a:pt x="492" y="224"/>
                  </a:lnTo>
                  <a:lnTo>
                    <a:pt x="492" y="228"/>
                  </a:lnTo>
                  <a:lnTo>
                    <a:pt x="490" y="226"/>
                  </a:lnTo>
                  <a:lnTo>
                    <a:pt x="490" y="222"/>
                  </a:lnTo>
                  <a:lnTo>
                    <a:pt x="480" y="220"/>
                  </a:lnTo>
                  <a:lnTo>
                    <a:pt x="470" y="222"/>
                  </a:lnTo>
                  <a:lnTo>
                    <a:pt x="452" y="232"/>
                  </a:lnTo>
                  <a:lnTo>
                    <a:pt x="454" y="234"/>
                  </a:lnTo>
                  <a:lnTo>
                    <a:pt x="452" y="234"/>
                  </a:lnTo>
                  <a:lnTo>
                    <a:pt x="454" y="238"/>
                  </a:lnTo>
                  <a:lnTo>
                    <a:pt x="452" y="238"/>
                  </a:lnTo>
                  <a:lnTo>
                    <a:pt x="450" y="238"/>
                  </a:lnTo>
                  <a:lnTo>
                    <a:pt x="450" y="236"/>
                  </a:lnTo>
                  <a:lnTo>
                    <a:pt x="444" y="240"/>
                  </a:lnTo>
                  <a:lnTo>
                    <a:pt x="444" y="246"/>
                  </a:lnTo>
                  <a:lnTo>
                    <a:pt x="446" y="248"/>
                  </a:lnTo>
                  <a:lnTo>
                    <a:pt x="446" y="250"/>
                  </a:lnTo>
                  <a:lnTo>
                    <a:pt x="450" y="250"/>
                  </a:lnTo>
                  <a:lnTo>
                    <a:pt x="456" y="250"/>
                  </a:lnTo>
                  <a:lnTo>
                    <a:pt x="456" y="258"/>
                  </a:lnTo>
                  <a:lnTo>
                    <a:pt x="454" y="256"/>
                  </a:lnTo>
                  <a:lnTo>
                    <a:pt x="452" y="254"/>
                  </a:lnTo>
                  <a:lnTo>
                    <a:pt x="448" y="254"/>
                  </a:lnTo>
                  <a:lnTo>
                    <a:pt x="444" y="254"/>
                  </a:lnTo>
                  <a:lnTo>
                    <a:pt x="444" y="256"/>
                  </a:lnTo>
                  <a:lnTo>
                    <a:pt x="442" y="258"/>
                  </a:lnTo>
                  <a:lnTo>
                    <a:pt x="444" y="260"/>
                  </a:lnTo>
                  <a:lnTo>
                    <a:pt x="448" y="262"/>
                  </a:lnTo>
                  <a:lnTo>
                    <a:pt x="452" y="262"/>
                  </a:lnTo>
                  <a:lnTo>
                    <a:pt x="452" y="266"/>
                  </a:lnTo>
                  <a:lnTo>
                    <a:pt x="450" y="268"/>
                  </a:lnTo>
                  <a:lnTo>
                    <a:pt x="450" y="272"/>
                  </a:lnTo>
                  <a:lnTo>
                    <a:pt x="450" y="276"/>
                  </a:lnTo>
                  <a:lnTo>
                    <a:pt x="450" y="278"/>
                  </a:lnTo>
                  <a:lnTo>
                    <a:pt x="448" y="276"/>
                  </a:lnTo>
                  <a:lnTo>
                    <a:pt x="446" y="274"/>
                  </a:lnTo>
                  <a:lnTo>
                    <a:pt x="440" y="276"/>
                  </a:lnTo>
                  <a:lnTo>
                    <a:pt x="434" y="276"/>
                  </a:lnTo>
                  <a:lnTo>
                    <a:pt x="444" y="272"/>
                  </a:lnTo>
                  <a:lnTo>
                    <a:pt x="442" y="266"/>
                  </a:lnTo>
                  <a:lnTo>
                    <a:pt x="438" y="264"/>
                  </a:lnTo>
                  <a:lnTo>
                    <a:pt x="434" y="262"/>
                  </a:lnTo>
                  <a:lnTo>
                    <a:pt x="434" y="256"/>
                  </a:lnTo>
                  <a:lnTo>
                    <a:pt x="434" y="244"/>
                  </a:lnTo>
                  <a:lnTo>
                    <a:pt x="436" y="236"/>
                  </a:lnTo>
                  <a:lnTo>
                    <a:pt x="440" y="230"/>
                  </a:lnTo>
                  <a:lnTo>
                    <a:pt x="446" y="228"/>
                  </a:lnTo>
                  <a:lnTo>
                    <a:pt x="450" y="226"/>
                  </a:lnTo>
                  <a:lnTo>
                    <a:pt x="462" y="224"/>
                  </a:lnTo>
                  <a:lnTo>
                    <a:pt x="462" y="220"/>
                  </a:lnTo>
                  <a:lnTo>
                    <a:pt x="458" y="220"/>
                  </a:lnTo>
                  <a:lnTo>
                    <a:pt x="434" y="220"/>
                  </a:lnTo>
                  <a:lnTo>
                    <a:pt x="408" y="226"/>
                  </a:lnTo>
                  <a:lnTo>
                    <a:pt x="408" y="232"/>
                  </a:lnTo>
                  <a:lnTo>
                    <a:pt x="404" y="234"/>
                  </a:lnTo>
                  <a:lnTo>
                    <a:pt x="404" y="238"/>
                  </a:lnTo>
                  <a:lnTo>
                    <a:pt x="404" y="242"/>
                  </a:lnTo>
                  <a:lnTo>
                    <a:pt x="398" y="246"/>
                  </a:lnTo>
                  <a:lnTo>
                    <a:pt x="396" y="256"/>
                  </a:lnTo>
                  <a:lnTo>
                    <a:pt x="392" y="266"/>
                  </a:lnTo>
                  <a:lnTo>
                    <a:pt x="396" y="268"/>
                  </a:lnTo>
                  <a:lnTo>
                    <a:pt x="398" y="270"/>
                  </a:lnTo>
                  <a:lnTo>
                    <a:pt x="398" y="272"/>
                  </a:lnTo>
                  <a:lnTo>
                    <a:pt x="396" y="274"/>
                  </a:lnTo>
                  <a:lnTo>
                    <a:pt x="406" y="278"/>
                  </a:lnTo>
                  <a:lnTo>
                    <a:pt x="420" y="278"/>
                  </a:lnTo>
                  <a:lnTo>
                    <a:pt x="420" y="282"/>
                  </a:lnTo>
                  <a:lnTo>
                    <a:pt x="414" y="282"/>
                  </a:lnTo>
                  <a:lnTo>
                    <a:pt x="410" y="280"/>
                  </a:lnTo>
                  <a:lnTo>
                    <a:pt x="416" y="288"/>
                  </a:lnTo>
                  <a:lnTo>
                    <a:pt x="422" y="292"/>
                  </a:lnTo>
                  <a:lnTo>
                    <a:pt x="420" y="292"/>
                  </a:lnTo>
                  <a:lnTo>
                    <a:pt x="420" y="294"/>
                  </a:lnTo>
                  <a:lnTo>
                    <a:pt x="422" y="296"/>
                  </a:lnTo>
                  <a:lnTo>
                    <a:pt x="424" y="296"/>
                  </a:lnTo>
                  <a:lnTo>
                    <a:pt x="426" y="294"/>
                  </a:lnTo>
                  <a:lnTo>
                    <a:pt x="426" y="290"/>
                  </a:lnTo>
                  <a:lnTo>
                    <a:pt x="430" y="290"/>
                  </a:lnTo>
                  <a:lnTo>
                    <a:pt x="436" y="296"/>
                  </a:lnTo>
                  <a:lnTo>
                    <a:pt x="440" y="302"/>
                  </a:lnTo>
                  <a:lnTo>
                    <a:pt x="448" y="302"/>
                  </a:lnTo>
                  <a:lnTo>
                    <a:pt x="448" y="300"/>
                  </a:lnTo>
                  <a:lnTo>
                    <a:pt x="450" y="300"/>
                  </a:lnTo>
                  <a:lnTo>
                    <a:pt x="452" y="302"/>
                  </a:lnTo>
                  <a:lnTo>
                    <a:pt x="458" y="304"/>
                  </a:lnTo>
                  <a:lnTo>
                    <a:pt x="464" y="304"/>
                  </a:lnTo>
                  <a:lnTo>
                    <a:pt x="476" y="302"/>
                  </a:lnTo>
                  <a:lnTo>
                    <a:pt x="476" y="306"/>
                  </a:lnTo>
                  <a:lnTo>
                    <a:pt x="484" y="308"/>
                  </a:lnTo>
                  <a:lnTo>
                    <a:pt x="490" y="308"/>
                  </a:lnTo>
                  <a:lnTo>
                    <a:pt x="484" y="302"/>
                  </a:lnTo>
                  <a:lnTo>
                    <a:pt x="484" y="298"/>
                  </a:lnTo>
                  <a:lnTo>
                    <a:pt x="486" y="298"/>
                  </a:lnTo>
                  <a:lnTo>
                    <a:pt x="490" y="302"/>
                  </a:lnTo>
                  <a:lnTo>
                    <a:pt x="504" y="312"/>
                  </a:lnTo>
                  <a:lnTo>
                    <a:pt x="502" y="308"/>
                  </a:lnTo>
                  <a:lnTo>
                    <a:pt x="504" y="306"/>
                  </a:lnTo>
                  <a:lnTo>
                    <a:pt x="498" y="302"/>
                  </a:lnTo>
                  <a:lnTo>
                    <a:pt x="496" y="300"/>
                  </a:lnTo>
                  <a:lnTo>
                    <a:pt x="494" y="298"/>
                  </a:lnTo>
                  <a:lnTo>
                    <a:pt x="506" y="298"/>
                  </a:lnTo>
                  <a:lnTo>
                    <a:pt x="516" y="304"/>
                  </a:lnTo>
                  <a:lnTo>
                    <a:pt x="520" y="304"/>
                  </a:lnTo>
                  <a:lnTo>
                    <a:pt x="526" y="302"/>
                  </a:lnTo>
                  <a:lnTo>
                    <a:pt x="524" y="294"/>
                  </a:lnTo>
                  <a:lnTo>
                    <a:pt x="522" y="294"/>
                  </a:lnTo>
                  <a:lnTo>
                    <a:pt x="522" y="296"/>
                  </a:lnTo>
                  <a:lnTo>
                    <a:pt x="520" y="298"/>
                  </a:lnTo>
                  <a:lnTo>
                    <a:pt x="520" y="296"/>
                  </a:lnTo>
                  <a:lnTo>
                    <a:pt x="518" y="294"/>
                  </a:lnTo>
                  <a:lnTo>
                    <a:pt x="526" y="290"/>
                  </a:lnTo>
                  <a:lnTo>
                    <a:pt x="528" y="294"/>
                  </a:lnTo>
                  <a:lnTo>
                    <a:pt x="530" y="300"/>
                  </a:lnTo>
                  <a:lnTo>
                    <a:pt x="532" y="298"/>
                  </a:lnTo>
                  <a:lnTo>
                    <a:pt x="530" y="296"/>
                  </a:lnTo>
                  <a:lnTo>
                    <a:pt x="534" y="296"/>
                  </a:lnTo>
                  <a:lnTo>
                    <a:pt x="538" y="310"/>
                  </a:lnTo>
                  <a:lnTo>
                    <a:pt x="540" y="308"/>
                  </a:lnTo>
                  <a:lnTo>
                    <a:pt x="540" y="304"/>
                  </a:lnTo>
                  <a:lnTo>
                    <a:pt x="542" y="304"/>
                  </a:lnTo>
                  <a:lnTo>
                    <a:pt x="544" y="304"/>
                  </a:lnTo>
                  <a:lnTo>
                    <a:pt x="546" y="302"/>
                  </a:lnTo>
                  <a:lnTo>
                    <a:pt x="548" y="306"/>
                  </a:lnTo>
                  <a:lnTo>
                    <a:pt x="552" y="308"/>
                  </a:lnTo>
                  <a:lnTo>
                    <a:pt x="550" y="310"/>
                  </a:lnTo>
                  <a:lnTo>
                    <a:pt x="550" y="314"/>
                  </a:lnTo>
                  <a:lnTo>
                    <a:pt x="558" y="308"/>
                  </a:lnTo>
                  <a:lnTo>
                    <a:pt x="560" y="310"/>
                  </a:lnTo>
                  <a:lnTo>
                    <a:pt x="558" y="318"/>
                  </a:lnTo>
                  <a:lnTo>
                    <a:pt x="564" y="322"/>
                  </a:lnTo>
                  <a:lnTo>
                    <a:pt x="558" y="324"/>
                  </a:lnTo>
                  <a:lnTo>
                    <a:pt x="558" y="328"/>
                  </a:lnTo>
                  <a:lnTo>
                    <a:pt x="556" y="330"/>
                  </a:lnTo>
                  <a:lnTo>
                    <a:pt x="558" y="332"/>
                  </a:lnTo>
                  <a:lnTo>
                    <a:pt x="562" y="332"/>
                  </a:lnTo>
                  <a:lnTo>
                    <a:pt x="562" y="334"/>
                  </a:lnTo>
                  <a:lnTo>
                    <a:pt x="562" y="336"/>
                  </a:lnTo>
                  <a:lnTo>
                    <a:pt x="562" y="338"/>
                  </a:lnTo>
                  <a:lnTo>
                    <a:pt x="572" y="332"/>
                  </a:lnTo>
                  <a:lnTo>
                    <a:pt x="578" y="328"/>
                  </a:lnTo>
                  <a:lnTo>
                    <a:pt x="578" y="326"/>
                  </a:lnTo>
                  <a:lnTo>
                    <a:pt x="580" y="326"/>
                  </a:lnTo>
                  <a:lnTo>
                    <a:pt x="580" y="328"/>
                  </a:lnTo>
                  <a:lnTo>
                    <a:pt x="582" y="328"/>
                  </a:lnTo>
                  <a:lnTo>
                    <a:pt x="580" y="338"/>
                  </a:lnTo>
                  <a:lnTo>
                    <a:pt x="580" y="342"/>
                  </a:lnTo>
                  <a:lnTo>
                    <a:pt x="582" y="340"/>
                  </a:lnTo>
                  <a:lnTo>
                    <a:pt x="584" y="340"/>
                  </a:lnTo>
                  <a:lnTo>
                    <a:pt x="584" y="344"/>
                  </a:lnTo>
                  <a:lnTo>
                    <a:pt x="590" y="344"/>
                  </a:lnTo>
                  <a:lnTo>
                    <a:pt x="590" y="348"/>
                  </a:lnTo>
                  <a:lnTo>
                    <a:pt x="588" y="354"/>
                  </a:lnTo>
                  <a:lnTo>
                    <a:pt x="594" y="364"/>
                  </a:lnTo>
                  <a:lnTo>
                    <a:pt x="586" y="364"/>
                  </a:lnTo>
                  <a:lnTo>
                    <a:pt x="588" y="366"/>
                  </a:lnTo>
                  <a:lnTo>
                    <a:pt x="586" y="368"/>
                  </a:lnTo>
                  <a:lnTo>
                    <a:pt x="584" y="372"/>
                  </a:lnTo>
                  <a:lnTo>
                    <a:pt x="592" y="376"/>
                  </a:lnTo>
                  <a:lnTo>
                    <a:pt x="588" y="376"/>
                  </a:lnTo>
                  <a:lnTo>
                    <a:pt x="584" y="376"/>
                  </a:lnTo>
                  <a:lnTo>
                    <a:pt x="580" y="384"/>
                  </a:lnTo>
                  <a:lnTo>
                    <a:pt x="572" y="394"/>
                  </a:lnTo>
                  <a:lnTo>
                    <a:pt x="586" y="410"/>
                  </a:lnTo>
                  <a:lnTo>
                    <a:pt x="560" y="416"/>
                  </a:lnTo>
                  <a:lnTo>
                    <a:pt x="546" y="418"/>
                  </a:lnTo>
                  <a:lnTo>
                    <a:pt x="532" y="418"/>
                  </a:lnTo>
                  <a:lnTo>
                    <a:pt x="532" y="428"/>
                  </a:lnTo>
                  <a:lnTo>
                    <a:pt x="530" y="436"/>
                  </a:lnTo>
                  <a:lnTo>
                    <a:pt x="528" y="434"/>
                  </a:lnTo>
                  <a:lnTo>
                    <a:pt x="528" y="436"/>
                  </a:lnTo>
                  <a:lnTo>
                    <a:pt x="528" y="438"/>
                  </a:lnTo>
                  <a:lnTo>
                    <a:pt x="536" y="442"/>
                  </a:lnTo>
                  <a:lnTo>
                    <a:pt x="542" y="444"/>
                  </a:lnTo>
                  <a:lnTo>
                    <a:pt x="548" y="442"/>
                  </a:lnTo>
                  <a:lnTo>
                    <a:pt x="550" y="440"/>
                  </a:lnTo>
                  <a:lnTo>
                    <a:pt x="552" y="438"/>
                  </a:lnTo>
                  <a:lnTo>
                    <a:pt x="556" y="434"/>
                  </a:lnTo>
                  <a:lnTo>
                    <a:pt x="558" y="434"/>
                  </a:lnTo>
                  <a:lnTo>
                    <a:pt x="566" y="438"/>
                  </a:lnTo>
                  <a:lnTo>
                    <a:pt x="566" y="436"/>
                  </a:lnTo>
                  <a:lnTo>
                    <a:pt x="568" y="434"/>
                  </a:lnTo>
                  <a:lnTo>
                    <a:pt x="560" y="430"/>
                  </a:lnTo>
                  <a:lnTo>
                    <a:pt x="562" y="428"/>
                  </a:lnTo>
                  <a:lnTo>
                    <a:pt x="564" y="428"/>
                  </a:lnTo>
                  <a:lnTo>
                    <a:pt x="564" y="426"/>
                  </a:lnTo>
                  <a:lnTo>
                    <a:pt x="564" y="424"/>
                  </a:lnTo>
                  <a:lnTo>
                    <a:pt x="566" y="424"/>
                  </a:lnTo>
                  <a:lnTo>
                    <a:pt x="568" y="432"/>
                  </a:lnTo>
                  <a:lnTo>
                    <a:pt x="572" y="430"/>
                  </a:lnTo>
                  <a:lnTo>
                    <a:pt x="574" y="428"/>
                  </a:lnTo>
                  <a:lnTo>
                    <a:pt x="578" y="436"/>
                  </a:lnTo>
                  <a:lnTo>
                    <a:pt x="584" y="434"/>
                  </a:lnTo>
                  <a:lnTo>
                    <a:pt x="586" y="438"/>
                  </a:lnTo>
                  <a:lnTo>
                    <a:pt x="586" y="442"/>
                  </a:lnTo>
                  <a:lnTo>
                    <a:pt x="590" y="442"/>
                  </a:lnTo>
                  <a:lnTo>
                    <a:pt x="592" y="450"/>
                  </a:lnTo>
                  <a:lnTo>
                    <a:pt x="596" y="448"/>
                  </a:lnTo>
                  <a:lnTo>
                    <a:pt x="598" y="452"/>
                  </a:lnTo>
                  <a:lnTo>
                    <a:pt x="598" y="450"/>
                  </a:lnTo>
                  <a:lnTo>
                    <a:pt x="598" y="448"/>
                  </a:lnTo>
                  <a:lnTo>
                    <a:pt x="600" y="448"/>
                  </a:lnTo>
                  <a:lnTo>
                    <a:pt x="604" y="450"/>
                  </a:lnTo>
                  <a:lnTo>
                    <a:pt x="604" y="454"/>
                  </a:lnTo>
                  <a:lnTo>
                    <a:pt x="598" y="454"/>
                  </a:lnTo>
                  <a:lnTo>
                    <a:pt x="598" y="458"/>
                  </a:lnTo>
                  <a:lnTo>
                    <a:pt x="602" y="460"/>
                  </a:lnTo>
                  <a:lnTo>
                    <a:pt x="604" y="462"/>
                  </a:lnTo>
                  <a:lnTo>
                    <a:pt x="612" y="460"/>
                  </a:lnTo>
                  <a:lnTo>
                    <a:pt x="620" y="460"/>
                  </a:lnTo>
                  <a:lnTo>
                    <a:pt x="620" y="458"/>
                  </a:lnTo>
                  <a:lnTo>
                    <a:pt x="626" y="458"/>
                  </a:lnTo>
                  <a:lnTo>
                    <a:pt x="636" y="462"/>
                  </a:lnTo>
                  <a:lnTo>
                    <a:pt x="636" y="458"/>
                  </a:lnTo>
                  <a:lnTo>
                    <a:pt x="638" y="458"/>
                  </a:lnTo>
                  <a:lnTo>
                    <a:pt x="640" y="462"/>
                  </a:lnTo>
                  <a:lnTo>
                    <a:pt x="644" y="462"/>
                  </a:lnTo>
                  <a:lnTo>
                    <a:pt x="646" y="460"/>
                  </a:lnTo>
                  <a:lnTo>
                    <a:pt x="650" y="460"/>
                  </a:lnTo>
                  <a:lnTo>
                    <a:pt x="652" y="464"/>
                  </a:lnTo>
                  <a:lnTo>
                    <a:pt x="658" y="464"/>
                  </a:lnTo>
                  <a:lnTo>
                    <a:pt x="666" y="464"/>
                  </a:lnTo>
                  <a:lnTo>
                    <a:pt x="664" y="460"/>
                  </a:lnTo>
                  <a:lnTo>
                    <a:pt x="666" y="456"/>
                  </a:lnTo>
                  <a:lnTo>
                    <a:pt x="660" y="456"/>
                  </a:lnTo>
                  <a:lnTo>
                    <a:pt x="656" y="456"/>
                  </a:lnTo>
                  <a:lnTo>
                    <a:pt x="652" y="450"/>
                  </a:lnTo>
                  <a:lnTo>
                    <a:pt x="648" y="450"/>
                  </a:lnTo>
                  <a:lnTo>
                    <a:pt x="644" y="450"/>
                  </a:lnTo>
                  <a:lnTo>
                    <a:pt x="630" y="440"/>
                  </a:lnTo>
                  <a:lnTo>
                    <a:pt x="630" y="438"/>
                  </a:lnTo>
                  <a:lnTo>
                    <a:pt x="628" y="434"/>
                  </a:lnTo>
                  <a:lnTo>
                    <a:pt x="640" y="438"/>
                  </a:lnTo>
                  <a:lnTo>
                    <a:pt x="642" y="438"/>
                  </a:lnTo>
                  <a:lnTo>
                    <a:pt x="644" y="438"/>
                  </a:lnTo>
                  <a:lnTo>
                    <a:pt x="644" y="436"/>
                  </a:lnTo>
                  <a:lnTo>
                    <a:pt x="644" y="434"/>
                  </a:lnTo>
                  <a:lnTo>
                    <a:pt x="648" y="434"/>
                  </a:lnTo>
                  <a:lnTo>
                    <a:pt x="652" y="438"/>
                  </a:lnTo>
                  <a:lnTo>
                    <a:pt x="660" y="438"/>
                  </a:lnTo>
                  <a:lnTo>
                    <a:pt x="668" y="438"/>
                  </a:lnTo>
                  <a:lnTo>
                    <a:pt x="670" y="442"/>
                  </a:lnTo>
                  <a:lnTo>
                    <a:pt x="672" y="446"/>
                  </a:lnTo>
                  <a:lnTo>
                    <a:pt x="674" y="446"/>
                  </a:lnTo>
                  <a:lnTo>
                    <a:pt x="678" y="446"/>
                  </a:lnTo>
                  <a:lnTo>
                    <a:pt x="666" y="438"/>
                  </a:lnTo>
                  <a:lnTo>
                    <a:pt x="672" y="434"/>
                  </a:lnTo>
                  <a:lnTo>
                    <a:pt x="674" y="434"/>
                  </a:lnTo>
                  <a:lnTo>
                    <a:pt x="672" y="434"/>
                  </a:lnTo>
                  <a:lnTo>
                    <a:pt x="672" y="428"/>
                  </a:lnTo>
                  <a:lnTo>
                    <a:pt x="674" y="428"/>
                  </a:lnTo>
                  <a:lnTo>
                    <a:pt x="678" y="428"/>
                  </a:lnTo>
                  <a:lnTo>
                    <a:pt x="678" y="424"/>
                  </a:lnTo>
                  <a:lnTo>
                    <a:pt x="674" y="422"/>
                  </a:lnTo>
                  <a:lnTo>
                    <a:pt x="674" y="418"/>
                  </a:lnTo>
                  <a:lnTo>
                    <a:pt x="670" y="418"/>
                  </a:lnTo>
                  <a:lnTo>
                    <a:pt x="668" y="422"/>
                  </a:lnTo>
                  <a:lnTo>
                    <a:pt x="652" y="408"/>
                  </a:lnTo>
                  <a:lnTo>
                    <a:pt x="650" y="402"/>
                  </a:lnTo>
                  <a:lnTo>
                    <a:pt x="650" y="398"/>
                  </a:lnTo>
                  <a:lnTo>
                    <a:pt x="648" y="398"/>
                  </a:lnTo>
                  <a:lnTo>
                    <a:pt x="644" y="398"/>
                  </a:lnTo>
                  <a:lnTo>
                    <a:pt x="642" y="394"/>
                  </a:lnTo>
                  <a:lnTo>
                    <a:pt x="642" y="390"/>
                  </a:lnTo>
                  <a:lnTo>
                    <a:pt x="644" y="390"/>
                  </a:lnTo>
                  <a:lnTo>
                    <a:pt x="644" y="392"/>
                  </a:lnTo>
                  <a:lnTo>
                    <a:pt x="646" y="392"/>
                  </a:lnTo>
                  <a:lnTo>
                    <a:pt x="648" y="394"/>
                  </a:lnTo>
                  <a:lnTo>
                    <a:pt x="644" y="384"/>
                  </a:lnTo>
                  <a:lnTo>
                    <a:pt x="644" y="380"/>
                  </a:lnTo>
                  <a:lnTo>
                    <a:pt x="646" y="380"/>
                  </a:lnTo>
                  <a:lnTo>
                    <a:pt x="650" y="386"/>
                  </a:lnTo>
                  <a:lnTo>
                    <a:pt x="650" y="384"/>
                  </a:lnTo>
                  <a:lnTo>
                    <a:pt x="650" y="382"/>
                  </a:lnTo>
                  <a:lnTo>
                    <a:pt x="654" y="378"/>
                  </a:lnTo>
                  <a:lnTo>
                    <a:pt x="658" y="388"/>
                  </a:lnTo>
                  <a:lnTo>
                    <a:pt x="662" y="392"/>
                  </a:lnTo>
                  <a:lnTo>
                    <a:pt x="668" y="394"/>
                  </a:lnTo>
                  <a:lnTo>
                    <a:pt x="670" y="392"/>
                  </a:lnTo>
                  <a:lnTo>
                    <a:pt x="674" y="392"/>
                  </a:lnTo>
                  <a:lnTo>
                    <a:pt x="670" y="396"/>
                  </a:lnTo>
                  <a:lnTo>
                    <a:pt x="674" y="398"/>
                  </a:lnTo>
                  <a:lnTo>
                    <a:pt x="680" y="398"/>
                  </a:lnTo>
                  <a:lnTo>
                    <a:pt x="678" y="402"/>
                  </a:lnTo>
                  <a:lnTo>
                    <a:pt x="680" y="404"/>
                  </a:lnTo>
                  <a:lnTo>
                    <a:pt x="686" y="402"/>
                  </a:lnTo>
                  <a:lnTo>
                    <a:pt x="682" y="406"/>
                  </a:lnTo>
                  <a:lnTo>
                    <a:pt x="682" y="408"/>
                  </a:lnTo>
                  <a:lnTo>
                    <a:pt x="684" y="408"/>
                  </a:lnTo>
                  <a:lnTo>
                    <a:pt x="696" y="412"/>
                  </a:lnTo>
                  <a:lnTo>
                    <a:pt x="696" y="404"/>
                  </a:lnTo>
                  <a:lnTo>
                    <a:pt x="694" y="396"/>
                  </a:lnTo>
                  <a:lnTo>
                    <a:pt x="696" y="396"/>
                  </a:lnTo>
                  <a:lnTo>
                    <a:pt x="696" y="398"/>
                  </a:lnTo>
                  <a:lnTo>
                    <a:pt x="706" y="398"/>
                  </a:lnTo>
                  <a:lnTo>
                    <a:pt x="704" y="396"/>
                  </a:lnTo>
                  <a:lnTo>
                    <a:pt x="704" y="392"/>
                  </a:lnTo>
                  <a:lnTo>
                    <a:pt x="706" y="384"/>
                  </a:lnTo>
                  <a:close/>
                  <a:moveTo>
                    <a:pt x="284" y="76"/>
                  </a:moveTo>
                  <a:lnTo>
                    <a:pt x="284" y="76"/>
                  </a:lnTo>
                  <a:lnTo>
                    <a:pt x="284" y="82"/>
                  </a:lnTo>
                  <a:lnTo>
                    <a:pt x="286" y="86"/>
                  </a:lnTo>
                  <a:lnTo>
                    <a:pt x="290" y="90"/>
                  </a:lnTo>
                  <a:lnTo>
                    <a:pt x="294" y="90"/>
                  </a:lnTo>
                  <a:lnTo>
                    <a:pt x="292" y="88"/>
                  </a:lnTo>
                  <a:lnTo>
                    <a:pt x="288" y="78"/>
                  </a:lnTo>
                  <a:lnTo>
                    <a:pt x="286" y="76"/>
                  </a:lnTo>
                  <a:lnTo>
                    <a:pt x="284" y="7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5" name="Freeform 663">
              <a:extLst>
                <a:ext uri="{FF2B5EF4-FFF2-40B4-BE49-F238E27FC236}">
                  <a16:creationId xmlns:a16="http://schemas.microsoft.com/office/drawing/2014/main" id="{FB072C26-38A9-4438-8524-634CBC4DECAF}"/>
                </a:ext>
              </a:extLst>
            </p:cNvPr>
            <p:cNvSpPr>
              <a:spLocks/>
            </p:cNvSpPr>
            <p:nvPr/>
          </p:nvSpPr>
          <p:spPr bwMode="gray">
            <a:xfrm>
              <a:off x="4560365" y="3940423"/>
              <a:ext cx="169501" cy="291931"/>
            </a:xfrm>
            <a:custGeom>
              <a:avLst/>
              <a:gdLst>
                <a:gd name="T0" fmla="*/ 2147483647 w 92"/>
                <a:gd name="T1" fmla="*/ 2147483647 h 158"/>
                <a:gd name="T2" fmla="*/ 2147483647 w 92"/>
                <a:gd name="T3" fmla="*/ 2147483647 h 158"/>
                <a:gd name="T4" fmla="*/ 2147483647 w 92"/>
                <a:gd name="T5" fmla="*/ 2147483647 h 158"/>
                <a:gd name="T6" fmla="*/ 2147483647 w 92"/>
                <a:gd name="T7" fmla="*/ 2147483647 h 158"/>
                <a:gd name="T8" fmla="*/ 2147483647 w 92"/>
                <a:gd name="T9" fmla="*/ 2147483647 h 158"/>
                <a:gd name="T10" fmla="*/ 2147483647 w 92"/>
                <a:gd name="T11" fmla="*/ 2147483647 h 158"/>
                <a:gd name="T12" fmla="*/ 2147483647 w 92"/>
                <a:gd name="T13" fmla="*/ 2147483647 h 158"/>
                <a:gd name="T14" fmla="*/ 2147483647 w 92"/>
                <a:gd name="T15" fmla="*/ 2147483647 h 158"/>
                <a:gd name="T16" fmla="*/ 2147483647 w 92"/>
                <a:gd name="T17" fmla="*/ 2147483647 h 158"/>
                <a:gd name="T18" fmla="*/ 2147483647 w 92"/>
                <a:gd name="T19" fmla="*/ 2147483647 h 158"/>
                <a:gd name="T20" fmla="*/ 2147483647 w 92"/>
                <a:gd name="T21" fmla="*/ 2147483647 h 158"/>
                <a:gd name="T22" fmla="*/ 2147483647 w 92"/>
                <a:gd name="T23" fmla="*/ 2147483647 h 158"/>
                <a:gd name="T24" fmla="*/ 2147483647 w 92"/>
                <a:gd name="T25" fmla="*/ 2147483647 h 158"/>
                <a:gd name="T26" fmla="*/ 2147483647 w 92"/>
                <a:gd name="T27" fmla="*/ 2147483647 h 158"/>
                <a:gd name="T28" fmla="*/ 2147483647 w 92"/>
                <a:gd name="T29" fmla="*/ 2147483647 h 158"/>
                <a:gd name="T30" fmla="*/ 2147483647 w 92"/>
                <a:gd name="T31" fmla="*/ 2147483647 h 158"/>
                <a:gd name="T32" fmla="*/ 2147483647 w 92"/>
                <a:gd name="T33" fmla="*/ 2147483647 h 158"/>
                <a:gd name="T34" fmla="*/ 2147483647 w 92"/>
                <a:gd name="T35" fmla="*/ 2147483647 h 158"/>
                <a:gd name="T36" fmla="*/ 2147483647 w 92"/>
                <a:gd name="T37" fmla="*/ 2147483647 h 158"/>
                <a:gd name="T38" fmla="*/ 2147483647 w 92"/>
                <a:gd name="T39" fmla="*/ 2147483647 h 158"/>
                <a:gd name="T40" fmla="*/ 2147483647 w 92"/>
                <a:gd name="T41" fmla="*/ 2147483647 h 158"/>
                <a:gd name="T42" fmla="*/ 2147483647 w 92"/>
                <a:gd name="T43" fmla="*/ 2147483647 h 158"/>
                <a:gd name="T44" fmla="*/ 2147483647 w 92"/>
                <a:gd name="T45" fmla="*/ 2147483647 h 158"/>
                <a:gd name="T46" fmla="*/ 2147483647 w 92"/>
                <a:gd name="T47" fmla="*/ 2147483647 h 158"/>
                <a:gd name="T48" fmla="*/ 2147483647 w 92"/>
                <a:gd name="T49" fmla="*/ 2147483647 h 158"/>
                <a:gd name="T50" fmla="*/ 2147483647 w 92"/>
                <a:gd name="T51" fmla="*/ 2147483647 h 158"/>
                <a:gd name="T52" fmla="*/ 2147483647 w 92"/>
                <a:gd name="T53" fmla="*/ 2147483647 h 158"/>
                <a:gd name="T54" fmla="*/ 2147483647 w 92"/>
                <a:gd name="T55" fmla="*/ 2147483647 h 158"/>
                <a:gd name="T56" fmla="*/ 2147483647 w 92"/>
                <a:gd name="T57" fmla="*/ 2147483647 h 158"/>
                <a:gd name="T58" fmla="*/ 2147483647 w 92"/>
                <a:gd name="T59" fmla="*/ 2147483647 h 158"/>
                <a:gd name="T60" fmla="*/ 2147483647 w 92"/>
                <a:gd name="T61" fmla="*/ 2147483647 h 158"/>
                <a:gd name="T62" fmla="*/ 2147483647 w 92"/>
                <a:gd name="T63" fmla="*/ 2147483647 h 158"/>
                <a:gd name="T64" fmla="*/ 2147483647 w 92"/>
                <a:gd name="T65" fmla="*/ 2147483647 h 158"/>
                <a:gd name="T66" fmla="*/ 2147483647 w 92"/>
                <a:gd name="T67" fmla="*/ 2147483647 h 158"/>
                <a:gd name="T68" fmla="*/ 2147483647 w 92"/>
                <a:gd name="T69" fmla="*/ 2147483647 h 158"/>
                <a:gd name="T70" fmla="*/ 2147483647 w 92"/>
                <a:gd name="T71" fmla="*/ 2147483647 h 158"/>
                <a:gd name="T72" fmla="*/ 2147483647 w 92"/>
                <a:gd name="T73" fmla="*/ 2147483647 h 158"/>
                <a:gd name="T74" fmla="*/ 2147483647 w 92"/>
                <a:gd name="T75" fmla="*/ 2147483647 h 158"/>
                <a:gd name="T76" fmla="*/ 2147483647 w 92"/>
                <a:gd name="T77" fmla="*/ 2147483647 h 158"/>
                <a:gd name="T78" fmla="*/ 2147483647 w 92"/>
                <a:gd name="T79" fmla="*/ 2147483647 h 158"/>
                <a:gd name="T80" fmla="*/ 2147483647 w 92"/>
                <a:gd name="T81" fmla="*/ 2147483647 h 158"/>
                <a:gd name="T82" fmla="*/ 2147483647 w 92"/>
                <a:gd name="T83" fmla="*/ 2147483647 h 158"/>
                <a:gd name="T84" fmla="*/ 2147483647 w 92"/>
                <a:gd name="T85" fmla="*/ 2147483647 h 158"/>
                <a:gd name="T86" fmla="*/ 2147483647 w 92"/>
                <a:gd name="T87" fmla="*/ 2147483647 h 158"/>
                <a:gd name="T88" fmla="*/ 2147483647 w 92"/>
                <a:gd name="T89" fmla="*/ 2147483647 h 158"/>
                <a:gd name="T90" fmla="*/ 2147483647 w 92"/>
                <a:gd name="T91" fmla="*/ 2147483647 h 158"/>
                <a:gd name="T92" fmla="*/ 2147483647 w 92"/>
                <a:gd name="T93" fmla="*/ 2147483647 h 158"/>
                <a:gd name="T94" fmla="*/ 2147483647 w 92"/>
                <a:gd name="T95" fmla="*/ 2147483647 h 158"/>
                <a:gd name="T96" fmla="*/ 2147483647 w 92"/>
                <a:gd name="T97" fmla="*/ 2147483647 h 158"/>
                <a:gd name="T98" fmla="*/ 2147483647 w 92"/>
                <a:gd name="T99" fmla="*/ 2147483647 h 158"/>
                <a:gd name="T100" fmla="*/ 2147483647 w 92"/>
                <a:gd name="T101" fmla="*/ 2147483647 h 158"/>
                <a:gd name="T102" fmla="*/ 2147483647 w 92"/>
                <a:gd name="T103" fmla="*/ 2147483647 h 158"/>
                <a:gd name="T104" fmla="*/ 2147483647 w 92"/>
                <a:gd name="T105" fmla="*/ 2147483647 h 158"/>
                <a:gd name="T106" fmla="*/ 2147483647 w 92"/>
                <a:gd name="T107" fmla="*/ 2147483647 h 158"/>
                <a:gd name="T108" fmla="*/ 0 w 92"/>
                <a:gd name="T109" fmla="*/ 2147483647 h 158"/>
                <a:gd name="T110" fmla="*/ 0 w 92"/>
                <a:gd name="T111" fmla="*/ 2147483647 h 158"/>
                <a:gd name="T112" fmla="*/ 0 w 92"/>
                <a:gd name="T113" fmla="*/ 2147483647 h 158"/>
                <a:gd name="T114" fmla="*/ 2147483647 w 92"/>
                <a:gd name="T115" fmla="*/ 2147483647 h 1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2"/>
                <a:gd name="T175" fmla="*/ 0 h 158"/>
                <a:gd name="T176" fmla="*/ 92 w 92"/>
                <a:gd name="T177" fmla="*/ 158 h 1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2" h="158">
                  <a:moveTo>
                    <a:pt x="2" y="130"/>
                  </a:moveTo>
                  <a:lnTo>
                    <a:pt x="2" y="130"/>
                  </a:lnTo>
                  <a:lnTo>
                    <a:pt x="2" y="126"/>
                  </a:lnTo>
                  <a:lnTo>
                    <a:pt x="6" y="126"/>
                  </a:lnTo>
                  <a:lnTo>
                    <a:pt x="4" y="132"/>
                  </a:lnTo>
                  <a:lnTo>
                    <a:pt x="6" y="134"/>
                  </a:lnTo>
                  <a:lnTo>
                    <a:pt x="10" y="134"/>
                  </a:lnTo>
                  <a:lnTo>
                    <a:pt x="10" y="136"/>
                  </a:lnTo>
                  <a:lnTo>
                    <a:pt x="12" y="142"/>
                  </a:lnTo>
                  <a:lnTo>
                    <a:pt x="16" y="146"/>
                  </a:lnTo>
                  <a:lnTo>
                    <a:pt x="14" y="156"/>
                  </a:lnTo>
                  <a:lnTo>
                    <a:pt x="36" y="154"/>
                  </a:lnTo>
                  <a:lnTo>
                    <a:pt x="40" y="154"/>
                  </a:lnTo>
                  <a:lnTo>
                    <a:pt x="44" y="154"/>
                  </a:lnTo>
                  <a:lnTo>
                    <a:pt x="46" y="154"/>
                  </a:lnTo>
                  <a:lnTo>
                    <a:pt x="50" y="152"/>
                  </a:lnTo>
                  <a:lnTo>
                    <a:pt x="56" y="152"/>
                  </a:lnTo>
                  <a:lnTo>
                    <a:pt x="58" y="152"/>
                  </a:lnTo>
                  <a:lnTo>
                    <a:pt x="66" y="152"/>
                  </a:lnTo>
                  <a:lnTo>
                    <a:pt x="72" y="152"/>
                  </a:lnTo>
                  <a:lnTo>
                    <a:pt x="74" y="154"/>
                  </a:lnTo>
                  <a:lnTo>
                    <a:pt x="76" y="156"/>
                  </a:lnTo>
                  <a:lnTo>
                    <a:pt x="78" y="156"/>
                  </a:lnTo>
                  <a:lnTo>
                    <a:pt x="86" y="156"/>
                  </a:lnTo>
                  <a:lnTo>
                    <a:pt x="92" y="158"/>
                  </a:lnTo>
                  <a:lnTo>
                    <a:pt x="90" y="152"/>
                  </a:lnTo>
                  <a:lnTo>
                    <a:pt x="92" y="148"/>
                  </a:lnTo>
                  <a:lnTo>
                    <a:pt x="92" y="146"/>
                  </a:lnTo>
                  <a:lnTo>
                    <a:pt x="90" y="144"/>
                  </a:lnTo>
                  <a:lnTo>
                    <a:pt x="86" y="138"/>
                  </a:lnTo>
                  <a:lnTo>
                    <a:pt x="82" y="134"/>
                  </a:lnTo>
                  <a:lnTo>
                    <a:pt x="78" y="130"/>
                  </a:lnTo>
                  <a:lnTo>
                    <a:pt x="76" y="126"/>
                  </a:lnTo>
                  <a:lnTo>
                    <a:pt x="74" y="122"/>
                  </a:lnTo>
                  <a:lnTo>
                    <a:pt x="68" y="110"/>
                  </a:lnTo>
                  <a:lnTo>
                    <a:pt x="66" y="106"/>
                  </a:lnTo>
                  <a:lnTo>
                    <a:pt x="64" y="104"/>
                  </a:lnTo>
                  <a:lnTo>
                    <a:pt x="62" y="104"/>
                  </a:lnTo>
                  <a:lnTo>
                    <a:pt x="64" y="102"/>
                  </a:lnTo>
                  <a:lnTo>
                    <a:pt x="66" y="100"/>
                  </a:lnTo>
                  <a:lnTo>
                    <a:pt x="70" y="96"/>
                  </a:lnTo>
                  <a:lnTo>
                    <a:pt x="72" y="92"/>
                  </a:lnTo>
                  <a:lnTo>
                    <a:pt x="74" y="84"/>
                  </a:lnTo>
                  <a:lnTo>
                    <a:pt x="78" y="78"/>
                  </a:lnTo>
                  <a:lnTo>
                    <a:pt x="76" y="74"/>
                  </a:lnTo>
                  <a:lnTo>
                    <a:pt x="74" y="68"/>
                  </a:lnTo>
                  <a:lnTo>
                    <a:pt x="66" y="58"/>
                  </a:lnTo>
                  <a:lnTo>
                    <a:pt x="66" y="54"/>
                  </a:lnTo>
                  <a:lnTo>
                    <a:pt x="68" y="50"/>
                  </a:lnTo>
                  <a:lnTo>
                    <a:pt x="76" y="50"/>
                  </a:lnTo>
                  <a:lnTo>
                    <a:pt x="82" y="50"/>
                  </a:lnTo>
                  <a:lnTo>
                    <a:pt x="80" y="44"/>
                  </a:lnTo>
                  <a:lnTo>
                    <a:pt x="80" y="42"/>
                  </a:lnTo>
                  <a:lnTo>
                    <a:pt x="80" y="38"/>
                  </a:lnTo>
                  <a:lnTo>
                    <a:pt x="78" y="34"/>
                  </a:lnTo>
                  <a:lnTo>
                    <a:pt x="78" y="28"/>
                  </a:lnTo>
                  <a:lnTo>
                    <a:pt x="78" y="24"/>
                  </a:lnTo>
                  <a:lnTo>
                    <a:pt x="78" y="20"/>
                  </a:lnTo>
                  <a:lnTo>
                    <a:pt x="78" y="18"/>
                  </a:lnTo>
                  <a:lnTo>
                    <a:pt x="78" y="14"/>
                  </a:lnTo>
                  <a:lnTo>
                    <a:pt x="76" y="12"/>
                  </a:lnTo>
                  <a:lnTo>
                    <a:pt x="76" y="8"/>
                  </a:lnTo>
                  <a:lnTo>
                    <a:pt x="68" y="0"/>
                  </a:lnTo>
                  <a:lnTo>
                    <a:pt x="68" y="12"/>
                  </a:lnTo>
                  <a:lnTo>
                    <a:pt x="70" y="12"/>
                  </a:lnTo>
                  <a:lnTo>
                    <a:pt x="70" y="14"/>
                  </a:lnTo>
                  <a:lnTo>
                    <a:pt x="70" y="20"/>
                  </a:lnTo>
                  <a:lnTo>
                    <a:pt x="68" y="24"/>
                  </a:lnTo>
                  <a:lnTo>
                    <a:pt x="66" y="24"/>
                  </a:lnTo>
                  <a:lnTo>
                    <a:pt x="64" y="26"/>
                  </a:lnTo>
                  <a:lnTo>
                    <a:pt x="64" y="28"/>
                  </a:lnTo>
                  <a:lnTo>
                    <a:pt x="62" y="30"/>
                  </a:lnTo>
                  <a:lnTo>
                    <a:pt x="58" y="34"/>
                  </a:lnTo>
                  <a:lnTo>
                    <a:pt x="58" y="36"/>
                  </a:lnTo>
                  <a:lnTo>
                    <a:pt x="58" y="40"/>
                  </a:lnTo>
                  <a:lnTo>
                    <a:pt x="56" y="44"/>
                  </a:lnTo>
                  <a:lnTo>
                    <a:pt x="54" y="44"/>
                  </a:lnTo>
                  <a:lnTo>
                    <a:pt x="54" y="48"/>
                  </a:lnTo>
                  <a:lnTo>
                    <a:pt x="54" y="50"/>
                  </a:lnTo>
                  <a:lnTo>
                    <a:pt x="54" y="52"/>
                  </a:lnTo>
                  <a:lnTo>
                    <a:pt x="54" y="56"/>
                  </a:lnTo>
                  <a:lnTo>
                    <a:pt x="44" y="60"/>
                  </a:lnTo>
                  <a:lnTo>
                    <a:pt x="42" y="62"/>
                  </a:lnTo>
                  <a:lnTo>
                    <a:pt x="42" y="64"/>
                  </a:lnTo>
                  <a:lnTo>
                    <a:pt x="40" y="68"/>
                  </a:lnTo>
                  <a:lnTo>
                    <a:pt x="40" y="72"/>
                  </a:lnTo>
                  <a:lnTo>
                    <a:pt x="38" y="74"/>
                  </a:lnTo>
                  <a:lnTo>
                    <a:pt x="36" y="78"/>
                  </a:lnTo>
                  <a:lnTo>
                    <a:pt x="34" y="80"/>
                  </a:lnTo>
                  <a:lnTo>
                    <a:pt x="32" y="84"/>
                  </a:lnTo>
                  <a:lnTo>
                    <a:pt x="28" y="90"/>
                  </a:lnTo>
                  <a:lnTo>
                    <a:pt x="30" y="94"/>
                  </a:lnTo>
                  <a:lnTo>
                    <a:pt x="30" y="96"/>
                  </a:lnTo>
                  <a:lnTo>
                    <a:pt x="28" y="96"/>
                  </a:lnTo>
                  <a:lnTo>
                    <a:pt x="26" y="102"/>
                  </a:lnTo>
                  <a:lnTo>
                    <a:pt x="24" y="104"/>
                  </a:lnTo>
                  <a:lnTo>
                    <a:pt x="20" y="104"/>
                  </a:lnTo>
                  <a:lnTo>
                    <a:pt x="22" y="100"/>
                  </a:lnTo>
                  <a:lnTo>
                    <a:pt x="22" y="98"/>
                  </a:lnTo>
                  <a:lnTo>
                    <a:pt x="20" y="96"/>
                  </a:lnTo>
                  <a:lnTo>
                    <a:pt x="16" y="94"/>
                  </a:lnTo>
                  <a:lnTo>
                    <a:pt x="14" y="94"/>
                  </a:lnTo>
                  <a:lnTo>
                    <a:pt x="12" y="96"/>
                  </a:lnTo>
                  <a:lnTo>
                    <a:pt x="8" y="98"/>
                  </a:lnTo>
                  <a:lnTo>
                    <a:pt x="4" y="98"/>
                  </a:lnTo>
                  <a:lnTo>
                    <a:pt x="4" y="100"/>
                  </a:lnTo>
                  <a:lnTo>
                    <a:pt x="2" y="106"/>
                  </a:lnTo>
                  <a:lnTo>
                    <a:pt x="0" y="108"/>
                  </a:lnTo>
                  <a:lnTo>
                    <a:pt x="0" y="110"/>
                  </a:lnTo>
                  <a:lnTo>
                    <a:pt x="0" y="112"/>
                  </a:lnTo>
                  <a:lnTo>
                    <a:pt x="0" y="114"/>
                  </a:lnTo>
                  <a:lnTo>
                    <a:pt x="2" y="114"/>
                  </a:lnTo>
                  <a:lnTo>
                    <a:pt x="0" y="120"/>
                  </a:lnTo>
                  <a:lnTo>
                    <a:pt x="0" y="128"/>
                  </a:lnTo>
                  <a:lnTo>
                    <a:pt x="2" y="13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6" name="Freeform 664">
              <a:extLst>
                <a:ext uri="{FF2B5EF4-FFF2-40B4-BE49-F238E27FC236}">
                  <a16:creationId xmlns:a16="http://schemas.microsoft.com/office/drawing/2014/main" id="{28F2A773-9038-494E-84F4-D8C56BADE059}"/>
                </a:ext>
              </a:extLst>
            </p:cNvPr>
            <p:cNvSpPr>
              <a:spLocks/>
            </p:cNvSpPr>
            <p:nvPr/>
          </p:nvSpPr>
          <p:spPr bwMode="gray">
            <a:xfrm>
              <a:off x="6530815" y="3905110"/>
              <a:ext cx="113000" cy="122422"/>
            </a:xfrm>
            <a:custGeom>
              <a:avLst/>
              <a:gdLst>
                <a:gd name="T0" fmla="*/ 2147483647 w 62"/>
                <a:gd name="T1" fmla="*/ 2147483647 h 66"/>
                <a:gd name="T2" fmla="*/ 2147483647 w 62"/>
                <a:gd name="T3" fmla="*/ 2147483647 h 66"/>
                <a:gd name="T4" fmla="*/ 2147483647 w 62"/>
                <a:gd name="T5" fmla="*/ 2147483647 h 66"/>
                <a:gd name="T6" fmla="*/ 2147483647 w 62"/>
                <a:gd name="T7" fmla="*/ 2147483647 h 66"/>
                <a:gd name="T8" fmla="*/ 2147483647 w 62"/>
                <a:gd name="T9" fmla="*/ 2147483647 h 66"/>
                <a:gd name="T10" fmla="*/ 2147483647 w 62"/>
                <a:gd name="T11" fmla="*/ 2147483647 h 66"/>
                <a:gd name="T12" fmla="*/ 2147483647 w 62"/>
                <a:gd name="T13" fmla="*/ 2147483647 h 66"/>
                <a:gd name="T14" fmla="*/ 2147483647 w 62"/>
                <a:gd name="T15" fmla="*/ 2147483647 h 66"/>
                <a:gd name="T16" fmla="*/ 2147483647 w 62"/>
                <a:gd name="T17" fmla="*/ 2147483647 h 66"/>
                <a:gd name="T18" fmla="*/ 2147483647 w 62"/>
                <a:gd name="T19" fmla="*/ 2147483647 h 66"/>
                <a:gd name="T20" fmla="*/ 2147483647 w 62"/>
                <a:gd name="T21" fmla="*/ 2147483647 h 66"/>
                <a:gd name="T22" fmla="*/ 2147483647 w 62"/>
                <a:gd name="T23" fmla="*/ 2147483647 h 66"/>
                <a:gd name="T24" fmla="*/ 2147483647 w 62"/>
                <a:gd name="T25" fmla="*/ 2147483647 h 66"/>
                <a:gd name="T26" fmla="*/ 2147483647 w 62"/>
                <a:gd name="T27" fmla="*/ 2147483647 h 66"/>
                <a:gd name="T28" fmla="*/ 2147483647 w 62"/>
                <a:gd name="T29" fmla="*/ 2147483647 h 66"/>
                <a:gd name="T30" fmla="*/ 2147483647 w 62"/>
                <a:gd name="T31" fmla="*/ 2147483647 h 66"/>
                <a:gd name="T32" fmla="*/ 2147483647 w 62"/>
                <a:gd name="T33" fmla="*/ 2147483647 h 66"/>
                <a:gd name="T34" fmla="*/ 2147483647 w 62"/>
                <a:gd name="T35" fmla="*/ 2147483647 h 66"/>
                <a:gd name="T36" fmla="*/ 2147483647 w 62"/>
                <a:gd name="T37" fmla="*/ 2147483647 h 66"/>
                <a:gd name="T38" fmla="*/ 2147483647 w 62"/>
                <a:gd name="T39" fmla="*/ 2147483647 h 66"/>
                <a:gd name="T40" fmla="*/ 2147483647 w 62"/>
                <a:gd name="T41" fmla="*/ 2147483647 h 66"/>
                <a:gd name="T42" fmla="*/ 2147483647 w 62"/>
                <a:gd name="T43" fmla="*/ 2147483647 h 66"/>
                <a:gd name="T44" fmla="*/ 2147483647 w 62"/>
                <a:gd name="T45" fmla="*/ 2147483647 h 66"/>
                <a:gd name="T46" fmla="*/ 2147483647 w 62"/>
                <a:gd name="T47" fmla="*/ 2147483647 h 66"/>
                <a:gd name="T48" fmla="*/ 2147483647 w 62"/>
                <a:gd name="T49" fmla="*/ 2147483647 h 66"/>
                <a:gd name="T50" fmla="*/ 2147483647 w 62"/>
                <a:gd name="T51" fmla="*/ 2147483647 h 66"/>
                <a:gd name="T52" fmla="*/ 2147483647 w 62"/>
                <a:gd name="T53" fmla="*/ 2147483647 h 66"/>
                <a:gd name="T54" fmla="*/ 2147483647 w 62"/>
                <a:gd name="T55" fmla="*/ 2147483647 h 66"/>
                <a:gd name="T56" fmla="*/ 2147483647 w 62"/>
                <a:gd name="T57" fmla="*/ 0 h 66"/>
                <a:gd name="T58" fmla="*/ 2147483647 w 62"/>
                <a:gd name="T59" fmla="*/ 2147483647 h 66"/>
                <a:gd name="T60" fmla="*/ 2147483647 w 62"/>
                <a:gd name="T61" fmla="*/ 2147483647 h 66"/>
                <a:gd name="T62" fmla="*/ 2147483647 w 62"/>
                <a:gd name="T63" fmla="*/ 2147483647 h 66"/>
                <a:gd name="T64" fmla="*/ 2147483647 w 62"/>
                <a:gd name="T65" fmla="*/ 2147483647 h 66"/>
                <a:gd name="T66" fmla="*/ 2147483647 w 62"/>
                <a:gd name="T67" fmla="*/ 2147483647 h 66"/>
                <a:gd name="T68" fmla="*/ 2147483647 w 62"/>
                <a:gd name="T69" fmla="*/ 2147483647 h 66"/>
                <a:gd name="T70" fmla="*/ 2147483647 w 62"/>
                <a:gd name="T71" fmla="*/ 2147483647 h 66"/>
                <a:gd name="T72" fmla="*/ 2147483647 w 62"/>
                <a:gd name="T73" fmla="*/ 2147483647 h 66"/>
                <a:gd name="T74" fmla="*/ 2147483647 w 62"/>
                <a:gd name="T75" fmla="*/ 2147483647 h 66"/>
                <a:gd name="T76" fmla="*/ 2147483647 w 62"/>
                <a:gd name="T77" fmla="*/ 2147483647 h 66"/>
                <a:gd name="T78" fmla="*/ 2147483647 w 62"/>
                <a:gd name="T79" fmla="*/ 2147483647 h 66"/>
                <a:gd name="T80" fmla="*/ 2147483647 w 62"/>
                <a:gd name="T81" fmla="*/ 2147483647 h 66"/>
                <a:gd name="T82" fmla="*/ 0 w 62"/>
                <a:gd name="T83" fmla="*/ 2147483647 h 66"/>
                <a:gd name="T84" fmla="*/ 0 w 62"/>
                <a:gd name="T85" fmla="*/ 2147483647 h 66"/>
                <a:gd name="T86" fmla="*/ 2147483647 w 62"/>
                <a:gd name="T87" fmla="*/ 2147483647 h 66"/>
                <a:gd name="T88" fmla="*/ 2147483647 w 62"/>
                <a:gd name="T89" fmla="*/ 2147483647 h 66"/>
                <a:gd name="T90" fmla="*/ 2147483647 w 62"/>
                <a:gd name="T91" fmla="*/ 2147483647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
                <a:gd name="T139" fmla="*/ 0 h 66"/>
                <a:gd name="T140" fmla="*/ 62 w 62"/>
                <a:gd name="T141" fmla="*/ 66 h 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 h="66">
                  <a:moveTo>
                    <a:pt x="4" y="46"/>
                  </a:moveTo>
                  <a:lnTo>
                    <a:pt x="4" y="46"/>
                  </a:lnTo>
                  <a:lnTo>
                    <a:pt x="12" y="60"/>
                  </a:lnTo>
                  <a:lnTo>
                    <a:pt x="14" y="58"/>
                  </a:lnTo>
                  <a:lnTo>
                    <a:pt x="16" y="58"/>
                  </a:lnTo>
                  <a:lnTo>
                    <a:pt x="18" y="58"/>
                  </a:lnTo>
                  <a:lnTo>
                    <a:pt x="16" y="64"/>
                  </a:lnTo>
                  <a:lnTo>
                    <a:pt x="22" y="66"/>
                  </a:lnTo>
                  <a:lnTo>
                    <a:pt x="24" y="62"/>
                  </a:lnTo>
                  <a:lnTo>
                    <a:pt x="28" y="60"/>
                  </a:lnTo>
                  <a:lnTo>
                    <a:pt x="32" y="58"/>
                  </a:lnTo>
                  <a:lnTo>
                    <a:pt x="36" y="56"/>
                  </a:lnTo>
                  <a:lnTo>
                    <a:pt x="44" y="58"/>
                  </a:lnTo>
                  <a:lnTo>
                    <a:pt x="46" y="54"/>
                  </a:lnTo>
                  <a:lnTo>
                    <a:pt x="50" y="50"/>
                  </a:lnTo>
                  <a:lnTo>
                    <a:pt x="58" y="46"/>
                  </a:lnTo>
                  <a:lnTo>
                    <a:pt x="60" y="38"/>
                  </a:lnTo>
                  <a:lnTo>
                    <a:pt x="62" y="30"/>
                  </a:lnTo>
                  <a:lnTo>
                    <a:pt x="60" y="24"/>
                  </a:lnTo>
                  <a:lnTo>
                    <a:pt x="58" y="20"/>
                  </a:lnTo>
                  <a:lnTo>
                    <a:pt x="58" y="16"/>
                  </a:lnTo>
                  <a:lnTo>
                    <a:pt x="56" y="10"/>
                  </a:lnTo>
                  <a:lnTo>
                    <a:pt x="56" y="4"/>
                  </a:lnTo>
                  <a:lnTo>
                    <a:pt x="52" y="4"/>
                  </a:lnTo>
                  <a:lnTo>
                    <a:pt x="48" y="2"/>
                  </a:lnTo>
                  <a:lnTo>
                    <a:pt x="44" y="0"/>
                  </a:lnTo>
                  <a:lnTo>
                    <a:pt x="42" y="4"/>
                  </a:lnTo>
                  <a:lnTo>
                    <a:pt x="42" y="10"/>
                  </a:lnTo>
                  <a:lnTo>
                    <a:pt x="38" y="12"/>
                  </a:lnTo>
                  <a:lnTo>
                    <a:pt x="34" y="8"/>
                  </a:lnTo>
                  <a:lnTo>
                    <a:pt x="32" y="4"/>
                  </a:lnTo>
                  <a:lnTo>
                    <a:pt x="26" y="4"/>
                  </a:lnTo>
                  <a:lnTo>
                    <a:pt x="24" y="8"/>
                  </a:lnTo>
                  <a:lnTo>
                    <a:pt x="18" y="12"/>
                  </a:lnTo>
                  <a:lnTo>
                    <a:pt x="14" y="12"/>
                  </a:lnTo>
                  <a:lnTo>
                    <a:pt x="10" y="12"/>
                  </a:lnTo>
                  <a:lnTo>
                    <a:pt x="4" y="14"/>
                  </a:lnTo>
                  <a:lnTo>
                    <a:pt x="2" y="16"/>
                  </a:lnTo>
                  <a:lnTo>
                    <a:pt x="0" y="22"/>
                  </a:lnTo>
                  <a:lnTo>
                    <a:pt x="0" y="32"/>
                  </a:lnTo>
                  <a:lnTo>
                    <a:pt x="4" y="38"/>
                  </a:lnTo>
                  <a:lnTo>
                    <a:pt x="4" y="4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7" name="Freeform 665">
              <a:extLst>
                <a:ext uri="{FF2B5EF4-FFF2-40B4-BE49-F238E27FC236}">
                  <a16:creationId xmlns:a16="http://schemas.microsoft.com/office/drawing/2014/main" id="{9C56149D-6407-4E30-80F9-CB2F1FDEE3FB}"/>
                </a:ext>
              </a:extLst>
            </p:cNvPr>
            <p:cNvSpPr>
              <a:spLocks/>
            </p:cNvSpPr>
            <p:nvPr/>
          </p:nvSpPr>
          <p:spPr bwMode="gray">
            <a:xfrm>
              <a:off x="4998242" y="4368904"/>
              <a:ext cx="47084" cy="51795"/>
            </a:xfrm>
            <a:custGeom>
              <a:avLst/>
              <a:gdLst>
                <a:gd name="T0" fmla="*/ 0 w 26"/>
                <a:gd name="T1" fmla="*/ 2147483647 h 28"/>
                <a:gd name="T2" fmla="*/ 0 w 26"/>
                <a:gd name="T3" fmla="*/ 2147483647 h 28"/>
                <a:gd name="T4" fmla="*/ 0 w 26"/>
                <a:gd name="T5" fmla="*/ 2147483647 h 28"/>
                <a:gd name="T6" fmla="*/ 0 w 26"/>
                <a:gd name="T7" fmla="*/ 2147483647 h 28"/>
                <a:gd name="T8" fmla="*/ 0 w 26"/>
                <a:gd name="T9" fmla="*/ 2147483647 h 28"/>
                <a:gd name="T10" fmla="*/ 2147483647 w 26"/>
                <a:gd name="T11" fmla="*/ 2147483647 h 28"/>
                <a:gd name="T12" fmla="*/ 2147483647 w 26"/>
                <a:gd name="T13" fmla="*/ 0 h 28"/>
                <a:gd name="T14" fmla="*/ 2147483647 w 26"/>
                <a:gd name="T15" fmla="*/ 2147483647 h 28"/>
                <a:gd name="T16" fmla="*/ 2147483647 w 26"/>
                <a:gd name="T17" fmla="*/ 2147483647 h 28"/>
                <a:gd name="T18" fmla="*/ 2147483647 w 26"/>
                <a:gd name="T19" fmla="*/ 2147483647 h 28"/>
                <a:gd name="T20" fmla="*/ 2147483647 w 26"/>
                <a:gd name="T21" fmla="*/ 2147483647 h 28"/>
                <a:gd name="T22" fmla="*/ 2147483647 w 26"/>
                <a:gd name="T23" fmla="*/ 2147483647 h 28"/>
                <a:gd name="T24" fmla="*/ 2147483647 w 26"/>
                <a:gd name="T25" fmla="*/ 2147483647 h 28"/>
                <a:gd name="T26" fmla="*/ 2147483647 w 26"/>
                <a:gd name="T27" fmla="*/ 2147483647 h 28"/>
                <a:gd name="T28" fmla="*/ 2147483647 w 26"/>
                <a:gd name="T29" fmla="*/ 2147483647 h 28"/>
                <a:gd name="T30" fmla="*/ 2147483647 w 26"/>
                <a:gd name="T31" fmla="*/ 0 h 28"/>
                <a:gd name="T32" fmla="*/ 2147483647 w 26"/>
                <a:gd name="T33" fmla="*/ 0 h 28"/>
                <a:gd name="T34" fmla="*/ 2147483647 w 26"/>
                <a:gd name="T35" fmla="*/ 0 h 28"/>
                <a:gd name="T36" fmla="*/ 2147483647 w 26"/>
                <a:gd name="T37" fmla="*/ 2147483647 h 28"/>
                <a:gd name="T38" fmla="*/ 2147483647 w 26"/>
                <a:gd name="T39" fmla="*/ 2147483647 h 28"/>
                <a:gd name="T40" fmla="*/ 2147483647 w 26"/>
                <a:gd name="T41" fmla="*/ 2147483647 h 28"/>
                <a:gd name="T42" fmla="*/ 2147483647 w 26"/>
                <a:gd name="T43" fmla="*/ 2147483647 h 28"/>
                <a:gd name="T44" fmla="*/ 2147483647 w 26"/>
                <a:gd name="T45" fmla="*/ 2147483647 h 28"/>
                <a:gd name="T46" fmla="*/ 2147483647 w 26"/>
                <a:gd name="T47" fmla="*/ 2147483647 h 28"/>
                <a:gd name="T48" fmla="*/ 2147483647 w 26"/>
                <a:gd name="T49" fmla="*/ 2147483647 h 28"/>
                <a:gd name="T50" fmla="*/ 2147483647 w 26"/>
                <a:gd name="T51" fmla="*/ 2147483647 h 28"/>
                <a:gd name="T52" fmla="*/ 2147483647 w 26"/>
                <a:gd name="T53" fmla="*/ 2147483647 h 28"/>
                <a:gd name="T54" fmla="*/ 2147483647 w 26"/>
                <a:gd name="T55" fmla="*/ 2147483647 h 28"/>
                <a:gd name="T56" fmla="*/ 2147483647 w 26"/>
                <a:gd name="T57" fmla="*/ 2147483647 h 28"/>
                <a:gd name="T58" fmla="*/ 2147483647 w 26"/>
                <a:gd name="T59" fmla="*/ 2147483647 h 28"/>
                <a:gd name="T60" fmla="*/ 2147483647 w 26"/>
                <a:gd name="T61" fmla="*/ 2147483647 h 28"/>
                <a:gd name="T62" fmla="*/ 2147483647 w 26"/>
                <a:gd name="T63" fmla="*/ 2147483647 h 28"/>
                <a:gd name="T64" fmla="*/ 2147483647 w 26"/>
                <a:gd name="T65" fmla="*/ 2147483647 h 28"/>
                <a:gd name="T66" fmla="*/ 2147483647 w 26"/>
                <a:gd name="T67" fmla="*/ 2147483647 h 28"/>
                <a:gd name="T68" fmla="*/ 2147483647 w 26"/>
                <a:gd name="T69" fmla="*/ 2147483647 h 28"/>
                <a:gd name="T70" fmla="*/ 2147483647 w 26"/>
                <a:gd name="T71" fmla="*/ 2147483647 h 28"/>
                <a:gd name="T72" fmla="*/ 2147483647 w 26"/>
                <a:gd name="T73" fmla="*/ 2147483647 h 28"/>
                <a:gd name="T74" fmla="*/ 2147483647 w 26"/>
                <a:gd name="T75" fmla="*/ 2147483647 h 28"/>
                <a:gd name="T76" fmla="*/ 0 w 26"/>
                <a:gd name="T77" fmla="*/ 2147483647 h 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
                <a:gd name="T118" fmla="*/ 0 h 28"/>
                <a:gd name="T119" fmla="*/ 26 w 26"/>
                <a:gd name="T120" fmla="*/ 28 h 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 h="28">
                  <a:moveTo>
                    <a:pt x="0" y="10"/>
                  </a:moveTo>
                  <a:lnTo>
                    <a:pt x="0" y="10"/>
                  </a:lnTo>
                  <a:lnTo>
                    <a:pt x="0" y="8"/>
                  </a:lnTo>
                  <a:lnTo>
                    <a:pt x="0" y="2"/>
                  </a:lnTo>
                  <a:lnTo>
                    <a:pt x="2" y="2"/>
                  </a:lnTo>
                  <a:lnTo>
                    <a:pt x="2" y="0"/>
                  </a:lnTo>
                  <a:lnTo>
                    <a:pt x="4" y="2"/>
                  </a:lnTo>
                  <a:lnTo>
                    <a:pt x="6" y="6"/>
                  </a:lnTo>
                  <a:lnTo>
                    <a:pt x="6" y="8"/>
                  </a:lnTo>
                  <a:lnTo>
                    <a:pt x="8" y="6"/>
                  </a:lnTo>
                  <a:lnTo>
                    <a:pt x="10" y="4"/>
                  </a:lnTo>
                  <a:lnTo>
                    <a:pt x="12" y="2"/>
                  </a:lnTo>
                  <a:lnTo>
                    <a:pt x="12" y="0"/>
                  </a:lnTo>
                  <a:lnTo>
                    <a:pt x="18" y="2"/>
                  </a:lnTo>
                  <a:lnTo>
                    <a:pt x="20" y="2"/>
                  </a:lnTo>
                  <a:lnTo>
                    <a:pt x="20" y="6"/>
                  </a:lnTo>
                  <a:lnTo>
                    <a:pt x="20" y="8"/>
                  </a:lnTo>
                  <a:lnTo>
                    <a:pt x="22" y="10"/>
                  </a:lnTo>
                  <a:lnTo>
                    <a:pt x="24" y="10"/>
                  </a:lnTo>
                  <a:lnTo>
                    <a:pt x="26" y="10"/>
                  </a:lnTo>
                  <a:lnTo>
                    <a:pt x="22" y="16"/>
                  </a:lnTo>
                  <a:lnTo>
                    <a:pt x="18" y="20"/>
                  </a:lnTo>
                  <a:lnTo>
                    <a:pt x="16" y="26"/>
                  </a:lnTo>
                  <a:lnTo>
                    <a:pt x="12" y="28"/>
                  </a:lnTo>
                  <a:lnTo>
                    <a:pt x="4" y="28"/>
                  </a:lnTo>
                  <a:lnTo>
                    <a:pt x="2" y="10"/>
                  </a:lnTo>
                  <a:lnTo>
                    <a:pt x="0"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8" name="Freeform 666">
              <a:extLst>
                <a:ext uri="{FF2B5EF4-FFF2-40B4-BE49-F238E27FC236}">
                  <a16:creationId xmlns:a16="http://schemas.microsoft.com/office/drawing/2014/main" id="{B63E2101-2E0B-4944-B9D9-B3964B7F18DD}"/>
                </a:ext>
              </a:extLst>
            </p:cNvPr>
            <p:cNvSpPr>
              <a:spLocks/>
            </p:cNvSpPr>
            <p:nvPr/>
          </p:nvSpPr>
          <p:spPr bwMode="gray">
            <a:xfrm>
              <a:off x="6326001" y="3575510"/>
              <a:ext cx="181271" cy="433187"/>
            </a:xfrm>
            <a:custGeom>
              <a:avLst/>
              <a:gdLst>
                <a:gd name="T0" fmla="*/ 2147483647 w 98"/>
                <a:gd name="T1" fmla="*/ 2147483647 h 234"/>
                <a:gd name="T2" fmla="*/ 2147483647 w 98"/>
                <a:gd name="T3" fmla="*/ 2147483647 h 234"/>
                <a:gd name="T4" fmla="*/ 2147483647 w 98"/>
                <a:gd name="T5" fmla="*/ 2147483647 h 234"/>
                <a:gd name="T6" fmla="*/ 2147483647 w 98"/>
                <a:gd name="T7" fmla="*/ 2147483647 h 234"/>
                <a:gd name="T8" fmla="*/ 2147483647 w 98"/>
                <a:gd name="T9" fmla="*/ 2147483647 h 234"/>
                <a:gd name="T10" fmla="*/ 2147483647 w 98"/>
                <a:gd name="T11" fmla="*/ 2147483647 h 234"/>
                <a:gd name="T12" fmla="*/ 2147483647 w 98"/>
                <a:gd name="T13" fmla="*/ 2147483647 h 234"/>
                <a:gd name="T14" fmla="*/ 2147483647 w 98"/>
                <a:gd name="T15" fmla="*/ 2147483647 h 234"/>
                <a:gd name="T16" fmla="*/ 2147483647 w 98"/>
                <a:gd name="T17" fmla="*/ 2147483647 h 234"/>
                <a:gd name="T18" fmla="*/ 2147483647 w 98"/>
                <a:gd name="T19" fmla="*/ 2147483647 h 234"/>
                <a:gd name="T20" fmla="*/ 2147483647 w 98"/>
                <a:gd name="T21" fmla="*/ 2147483647 h 234"/>
                <a:gd name="T22" fmla="*/ 2147483647 w 98"/>
                <a:gd name="T23" fmla="*/ 2147483647 h 234"/>
                <a:gd name="T24" fmla="*/ 2147483647 w 98"/>
                <a:gd name="T25" fmla="*/ 2147483647 h 234"/>
                <a:gd name="T26" fmla="*/ 2147483647 w 98"/>
                <a:gd name="T27" fmla="*/ 2147483647 h 234"/>
                <a:gd name="T28" fmla="*/ 2147483647 w 98"/>
                <a:gd name="T29" fmla="*/ 2147483647 h 234"/>
                <a:gd name="T30" fmla="*/ 2147483647 w 98"/>
                <a:gd name="T31" fmla="*/ 2147483647 h 234"/>
                <a:gd name="T32" fmla="*/ 2147483647 w 98"/>
                <a:gd name="T33" fmla="*/ 2147483647 h 234"/>
                <a:gd name="T34" fmla="*/ 2147483647 w 98"/>
                <a:gd name="T35" fmla="*/ 2147483647 h 234"/>
                <a:gd name="T36" fmla="*/ 2147483647 w 98"/>
                <a:gd name="T37" fmla="*/ 2147483647 h 234"/>
                <a:gd name="T38" fmla="*/ 2147483647 w 98"/>
                <a:gd name="T39" fmla="*/ 2147483647 h 234"/>
                <a:gd name="T40" fmla="*/ 2147483647 w 98"/>
                <a:gd name="T41" fmla="*/ 2147483647 h 234"/>
                <a:gd name="T42" fmla="*/ 2147483647 w 98"/>
                <a:gd name="T43" fmla="*/ 2147483647 h 234"/>
                <a:gd name="T44" fmla="*/ 2147483647 w 98"/>
                <a:gd name="T45" fmla="*/ 2147483647 h 234"/>
                <a:gd name="T46" fmla="*/ 2147483647 w 98"/>
                <a:gd name="T47" fmla="*/ 2147483647 h 234"/>
                <a:gd name="T48" fmla="*/ 2147483647 w 98"/>
                <a:gd name="T49" fmla="*/ 2147483647 h 234"/>
                <a:gd name="T50" fmla="*/ 2147483647 w 98"/>
                <a:gd name="T51" fmla="*/ 2147483647 h 234"/>
                <a:gd name="T52" fmla="*/ 2147483647 w 98"/>
                <a:gd name="T53" fmla="*/ 2147483647 h 234"/>
                <a:gd name="T54" fmla="*/ 2147483647 w 98"/>
                <a:gd name="T55" fmla="*/ 2147483647 h 234"/>
                <a:gd name="T56" fmla="*/ 2147483647 w 98"/>
                <a:gd name="T57" fmla="*/ 2147483647 h 234"/>
                <a:gd name="T58" fmla="*/ 0 w 98"/>
                <a:gd name="T59" fmla="*/ 2147483647 h 234"/>
                <a:gd name="T60" fmla="*/ 2147483647 w 98"/>
                <a:gd name="T61" fmla="*/ 2147483647 h 234"/>
                <a:gd name="T62" fmla="*/ 2147483647 w 98"/>
                <a:gd name="T63" fmla="*/ 2147483647 h 234"/>
                <a:gd name="T64" fmla="*/ 2147483647 w 98"/>
                <a:gd name="T65" fmla="*/ 2147483647 h 234"/>
                <a:gd name="T66" fmla="*/ 2147483647 w 98"/>
                <a:gd name="T67" fmla="*/ 2147483647 h 234"/>
                <a:gd name="T68" fmla="*/ 2147483647 w 98"/>
                <a:gd name="T69" fmla="*/ 2147483647 h 234"/>
                <a:gd name="T70" fmla="*/ 2147483647 w 98"/>
                <a:gd name="T71" fmla="*/ 2147483647 h 234"/>
                <a:gd name="T72" fmla="*/ 2147483647 w 98"/>
                <a:gd name="T73" fmla="*/ 2147483647 h 234"/>
                <a:gd name="T74" fmla="*/ 2147483647 w 98"/>
                <a:gd name="T75" fmla="*/ 2147483647 h 234"/>
                <a:gd name="T76" fmla="*/ 2147483647 w 98"/>
                <a:gd name="T77" fmla="*/ 2147483647 h 234"/>
                <a:gd name="T78" fmla="*/ 2147483647 w 98"/>
                <a:gd name="T79" fmla="*/ 2147483647 h 234"/>
                <a:gd name="T80" fmla="*/ 2147483647 w 98"/>
                <a:gd name="T81" fmla="*/ 2147483647 h 234"/>
                <a:gd name="T82" fmla="*/ 2147483647 w 98"/>
                <a:gd name="T83" fmla="*/ 2147483647 h 234"/>
                <a:gd name="T84" fmla="*/ 2147483647 w 98"/>
                <a:gd name="T85" fmla="*/ 2147483647 h 234"/>
                <a:gd name="T86" fmla="*/ 2147483647 w 98"/>
                <a:gd name="T87" fmla="*/ 2147483647 h 234"/>
                <a:gd name="T88" fmla="*/ 2147483647 w 98"/>
                <a:gd name="T89" fmla="*/ 2147483647 h 234"/>
                <a:gd name="T90" fmla="*/ 2147483647 w 98"/>
                <a:gd name="T91" fmla="*/ 2147483647 h 234"/>
                <a:gd name="T92" fmla="*/ 2147483647 w 98"/>
                <a:gd name="T93" fmla="*/ 2147483647 h 234"/>
                <a:gd name="T94" fmla="*/ 2147483647 w 98"/>
                <a:gd name="T95" fmla="*/ 2147483647 h 234"/>
                <a:gd name="T96" fmla="*/ 2147483647 w 98"/>
                <a:gd name="T97" fmla="*/ 2147483647 h 234"/>
                <a:gd name="T98" fmla="*/ 2147483647 w 98"/>
                <a:gd name="T99" fmla="*/ 2147483647 h 234"/>
                <a:gd name="T100" fmla="*/ 2147483647 w 98"/>
                <a:gd name="T101" fmla="*/ 2147483647 h 234"/>
                <a:gd name="T102" fmla="*/ 2147483647 w 98"/>
                <a:gd name="T103" fmla="*/ 2147483647 h 2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8"/>
                <a:gd name="T157" fmla="*/ 0 h 234"/>
                <a:gd name="T158" fmla="*/ 98 w 98"/>
                <a:gd name="T159" fmla="*/ 234 h 2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8" h="234">
                  <a:moveTo>
                    <a:pt x="72" y="234"/>
                  </a:moveTo>
                  <a:lnTo>
                    <a:pt x="74" y="234"/>
                  </a:lnTo>
                  <a:lnTo>
                    <a:pt x="76" y="228"/>
                  </a:lnTo>
                  <a:lnTo>
                    <a:pt x="78" y="222"/>
                  </a:lnTo>
                  <a:lnTo>
                    <a:pt x="80" y="216"/>
                  </a:lnTo>
                  <a:lnTo>
                    <a:pt x="80" y="208"/>
                  </a:lnTo>
                  <a:lnTo>
                    <a:pt x="76" y="200"/>
                  </a:lnTo>
                  <a:lnTo>
                    <a:pt x="72" y="194"/>
                  </a:lnTo>
                  <a:lnTo>
                    <a:pt x="68" y="184"/>
                  </a:lnTo>
                  <a:lnTo>
                    <a:pt x="66" y="172"/>
                  </a:lnTo>
                  <a:lnTo>
                    <a:pt x="72" y="170"/>
                  </a:lnTo>
                  <a:lnTo>
                    <a:pt x="72" y="164"/>
                  </a:lnTo>
                  <a:lnTo>
                    <a:pt x="66" y="158"/>
                  </a:lnTo>
                  <a:lnTo>
                    <a:pt x="62" y="152"/>
                  </a:lnTo>
                  <a:lnTo>
                    <a:pt x="60" y="142"/>
                  </a:lnTo>
                  <a:lnTo>
                    <a:pt x="62" y="134"/>
                  </a:lnTo>
                  <a:lnTo>
                    <a:pt x="62" y="130"/>
                  </a:lnTo>
                  <a:lnTo>
                    <a:pt x="60" y="122"/>
                  </a:lnTo>
                  <a:lnTo>
                    <a:pt x="62" y="118"/>
                  </a:lnTo>
                  <a:lnTo>
                    <a:pt x="66" y="118"/>
                  </a:lnTo>
                  <a:lnTo>
                    <a:pt x="70" y="114"/>
                  </a:lnTo>
                  <a:lnTo>
                    <a:pt x="72" y="114"/>
                  </a:lnTo>
                  <a:lnTo>
                    <a:pt x="72" y="110"/>
                  </a:lnTo>
                  <a:lnTo>
                    <a:pt x="74" y="104"/>
                  </a:lnTo>
                  <a:lnTo>
                    <a:pt x="78" y="104"/>
                  </a:lnTo>
                  <a:lnTo>
                    <a:pt x="80" y="106"/>
                  </a:lnTo>
                  <a:lnTo>
                    <a:pt x="90" y="106"/>
                  </a:lnTo>
                  <a:lnTo>
                    <a:pt x="92" y="100"/>
                  </a:lnTo>
                  <a:lnTo>
                    <a:pt x="92" y="94"/>
                  </a:lnTo>
                  <a:lnTo>
                    <a:pt x="98" y="90"/>
                  </a:lnTo>
                  <a:lnTo>
                    <a:pt x="88" y="88"/>
                  </a:lnTo>
                  <a:lnTo>
                    <a:pt x="88" y="82"/>
                  </a:lnTo>
                  <a:lnTo>
                    <a:pt x="86" y="76"/>
                  </a:lnTo>
                  <a:lnTo>
                    <a:pt x="82" y="76"/>
                  </a:lnTo>
                  <a:lnTo>
                    <a:pt x="78" y="74"/>
                  </a:lnTo>
                  <a:lnTo>
                    <a:pt x="78" y="72"/>
                  </a:lnTo>
                  <a:lnTo>
                    <a:pt x="82" y="64"/>
                  </a:lnTo>
                  <a:lnTo>
                    <a:pt x="80" y="62"/>
                  </a:lnTo>
                  <a:lnTo>
                    <a:pt x="76" y="62"/>
                  </a:lnTo>
                  <a:lnTo>
                    <a:pt x="74" y="58"/>
                  </a:lnTo>
                  <a:lnTo>
                    <a:pt x="76" y="54"/>
                  </a:lnTo>
                  <a:lnTo>
                    <a:pt x="74" y="50"/>
                  </a:lnTo>
                  <a:lnTo>
                    <a:pt x="70" y="50"/>
                  </a:lnTo>
                  <a:lnTo>
                    <a:pt x="66" y="52"/>
                  </a:lnTo>
                  <a:lnTo>
                    <a:pt x="64" y="54"/>
                  </a:lnTo>
                  <a:lnTo>
                    <a:pt x="62" y="56"/>
                  </a:lnTo>
                  <a:lnTo>
                    <a:pt x="60" y="54"/>
                  </a:lnTo>
                  <a:lnTo>
                    <a:pt x="60" y="50"/>
                  </a:lnTo>
                  <a:lnTo>
                    <a:pt x="58" y="46"/>
                  </a:lnTo>
                  <a:lnTo>
                    <a:pt x="58" y="42"/>
                  </a:lnTo>
                  <a:lnTo>
                    <a:pt x="62" y="36"/>
                  </a:lnTo>
                  <a:lnTo>
                    <a:pt x="66" y="32"/>
                  </a:lnTo>
                  <a:lnTo>
                    <a:pt x="66" y="24"/>
                  </a:lnTo>
                  <a:lnTo>
                    <a:pt x="68" y="20"/>
                  </a:lnTo>
                  <a:lnTo>
                    <a:pt x="66" y="16"/>
                  </a:lnTo>
                  <a:lnTo>
                    <a:pt x="68" y="10"/>
                  </a:lnTo>
                  <a:lnTo>
                    <a:pt x="64" y="6"/>
                  </a:lnTo>
                  <a:lnTo>
                    <a:pt x="64" y="0"/>
                  </a:lnTo>
                  <a:lnTo>
                    <a:pt x="60" y="0"/>
                  </a:lnTo>
                  <a:lnTo>
                    <a:pt x="56" y="2"/>
                  </a:lnTo>
                  <a:lnTo>
                    <a:pt x="56" y="8"/>
                  </a:lnTo>
                  <a:lnTo>
                    <a:pt x="52" y="16"/>
                  </a:lnTo>
                  <a:lnTo>
                    <a:pt x="48" y="14"/>
                  </a:lnTo>
                  <a:lnTo>
                    <a:pt x="42" y="16"/>
                  </a:lnTo>
                  <a:lnTo>
                    <a:pt x="38" y="24"/>
                  </a:lnTo>
                  <a:lnTo>
                    <a:pt x="38" y="26"/>
                  </a:lnTo>
                  <a:lnTo>
                    <a:pt x="32" y="32"/>
                  </a:lnTo>
                  <a:lnTo>
                    <a:pt x="30" y="36"/>
                  </a:lnTo>
                  <a:lnTo>
                    <a:pt x="24" y="38"/>
                  </a:lnTo>
                  <a:lnTo>
                    <a:pt x="22" y="40"/>
                  </a:lnTo>
                  <a:lnTo>
                    <a:pt x="26" y="42"/>
                  </a:lnTo>
                  <a:lnTo>
                    <a:pt x="26" y="46"/>
                  </a:lnTo>
                  <a:lnTo>
                    <a:pt x="22" y="52"/>
                  </a:lnTo>
                  <a:lnTo>
                    <a:pt x="20" y="60"/>
                  </a:lnTo>
                  <a:lnTo>
                    <a:pt x="12" y="54"/>
                  </a:lnTo>
                  <a:lnTo>
                    <a:pt x="12" y="66"/>
                  </a:lnTo>
                  <a:lnTo>
                    <a:pt x="14" y="70"/>
                  </a:lnTo>
                  <a:lnTo>
                    <a:pt x="14" y="76"/>
                  </a:lnTo>
                  <a:lnTo>
                    <a:pt x="14" y="80"/>
                  </a:lnTo>
                  <a:lnTo>
                    <a:pt x="12" y="82"/>
                  </a:lnTo>
                  <a:lnTo>
                    <a:pt x="10" y="86"/>
                  </a:lnTo>
                  <a:lnTo>
                    <a:pt x="6" y="82"/>
                  </a:lnTo>
                  <a:lnTo>
                    <a:pt x="4" y="84"/>
                  </a:lnTo>
                  <a:lnTo>
                    <a:pt x="4" y="88"/>
                  </a:lnTo>
                  <a:lnTo>
                    <a:pt x="6" y="92"/>
                  </a:lnTo>
                  <a:lnTo>
                    <a:pt x="6" y="98"/>
                  </a:lnTo>
                  <a:lnTo>
                    <a:pt x="2" y="96"/>
                  </a:lnTo>
                  <a:lnTo>
                    <a:pt x="0" y="98"/>
                  </a:lnTo>
                  <a:lnTo>
                    <a:pt x="0" y="102"/>
                  </a:lnTo>
                  <a:lnTo>
                    <a:pt x="2" y="106"/>
                  </a:lnTo>
                  <a:lnTo>
                    <a:pt x="2" y="110"/>
                  </a:lnTo>
                  <a:lnTo>
                    <a:pt x="4" y="110"/>
                  </a:lnTo>
                  <a:lnTo>
                    <a:pt x="6" y="108"/>
                  </a:lnTo>
                  <a:lnTo>
                    <a:pt x="8" y="106"/>
                  </a:lnTo>
                  <a:lnTo>
                    <a:pt x="12" y="106"/>
                  </a:lnTo>
                  <a:lnTo>
                    <a:pt x="14" y="118"/>
                  </a:lnTo>
                  <a:lnTo>
                    <a:pt x="16" y="128"/>
                  </a:lnTo>
                  <a:lnTo>
                    <a:pt x="20" y="132"/>
                  </a:lnTo>
                  <a:lnTo>
                    <a:pt x="22" y="134"/>
                  </a:lnTo>
                  <a:lnTo>
                    <a:pt x="22" y="138"/>
                  </a:lnTo>
                  <a:lnTo>
                    <a:pt x="22" y="142"/>
                  </a:lnTo>
                  <a:lnTo>
                    <a:pt x="20" y="146"/>
                  </a:lnTo>
                  <a:lnTo>
                    <a:pt x="18" y="152"/>
                  </a:lnTo>
                  <a:lnTo>
                    <a:pt x="18" y="158"/>
                  </a:lnTo>
                  <a:lnTo>
                    <a:pt x="18" y="164"/>
                  </a:lnTo>
                  <a:lnTo>
                    <a:pt x="30" y="164"/>
                  </a:lnTo>
                  <a:lnTo>
                    <a:pt x="38" y="162"/>
                  </a:lnTo>
                  <a:lnTo>
                    <a:pt x="40" y="160"/>
                  </a:lnTo>
                  <a:lnTo>
                    <a:pt x="42" y="156"/>
                  </a:lnTo>
                  <a:lnTo>
                    <a:pt x="42" y="152"/>
                  </a:lnTo>
                  <a:lnTo>
                    <a:pt x="42" y="150"/>
                  </a:lnTo>
                  <a:lnTo>
                    <a:pt x="46" y="150"/>
                  </a:lnTo>
                  <a:lnTo>
                    <a:pt x="52" y="158"/>
                  </a:lnTo>
                  <a:lnTo>
                    <a:pt x="56" y="158"/>
                  </a:lnTo>
                  <a:lnTo>
                    <a:pt x="56" y="162"/>
                  </a:lnTo>
                  <a:lnTo>
                    <a:pt x="56" y="164"/>
                  </a:lnTo>
                  <a:lnTo>
                    <a:pt x="54" y="166"/>
                  </a:lnTo>
                  <a:lnTo>
                    <a:pt x="54" y="168"/>
                  </a:lnTo>
                  <a:lnTo>
                    <a:pt x="56" y="172"/>
                  </a:lnTo>
                  <a:lnTo>
                    <a:pt x="60" y="174"/>
                  </a:lnTo>
                  <a:lnTo>
                    <a:pt x="60" y="182"/>
                  </a:lnTo>
                  <a:lnTo>
                    <a:pt x="60" y="192"/>
                  </a:lnTo>
                  <a:lnTo>
                    <a:pt x="62" y="196"/>
                  </a:lnTo>
                  <a:lnTo>
                    <a:pt x="66" y="196"/>
                  </a:lnTo>
                  <a:lnTo>
                    <a:pt x="68" y="204"/>
                  </a:lnTo>
                  <a:lnTo>
                    <a:pt x="68" y="212"/>
                  </a:lnTo>
                  <a:lnTo>
                    <a:pt x="70" y="212"/>
                  </a:lnTo>
                  <a:lnTo>
                    <a:pt x="70" y="216"/>
                  </a:lnTo>
                  <a:lnTo>
                    <a:pt x="68" y="218"/>
                  </a:lnTo>
                  <a:lnTo>
                    <a:pt x="66" y="222"/>
                  </a:lnTo>
                  <a:lnTo>
                    <a:pt x="72" y="224"/>
                  </a:lnTo>
                  <a:lnTo>
                    <a:pt x="72" y="232"/>
                  </a:lnTo>
                  <a:lnTo>
                    <a:pt x="72" y="2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19" name="Freeform 667">
              <a:extLst>
                <a:ext uri="{FF2B5EF4-FFF2-40B4-BE49-F238E27FC236}">
                  <a16:creationId xmlns:a16="http://schemas.microsoft.com/office/drawing/2014/main" id="{488A218E-8365-439C-B333-EEF49E4C17B0}"/>
                </a:ext>
              </a:extLst>
            </p:cNvPr>
            <p:cNvSpPr>
              <a:spLocks/>
            </p:cNvSpPr>
            <p:nvPr/>
          </p:nvSpPr>
          <p:spPr bwMode="gray">
            <a:xfrm>
              <a:off x="4263736" y="3872148"/>
              <a:ext cx="155376" cy="153029"/>
            </a:xfrm>
            <a:custGeom>
              <a:avLst/>
              <a:gdLst>
                <a:gd name="T0" fmla="*/ 2147483647 w 84"/>
                <a:gd name="T1" fmla="*/ 2147483647 h 82"/>
                <a:gd name="T2" fmla="*/ 2147483647 w 84"/>
                <a:gd name="T3" fmla="*/ 2147483647 h 82"/>
                <a:gd name="T4" fmla="*/ 2147483647 w 84"/>
                <a:gd name="T5" fmla="*/ 2147483647 h 82"/>
                <a:gd name="T6" fmla="*/ 2147483647 w 84"/>
                <a:gd name="T7" fmla="*/ 2147483647 h 82"/>
                <a:gd name="T8" fmla="*/ 2147483647 w 84"/>
                <a:gd name="T9" fmla="*/ 2147483647 h 82"/>
                <a:gd name="T10" fmla="*/ 2147483647 w 84"/>
                <a:gd name="T11" fmla="*/ 2147483647 h 82"/>
                <a:gd name="T12" fmla="*/ 2147483647 w 84"/>
                <a:gd name="T13" fmla="*/ 2147483647 h 82"/>
                <a:gd name="T14" fmla="*/ 2147483647 w 84"/>
                <a:gd name="T15" fmla="*/ 2147483647 h 82"/>
                <a:gd name="T16" fmla="*/ 2147483647 w 84"/>
                <a:gd name="T17" fmla="*/ 2147483647 h 82"/>
                <a:gd name="T18" fmla="*/ 2147483647 w 84"/>
                <a:gd name="T19" fmla="*/ 2147483647 h 82"/>
                <a:gd name="T20" fmla="*/ 2147483647 w 84"/>
                <a:gd name="T21" fmla="*/ 2147483647 h 82"/>
                <a:gd name="T22" fmla="*/ 2147483647 w 84"/>
                <a:gd name="T23" fmla="*/ 2147483647 h 82"/>
                <a:gd name="T24" fmla="*/ 0 w 84"/>
                <a:gd name="T25" fmla="*/ 2147483647 h 82"/>
                <a:gd name="T26" fmla="*/ 2147483647 w 84"/>
                <a:gd name="T27" fmla="*/ 2147483647 h 82"/>
                <a:gd name="T28" fmla="*/ 2147483647 w 84"/>
                <a:gd name="T29" fmla="*/ 2147483647 h 82"/>
                <a:gd name="T30" fmla="*/ 2147483647 w 84"/>
                <a:gd name="T31" fmla="*/ 2147483647 h 82"/>
                <a:gd name="T32" fmla="*/ 2147483647 w 84"/>
                <a:gd name="T33" fmla="*/ 2147483647 h 82"/>
                <a:gd name="T34" fmla="*/ 2147483647 w 84"/>
                <a:gd name="T35" fmla="*/ 2147483647 h 82"/>
                <a:gd name="T36" fmla="*/ 2147483647 w 84"/>
                <a:gd name="T37" fmla="*/ 2147483647 h 82"/>
                <a:gd name="T38" fmla="*/ 2147483647 w 84"/>
                <a:gd name="T39" fmla="*/ 2147483647 h 82"/>
                <a:gd name="T40" fmla="*/ 2147483647 w 84"/>
                <a:gd name="T41" fmla="*/ 2147483647 h 82"/>
                <a:gd name="T42" fmla="*/ 2147483647 w 84"/>
                <a:gd name="T43" fmla="*/ 2147483647 h 82"/>
                <a:gd name="T44" fmla="*/ 2147483647 w 84"/>
                <a:gd name="T45" fmla="*/ 2147483647 h 82"/>
                <a:gd name="T46" fmla="*/ 2147483647 w 84"/>
                <a:gd name="T47" fmla="*/ 2147483647 h 82"/>
                <a:gd name="T48" fmla="*/ 2147483647 w 84"/>
                <a:gd name="T49" fmla="*/ 2147483647 h 82"/>
                <a:gd name="T50" fmla="*/ 2147483647 w 84"/>
                <a:gd name="T51" fmla="*/ 2147483647 h 82"/>
                <a:gd name="T52" fmla="*/ 2147483647 w 84"/>
                <a:gd name="T53" fmla="*/ 2147483647 h 82"/>
                <a:gd name="T54" fmla="*/ 2147483647 w 84"/>
                <a:gd name="T55" fmla="*/ 2147483647 h 82"/>
                <a:gd name="T56" fmla="*/ 2147483647 w 84"/>
                <a:gd name="T57" fmla="*/ 2147483647 h 82"/>
                <a:gd name="T58" fmla="*/ 2147483647 w 84"/>
                <a:gd name="T59" fmla="*/ 2147483647 h 82"/>
                <a:gd name="T60" fmla="*/ 2147483647 w 84"/>
                <a:gd name="T61" fmla="*/ 2147483647 h 82"/>
                <a:gd name="T62" fmla="*/ 2147483647 w 84"/>
                <a:gd name="T63" fmla="*/ 2147483647 h 82"/>
                <a:gd name="T64" fmla="*/ 2147483647 w 84"/>
                <a:gd name="T65" fmla="*/ 2147483647 h 82"/>
                <a:gd name="T66" fmla="*/ 2147483647 w 84"/>
                <a:gd name="T67" fmla="*/ 0 h 82"/>
                <a:gd name="T68" fmla="*/ 2147483647 w 84"/>
                <a:gd name="T69" fmla="*/ 2147483647 h 82"/>
                <a:gd name="T70" fmla="*/ 2147483647 w 84"/>
                <a:gd name="T71" fmla="*/ 2147483647 h 82"/>
                <a:gd name="T72" fmla="*/ 2147483647 w 84"/>
                <a:gd name="T73" fmla="*/ 2147483647 h 82"/>
                <a:gd name="T74" fmla="*/ 2147483647 w 84"/>
                <a:gd name="T75" fmla="*/ 2147483647 h 82"/>
                <a:gd name="T76" fmla="*/ 2147483647 w 84"/>
                <a:gd name="T77" fmla="*/ 2147483647 h 82"/>
                <a:gd name="T78" fmla="*/ 2147483647 w 84"/>
                <a:gd name="T79" fmla="*/ 2147483647 h 82"/>
                <a:gd name="T80" fmla="*/ 2147483647 w 84"/>
                <a:gd name="T81" fmla="*/ 2147483647 h 82"/>
                <a:gd name="T82" fmla="*/ 2147483647 w 84"/>
                <a:gd name="T83" fmla="*/ 2147483647 h 82"/>
                <a:gd name="T84" fmla="*/ 2147483647 w 84"/>
                <a:gd name="T85" fmla="*/ 2147483647 h 82"/>
                <a:gd name="T86" fmla="*/ 2147483647 w 84"/>
                <a:gd name="T87" fmla="*/ 2147483647 h 82"/>
                <a:gd name="T88" fmla="*/ 2147483647 w 84"/>
                <a:gd name="T89" fmla="*/ 2147483647 h 82"/>
                <a:gd name="T90" fmla="*/ 2147483647 w 84"/>
                <a:gd name="T91" fmla="*/ 2147483647 h 82"/>
                <a:gd name="T92" fmla="*/ 2147483647 w 84"/>
                <a:gd name="T93" fmla="*/ 2147483647 h 82"/>
                <a:gd name="T94" fmla="*/ 2147483647 w 84"/>
                <a:gd name="T95" fmla="*/ 2147483647 h 82"/>
                <a:gd name="T96" fmla="*/ 2147483647 w 84"/>
                <a:gd name="T97" fmla="*/ 2147483647 h 82"/>
                <a:gd name="T98" fmla="*/ 2147483647 w 84"/>
                <a:gd name="T99" fmla="*/ 2147483647 h 82"/>
                <a:gd name="T100" fmla="*/ 2147483647 w 84"/>
                <a:gd name="T101" fmla="*/ 2147483647 h 82"/>
                <a:gd name="T102" fmla="*/ 2147483647 w 84"/>
                <a:gd name="T103" fmla="*/ 2147483647 h 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4"/>
                <a:gd name="T157" fmla="*/ 0 h 82"/>
                <a:gd name="T158" fmla="*/ 84 w 84"/>
                <a:gd name="T159" fmla="*/ 82 h 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4" h="82">
                  <a:moveTo>
                    <a:pt x="64" y="60"/>
                  </a:moveTo>
                  <a:lnTo>
                    <a:pt x="56" y="60"/>
                  </a:lnTo>
                  <a:lnTo>
                    <a:pt x="54" y="62"/>
                  </a:lnTo>
                  <a:lnTo>
                    <a:pt x="48" y="62"/>
                  </a:lnTo>
                  <a:lnTo>
                    <a:pt x="38" y="60"/>
                  </a:lnTo>
                  <a:lnTo>
                    <a:pt x="36" y="64"/>
                  </a:lnTo>
                  <a:lnTo>
                    <a:pt x="34" y="68"/>
                  </a:lnTo>
                  <a:lnTo>
                    <a:pt x="36" y="74"/>
                  </a:lnTo>
                  <a:lnTo>
                    <a:pt x="34" y="82"/>
                  </a:lnTo>
                  <a:lnTo>
                    <a:pt x="26" y="82"/>
                  </a:lnTo>
                  <a:lnTo>
                    <a:pt x="24" y="80"/>
                  </a:lnTo>
                  <a:lnTo>
                    <a:pt x="24" y="78"/>
                  </a:lnTo>
                  <a:lnTo>
                    <a:pt x="20" y="76"/>
                  </a:lnTo>
                  <a:lnTo>
                    <a:pt x="16" y="80"/>
                  </a:lnTo>
                  <a:lnTo>
                    <a:pt x="12" y="80"/>
                  </a:lnTo>
                  <a:lnTo>
                    <a:pt x="10" y="76"/>
                  </a:lnTo>
                  <a:lnTo>
                    <a:pt x="2" y="74"/>
                  </a:lnTo>
                  <a:lnTo>
                    <a:pt x="0" y="70"/>
                  </a:lnTo>
                  <a:lnTo>
                    <a:pt x="2" y="66"/>
                  </a:lnTo>
                  <a:lnTo>
                    <a:pt x="2" y="64"/>
                  </a:lnTo>
                  <a:lnTo>
                    <a:pt x="4" y="64"/>
                  </a:lnTo>
                  <a:lnTo>
                    <a:pt x="4" y="62"/>
                  </a:lnTo>
                  <a:lnTo>
                    <a:pt x="4" y="58"/>
                  </a:lnTo>
                  <a:lnTo>
                    <a:pt x="4" y="56"/>
                  </a:lnTo>
                  <a:lnTo>
                    <a:pt x="4" y="54"/>
                  </a:lnTo>
                  <a:lnTo>
                    <a:pt x="6" y="52"/>
                  </a:lnTo>
                  <a:lnTo>
                    <a:pt x="8" y="48"/>
                  </a:lnTo>
                  <a:lnTo>
                    <a:pt x="12" y="48"/>
                  </a:lnTo>
                  <a:lnTo>
                    <a:pt x="12" y="50"/>
                  </a:lnTo>
                  <a:lnTo>
                    <a:pt x="14" y="40"/>
                  </a:lnTo>
                  <a:lnTo>
                    <a:pt x="16" y="36"/>
                  </a:lnTo>
                  <a:lnTo>
                    <a:pt x="18" y="34"/>
                  </a:lnTo>
                  <a:lnTo>
                    <a:pt x="24" y="32"/>
                  </a:lnTo>
                  <a:lnTo>
                    <a:pt x="28" y="32"/>
                  </a:lnTo>
                  <a:lnTo>
                    <a:pt x="30" y="30"/>
                  </a:lnTo>
                  <a:lnTo>
                    <a:pt x="32" y="26"/>
                  </a:lnTo>
                  <a:lnTo>
                    <a:pt x="32" y="22"/>
                  </a:lnTo>
                  <a:lnTo>
                    <a:pt x="36" y="20"/>
                  </a:lnTo>
                  <a:lnTo>
                    <a:pt x="40" y="16"/>
                  </a:lnTo>
                  <a:lnTo>
                    <a:pt x="42" y="16"/>
                  </a:lnTo>
                  <a:lnTo>
                    <a:pt x="42" y="10"/>
                  </a:lnTo>
                  <a:lnTo>
                    <a:pt x="44" y="8"/>
                  </a:lnTo>
                  <a:lnTo>
                    <a:pt x="46" y="8"/>
                  </a:lnTo>
                  <a:lnTo>
                    <a:pt x="50" y="6"/>
                  </a:lnTo>
                  <a:lnTo>
                    <a:pt x="52" y="4"/>
                  </a:lnTo>
                  <a:lnTo>
                    <a:pt x="54" y="0"/>
                  </a:lnTo>
                  <a:lnTo>
                    <a:pt x="56" y="0"/>
                  </a:lnTo>
                  <a:lnTo>
                    <a:pt x="56" y="2"/>
                  </a:lnTo>
                  <a:lnTo>
                    <a:pt x="58" y="2"/>
                  </a:lnTo>
                  <a:lnTo>
                    <a:pt x="60" y="2"/>
                  </a:lnTo>
                  <a:lnTo>
                    <a:pt x="64" y="6"/>
                  </a:lnTo>
                  <a:lnTo>
                    <a:pt x="62" y="10"/>
                  </a:lnTo>
                  <a:lnTo>
                    <a:pt x="66" y="16"/>
                  </a:lnTo>
                  <a:lnTo>
                    <a:pt x="74" y="22"/>
                  </a:lnTo>
                  <a:lnTo>
                    <a:pt x="74" y="26"/>
                  </a:lnTo>
                  <a:lnTo>
                    <a:pt x="78" y="36"/>
                  </a:lnTo>
                  <a:lnTo>
                    <a:pt x="80" y="36"/>
                  </a:lnTo>
                  <a:lnTo>
                    <a:pt x="82" y="36"/>
                  </a:lnTo>
                  <a:lnTo>
                    <a:pt x="82" y="40"/>
                  </a:lnTo>
                  <a:lnTo>
                    <a:pt x="82" y="42"/>
                  </a:lnTo>
                  <a:lnTo>
                    <a:pt x="84" y="52"/>
                  </a:lnTo>
                  <a:lnTo>
                    <a:pt x="84" y="54"/>
                  </a:lnTo>
                  <a:lnTo>
                    <a:pt x="84" y="56"/>
                  </a:lnTo>
                  <a:lnTo>
                    <a:pt x="80" y="58"/>
                  </a:lnTo>
                  <a:lnTo>
                    <a:pt x="78" y="60"/>
                  </a:lnTo>
                  <a:lnTo>
                    <a:pt x="78" y="62"/>
                  </a:lnTo>
                  <a:lnTo>
                    <a:pt x="74" y="62"/>
                  </a:lnTo>
                  <a:lnTo>
                    <a:pt x="70" y="62"/>
                  </a:lnTo>
                  <a:lnTo>
                    <a:pt x="64" y="6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0" name="Freeform 668">
              <a:extLst>
                <a:ext uri="{FF2B5EF4-FFF2-40B4-BE49-F238E27FC236}">
                  <a16:creationId xmlns:a16="http://schemas.microsoft.com/office/drawing/2014/main" id="{8F0B4299-A5DE-4310-8849-86D55526732C}"/>
                </a:ext>
              </a:extLst>
            </p:cNvPr>
            <p:cNvSpPr>
              <a:spLocks/>
            </p:cNvSpPr>
            <p:nvPr/>
          </p:nvSpPr>
          <p:spPr bwMode="gray">
            <a:xfrm>
              <a:off x="4868763" y="3083466"/>
              <a:ext cx="122418" cy="91817"/>
            </a:xfrm>
            <a:custGeom>
              <a:avLst/>
              <a:gdLst>
                <a:gd name="T0" fmla="*/ 2147483647 w 66"/>
                <a:gd name="T1" fmla="*/ 2147483647 h 50"/>
                <a:gd name="T2" fmla="*/ 2147483647 w 66"/>
                <a:gd name="T3" fmla="*/ 2147483647 h 50"/>
                <a:gd name="T4" fmla="*/ 2147483647 w 66"/>
                <a:gd name="T5" fmla="*/ 2147483647 h 50"/>
                <a:gd name="T6" fmla="*/ 2147483647 w 66"/>
                <a:gd name="T7" fmla="*/ 2147483647 h 50"/>
                <a:gd name="T8" fmla="*/ 2147483647 w 66"/>
                <a:gd name="T9" fmla="*/ 0 h 50"/>
                <a:gd name="T10" fmla="*/ 2147483647 w 66"/>
                <a:gd name="T11" fmla="*/ 2147483647 h 50"/>
                <a:gd name="T12" fmla="*/ 2147483647 w 66"/>
                <a:gd name="T13" fmla="*/ 2147483647 h 50"/>
                <a:gd name="T14" fmla="*/ 2147483647 w 66"/>
                <a:gd name="T15" fmla="*/ 2147483647 h 50"/>
                <a:gd name="T16" fmla="*/ 2147483647 w 66"/>
                <a:gd name="T17" fmla="*/ 2147483647 h 50"/>
                <a:gd name="T18" fmla="*/ 2147483647 w 66"/>
                <a:gd name="T19" fmla="*/ 2147483647 h 50"/>
                <a:gd name="T20" fmla="*/ 2147483647 w 66"/>
                <a:gd name="T21" fmla="*/ 2147483647 h 50"/>
                <a:gd name="T22" fmla="*/ 2147483647 w 66"/>
                <a:gd name="T23" fmla="*/ 2147483647 h 50"/>
                <a:gd name="T24" fmla="*/ 2147483647 w 66"/>
                <a:gd name="T25" fmla="*/ 2147483647 h 50"/>
                <a:gd name="T26" fmla="*/ 2147483647 w 66"/>
                <a:gd name="T27" fmla="*/ 2147483647 h 50"/>
                <a:gd name="T28" fmla="*/ 2147483647 w 66"/>
                <a:gd name="T29" fmla="*/ 2147483647 h 50"/>
                <a:gd name="T30" fmla="*/ 2147483647 w 66"/>
                <a:gd name="T31" fmla="*/ 2147483647 h 50"/>
                <a:gd name="T32" fmla="*/ 2147483647 w 66"/>
                <a:gd name="T33" fmla="*/ 2147483647 h 50"/>
                <a:gd name="T34" fmla="*/ 2147483647 w 66"/>
                <a:gd name="T35" fmla="*/ 2147483647 h 50"/>
                <a:gd name="T36" fmla="*/ 0 w 66"/>
                <a:gd name="T37" fmla="*/ 2147483647 h 50"/>
                <a:gd name="T38" fmla="*/ 0 w 66"/>
                <a:gd name="T39" fmla="*/ 2147483647 h 50"/>
                <a:gd name="T40" fmla="*/ 0 w 66"/>
                <a:gd name="T41" fmla="*/ 2147483647 h 50"/>
                <a:gd name="T42" fmla="*/ 2147483647 w 66"/>
                <a:gd name="T43" fmla="*/ 2147483647 h 50"/>
                <a:gd name="T44" fmla="*/ 2147483647 w 66"/>
                <a:gd name="T45" fmla="*/ 2147483647 h 50"/>
                <a:gd name="T46" fmla="*/ 2147483647 w 66"/>
                <a:gd name="T47" fmla="*/ 2147483647 h 50"/>
                <a:gd name="T48" fmla="*/ 2147483647 w 66"/>
                <a:gd name="T49" fmla="*/ 2147483647 h 50"/>
                <a:gd name="T50" fmla="*/ 2147483647 w 66"/>
                <a:gd name="T51" fmla="*/ 2147483647 h 50"/>
                <a:gd name="T52" fmla="*/ 2147483647 w 66"/>
                <a:gd name="T53" fmla="*/ 2147483647 h 50"/>
                <a:gd name="T54" fmla="*/ 2147483647 w 66"/>
                <a:gd name="T55" fmla="*/ 2147483647 h 50"/>
                <a:gd name="T56" fmla="*/ 2147483647 w 66"/>
                <a:gd name="T57" fmla="*/ 2147483647 h 50"/>
                <a:gd name="T58" fmla="*/ 2147483647 w 66"/>
                <a:gd name="T59" fmla="*/ 2147483647 h 50"/>
                <a:gd name="T60" fmla="*/ 2147483647 w 66"/>
                <a:gd name="T61" fmla="*/ 2147483647 h 50"/>
                <a:gd name="T62" fmla="*/ 2147483647 w 66"/>
                <a:gd name="T63" fmla="*/ 2147483647 h 50"/>
                <a:gd name="T64" fmla="*/ 2147483647 w 66"/>
                <a:gd name="T65" fmla="*/ 2147483647 h 50"/>
                <a:gd name="T66" fmla="*/ 2147483647 w 66"/>
                <a:gd name="T67" fmla="*/ 2147483647 h 50"/>
                <a:gd name="T68" fmla="*/ 2147483647 w 66"/>
                <a:gd name="T69" fmla="*/ 2147483647 h 50"/>
                <a:gd name="T70" fmla="*/ 2147483647 w 66"/>
                <a:gd name="T71" fmla="*/ 2147483647 h 50"/>
                <a:gd name="T72" fmla="*/ 2147483647 w 66"/>
                <a:gd name="T73" fmla="*/ 2147483647 h 50"/>
                <a:gd name="T74" fmla="*/ 2147483647 w 66"/>
                <a:gd name="T75" fmla="*/ 2147483647 h 50"/>
                <a:gd name="T76" fmla="*/ 2147483647 w 66"/>
                <a:gd name="T77" fmla="*/ 2147483647 h 50"/>
                <a:gd name="T78" fmla="*/ 2147483647 w 66"/>
                <a:gd name="T79" fmla="*/ 2147483647 h 50"/>
                <a:gd name="T80" fmla="*/ 2147483647 w 66"/>
                <a:gd name="T81" fmla="*/ 2147483647 h 50"/>
                <a:gd name="T82" fmla="*/ 2147483647 w 66"/>
                <a:gd name="T83" fmla="*/ 2147483647 h 50"/>
                <a:gd name="T84" fmla="*/ 2147483647 w 66"/>
                <a:gd name="T85" fmla="*/ 2147483647 h 50"/>
                <a:gd name="T86" fmla="*/ 2147483647 w 66"/>
                <a:gd name="T87" fmla="*/ 2147483647 h 50"/>
                <a:gd name="T88" fmla="*/ 2147483647 w 66"/>
                <a:gd name="T89" fmla="*/ 2147483647 h 50"/>
                <a:gd name="T90" fmla="*/ 2147483647 w 66"/>
                <a:gd name="T91" fmla="*/ 2147483647 h 50"/>
                <a:gd name="T92" fmla="*/ 2147483647 w 66"/>
                <a:gd name="T93" fmla="*/ 2147483647 h 50"/>
                <a:gd name="T94" fmla="*/ 2147483647 w 66"/>
                <a:gd name="T95" fmla="*/ 2147483647 h 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
                <a:gd name="T145" fmla="*/ 0 h 50"/>
                <a:gd name="T146" fmla="*/ 66 w 66"/>
                <a:gd name="T147" fmla="*/ 50 h 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 h="50">
                  <a:moveTo>
                    <a:pt x="66" y="4"/>
                  </a:moveTo>
                  <a:lnTo>
                    <a:pt x="66" y="4"/>
                  </a:lnTo>
                  <a:lnTo>
                    <a:pt x="62" y="2"/>
                  </a:lnTo>
                  <a:lnTo>
                    <a:pt x="58" y="2"/>
                  </a:lnTo>
                  <a:lnTo>
                    <a:pt x="54" y="4"/>
                  </a:lnTo>
                  <a:lnTo>
                    <a:pt x="50" y="4"/>
                  </a:lnTo>
                  <a:lnTo>
                    <a:pt x="48" y="4"/>
                  </a:lnTo>
                  <a:lnTo>
                    <a:pt x="46" y="0"/>
                  </a:lnTo>
                  <a:lnTo>
                    <a:pt x="42" y="2"/>
                  </a:lnTo>
                  <a:lnTo>
                    <a:pt x="38" y="4"/>
                  </a:lnTo>
                  <a:lnTo>
                    <a:pt x="36" y="6"/>
                  </a:lnTo>
                  <a:lnTo>
                    <a:pt x="32" y="8"/>
                  </a:lnTo>
                  <a:lnTo>
                    <a:pt x="26" y="8"/>
                  </a:lnTo>
                  <a:lnTo>
                    <a:pt x="22" y="8"/>
                  </a:lnTo>
                  <a:lnTo>
                    <a:pt x="20" y="8"/>
                  </a:lnTo>
                  <a:lnTo>
                    <a:pt x="18" y="8"/>
                  </a:lnTo>
                  <a:lnTo>
                    <a:pt x="16" y="8"/>
                  </a:lnTo>
                  <a:lnTo>
                    <a:pt x="12" y="8"/>
                  </a:lnTo>
                  <a:lnTo>
                    <a:pt x="10" y="8"/>
                  </a:lnTo>
                  <a:lnTo>
                    <a:pt x="10" y="6"/>
                  </a:lnTo>
                  <a:lnTo>
                    <a:pt x="12" y="4"/>
                  </a:lnTo>
                  <a:lnTo>
                    <a:pt x="10" y="2"/>
                  </a:lnTo>
                  <a:lnTo>
                    <a:pt x="8" y="2"/>
                  </a:lnTo>
                  <a:lnTo>
                    <a:pt x="6" y="4"/>
                  </a:lnTo>
                  <a:lnTo>
                    <a:pt x="2" y="8"/>
                  </a:lnTo>
                  <a:lnTo>
                    <a:pt x="0" y="10"/>
                  </a:lnTo>
                  <a:lnTo>
                    <a:pt x="0" y="12"/>
                  </a:lnTo>
                  <a:lnTo>
                    <a:pt x="0" y="14"/>
                  </a:lnTo>
                  <a:lnTo>
                    <a:pt x="0" y="16"/>
                  </a:lnTo>
                  <a:lnTo>
                    <a:pt x="6" y="18"/>
                  </a:lnTo>
                  <a:lnTo>
                    <a:pt x="6" y="20"/>
                  </a:lnTo>
                  <a:lnTo>
                    <a:pt x="4" y="24"/>
                  </a:lnTo>
                  <a:lnTo>
                    <a:pt x="2" y="28"/>
                  </a:lnTo>
                  <a:lnTo>
                    <a:pt x="2" y="32"/>
                  </a:lnTo>
                  <a:lnTo>
                    <a:pt x="6" y="36"/>
                  </a:lnTo>
                  <a:lnTo>
                    <a:pt x="6" y="38"/>
                  </a:lnTo>
                  <a:lnTo>
                    <a:pt x="6" y="42"/>
                  </a:lnTo>
                  <a:lnTo>
                    <a:pt x="4" y="44"/>
                  </a:lnTo>
                  <a:lnTo>
                    <a:pt x="8" y="48"/>
                  </a:lnTo>
                  <a:lnTo>
                    <a:pt x="14" y="50"/>
                  </a:lnTo>
                  <a:lnTo>
                    <a:pt x="18" y="50"/>
                  </a:lnTo>
                  <a:lnTo>
                    <a:pt x="22" y="46"/>
                  </a:lnTo>
                  <a:lnTo>
                    <a:pt x="24" y="44"/>
                  </a:lnTo>
                  <a:lnTo>
                    <a:pt x="28" y="44"/>
                  </a:lnTo>
                  <a:lnTo>
                    <a:pt x="30" y="46"/>
                  </a:lnTo>
                  <a:lnTo>
                    <a:pt x="32" y="48"/>
                  </a:lnTo>
                  <a:lnTo>
                    <a:pt x="32" y="50"/>
                  </a:lnTo>
                  <a:lnTo>
                    <a:pt x="38" y="48"/>
                  </a:lnTo>
                  <a:lnTo>
                    <a:pt x="40" y="50"/>
                  </a:lnTo>
                  <a:lnTo>
                    <a:pt x="42" y="48"/>
                  </a:lnTo>
                  <a:lnTo>
                    <a:pt x="42" y="46"/>
                  </a:lnTo>
                  <a:lnTo>
                    <a:pt x="40" y="44"/>
                  </a:lnTo>
                  <a:lnTo>
                    <a:pt x="42" y="44"/>
                  </a:lnTo>
                  <a:lnTo>
                    <a:pt x="46" y="44"/>
                  </a:lnTo>
                  <a:lnTo>
                    <a:pt x="46" y="42"/>
                  </a:lnTo>
                  <a:lnTo>
                    <a:pt x="50" y="42"/>
                  </a:lnTo>
                  <a:lnTo>
                    <a:pt x="52" y="42"/>
                  </a:lnTo>
                  <a:lnTo>
                    <a:pt x="54" y="42"/>
                  </a:lnTo>
                  <a:lnTo>
                    <a:pt x="56" y="42"/>
                  </a:lnTo>
                  <a:lnTo>
                    <a:pt x="54" y="38"/>
                  </a:lnTo>
                  <a:lnTo>
                    <a:pt x="52" y="36"/>
                  </a:lnTo>
                  <a:lnTo>
                    <a:pt x="60" y="20"/>
                  </a:lnTo>
                  <a:lnTo>
                    <a:pt x="64" y="18"/>
                  </a:lnTo>
                  <a:lnTo>
                    <a:pt x="66" y="10"/>
                  </a:lnTo>
                  <a:lnTo>
                    <a:pt x="66" y="6"/>
                  </a:lnTo>
                  <a:lnTo>
                    <a:pt x="66"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1" name="Freeform 669">
              <a:extLst>
                <a:ext uri="{FF2B5EF4-FFF2-40B4-BE49-F238E27FC236}">
                  <a16:creationId xmlns:a16="http://schemas.microsoft.com/office/drawing/2014/main" id="{E2794A68-7FDA-41A9-9828-603EC894EBB8}"/>
                </a:ext>
              </a:extLst>
            </p:cNvPr>
            <p:cNvSpPr>
              <a:spLocks/>
            </p:cNvSpPr>
            <p:nvPr/>
          </p:nvSpPr>
          <p:spPr bwMode="gray">
            <a:xfrm>
              <a:off x="6780361" y="4173499"/>
              <a:ext cx="30604" cy="21187"/>
            </a:xfrm>
            <a:custGeom>
              <a:avLst/>
              <a:gdLst>
                <a:gd name="T0" fmla="*/ 0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0 h 12"/>
                <a:gd name="T16" fmla="*/ 2147483647 w 16"/>
                <a:gd name="T17" fmla="*/ 0 h 12"/>
                <a:gd name="T18" fmla="*/ 2147483647 w 16"/>
                <a:gd name="T19" fmla="*/ 0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0 w 16"/>
                <a:gd name="T33" fmla="*/ 2147483647 h 12"/>
                <a:gd name="T34" fmla="*/ 0 w 16"/>
                <a:gd name="T35" fmla="*/ 2147483647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12"/>
                <a:gd name="T56" fmla="*/ 16 w 16"/>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12">
                  <a:moveTo>
                    <a:pt x="0" y="8"/>
                  </a:moveTo>
                  <a:lnTo>
                    <a:pt x="4" y="12"/>
                  </a:lnTo>
                  <a:lnTo>
                    <a:pt x="8" y="12"/>
                  </a:lnTo>
                  <a:lnTo>
                    <a:pt x="8" y="10"/>
                  </a:lnTo>
                  <a:lnTo>
                    <a:pt x="10" y="6"/>
                  </a:lnTo>
                  <a:lnTo>
                    <a:pt x="12" y="8"/>
                  </a:lnTo>
                  <a:lnTo>
                    <a:pt x="16" y="8"/>
                  </a:lnTo>
                  <a:lnTo>
                    <a:pt x="12" y="0"/>
                  </a:lnTo>
                  <a:lnTo>
                    <a:pt x="8" y="0"/>
                  </a:lnTo>
                  <a:lnTo>
                    <a:pt x="4" y="2"/>
                  </a:lnTo>
                  <a:lnTo>
                    <a:pt x="4" y="4"/>
                  </a:lnTo>
                  <a:lnTo>
                    <a:pt x="4" y="6"/>
                  </a:lnTo>
                  <a:lnTo>
                    <a:pt x="2" y="6"/>
                  </a:lnTo>
                  <a:lnTo>
                    <a:pt x="0"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2" name="Freeform 670">
              <a:extLst>
                <a:ext uri="{FF2B5EF4-FFF2-40B4-BE49-F238E27FC236}">
                  <a16:creationId xmlns:a16="http://schemas.microsoft.com/office/drawing/2014/main" id="{A5FC8384-1940-412D-9C3F-3497DADE57A6}"/>
                </a:ext>
              </a:extLst>
            </p:cNvPr>
            <p:cNvSpPr>
              <a:spLocks noEditPoints="1"/>
            </p:cNvSpPr>
            <p:nvPr/>
          </p:nvSpPr>
          <p:spPr bwMode="gray">
            <a:xfrm>
              <a:off x="2820622" y="4161726"/>
              <a:ext cx="838088" cy="1033532"/>
            </a:xfrm>
            <a:custGeom>
              <a:avLst/>
              <a:gdLst>
                <a:gd name="T0" fmla="*/ 2147483647 w 452"/>
                <a:gd name="T1" fmla="*/ 2147483647 h 558"/>
                <a:gd name="T2" fmla="*/ 2147483647 w 452"/>
                <a:gd name="T3" fmla="*/ 2147483647 h 558"/>
                <a:gd name="T4" fmla="*/ 2147483647 w 452"/>
                <a:gd name="T5" fmla="*/ 2147483647 h 558"/>
                <a:gd name="T6" fmla="*/ 2147483647 w 452"/>
                <a:gd name="T7" fmla="*/ 2147483647 h 558"/>
                <a:gd name="T8" fmla="*/ 2147483647 w 452"/>
                <a:gd name="T9" fmla="*/ 2147483647 h 558"/>
                <a:gd name="T10" fmla="*/ 2147483647 w 452"/>
                <a:gd name="T11" fmla="*/ 2147483647 h 558"/>
                <a:gd name="T12" fmla="*/ 2147483647 w 452"/>
                <a:gd name="T13" fmla="*/ 2147483647 h 558"/>
                <a:gd name="T14" fmla="*/ 2147483647 w 452"/>
                <a:gd name="T15" fmla="*/ 2147483647 h 558"/>
                <a:gd name="T16" fmla="*/ 2147483647 w 452"/>
                <a:gd name="T17" fmla="*/ 2147483647 h 558"/>
                <a:gd name="T18" fmla="*/ 2147483647 w 452"/>
                <a:gd name="T19" fmla="*/ 2147483647 h 558"/>
                <a:gd name="T20" fmla="*/ 2147483647 w 452"/>
                <a:gd name="T21" fmla="*/ 2147483647 h 558"/>
                <a:gd name="T22" fmla="*/ 2147483647 w 452"/>
                <a:gd name="T23" fmla="*/ 2147483647 h 558"/>
                <a:gd name="T24" fmla="*/ 2147483647 w 452"/>
                <a:gd name="T25" fmla="*/ 2147483647 h 558"/>
                <a:gd name="T26" fmla="*/ 2147483647 w 452"/>
                <a:gd name="T27" fmla="*/ 2147483647 h 558"/>
                <a:gd name="T28" fmla="*/ 2147483647 w 452"/>
                <a:gd name="T29" fmla="*/ 2147483647 h 558"/>
                <a:gd name="T30" fmla="*/ 2147483647 w 452"/>
                <a:gd name="T31" fmla="*/ 2147483647 h 558"/>
                <a:gd name="T32" fmla="*/ 2147483647 w 452"/>
                <a:gd name="T33" fmla="*/ 2147483647 h 558"/>
                <a:gd name="T34" fmla="*/ 2147483647 w 452"/>
                <a:gd name="T35" fmla="*/ 2147483647 h 558"/>
                <a:gd name="T36" fmla="*/ 2147483647 w 452"/>
                <a:gd name="T37" fmla="*/ 2147483647 h 558"/>
                <a:gd name="T38" fmla="*/ 2147483647 w 452"/>
                <a:gd name="T39" fmla="*/ 2147483647 h 558"/>
                <a:gd name="T40" fmla="*/ 2147483647 w 452"/>
                <a:gd name="T41" fmla="*/ 2147483647 h 558"/>
                <a:gd name="T42" fmla="*/ 2147483647 w 452"/>
                <a:gd name="T43" fmla="*/ 2147483647 h 558"/>
                <a:gd name="T44" fmla="*/ 2147483647 w 452"/>
                <a:gd name="T45" fmla="*/ 2147483647 h 558"/>
                <a:gd name="T46" fmla="*/ 2147483647 w 452"/>
                <a:gd name="T47" fmla="*/ 2147483647 h 558"/>
                <a:gd name="T48" fmla="*/ 2147483647 w 452"/>
                <a:gd name="T49" fmla="*/ 2147483647 h 558"/>
                <a:gd name="T50" fmla="*/ 2147483647 w 452"/>
                <a:gd name="T51" fmla="*/ 2147483647 h 558"/>
                <a:gd name="T52" fmla="*/ 2147483647 w 452"/>
                <a:gd name="T53" fmla="*/ 2147483647 h 558"/>
                <a:gd name="T54" fmla="*/ 2147483647 w 452"/>
                <a:gd name="T55" fmla="*/ 2147483647 h 558"/>
                <a:gd name="T56" fmla="*/ 2147483647 w 452"/>
                <a:gd name="T57" fmla="*/ 2147483647 h 558"/>
                <a:gd name="T58" fmla="*/ 2147483647 w 452"/>
                <a:gd name="T59" fmla="*/ 2147483647 h 558"/>
                <a:gd name="T60" fmla="*/ 2147483647 w 452"/>
                <a:gd name="T61" fmla="*/ 2147483647 h 558"/>
                <a:gd name="T62" fmla="*/ 2147483647 w 452"/>
                <a:gd name="T63" fmla="*/ 2147483647 h 558"/>
                <a:gd name="T64" fmla="*/ 2147483647 w 452"/>
                <a:gd name="T65" fmla="*/ 2147483647 h 558"/>
                <a:gd name="T66" fmla="*/ 2147483647 w 452"/>
                <a:gd name="T67" fmla="*/ 2147483647 h 558"/>
                <a:gd name="T68" fmla="*/ 2147483647 w 452"/>
                <a:gd name="T69" fmla="*/ 2147483647 h 558"/>
                <a:gd name="T70" fmla="*/ 2147483647 w 452"/>
                <a:gd name="T71" fmla="*/ 2147483647 h 558"/>
                <a:gd name="T72" fmla="*/ 2147483647 w 452"/>
                <a:gd name="T73" fmla="*/ 2147483647 h 558"/>
                <a:gd name="T74" fmla="*/ 2147483647 w 452"/>
                <a:gd name="T75" fmla="*/ 2147483647 h 558"/>
                <a:gd name="T76" fmla="*/ 2147483647 w 452"/>
                <a:gd name="T77" fmla="*/ 2147483647 h 558"/>
                <a:gd name="T78" fmla="*/ 2147483647 w 452"/>
                <a:gd name="T79" fmla="*/ 2147483647 h 558"/>
                <a:gd name="T80" fmla="*/ 2147483647 w 452"/>
                <a:gd name="T81" fmla="*/ 2147483647 h 558"/>
                <a:gd name="T82" fmla="*/ 2147483647 w 452"/>
                <a:gd name="T83" fmla="*/ 2147483647 h 558"/>
                <a:gd name="T84" fmla="*/ 2147483647 w 452"/>
                <a:gd name="T85" fmla="*/ 2147483647 h 558"/>
                <a:gd name="T86" fmla="*/ 2147483647 w 452"/>
                <a:gd name="T87" fmla="*/ 2147483647 h 558"/>
                <a:gd name="T88" fmla="*/ 2147483647 w 452"/>
                <a:gd name="T89" fmla="*/ 2147483647 h 558"/>
                <a:gd name="T90" fmla="*/ 2147483647 w 452"/>
                <a:gd name="T91" fmla="*/ 2147483647 h 558"/>
                <a:gd name="T92" fmla="*/ 2147483647 w 452"/>
                <a:gd name="T93" fmla="*/ 2147483647 h 558"/>
                <a:gd name="T94" fmla="*/ 2147483647 w 452"/>
                <a:gd name="T95" fmla="*/ 2147483647 h 558"/>
                <a:gd name="T96" fmla="*/ 2147483647 w 452"/>
                <a:gd name="T97" fmla="*/ 2147483647 h 558"/>
                <a:gd name="T98" fmla="*/ 2147483647 w 452"/>
                <a:gd name="T99" fmla="*/ 2147483647 h 558"/>
                <a:gd name="T100" fmla="*/ 2147483647 w 452"/>
                <a:gd name="T101" fmla="*/ 2147483647 h 558"/>
                <a:gd name="T102" fmla="*/ 2147483647 w 452"/>
                <a:gd name="T103" fmla="*/ 2147483647 h 558"/>
                <a:gd name="T104" fmla="*/ 2147483647 w 452"/>
                <a:gd name="T105" fmla="*/ 2147483647 h 558"/>
                <a:gd name="T106" fmla="*/ 2147483647 w 452"/>
                <a:gd name="T107" fmla="*/ 2147483647 h 558"/>
                <a:gd name="T108" fmla="*/ 2147483647 w 452"/>
                <a:gd name="T109" fmla="*/ 2147483647 h 558"/>
                <a:gd name="T110" fmla="*/ 2147483647 w 452"/>
                <a:gd name="T111" fmla="*/ 2147483647 h 558"/>
                <a:gd name="T112" fmla="*/ 2147483647 w 452"/>
                <a:gd name="T113" fmla="*/ 2147483647 h 558"/>
                <a:gd name="T114" fmla="*/ 2147483647 w 452"/>
                <a:gd name="T115" fmla="*/ 2147483647 h 558"/>
                <a:gd name="T116" fmla="*/ 2147483647 w 452"/>
                <a:gd name="T117" fmla="*/ 2147483647 h 558"/>
                <a:gd name="T118" fmla="*/ 2147483647 w 452"/>
                <a:gd name="T119" fmla="*/ 2147483647 h 558"/>
                <a:gd name="T120" fmla="*/ 2147483647 w 452"/>
                <a:gd name="T121" fmla="*/ 2147483647 h 558"/>
                <a:gd name="T122" fmla="*/ 2147483647 w 452"/>
                <a:gd name="T123" fmla="*/ 2147483647 h 5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52"/>
                <a:gd name="T187" fmla="*/ 0 h 558"/>
                <a:gd name="T188" fmla="*/ 452 w 452"/>
                <a:gd name="T189" fmla="*/ 558 h 5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52" h="558">
                  <a:moveTo>
                    <a:pt x="260" y="14"/>
                  </a:moveTo>
                  <a:lnTo>
                    <a:pt x="264" y="12"/>
                  </a:lnTo>
                  <a:lnTo>
                    <a:pt x="266" y="20"/>
                  </a:lnTo>
                  <a:lnTo>
                    <a:pt x="270" y="32"/>
                  </a:lnTo>
                  <a:lnTo>
                    <a:pt x="272" y="44"/>
                  </a:lnTo>
                  <a:lnTo>
                    <a:pt x="280" y="44"/>
                  </a:lnTo>
                  <a:lnTo>
                    <a:pt x="280" y="46"/>
                  </a:lnTo>
                  <a:lnTo>
                    <a:pt x="280" y="50"/>
                  </a:lnTo>
                  <a:lnTo>
                    <a:pt x="270" y="54"/>
                  </a:lnTo>
                  <a:lnTo>
                    <a:pt x="280" y="60"/>
                  </a:lnTo>
                  <a:lnTo>
                    <a:pt x="280" y="62"/>
                  </a:lnTo>
                  <a:lnTo>
                    <a:pt x="276" y="68"/>
                  </a:lnTo>
                  <a:lnTo>
                    <a:pt x="278" y="70"/>
                  </a:lnTo>
                  <a:lnTo>
                    <a:pt x="280" y="72"/>
                  </a:lnTo>
                  <a:lnTo>
                    <a:pt x="282" y="72"/>
                  </a:lnTo>
                  <a:lnTo>
                    <a:pt x="284" y="72"/>
                  </a:lnTo>
                  <a:lnTo>
                    <a:pt x="284" y="70"/>
                  </a:lnTo>
                  <a:lnTo>
                    <a:pt x="288" y="70"/>
                  </a:lnTo>
                  <a:lnTo>
                    <a:pt x="286" y="76"/>
                  </a:lnTo>
                  <a:lnTo>
                    <a:pt x="292" y="76"/>
                  </a:lnTo>
                  <a:lnTo>
                    <a:pt x="296" y="76"/>
                  </a:lnTo>
                  <a:lnTo>
                    <a:pt x="296" y="78"/>
                  </a:lnTo>
                  <a:lnTo>
                    <a:pt x="296" y="82"/>
                  </a:lnTo>
                  <a:lnTo>
                    <a:pt x="294" y="86"/>
                  </a:lnTo>
                  <a:lnTo>
                    <a:pt x="296" y="88"/>
                  </a:lnTo>
                  <a:lnTo>
                    <a:pt x="300" y="88"/>
                  </a:lnTo>
                  <a:lnTo>
                    <a:pt x="302" y="82"/>
                  </a:lnTo>
                  <a:lnTo>
                    <a:pt x="310" y="82"/>
                  </a:lnTo>
                  <a:lnTo>
                    <a:pt x="318" y="84"/>
                  </a:lnTo>
                  <a:lnTo>
                    <a:pt x="332" y="92"/>
                  </a:lnTo>
                  <a:lnTo>
                    <a:pt x="332" y="94"/>
                  </a:lnTo>
                  <a:lnTo>
                    <a:pt x="336" y="94"/>
                  </a:lnTo>
                  <a:lnTo>
                    <a:pt x="338" y="100"/>
                  </a:lnTo>
                  <a:lnTo>
                    <a:pt x="342" y="100"/>
                  </a:lnTo>
                  <a:lnTo>
                    <a:pt x="342" y="102"/>
                  </a:lnTo>
                  <a:lnTo>
                    <a:pt x="342" y="104"/>
                  </a:lnTo>
                  <a:lnTo>
                    <a:pt x="340" y="108"/>
                  </a:lnTo>
                  <a:lnTo>
                    <a:pt x="344" y="110"/>
                  </a:lnTo>
                  <a:lnTo>
                    <a:pt x="344" y="114"/>
                  </a:lnTo>
                  <a:lnTo>
                    <a:pt x="348" y="114"/>
                  </a:lnTo>
                  <a:lnTo>
                    <a:pt x="350" y="108"/>
                  </a:lnTo>
                  <a:lnTo>
                    <a:pt x="356" y="106"/>
                  </a:lnTo>
                  <a:lnTo>
                    <a:pt x="360" y="108"/>
                  </a:lnTo>
                  <a:lnTo>
                    <a:pt x="364" y="112"/>
                  </a:lnTo>
                  <a:lnTo>
                    <a:pt x="368" y="112"/>
                  </a:lnTo>
                  <a:lnTo>
                    <a:pt x="372" y="110"/>
                  </a:lnTo>
                  <a:lnTo>
                    <a:pt x="374" y="114"/>
                  </a:lnTo>
                  <a:lnTo>
                    <a:pt x="378" y="116"/>
                  </a:lnTo>
                  <a:lnTo>
                    <a:pt x="382" y="114"/>
                  </a:lnTo>
                  <a:lnTo>
                    <a:pt x="390" y="114"/>
                  </a:lnTo>
                  <a:lnTo>
                    <a:pt x="402" y="120"/>
                  </a:lnTo>
                  <a:lnTo>
                    <a:pt x="412" y="126"/>
                  </a:lnTo>
                  <a:lnTo>
                    <a:pt x="418" y="134"/>
                  </a:lnTo>
                  <a:lnTo>
                    <a:pt x="422" y="142"/>
                  </a:lnTo>
                  <a:lnTo>
                    <a:pt x="424" y="142"/>
                  </a:lnTo>
                  <a:lnTo>
                    <a:pt x="426" y="142"/>
                  </a:lnTo>
                  <a:lnTo>
                    <a:pt x="428" y="140"/>
                  </a:lnTo>
                  <a:lnTo>
                    <a:pt x="430" y="140"/>
                  </a:lnTo>
                  <a:lnTo>
                    <a:pt x="430" y="146"/>
                  </a:lnTo>
                  <a:lnTo>
                    <a:pt x="440" y="144"/>
                  </a:lnTo>
                  <a:lnTo>
                    <a:pt x="442" y="150"/>
                  </a:lnTo>
                  <a:lnTo>
                    <a:pt x="444" y="158"/>
                  </a:lnTo>
                  <a:lnTo>
                    <a:pt x="450" y="162"/>
                  </a:lnTo>
                  <a:lnTo>
                    <a:pt x="452" y="174"/>
                  </a:lnTo>
                  <a:lnTo>
                    <a:pt x="450" y="188"/>
                  </a:lnTo>
                  <a:lnTo>
                    <a:pt x="448" y="200"/>
                  </a:lnTo>
                  <a:lnTo>
                    <a:pt x="442" y="210"/>
                  </a:lnTo>
                  <a:lnTo>
                    <a:pt x="440" y="214"/>
                  </a:lnTo>
                  <a:lnTo>
                    <a:pt x="434" y="218"/>
                  </a:lnTo>
                  <a:lnTo>
                    <a:pt x="430" y="220"/>
                  </a:lnTo>
                  <a:lnTo>
                    <a:pt x="426" y="224"/>
                  </a:lnTo>
                  <a:lnTo>
                    <a:pt x="422" y="230"/>
                  </a:lnTo>
                  <a:lnTo>
                    <a:pt x="418" y="238"/>
                  </a:lnTo>
                  <a:lnTo>
                    <a:pt x="414" y="254"/>
                  </a:lnTo>
                  <a:lnTo>
                    <a:pt x="404" y="248"/>
                  </a:lnTo>
                  <a:lnTo>
                    <a:pt x="404" y="250"/>
                  </a:lnTo>
                  <a:lnTo>
                    <a:pt x="406" y="252"/>
                  </a:lnTo>
                  <a:lnTo>
                    <a:pt x="406" y="254"/>
                  </a:lnTo>
                  <a:lnTo>
                    <a:pt x="402" y="258"/>
                  </a:lnTo>
                  <a:lnTo>
                    <a:pt x="402" y="260"/>
                  </a:lnTo>
                  <a:lnTo>
                    <a:pt x="402" y="268"/>
                  </a:lnTo>
                  <a:lnTo>
                    <a:pt x="398" y="268"/>
                  </a:lnTo>
                  <a:lnTo>
                    <a:pt x="398" y="270"/>
                  </a:lnTo>
                  <a:lnTo>
                    <a:pt x="402" y="272"/>
                  </a:lnTo>
                  <a:lnTo>
                    <a:pt x="402" y="282"/>
                  </a:lnTo>
                  <a:lnTo>
                    <a:pt x="402" y="298"/>
                  </a:lnTo>
                  <a:lnTo>
                    <a:pt x="402" y="310"/>
                  </a:lnTo>
                  <a:lnTo>
                    <a:pt x="398" y="312"/>
                  </a:lnTo>
                  <a:lnTo>
                    <a:pt x="398" y="316"/>
                  </a:lnTo>
                  <a:lnTo>
                    <a:pt x="400" y="320"/>
                  </a:lnTo>
                  <a:lnTo>
                    <a:pt x="402" y="326"/>
                  </a:lnTo>
                  <a:lnTo>
                    <a:pt x="398" y="328"/>
                  </a:lnTo>
                  <a:lnTo>
                    <a:pt x="394" y="330"/>
                  </a:lnTo>
                  <a:lnTo>
                    <a:pt x="394" y="338"/>
                  </a:lnTo>
                  <a:lnTo>
                    <a:pt x="394" y="344"/>
                  </a:lnTo>
                  <a:lnTo>
                    <a:pt x="390" y="350"/>
                  </a:lnTo>
                  <a:lnTo>
                    <a:pt x="384" y="358"/>
                  </a:lnTo>
                  <a:lnTo>
                    <a:pt x="378" y="366"/>
                  </a:lnTo>
                  <a:lnTo>
                    <a:pt x="374" y="372"/>
                  </a:lnTo>
                  <a:lnTo>
                    <a:pt x="376" y="380"/>
                  </a:lnTo>
                  <a:lnTo>
                    <a:pt x="376" y="386"/>
                  </a:lnTo>
                  <a:lnTo>
                    <a:pt x="370" y="390"/>
                  </a:lnTo>
                  <a:lnTo>
                    <a:pt x="370" y="394"/>
                  </a:lnTo>
                  <a:lnTo>
                    <a:pt x="364" y="396"/>
                  </a:lnTo>
                  <a:lnTo>
                    <a:pt x="362" y="396"/>
                  </a:lnTo>
                  <a:lnTo>
                    <a:pt x="358" y="394"/>
                  </a:lnTo>
                  <a:lnTo>
                    <a:pt x="358" y="398"/>
                  </a:lnTo>
                  <a:lnTo>
                    <a:pt x="340" y="400"/>
                  </a:lnTo>
                  <a:lnTo>
                    <a:pt x="340" y="402"/>
                  </a:lnTo>
                  <a:lnTo>
                    <a:pt x="336" y="402"/>
                  </a:lnTo>
                  <a:lnTo>
                    <a:pt x="338" y="408"/>
                  </a:lnTo>
                  <a:lnTo>
                    <a:pt x="330" y="410"/>
                  </a:lnTo>
                  <a:lnTo>
                    <a:pt x="320" y="412"/>
                  </a:lnTo>
                  <a:lnTo>
                    <a:pt x="320" y="414"/>
                  </a:lnTo>
                  <a:lnTo>
                    <a:pt x="320" y="418"/>
                  </a:lnTo>
                  <a:lnTo>
                    <a:pt x="316" y="422"/>
                  </a:lnTo>
                  <a:lnTo>
                    <a:pt x="310" y="424"/>
                  </a:lnTo>
                  <a:lnTo>
                    <a:pt x="298" y="430"/>
                  </a:lnTo>
                  <a:lnTo>
                    <a:pt x="298" y="434"/>
                  </a:lnTo>
                  <a:lnTo>
                    <a:pt x="294" y="434"/>
                  </a:lnTo>
                  <a:lnTo>
                    <a:pt x="292" y="434"/>
                  </a:lnTo>
                  <a:lnTo>
                    <a:pt x="292" y="436"/>
                  </a:lnTo>
                  <a:lnTo>
                    <a:pt x="292" y="438"/>
                  </a:lnTo>
                  <a:lnTo>
                    <a:pt x="294" y="438"/>
                  </a:lnTo>
                  <a:lnTo>
                    <a:pt x="290" y="442"/>
                  </a:lnTo>
                  <a:lnTo>
                    <a:pt x="290" y="446"/>
                  </a:lnTo>
                  <a:lnTo>
                    <a:pt x="290" y="458"/>
                  </a:lnTo>
                  <a:lnTo>
                    <a:pt x="294" y="470"/>
                  </a:lnTo>
                  <a:lnTo>
                    <a:pt x="294" y="480"/>
                  </a:lnTo>
                  <a:lnTo>
                    <a:pt x="290" y="484"/>
                  </a:lnTo>
                  <a:lnTo>
                    <a:pt x="286" y="488"/>
                  </a:lnTo>
                  <a:lnTo>
                    <a:pt x="282" y="492"/>
                  </a:lnTo>
                  <a:lnTo>
                    <a:pt x="280" y="496"/>
                  </a:lnTo>
                  <a:lnTo>
                    <a:pt x="276" y="502"/>
                  </a:lnTo>
                  <a:lnTo>
                    <a:pt x="276" y="508"/>
                  </a:lnTo>
                  <a:lnTo>
                    <a:pt x="272" y="520"/>
                  </a:lnTo>
                  <a:lnTo>
                    <a:pt x="268" y="524"/>
                  </a:lnTo>
                  <a:lnTo>
                    <a:pt x="266" y="528"/>
                  </a:lnTo>
                  <a:lnTo>
                    <a:pt x="272" y="510"/>
                  </a:lnTo>
                  <a:lnTo>
                    <a:pt x="270" y="510"/>
                  </a:lnTo>
                  <a:lnTo>
                    <a:pt x="270" y="512"/>
                  </a:lnTo>
                  <a:lnTo>
                    <a:pt x="266" y="512"/>
                  </a:lnTo>
                  <a:lnTo>
                    <a:pt x="262" y="508"/>
                  </a:lnTo>
                  <a:lnTo>
                    <a:pt x="262" y="512"/>
                  </a:lnTo>
                  <a:lnTo>
                    <a:pt x="262" y="518"/>
                  </a:lnTo>
                  <a:lnTo>
                    <a:pt x="246" y="536"/>
                  </a:lnTo>
                  <a:lnTo>
                    <a:pt x="246" y="538"/>
                  </a:lnTo>
                  <a:lnTo>
                    <a:pt x="246" y="540"/>
                  </a:lnTo>
                  <a:lnTo>
                    <a:pt x="248" y="542"/>
                  </a:lnTo>
                  <a:lnTo>
                    <a:pt x="248" y="546"/>
                  </a:lnTo>
                  <a:lnTo>
                    <a:pt x="242" y="556"/>
                  </a:lnTo>
                  <a:lnTo>
                    <a:pt x="240" y="558"/>
                  </a:lnTo>
                  <a:lnTo>
                    <a:pt x="238" y="552"/>
                  </a:lnTo>
                  <a:lnTo>
                    <a:pt x="244" y="544"/>
                  </a:lnTo>
                  <a:lnTo>
                    <a:pt x="238" y="542"/>
                  </a:lnTo>
                  <a:lnTo>
                    <a:pt x="236" y="538"/>
                  </a:lnTo>
                  <a:lnTo>
                    <a:pt x="234" y="534"/>
                  </a:lnTo>
                  <a:lnTo>
                    <a:pt x="232" y="532"/>
                  </a:lnTo>
                  <a:lnTo>
                    <a:pt x="232" y="530"/>
                  </a:lnTo>
                  <a:lnTo>
                    <a:pt x="226" y="528"/>
                  </a:lnTo>
                  <a:lnTo>
                    <a:pt x="222" y="526"/>
                  </a:lnTo>
                  <a:lnTo>
                    <a:pt x="220" y="522"/>
                  </a:lnTo>
                  <a:lnTo>
                    <a:pt x="216" y="520"/>
                  </a:lnTo>
                  <a:lnTo>
                    <a:pt x="214" y="520"/>
                  </a:lnTo>
                  <a:lnTo>
                    <a:pt x="212" y="518"/>
                  </a:lnTo>
                  <a:lnTo>
                    <a:pt x="210" y="512"/>
                  </a:lnTo>
                  <a:lnTo>
                    <a:pt x="200" y="506"/>
                  </a:lnTo>
                  <a:lnTo>
                    <a:pt x="192" y="508"/>
                  </a:lnTo>
                  <a:lnTo>
                    <a:pt x="194" y="500"/>
                  </a:lnTo>
                  <a:lnTo>
                    <a:pt x="196" y="496"/>
                  </a:lnTo>
                  <a:lnTo>
                    <a:pt x="198" y="494"/>
                  </a:lnTo>
                  <a:lnTo>
                    <a:pt x="202" y="490"/>
                  </a:lnTo>
                  <a:lnTo>
                    <a:pt x="202" y="486"/>
                  </a:lnTo>
                  <a:lnTo>
                    <a:pt x="204" y="484"/>
                  </a:lnTo>
                  <a:lnTo>
                    <a:pt x="206" y="482"/>
                  </a:lnTo>
                  <a:lnTo>
                    <a:pt x="208" y="480"/>
                  </a:lnTo>
                  <a:lnTo>
                    <a:pt x="210" y="480"/>
                  </a:lnTo>
                  <a:lnTo>
                    <a:pt x="212" y="476"/>
                  </a:lnTo>
                  <a:lnTo>
                    <a:pt x="216" y="474"/>
                  </a:lnTo>
                  <a:lnTo>
                    <a:pt x="218" y="470"/>
                  </a:lnTo>
                  <a:lnTo>
                    <a:pt x="222" y="466"/>
                  </a:lnTo>
                  <a:lnTo>
                    <a:pt x="222" y="464"/>
                  </a:lnTo>
                  <a:lnTo>
                    <a:pt x="226" y="464"/>
                  </a:lnTo>
                  <a:lnTo>
                    <a:pt x="228" y="464"/>
                  </a:lnTo>
                  <a:lnTo>
                    <a:pt x="230" y="462"/>
                  </a:lnTo>
                  <a:lnTo>
                    <a:pt x="234" y="460"/>
                  </a:lnTo>
                  <a:lnTo>
                    <a:pt x="234" y="458"/>
                  </a:lnTo>
                  <a:lnTo>
                    <a:pt x="234" y="446"/>
                  </a:lnTo>
                  <a:lnTo>
                    <a:pt x="234" y="436"/>
                  </a:lnTo>
                  <a:lnTo>
                    <a:pt x="232" y="436"/>
                  </a:lnTo>
                  <a:lnTo>
                    <a:pt x="230" y="436"/>
                  </a:lnTo>
                  <a:lnTo>
                    <a:pt x="228" y="438"/>
                  </a:lnTo>
                  <a:lnTo>
                    <a:pt x="226" y="436"/>
                  </a:lnTo>
                  <a:lnTo>
                    <a:pt x="224" y="436"/>
                  </a:lnTo>
                  <a:lnTo>
                    <a:pt x="224" y="430"/>
                  </a:lnTo>
                  <a:lnTo>
                    <a:pt x="224" y="422"/>
                  </a:lnTo>
                  <a:lnTo>
                    <a:pt x="226" y="416"/>
                  </a:lnTo>
                  <a:lnTo>
                    <a:pt x="226" y="410"/>
                  </a:lnTo>
                  <a:lnTo>
                    <a:pt x="224" y="410"/>
                  </a:lnTo>
                  <a:lnTo>
                    <a:pt x="220" y="412"/>
                  </a:lnTo>
                  <a:lnTo>
                    <a:pt x="218" y="412"/>
                  </a:lnTo>
                  <a:lnTo>
                    <a:pt x="218" y="410"/>
                  </a:lnTo>
                  <a:lnTo>
                    <a:pt x="218" y="406"/>
                  </a:lnTo>
                  <a:lnTo>
                    <a:pt x="218" y="392"/>
                  </a:lnTo>
                  <a:lnTo>
                    <a:pt x="216" y="388"/>
                  </a:lnTo>
                  <a:lnTo>
                    <a:pt x="212" y="386"/>
                  </a:lnTo>
                  <a:lnTo>
                    <a:pt x="210" y="386"/>
                  </a:lnTo>
                  <a:lnTo>
                    <a:pt x="208" y="384"/>
                  </a:lnTo>
                  <a:lnTo>
                    <a:pt x="208" y="382"/>
                  </a:lnTo>
                  <a:lnTo>
                    <a:pt x="206" y="380"/>
                  </a:lnTo>
                  <a:lnTo>
                    <a:pt x="204" y="382"/>
                  </a:lnTo>
                  <a:lnTo>
                    <a:pt x="196" y="382"/>
                  </a:lnTo>
                  <a:lnTo>
                    <a:pt x="192" y="380"/>
                  </a:lnTo>
                  <a:lnTo>
                    <a:pt x="190" y="378"/>
                  </a:lnTo>
                  <a:lnTo>
                    <a:pt x="190" y="374"/>
                  </a:lnTo>
                  <a:lnTo>
                    <a:pt x="188" y="368"/>
                  </a:lnTo>
                  <a:lnTo>
                    <a:pt x="190" y="362"/>
                  </a:lnTo>
                  <a:lnTo>
                    <a:pt x="188" y="358"/>
                  </a:lnTo>
                  <a:lnTo>
                    <a:pt x="186" y="354"/>
                  </a:lnTo>
                  <a:lnTo>
                    <a:pt x="184" y="350"/>
                  </a:lnTo>
                  <a:lnTo>
                    <a:pt x="188" y="348"/>
                  </a:lnTo>
                  <a:lnTo>
                    <a:pt x="184" y="346"/>
                  </a:lnTo>
                  <a:lnTo>
                    <a:pt x="186" y="340"/>
                  </a:lnTo>
                  <a:lnTo>
                    <a:pt x="188" y="330"/>
                  </a:lnTo>
                  <a:lnTo>
                    <a:pt x="188" y="326"/>
                  </a:lnTo>
                  <a:lnTo>
                    <a:pt x="188" y="324"/>
                  </a:lnTo>
                  <a:lnTo>
                    <a:pt x="186" y="320"/>
                  </a:lnTo>
                  <a:lnTo>
                    <a:pt x="182" y="316"/>
                  </a:lnTo>
                  <a:lnTo>
                    <a:pt x="180" y="314"/>
                  </a:lnTo>
                  <a:lnTo>
                    <a:pt x="178" y="308"/>
                  </a:lnTo>
                  <a:lnTo>
                    <a:pt x="178" y="304"/>
                  </a:lnTo>
                  <a:lnTo>
                    <a:pt x="180" y="302"/>
                  </a:lnTo>
                  <a:lnTo>
                    <a:pt x="162" y="302"/>
                  </a:lnTo>
                  <a:lnTo>
                    <a:pt x="162" y="300"/>
                  </a:lnTo>
                  <a:lnTo>
                    <a:pt x="160" y="296"/>
                  </a:lnTo>
                  <a:lnTo>
                    <a:pt x="158" y="290"/>
                  </a:lnTo>
                  <a:lnTo>
                    <a:pt x="158" y="286"/>
                  </a:lnTo>
                  <a:lnTo>
                    <a:pt x="162" y="280"/>
                  </a:lnTo>
                  <a:lnTo>
                    <a:pt x="160" y="274"/>
                  </a:lnTo>
                  <a:lnTo>
                    <a:pt x="158" y="268"/>
                  </a:lnTo>
                  <a:lnTo>
                    <a:pt x="156" y="264"/>
                  </a:lnTo>
                  <a:lnTo>
                    <a:pt x="154" y="262"/>
                  </a:lnTo>
                  <a:lnTo>
                    <a:pt x="152" y="262"/>
                  </a:lnTo>
                  <a:lnTo>
                    <a:pt x="148" y="264"/>
                  </a:lnTo>
                  <a:lnTo>
                    <a:pt x="144" y="262"/>
                  </a:lnTo>
                  <a:lnTo>
                    <a:pt x="140" y="262"/>
                  </a:lnTo>
                  <a:lnTo>
                    <a:pt x="134" y="260"/>
                  </a:lnTo>
                  <a:lnTo>
                    <a:pt x="132" y="256"/>
                  </a:lnTo>
                  <a:lnTo>
                    <a:pt x="128" y="254"/>
                  </a:lnTo>
                  <a:lnTo>
                    <a:pt x="126" y="252"/>
                  </a:lnTo>
                  <a:lnTo>
                    <a:pt x="120" y="248"/>
                  </a:lnTo>
                  <a:lnTo>
                    <a:pt x="116" y="244"/>
                  </a:lnTo>
                  <a:lnTo>
                    <a:pt x="114" y="242"/>
                  </a:lnTo>
                  <a:lnTo>
                    <a:pt x="112" y="244"/>
                  </a:lnTo>
                  <a:lnTo>
                    <a:pt x="110" y="244"/>
                  </a:lnTo>
                  <a:lnTo>
                    <a:pt x="104" y="242"/>
                  </a:lnTo>
                  <a:lnTo>
                    <a:pt x="100" y="240"/>
                  </a:lnTo>
                  <a:lnTo>
                    <a:pt x="98" y="236"/>
                  </a:lnTo>
                  <a:lnTo>
                    <a:pt x="98" y="232"/>
                  </a:lnTo>
                  <a:lnTo>
                    <a:pt x="100" y="228"/>
                  </a:lnTo>
                  <a:lnTo>
                    <a:pt x="102" y="224"/>
                  </a:lnTo>
                  <a:lnTo>
                    <a:pt x="100" y="220"/>
                  </a:lnTo>
                  <a:lnTo>
                    <a:pt x="94" y="220"/>
                  </a:lnTo>
                  <a:lnTo>
                    <a:pt x="88" y="222"/>
                  </a:lnTo>
                  <a:lnTo>
                    <a:pt x="82" y="224"/>
                  </a:lnTo>
                  <a:lnTo>
                    <a:pt x="78" y="226"/>
                  </a:lnTo>
                  <a:lnTo>
                    <a:pt x="74" y="232"/>
                  </a:lnTo>
                  <a:lnTo>
                    <a:pt x="70" y="238"/>
                  </a:lnTo>
                  <a:lnTo>
                    <a:pt x="66" y="238"/>
                  </a:lnTo>
                  <a:lnTo>
                    <a:pt x="64" y="240"/>
                  </a:lnTo>
                  <a:lnTo>
                    <a:pt x="64" y="242"/>
                  </a:lnTo>
                  <a:lnTo>
                    <a:pt x="64" y="244"/>
                  </a:lnTo>
                  <a:lnTo>
                    <a:pt x="62" y="244"/>
                  </a:lnTo>
                  <a:lnTo>
                    <a:pt x="58" y="246"/>
                  </a:lnTo>
                  <a:lnTo>
                    <a:pt x="56" y="244"/>
                  </a:lnTo>
                  <a:lnTo>
                    <a:pt x="54" y="244"/>
                  </a:lnTo>
                  <a:lnTo>
                    <a:pt x="52" y="244"/>
                  </a:lnTo>
                  <a:lnTo>
                    <a:pt x="38" y="240"/>
                  </a:lnTo>
                  <a:lnTo>
                    <a:pt x="40" y="206"/>
                  </a:lnTo>
                  <a:lnTo>
                    <a:pt x="40" y="204"/>
                  </a:lnTo>
                  <a:lnTo>
                    <a:pt x="40" y="202"/>
                  </a:lnTo>
                  <a:lnTo>
                    <a:pt x="40" y="204"/>
                  </a:lnTo>
                  <a:lnTo>
                    <a:pt x="30" y="208"/>
                  </a:lnTo>
                  <a:lnTo>
                    <a:pt x="20" y="208"/>
                  </a:lnTo>
                  <a:lnTo>
                    <a:pt x="18" y="208"/>
                  </a:lnTo>
                  <a:lnTo>
                    <a:pt x="18" y="204"/>
                  </a:lnTo>
                  <a:lnTo>
                    <a:pt x="16" y="202"/>
                  </a:lnTo>
                  <a:lnTo>
                    <a:pt x="14" y="200"/>
                  </a:lnTo>
                  <a:lnTo>
                    <a:pt x="12" y="198"/>
                  </a:lnTo>
                  <a:lnTo>
                    <a:pt x="10" y="196"/>
                  </a:lnTo>
                  <a:lnTo>
                    <a:pt x="6" y="192"/>
                  </a:lnTo>
                  <a:lnTo>
                    <a:pt x="4" y="190"/>
                  </a:lnTo>
                  <a:lnTo>
                    <a:pt x="4" y="184"/>
                  </a:lnTo>
                  <a:lnTo>
                    <a:pt x="4" y="182"/>
                  </a:lnTo>
                  <a:lnTo>
                    <a:pt x="4" y="180"/>
                  </a:lnTo>
                  <a:lnTo>
                    <a:pt x="2" y="176"/>
                  </a:lnTo>
                  <a:lnTo>
                    <a:pt x="0" y="170"/>
                  </a:lnTo>
                  <a:lnTo>
                    <a:pt x="2" y="170"/>
                  </a:lnTo>
                  <a:lnTo>
                    <a:pt x="4" y="170"/>
                  </a:lnTo>
                  <a:lnTo>
                    <a:pt x="6" y="170"/>
                  </a:lnTo>
                  <a:lnTo>
                    <a:pt x="6" y="164"/>
                  </a:lnTo>
                  <a:lnTo>
                    <a:pt x="8" y="162"/>
                  </a:lnTo>
                  <a:lnTo>
                    <a:pt x="10" y="158"/>
                  </a:lnTo>
                  <a:lnTo>
                    <a:pt x="12" y="152"/>
                  </a:lnTo>
                  <a:lnTo>
                    <a:pt x="12" y="148"/>
                  </a:lnTo>
                  <a:lnTo>
                    <a:pt x="16" y="144"/>
                  </a:lnTo>
                  <a:lnTo>
                    <a:pt x="22" y="140"/>
                  </a:lnTo>
                  <a:lnTo>
                    <a:pt x="26" y="138"/>
                  </a:lnTo>
                  <a:lnTo>
                    <a:pt x="32" y="136"/>
                  </a:lnTo>
                  <a:lnTo>
                    <a:pt x="40" y="134"/>
                  </a:lnTo>
                  <a:lnTo>
                    <a:pt x="42" y="134"/>
                  </a:lnTo>
                  <a:lnTo>
                    <a:pt x="44" y="132"/>
                  </a:lnTo>
                  <a:lnTo>
                    <a:pt x="44" y="130"/>
                  </a:lnTo>
                  <a:lnTo>
                    <a:pt x="56" y="98"/>
                  </a:lnTo>
                  <a:lnTo>
                    <a:pt x="58" y="94"/>
                  </a:lnTo>
                  <a:lnTo>
                    <a:pt x="56" y="90"/>
                  </a:lnTo>
                  <a:lnTo>
                    <a:pt x="52" y="86"/>
                  </a:lnTo>
                  <a:lnTo>
                    <a:pt x="50" y="86"/>
                  </a:lnTo>
                  <a:lnTo>
                    <a:pt x="50" y="82"/>
                  </a:lnTo>
                  <a:lnTo>
                    <a:pt x="58" y="80"/>
                  </a:lnTo>
                  <a:lnTo>
                    <a:pt x="58" y="76"/>
                  </a:lnTo>
                  <a:lnTo>
                    <a:pt x="56" y="74"/>
                  </a:lnTo>
                  <a:lnTo>
                    <a:pt x="52" y="74"/>
                  </a:lnTo>
                  <a:lnTo>
                    <a:pt x="52" y="68"/>
                  </a:lnTo>
                  <a:lnTo>
                    <a:pt x="58" y="66"/>
                  </a:lnTo>
                  <a:lnTo>
                    <a:pt x="74" y="64"/>
                  </a:lnTo>
                  <a:lnTo>
                    <a:pt x="74" y="60"/>
                  </a:lnTo>
                  <a:lnTo>
                    <a:pt x="76" y="62"/>
                  </a:lnTo>
                  <a:lnTo>
                    <a:pt x="80" y="60"/>
                  </a:lnTo>
                  <a:lnTo>
                    <a:pt x="82" y="56"/>
                  </a:lnTo>
                  <a:lnTo>
                    <a:pt x="86" y="56"/>
                  </a:lnTo>
                  <a:lnTo>
                    <a:pt x="88" y="62"/>
                  </a:lnTo>
                  <a:lnTo>
                    <a:pt x="90" y="62"/>
                  </a:lnTo>
                  <a:lnTo>
                    <a:pt x="96" y="66"/>
                  </a:lnTo>
                  <a:lnTo>
                    <a:pt x="100" y="64"/>
                  </a:lnTo>
                  <a:lnTo>
                    <a:pt x="104" y="62"/>
                  </a:lnTo>
                  <a:lnTo>
                    <a:pt x="106" y="62"/>
                  </a:lnTo>
                  <a:lnTo>
                    <a:pt x="108" y="60"/>
                  </a:lnTo>
                  <a:lnTo>
                    <a:pt x="108" y="58"/>
                  </a:lnTo>
                  <a:lnTo>
                    <a:pt x="110" y="58"/>
                  </a:lnTo>
                  <a:lnTo>
                    <a:pt x="114" y="56"/>
                  </a:lnTo>
                  <a:lnTo>
                    <a:pt x="116" y="54"/>
                  </a:lnTo>
                  <a:lnTo>
                    <a:pt x="118" y="54"/>
                  </a:lnTo>
                  <a:lnTo>
                    <a:pt x="120" y="50"/>
                  </a:lnTo>
                  <a:lnTo>
                    <a:pt x="120" y="48"/>
                  </a:lnTo>
                  <a:lnTo>
                    <a:pt x="122" y="48"/>
                  </a:lnTo>
                  <a:lnTo>
                    <a:pt x="126" y="46"/>
                  </a:lnTo>
                  <a:lnTo>
                    <a:pt x="126" y="44"/>
                  </a:lnTo>
                  <a:lnTo>
                    <a:pt x="124" y="42"/>
                  </a:lnTo>
                  <a:lnTo>
                    <a:pt x="122" y="42"/>
                  </a:lnTo>
                  <a:lnTo>
                    <a:pt x="118" y="44"/>
                  </a:lnTo>
                  <a:lnTo>
                    <a:pt x="114" y="44"/>
                  </a:lnTo>
                  <a:lnTo>
                    <a:pt x="112" y="42"/>
                  </a:lnTo>
                  <a:lnTo>
                    <a:pt x="110" y="38"/>
                  </a:lnTo>
                  <a:lnTo>
                    <a:pt x="110" y="34"/>
                  </a:lnTo>
                  <a:lnTo>
                    <a:pt x="112" y="30"/>
                  </a:lnTo>
                  <a:lnTo>
                    <a:pt x="108" y="24"/>
                  </a:lnTo>
                  <a:lnTo>
                    <a:pt x="106" y="20"/>
                  </a:lnTo>
                  <a:lnTo>
                    <a:pt x="106" y="18"/>
                  </a:lnTo>
                  <a:lnTo>
                    <a:pt x="106" y="16"/>
                  </a:lnTo>
                  <a:lnTo>
                    <a:pt x="104" y="16"/>
                  </a:lnTo>
                  <a:lnTo>
                    <a:pt x="108" y="14"/>
                  </a:lnTo>
                  <a:lnTo>
                    <a:pt x="112" y="16"/>
                  </a:lnTo>
                  <a:lnTo>
                    <a:pt x="116" y="18"/>
                  </a:lnTo>
                  <a:lnTo>
                    <a:pt x="118" y="18"/>
                  </a:lnTo>
                  <a:lnTo>
                    <a:pt x="122" y="20"/>
                  </a:lnTo>
                  <a:lnTo>
                    <a:pt x="126" y="22"/>
                  </a:lnTo>
                  <a:lnTo>
                    <a:pt x="130" y="22"/>
                  </a:lnTo>
                  <a:lnTo>
                    <a:pt x="128" y="20"/>
                  </a:lnTo>
                  <a:lnTo>
                    <a:pt x="128" y="18"/>
                  </a:lnTo>
                  <a:lnTo>
                    <a:pt x="130" y="16"/>
                  </a:lnTo>
                  <a:lnTo>
                    <a:pt x="132" y="16"/>
                  </a:lnTo>
                  <a:lnTo>
                    <a:pt x="138" y="18"/>
                  </a:lnTo>
                  <a:lnTo>
                    <a:pt x="142" y="16"/>
                  </a:lnTo>
                  <a:lnTo>
                    <a:pt x="144" y="14"/>
                  </a:lnTo>
                  <a:lnTo>
                    <a:pt x="146" y="14"/>
                  </a:lnTo>
                  <a:lnTo>
                    <a:pt x="146" y="12"/>
                  </a:lnTo>
                  <a:lnTo>
                    <a:pt x="148" y="10"/>
                  </a:lnTo>
                  <a:lnTo>
                    <a:pt x="154" y="8"/>
                  </a:lnTo>
                  <a:lnTo>
                    <a:pt x="156" y="4"/>
                  </a:lnTo>
                  <a:lnTo>
                    <a:pt x="154" y="0"/>
                  </a:lnTo>
                  <a:lnTo>
                    <a:pt x="158" y="2"/>
                  </a:lnTo>
                  <a:lnTo>
                    <a:pt x="164" y="2"/>
                  </a:lnTo>
                  <a:lnTo>
                    <a:pt x="166" y="4"/>
                  </a:lnTo>
                  <a:lnTo>
                    <a:pt x="166" y="6"/>
                  </a:lnTo>
                  <a:lnTo>
                    <a:pt x="162" y="10"/>
                  </a:lnTo>
                  <a:lnTo>
                    <a:pt x="168" y="12"/>
                  </a:lnTo>
                  <a:lnTo>
                    <a:pt x="170" y="12"/>
                  </a:lnTo>
                  <a:lnTo>
                    <a:pt x="168" y="14"/>
                  </a:lnTo>
                  <a:lnTo>
                    <a:pt x="168" y="16"/>
                  </a:lnTo>
                  <a:lnTo>
                    <a:pt x="168" y="18"/>
                  </a:lnTo>
                  <a:lnTo>
                    <a:pt x="170" y="20"/>
                  </a:lnTo>
                  <a:lnTo>
                    <a:pt x="168" y="22"/>
                  </a:lnTo>
                  <a:lnTo>
                    <a:pt x="162" y="26"/>
                  </a:lnTo>
                  <a:lnTo>
                    <a:pt x="162" y="34"/>
                  </a:lnTo>
                  <a:lnTo>
                    <a:pt x="162" y="44"/>
                  </a:lnTo>
                  <a:lnTo>
                    <a:pt x="162" y="46"/>
                  </a:lnTo>
                  <a:lnTo>
                    <a:pt x="162" y="48"/>
                  </a:lnTo>
                  <a:lnTo>
                    <a:pt x="164" y="52"/>
                  </a:lnTo>
                  <a:lnTo>
                    <a:pt x="168" y="54"/>
                  </a:lnTo>
                  <a:lnTo>
                    <a:pt x="170" y="56"/>
                  </a:lnTo>
                  <a:lnTo>
                    <a:pt x="172" y="58"/>
                  </a:lnTo>
                  <a:lnTo>
                    <a:pt x="174" y="60"/>
                  </a:lnTo>
                  <a:lnTo>
                    <a:pt x="178" y="58"/>
                  </a:lnTo>
                  <a:lnTo>
                    <a:pt x="178" y="56"/>
                  </a:lnTo>
                  <a:lnTo>
                    <a:pt x="180" y="56"/>
                  </a:lnTo>
                  <a:lnTo>
                    <a:pt x="182" y="56"/>
                  </a:lnTo>
                  <a:lnTo>
                    <a:pt x="182" y="54"/>
                  </a:lnTo>
                  <a:lnTo>
                    <a:pt x="182" y="52"/>
                  </a:lnTo>
                  <a:lnTo>
                    <a:pt x="184" y="52"/>
                  </a:lnTo>
                  <a:lnTo>
                    <a:pt x="186" y="50"/>
                  </a:lnTo>
                  <a:lnTo>
                    <a:pt x="188" y="50"/>
                  </a:lnTo>
                  <a:lnTo>
                    <a:pt x="192" y="50"/>
                  </a:lnTo>
                  <a:lnTo>
                    <a:pt x="194" y="50"/>
                  </a:lnTo>
                  <a:lnTo>
                    <a:pt x="198" y="50"/>
                  </a:lnTo>
                  <a:lnTo>
                    <a:pt x="206" y="52"/>
                  </a:lnTo>
                  <a:lnTo>
                    <a:pt x="210" y="48"/>
                  </a:lnTo>
                  <a:lnTo>
                    <a:pt x="206" y="44"/>
                  </a:lnTo>
                  <a:lnTo>
                    <a:pt x="208" y="38"/>
                  </a:lnTo>
                  <a:lnTo>
                    <a:pt x="214" y="40"/>
                  </a:lnTo>
                  <a:lnTo>
                    <a:pt x="218" y="38"/>
                  </a:lnTo>
                  <a:lnTo>
                    <a:pt x="220" y="42"/>
                  </a:lnTo>
                  <a:lnTo>
                    <a:pt x="226" y="42"/>
                  </a:lnTo>
                  <a:lnTo>
                    <a:pt x="226" y="44"/>
                  </a:lnTo>
                  <a:lnTo>
                    <a:pt x="228" y="48"/>
                  </a:lnTo>
                  <a:lnTo>
                    <a:pt x="232" y="48"/>
                  </a:lnTo>
                  <a:lnTo>
                    <a:pt x="234" y="48"/>
                  </a:lnTo>
                  <a:lnTo>
                    <a:pt x="236" y="46"/>
                  </a:lnTo>
                  <a:lnTo>
                    <a:pt x="242" y="44"/>
                  </a:lnTo>
                  <a:lnTo>
                    <a:pt x="246" y="48"/>
                  </a:lnTo>
                  <a:lnTo>
                    <a:pt x="250" y="44"/>
                  </a:lnTo>
                  <a:lnTo>
                    <a:pt x="254" y="38"/>
                  </a:lnTo>
                  <a:lnTo>
                    <a:pt x="254" y="26"/>
                  </a:lnTo>
                  <a:lnTo>
                    <a:pt x="258" y="18"/>
                  </a:lnTo>
                  <a:lnTo>
                    <a:pt x="260" y="14"/>
                  </a:lnTo>
                  <a:close/>
                  <a:moveTo>
                    <a:pt x="296" y="88"/>
                  </a:moveTo>
                  <a:lnTo>
                    <a:pt x="296" y="92"/>
                  </a:lnTo>
                  <a:lnTo>
                    <a:pt x="294" y="94"/>
                  </a:lnTo>
                  <a:lnTo>
                    <a:pt x="294" y="90"/>
                  </a:lnTo>
                  <a:lnTo>
                    <a:pt x="294" y="88"/>
                  </a:lnTo>
                  <a:lnTo>
                    <a:pt x="296" y="88"/>
                  </a:lnTo>
                  <a:close/>
                  <a:moveTo>
                    <a:pt x="294" y="94"/>
                  </a:moveTo>
                  <a:lnTo>
                    <a:pt x="294" y="96"/>
                  </a:lnTo>
                  <a:lnTo>
                    <a:pt x="290" y="98"/>
                  </a:lnTo>
                  <a:lnTo>
                    <a:pt x="290" y="100"/>
                  </a:lnTo>
                  <a:lnTo>
                    <a:pt x="286" y="100"/>
                  </a:lnTo>
                  <a:lnTo>
                    <a:pt x="288" y="98"/>
                  </a:lnTo>
                  <a:lnTo>
                    <a:pt x="294" y="94"/>
                  </a:lnTo>
                  <a:close/>
                  <a:moveTo>
                    <a:pt x="268" y="68"/>
                  </a:moveTo>
                  <a:lnTo>
                    <a:pt x="268" y="68"/>
                  </a:lnTo>
                  <a:lnTo>
                    <a:pt x="270" y="70"/>
                  </a:lnTo>
                  <a:lnTo>
                    <a:pt x="270" y="74"/>
                  </a:lnTo>
                  <a:lnTo>
                    <a:pt x="280" y="72"/>
                  </a:lnTo>
                  <a:lnTo>
                    <a:pt x="274" y="80"/>
                  </a:lnTo>
                  <a:lnTo>
                    <a:pt x="270" y="86"/>
                  </a:lnTo>
                  <a:lnTo>
                    <a:pt x="272" y="92"/>
                  </a:lnTo>
                  <a:lnTo>
                    <a:pt x="280" y="100"/>
                  </a:lnTo>
                  <a:lnTo>
                    <a:pt x="274" y="100"/>
                  </a:lnTo>
                  <a:lnTo>
                    <a:pt x="266" y="88"/>
                  </a:lnTo>
                  <a:lnTo>
                    <a:pt x="264" y="88"/>
                  </a:lnTo>
                  <a:lnTo>
                    <a:pt x="262" y="88"/>
                  </a:lnTo>
                  <a:lnTo>
                    <a:pt x="264" y="90"/>
                  </a:lnTo>
                  <a:lnTo>
                    <a:pt x="260" y="90"/>
                  </a:lnTo>
                  <a:lnTo>
                    <a:pt x="262" y="98"/>
                  </a:lnTo>
                  <a:lnTo>
                    <a:pt x="258" y="90"/>
                  </a:lnTo>
                  <a:lnTo>
                    <a:pt x="254" y="90"/>
                  </a:lnTo>
                  <a:lnTo>
                    <a:pt x="250" y="92"/>
                  </a:lnTo>
                  <a:lnTo>
                    <a:pt x="252" y="88"/>
                  </a:lnTo>
                  <a:lnTo>
                    <a:pt x="258" y="84"/>
                  </a:lnTo>
                  <a:lnTo>
                    <a:pt x="262" y="74"/>
                  </a:lnTo>
                  <a:lnTo>
                    <a:pt x="264" y="70"/>
                  </a:lnTo>
                  <a:lnTo>
                    <a:pt x="268" y="68"/>
                  </a:lnTo>
                  <a:close/>
                  <a:moveTo>
                    <a:pt x="274" y="60"/>
                  </a:moveTo>
                  <a:lnTo>
                    <a:pt x="274" y="60"/>
                  </a:lnTo>
                  <a:lnTo>
                    <a:pt x="276" y="62"/>
                  </a:lnTo>
                  <a:lnTo>
                    <a:pt x="272" y="64"/>
                  </a:lnTo>
                  <a:lnTo>
                    <a:pt x="272" y="60"/>
                  </a:lnTo>
                  <a:lnTo>
                    <a:pt x="274" y="6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3" name="Freeform 671">
              <a:extLst>
                <a:ext uri="{FF2B5EF4-FFF2-40B4-BE49-F238E27FC236}">
                  <a16:creationId xmlns:a16="http://schemas.microsoft.com/office/drawing/2014/main" id="{6CC4DF69-1FD6-4C22-A2A8-440CE0277D4E}"/>
                </a:ext>
              </a:extLst>
            </p:cNvPr>
            <p:cNvSpPr>
              <a:spLocks/>
            </p:cNvSpPr>
            <p:nvPr/>
          </p:nvSpPr>
          <p:spPr bwMode="gray">
            <a:xfrm>
              <a:off x="4793428" y="4762070"/>
              <a:ext cx="207168" cy="244847"/>
            </a:xfrm>
            <a:custGeom>
              <a:avLst/>
              <a:gdLst>
                <a:gd name="T0" fmla="*/ 2147483647 w 112"/>
                <a:gd name="T1" fmla="*/ 2147483647 h 132"/>
                <a:gd name="T2" fmla="*/ 2147483647 w 112"/>
                <a:gd name="T3" fmla="*/ 2147483647 h 132"/>
                <a:gd name="T4" fmla="*/ 2147483647 w 112"/>
                <a:gd name="T5" fmla="*/ 2147483647 h 132"/>
                <a:gd name="T6" fmla="*/ 2147483647 w 112"/>
                <a:gd name="T7" fmla="*/ 2147483647 h 132"/>
                <a:gd name="T8" fmla="*/ 2147483647 w 112"/>
                <a:gd name="T9" fmla="*/ 2147483647 h 132"/>
                <a:gd name="T10" fmla="*/ 2147483647 w 112"/>
                <a:gd name="T11" fmla="*/ 2147483647 h 132"/>
                <a:gd name="T12" fmla="*/ 2147483647 w 112"/>
                <a:gd name="T13" fmla="*/ 2147483647 h 132"/>
                <a:gd name="T14" fmla="*/ 2147483647 w 112"/>
                <a:gd name="T15" fmla="*/ 2147483647 h 132"/>
                <a:gd name="T16" fmla="*/ 2147483647 w 112"/>
                <a:gd name="T17" fmla="*/ 2147483647 h 132"/>
                <a:gd name="T18" fmla="*/ 2147483647 w 112"/>
                <a:gd name="T19" fmla="*/ 2147483647 h 132"/>
                <a:gd name="T20" fmla="*/ 2147483647 w 112"/>
                <a:gd name="T21" fmla="*/ 2147483647 h 132"/>
                <a:gd name="T22" fmla="*/ 2147483647 w 112"/>
                <a:gd name="T23" fmla="*/ 2147483647 h 132"/>
                <a:gd name="T24" fmla="*/ 2147483647 w 112"/>
                <a:gd name="T25" fmla="*/ 2147483647 h 132"/>
                <a:gd name="T26" fmla="*/ 2147483647 w 112"/>
                <a:gd name="T27" fmla="*/ 2147483647 h 132"/>
                <a:gd name="T28" fmla="*/ 2147483647 w 112"/>
                <a:gd name="T29" fmla="*/ 2147483647 h 132"/>
                <a:gd name="T30" fmla="*/ 2147483647 w 112"/>
                <a:gd name="T31" fmla="*/ 2147483647 h 132"/>
                <a:gd name="T32" fmla="*/ 2147483647 w 112"/>
                <a:gd name="T33" fmla="*/ 2147483647 h 132"/>
                <a:gd name="T34" fmla="*/ 2147483647 w 112"/>
                <a:gd name="T35" fmla="*/ 2147483647 h 132"/>
                <a:gd name="T36" fmla="*/ 2147483647 w 112"/>
                <a:gd name="T37" fmla="*/ 2147483647 h 132"/>
                <a:gd name="T38" fmla="*/ 2147483647 w 112"/>
                <a:gd name="T39" fmla="*/ 2147483647 h 132"/>
                <a:gd name="T40" fmla="*/ 2147483647 w 112"/>
                <a:gd name="T41" fmla="*/ 2147483647 h 132"/>
                <a:gd name="T42" fmla="*/ 2147483647 w 112"/>
                <a:gd name="T43" fmla="*/ 2147483647 h 132"/>
                <a:gd name="T44" fmla="*/ 2147483647 w 112"/>
                <a:gd name="T45" fmla="*/ 2147483647 h 132"/>
                <a:gd name="T46" fmla="*/ 2147483647 w 112"/>
                <a:gd name="T47" fmla="*/ 2147483647 h 132"/>
                <a:gd name="T48" fmla="*/ 2147483647 w 112"/>
                <a:gd name="T49" fmla="*/ 2147483647 h 132"/>
                <a:gd name="T50" fmla="*/ 2147483647 w 112"/>
                <a:gd name="T51" fmla="*/ 2147483647 h 132"/>
                <a:gd name="T52" fmla="*/ 2147483647 w 112"/>
                <a:gd name="T53" fmla="*/ 2147483647 h 132"/>
                <a:gd name="T54" fmla="*/ 2147483647 w 112"/>
                <a:gd name="T55" fmla="*/ 2147483647 h 132"/>
                <a:gd name="T56" fmla="*/ 2147483647 w 112"/>
                <a:gd name="T57" fmla="*/ 2147483647 h 132"/>
                <a:gd name="T58" fmla="*/ 2147483647 w 112"/>
                <a:gd name="T59" fmla="*/ 2147483647 h 132"/>
                <a:gd name="T60" fmla="*/ 2147483647 w 112"/>
                <a:gd name="T61" fmla="*/ 2147483647 h 132"/>
                <a:gd name="T62" fmla="*/ 2147483647 w 112"/>
                <a:gd name="T63" fmla="*/ 2147483647 h 132"/>
                <a:gd name="T64" fmla="*/ 2147483647 w 112"/>
                <a:gd name="T65" fmla="*/ 2147483647 h 132"/>
                <a:gd name="T66" fmla="*/ 2147483647 w 112"/>
                <a:gd name="T67" fmla="*/ 2147483647 h 132"/>
                <a:gd name="T68" fmla="*/ 2147483647 w 112"/>
                <a:gd name="T69" fmla="*/ 2147483647 h 132"/>
                <a:gd name="T70" fmla="*/ 2147483647 w 112"/>
                <a:gd name="T71" fmla="*/ 2147483647 h 132"/>
                <a:gd name="T72" fmla="*/ 2147483647 w 112"/>
                <a:gd name="T73" fmla="*/ 2147483647 h 132"/>
                <a:gd name="T74" fmla="*/ 2147483647 w 112"/>
                <a:gd name="T75" fmla="*/ 2147483647 h 132"/>
                <a:gd name="T76" fmla="*/ 2147483647 w 112"/>
                <a:gd name="T77" fmla="*/ 0 h 132"/>
                <a:gd name="T78" fmla="*/ 2147483647 w 112"/>
                <a:gd name="T79" fmla="*/ 2147483647 h 132"/>
                <a:gd name="T80" fmla="*/ 2147483647 w 112"/>
                <a:gd name="T81" fmla="*/ 2147483647 h 132"/>
                <a:gd name="T82" fmla="*/ 2147483647 w 112"/>
                <a:gd name="T83" fmla="*/ 2147483647 h 132"/>
                <a:gd name="T84" fmla="*/ 2147483647 w 112"/>
                <a:gd name="T85" fmla="*/ 2147483647 h 132"/>
                <a:gd name="T86" fmla="*/ 2147483647 w 112"/>
                <a:gd name="T87" fmla="*/ 2147483647 h 1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2"/>
                <a:gd name="T133" fmla="*/ 0 h 132"/>
                <a:gd name="T134" fmla="*/ 112 w 112"/>
                <a:gd name="T135" fmla="*/ 132 h 1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2" h="132">
                  <a:moveTo>
                    <a:pt x="0" y="108"/>
                  </a:moveTo>
                  <a:lnTo>
                    <a:pt x="0" y="108"/>
                  </a:lnTo>
                  <a:lnTo>
                    <a:pt x="4" y="110"/>
                  </a:lnTo>
                  <a:lnTo>
                    <a:pt x="6" y="112"/>
                  </a:lnTo>
                  <a:lnTo>
                    <a:pt x="8" y="116"/>
                  </a:lnTo>
                  <a:lnTo>
                    <a:pt x="10" y="122"/>
                  </a:lnTo>
                  <a:lnTo>
                    <a:pt x="10" y="126"/>
                  </a:lnTo>
                  <a:lnTo>
                    <a:pt x="10" y="130"/>
                  </a:lnTo>
                  <a:lnTo>
                    <a:pt x="10" y="132"/>
                  </a:lnTo>
                  <a:lnTo>
                    <a:pt x="12" y="132"/>
                  </a:lnTo>
                  <a:lnTo>
                    <a:pt x="14" y="132"/>
                  </a:lnTo>
                  <a:lnTo>
                    <a:pt x="18" y="130"/>
                  </a:lnTo>
                  <a:lnTo>
                    <a:pt x="24" y="128"/>
                  </a:lnTo>
                  <a:lnTo>
                    <a:pt x="28" y="126"/>
                  </a:lnTo>
                  <a:lnTo>
                    <a:pt x="34" y="122"/>
                  </a:lnTo>
                  <a:lnTo>
                    <a:pt x="38" y="120"/>
                  </a:lnTo>
                  <a:lnTo>
                    <a:pt x="40" y="116"/>
                  </a:lnTo>
                  <a:lnTo>
                    <a:pt x="40" y="114"/>
                  </a:lnTo>
                  <a:lnTo>
                    <a:pt x="44" y="110"/>
                  </a:lnTo>
                  <a:lnTo>
                    <a:pt x="46" y="110"/>
                  </a:lnTo>
                  <a:lnTo>
                    <a:pt x="48" y="112"/>
                  </a:lnTo>
                  <a:lnTo>
                    <a:pt x="50" y="112"/>
                  </a:lnTo>
                  <a:lnTo>
                    <a:pt x="52" y="112"/>
                  </a:lnTo>
                  <a:lnTo>
                    <a:pt x="54" y="112"/>
                  </a:lnTo>
                  <a:lnTo>
                    <a:pt x="56" y="112"/>
                  </a:lnTo>
                  <a:lnTo>
                    <a:pt x="58" y="114"/>
                  </a:lnTo>
                  <a:lnTo>
                    <a:pt x="60" y="114"/>
                  </a:lnTo>
                  <a:lnTo>
                    <a:pt x="64" y="114"/>
                  </a:lnTo>
                  <a:lnTo>
                    <a:pt x="68" y="116"/>
                  </a:lnTo>
                  <a:lnTo>
                    <a:pt x="70" y="114"/>
                  </a:lnTo>
                  <a:lnTo>
                    <a:pt x="70" y="98"/>
                  </a:lnTo>
                  <a:lnTo>
                    <a:pt x="72" y="96"/>
                  </a:lnTo>
                  <a:lnTo>
                    <a:pt x="76" y="94"/>
                  </a:lnTo>
                  <a:lnTo>
                    <a:pt x="78" y="92"/>
                  </a:lnTo>
                  <a:lnTo>
                    <a:pt x="78" y="90"/>
                  </a:lnTo>
                  <a:lnTo>
                    <a:pt x="80" y="86"/>
                  </a:lnTo>
                  <a:lnTo>
                    <a:pt x="82" y="84"/>
                  </a:lnTo>
                  <a:lnTo>
                    <a:pt x="84" y="82"/>
                  </a:lnTo>
                  <a:lnTo>
                    <a:pt x="86" y="78"/>
                  </a:lnTo>
                  <a:lnTo>
                    <a:pt x="88" y="76"/>
                  </a:lnTo>
                  <a:lnTo>
                    <a:pt x="90" y="74"/>
                  </a:lnTo>
                  <a:lnTo>
                    <a:pt x="96" y="72"/>
                  </a:lnTo>
                  <a:lnTo>
                    <a:pt x="102" y="70"/>
                  </a:lnTo>
                  <a:lnTo>
                    <a:pt x="102" y="68"/>
                  </a:lnTo>
                  <a:lnTo>
                    <a:pt x="104" y="68"/>
                  </a:lnTo>
                  <a:lnTo>
                    <a:pt x="106" y="68"/>
                  </a:lnTo>
                  <a:lnTo>
                    <a:pt x="108" y="66"/>
                  </a:lnTo>
                  <a:lnTo>
                    <a:pt x="112" y="64"/>
                  </a:lnTo>
                  <a:lnTo>
                    <a:pt x="112" y="62"/>
                  </a:lnTo>
                  <a:lnTo>
                    <a:pt x="110" y="62"/>
                  </a:lnTo>
                  <a:lnTo>
                    <a:pt x="108" y="58"/>
                  </a:lnTo>
                  <a:lnTo>
                    <a:pt x="106" y="58"/>
                  </a:lnTo>
                  <a:lnTo>
                    <a:pt x="104" y="58"/>
                  </a:lnTo>
                  <a:lnTo>
                    <a:pt x="102" y="58"/>
                  </a:lnTo>
                  <a:lnTo>
                    <a:pt x="100" y="56"/>
                  </a:lnTo>
                  <a:lnTo>
                    <a:pt x="98" y="54"/>
                  </a:lnTo>
                  <a:lnTo>
                    <a:pt x="98" y="48"/>
                  </a:lnTo>
                  <a:lnTo>
                    <a:pt x="100" y="46"/>
                  </a:lnTo>
                  <a:lnTo>
                    <a:pt x="100" y="44"/>
                  </a:lnTo>
                  <a:lnTo>
                    <a:pt x="98" y="44"/>
                  </a:lnTo>
                  <a:lnTo>
                    <a:pt x="96" y="42"/>
                  </a:lnTo>
                  <a:lnTo>
                    <a:pt x="94" y="40"/>
                  </a:lnTo>
                  <a:lnTo>
                    <a:pt x="92" y="38"/>
                  </a:lnTo>
                  <a:lnTo>
                    <a:pt x="92" y="32"/>
                  </a:lnTo>
                  <a:lnTo>
                    <a:pt x="88" y="30"/>
                  </a:lnTo>
                  <a:lnTo>
                    <a:pt x="84" y="26"/>
                  </a:lnTo>
                  <a:lnTo>
                    <a:pt x="82" y="28"/>
                  </a:lnTo>
                  <a:lnTo>
                    <a:pt x="80" y="28"/>
                  </a:lnTo>
                  <a:lnTo>
                    <a:pt x="78" y="26"/>
                  </a:lnTo>
                  <a:lnTo>
                    <a:pt x="78" y="24"/>
                  </a:lnTo>
                  <a:lnTo>
                    <a:pt x="76" y="24"/>
                  </a:lnTo>
                  <a:lnTo>
                    <a:pt x="72" y="18"/>
                  </a:lnTo>
                  <a:lnTo>
                    <a:pt x="70" y="14"/>
                  </a:lnTo>
                  <a:lnTo>
                    <a:pt x="70" y="12"/>
                  </a:lnTo>
                  <a:lnTo>
                    <a:pt x="68" y="10"/>
                  </a:lnTo>
                  <a:lnTo>
                    <a:pt x="68" y="8"/>
                  </a:lnTo>
                  <a:lnTo>
                    <a:pt x="66" y="8"/>
                  </a:lnTo>
                  <a:lnTo>
                    <a:pt x="64" y="4"/>
                  </a:lnTo>
                  <a:lnTo>
                    <a:pt x="64" y="0"/>
                  </a:lnTo>
                  <a:lnTo>
                    <a:pt x="62" y="0"/>
                  </a:lnTo>
                  <a:lnTo>
                    <a:pt x="60" y="2"/>
                  </a:lnTo>
                  <a:lnTo>
                    <a:pt x="58" y="4"/>
                  </a:lnTo>
                  <a:lnTo>
                    <a:pt x="58" y="6"/>
                  </a:lnTo>
                  <a:lnTo>
                    <a:pt x="56" y="4"/>
                  </a:lnTo>
                  <a:lnTo>
                    <a:pt x="54" y="4"/>
                  </a:lnTo>
                  <a:lnTo>
                    <a:pt x="52" y="4"/>
                  </a:lnTo>
                  <a:lnTo>
                    <a:pt x="52" y="6"/>
                  </a:lnTo>
                  <a:lnTo>
                    <a:pt x="50" y="8"/>
                  </a:lnTo>
                  <a:lnTo>
                    <a:pt x="48" y="6"/>
                  </a:lnTo>
                  <a:lnTo>
                    <a:pt x="22" y="10"/>
                  </a:lnTo>
                  <a:lnTo>
                    <a:pt x="14" y="10"/>
                  </a:lnTo>
                  <a:lnTo>
                    <a:pt x="14" y="56"/>
                  </a:lnTo>
                  <a:lnTo>
                    <a:pt x="2" y="56"/>
                  </a:lnTo>
                  <a:lnTo>
                    <a:pt x="0" y="10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4" name="Freeform 672">
              <a:extLst>
                <a:ext uri="{FF2B5EF4-FFF2-40B4-BE49-F238E27FC236}">
                  <a16:creationId xmlns:a16="http://schemas.microsoft.com/office/drawing/2014/main" id="{11D36B86-B0ED-488A-AF7F-4130EC1D26AA}"/>
                </a:ext>
              </a:extLst>
            </p:cNvPr>
            <p:cNvSpPr>
              <a:spLocks/>
            </p:cNvSpPr>
            <p:nvPr/>
          </p:nvSpPr>
          <p:spPr bwMode="gray">
            <a:xfrm>
              <a:off x="4715742" y="3062274"/>
              <a:ext cx="84751" cy="80045"/>
            </a:xfrm>
            <a:custGeom>
              <a:avLst/>
              <a:gdLst>
                <a:gd name="T0" fmla="*/ 2147483647 w 46"/>
                <a:gd name="T1" fmla="*/ 2147483647 h 44"/>
                <a:gd name="T2" fmla="*/ 2147483647 w 46"/>
                <a:gd name="T3" fmla="*/ 2147483647 h 44"/>
                <a:gd name="T4" fmla="*/ 2147483647 w 46"/>
                <a:gd name="T5" fmla="*/ 2147483647 h 44"/>
                <a:gd name="T6" fmla="*/ 2147483647 w 46"/>
                <a:gd name="T7" fmla="*/ 2147483647 h 44"/>
                <a:gd name="T8" fmla="*/ 2147483647 w 46"/>
                <a:gd name="T9" fmla="*/ 2147483647 h 44"/>
                <a:gd name="T10" fmla="*/ 2147483647 w 46"/>
                <a:gd name="T11" fmla="*/ 2147483647 h 44"/>
                <a:gd name="T12" fmla="*/ 2147483647 w 46"/>
                <a:gd name="T13" fmla="*/ 2147483647 h 44"/>
                <a:gd name="T14" fmla="*/ 2147483647 w 46"/>
                <a:gd name="T15" fmla="*/ 2147483647 h 44"/>
                <a:gd name="T16" fmla="*/ 2147483647 w 46"/>
                <a:gd name="T17" fmla="*/ 2147483647 h 44"/>
                <a:gd name="T18" fmla="*/ 2147483647 w 46"/>
                <a:gd name="T19" fmla="*/ 2147483647 h 44"/>
                <a:gd name="T20" fmla="*/ 2147483647 w 46"/>
                <a:gd name="T21" fmla="*/ 2147483647 h 44"/>
                <a:gd name="T22" fmla="*/ 2147483647 w 46"/>
                <a:gd name="T23" fmla="*/ 2147483647 h 44"/>
                <a:gd name="T24" fmla="*/ 2147483647 w 46"/>
                <a:gd name="T25" fmla="*/ 2147483647 h 44"/>
                <a:gd name="T26" fmla="*/ 2147483647 w 46"/>
                <a:gd name="T27" fmla="*/ 2147483647 h 44"/>
                <a:gd name="T28" fmla="*/ 2147483647 w 46"/>
                <a:gd name="T29" fmla="*/ 2147483647 h 44"/>
                <a:gd name="T30" fmla="*/ 2147483647 w 46"/>
                <a:gd name="T31" fmla="*/ 2147483647 h 44"/>
                <a:gd name="T32" fmla="*/ 2147483647 w 46"/>
                <a:gd name="T33" fmla="*/ 2147483647 h 44"/>
                <a:gd name="T34" fmla="*/ 2147483647 w 46"/>
                <a:gd name="T35" fmla="*/ 2147483647 h 44"/>
                <a:gd name="T36" fmla="*/ 2147483647 w 46"/>
                <a:gd name="T37" fmla="*/ 2147483647 h 44"/>
                <a:gd name="T38" fmla="*/ 2147483647 w 46"/>
                <a:gd name="T39" fmla="*/ 2147483647 h 44"/>
                <a:gd name="T40" fmla="*/ 2147483647 w 46"/>
                <a:gd name="T41" fmla="*/ 2147483647 h 44"/>
                <a:gd name="T42" fmla="*/ 2147483647 w 46"/>
                <a:gd name="T43" fmla="*/ 2147483647 h 44"/>
                <a:gd name="T44" fmla="*/ 2147483647 w 46"/>
                <a:gd name="T45" fmla="*/ 2147483647 h 44"/>
                <a:gd name="T46" fmla="*/ 2147483647 w 46"/>
                <a:gd name="T47" fmla="*/ 2147483647 h 44"/>
                <a:gd name="T48" fmla="*/ 2147483647 w 46"/>
                <a:gd name="T49" fmla="*/ 0 h 44"/>
                <a:gd name="T50" fmla="*/ 2147483647 w 46"/>
                <a:gd name="T51" fmla="*/ 0 h 44"/>
                <a:gd name="T52" fmla="*/ 0 w 46"/>
                <a:gd name="T53" fmla="*/ 2147483647 h 44"/>
                <a:gd name="T54" fmla="*/ 0 w 46"/>
                <a:gd name="T55" fmla="*/ 2147483647 h 44"/>
                <a:gd name="T56" fmla="*/ 2147483647 w 46"/>
                <a:gd name="T57" fmla="*/ 2147483647 h 44"/>
                <a:gd name="T58" fmla="*/ 2147483647 w 46"/>
                <a:gd name="T59" fmla="*/ 2147483647 h 44"/>
                <a:gd name="T60" fmla="*/ 2147483647 w 46"/>
                <a:gd name="T61" fmla="*/ 2147483647 h 44"/>
                <a:gd name="T62" fmla="*/ 2147483647 w 46"/>
                <a:gd name="T63" fmla="*/ 2147483647 h 44"/>
                <a:gd name="T64" fmla="*/ 2147483647 w 46"/>
                <a:gd name="T65" fmla="*/ 2147483647 h 44"/>
                <a:gd name="T66" fmla="*/ 2147483647 w 46"/>
                <a:gd name="T67" fmla="*/ 2147483647 h 44"/>
                <a:gd name="T68" fmla="*/ 2147483647 w 46"/>
                <a:gd name="T69" fmla="*/ 2147483647 h 44"/>
                <a:gd name="T70" fmla="*/ 2147483647 w 46"/>
                <a:gd name="T71" fmla="*/ 2147483647 h 44"/>
                <a:gd name="T72" fmla="*/ 2147483647 w 46"/>
                <a:gd name="T73" fmla="*/ 2147483647 h 44"/>
                <a:gd name="T74" fmla="*/ 2147483647 w 46"/>
                <a:gd name="T75" fmla="*/ 2147483647 h 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
                <a:gd name="T115" fmla="*/ 0 h 44"/>
                <a:gd name="T116" fmla="*/ 46 w 46"/>
                <a:gd name="T117" fmla="*/ 44 h 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 h="44">
                  <a:moveTo>
                    <a:pt x="32" y="44"/>
                  </a:moveTo>
                  <a:lnTo>
                    <a:pt x="32" y="44"/>
                  </a:lnTo>
                  <a:lnTo>
                    <a:pt x="32" y="42"/>
                  </a:lnTo>
                  <a:lnTo>
                    <a:pt x="32" y="40"/>
                  </a:lnTo>
                  <a:lnTo>
                    <a:pt x="32" y="36"/>
                  </a:lnTo>
                  <a:lnTo>
                    <a:pt x="32" y="34"/>
                  </a:lnTo>
                  <a:lnTo>
                    <a:pt x="38" y="32"/>
                  </a:lnTo>
                  <a:lnTo>
                    <a:pt x="40" y="28"/>
                  </a:lnTo>
                  <a:lnTo>
                    <a:pt x="44" y="28"/>
                  </a:lnTo>
                  <a:lnTo>
                    <a:pt x="46" y="26"/>
                  </a:lnTo>
                  <a:lnTo>
                    <a:pt x="44" y="24"/>
                  </a:lnTo>
                  <a:lnTo>
                    <a:pt x="42" y="22"/>
                  </a:lnTo>
                  <a:lnTo>
                    <a:pt x="40" y="22"/>
                  </a:lnTo>
                  <a:lnTo>
                    <a:pt x="40" y="20"/>
                  </a:lnTo>
                  <a:lnTo>
                    <a:pt x="42" y="20"/>
                  </a:lnTo>
                  <a:lnTo>
                    <a:pt x="44" y="18"/>
                  </a:lnTo>
                  <a:lnTo>
                    <a:pt x="44" y="16"/>
                  </a:lnTo>
                  <a:lnTo>
                    <a:pt x="42" y="12"/>
                  </a:lnTo>
                  <a:lnTo>
                    <a:pt x="42" y="8"/>
                  </a:lnTo>
                  <a:lnTo>
                    <a:pt x="36" y="10"/>
                  </a:lnTo>
                  <a:lnTo>
                    <a:pt x="34" y="8"/>
                  </a:lnTo>
                  <a:lnTo>
                    <a:pt x="32" y="8"/>
                  </a:lnTo>
                  <a:lnTo>
                    <a:pt x="30" y="6"/>
                  </a:lnTo>
                  <a:lnTo>
                    <a:pt x="24" y="2"/>
                  </a:lnTo>
                  <a:lnTo>
                    <a:pt x="22" y="2"/>
                  </a:lnTo>
                  <a:lnTo>
                    <a:pt x="18" y="4"/>
                  </a:lnTo>
                  <a:lnTo>
                    <a:pt x="16" y="6"/>
                  </a:lnTo>
                  <a:lnTo>
                    <a:pt x="14" y="4"/>
                  </a:lnTo>
                  <a:lnTo>
                    <a:pt x="12" y="2"/>
                  </a:lnTo>
                  <a:lnTo>
                    <a:pt x="10" y="2"/>
                  </a:lnTo>
                  <a:lnTo>
                    <a:pt x="8" y="2"/>
                  </a:lnTo>
                  <a:lnTo>
                    <a:pt x="8" y="4"/>
                  </a:lnTo>
                  <a:lnTo>
                    <a:pt x="6" y="2"/>
                  </a:lnTo>
                  <a:lnTo>
                    <a:pt x="4" y="0"/>
                  </a:lnTo>
                  <a:lnTo>
                    <a:pt x="2" y="0"/>
                  </a:lnTo>
                  <a:lnTo>
                    <a:pt x="0" y="2"/>
                  </a:lnTo>
                  <a:lnTo>
                    <a:pt x="0" y="6"/>
                  </a:lnTo>
                  <a:lnTo>
                    <a:pt x="4" y="8"/>
                  </a:lnTo>
                  <a:lnTo>
                    <a:pt x="6" y="16"/>
                  </a:lnTo>
                  <a:lnTo>
                    <a:pt x="6" y="18"/>
                  </a:lnTo>
                  <a:lnTo>
                    <a:pt x="12" y="26"/>
                  </a:lnTo>
                  <a:lnTo>
                    <a:pt x="18" y="30"/>
                  </a:lnTo>
                  <a:lnTo>
                    <a:pt x="20" y="34"/>
                  </a:lnTo>
                  <a:lnTo>
                    <a:pt x="22" y="36"/>
                  </a:lnTo>
                  <a:lnTo>
                    <a:pt x="22" y="38"/>
                  </a:lnTo>
                  <a:lnTo>
                    <a:pt x="24" y="38"/>
                  </a:lnTo>
                  <a:lnTo>
                    <a:pt x="26" y="38"/>
                  </a:lnTo>
                  <a:lnTo>
                    <a:pt x="30" y="42"/>
                  </a:lnTo>
                  <a:lnTo>
                    <a:pt x="32" y="4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5" name="Freeform 673">
              <a:extLst>
                <a:ext uri="{FF2B5EF4-FFF2-40B4-BE49-F238E27FC236}">
                  <a16:creationId xmlns:a16="http://schemas.microsoft.com/office/drawing/2014/main" id="{1301F740-89CF-43AB-BDA4-6684DFDC8ACA}"/>
                </a:ext>
              </a:extLst>
            </p:cNvPr>
            <p:cNvSpPr>
              <a:spLocks noEditPoints="1"/>
            </p:cNvSpPr>
            <p:nvPr/>
          </p:nvSpPr>
          <p:spPr bwMode="gray">
            <a:xfrm>
              <a:off x="2917144" y="4569020"/>
              <a:ext cx="251898" cy="315475"/>
            </a:xfrm>
            <a:custGeom>
              <a:avLst/>
              <a:gdLst>
                <a:gd name="T0" fmla="*/ 2147483647 w 136"/>
                <a:gd name="T1" fmla="*/ 2147483647 h 170"/>
                <a:gd name="T2" fmla="*/ 2147483647 w 136"/>
                <a:gd name="T3" fmla="*/ 2147483647 h 170"/>
                <a:gd name="T4" fmla="*/ 2147483647 w 136"/>
                <a:gd name="T5" fmla="*/ 2147483647 h 170"/>
                <a:gd name="T6" fmla="*/ 2147483647 w 136"/>
                <a:gd name="T7" fmla="*/ 2147483647 h 170"/>
                <a:gd name="T8" fmla="*/ 2147483647 w 136"/>
                <a:gd name="T9" fmla="*/ 2147483647 h 170"/>
                <a:gd name="T10" fmla="*/ 2147483647 w 136"/>
                <a:gd name="T11" fmla="*/ 2147483647 h 170"/>
                <a:gd name="T12" fmla="*/ 2147483647 w 136"/>
                <a:gd name="T13" fmla="*/ 2147483647 h 170"/>
                <a:gd name="T14" fmla="*/ 2147483647 w 136"/>
                <a:gd name="T15" fmla="*/ 2147483647 h 170"/>
                <a:gd name="T16" fmla="*/ 2147483647 w 136"/>
                <a:gd name="T17" fmla="*/ 2147483647 h 170"/>
                <a:gd name="T18" fmla="*/ 2147483647 w 136"/>
                <a:gd name="T19" fmla="*/ 2147483647 h 170"/>
                <a:gd name="T20" fmla="*/ 2147483647 w 136"/>
                <a:gd name="T21" fmla="*/ 2147483647 h 170"/>
                <a:gd name="T22" fmla="*/ 2147483647 w 136"/>
                <a:gd name="T23" fmla="*/ 2147483647 h 170"/>
                <a:gd name="T24" fmla="*/ 2147483647 w 136"/>
                <a:gd name="T25" fmla="*/ 2147483647 h 170"/>
                <a:gd name="T26" fmla="*/ 2147483647 w 136"/>
                <a:gd name="T27" fmla="*/ 2147483647 h 170"/>
                <a:gd name="T28" fmla="*/ 2147483647 w 136"/>
                <a:gd name="T29" fmla="*/ 2147483647 h 170"/>
                <a:gd name="T30" fmla="*/ 2147483647 w 136"/>
                <a:gd name="T31" fmla="*/ 2147483647 h 170"/>
                <a:gd name="T32" fmla="*/ 2147483647 w 136"/>
                <a:gd name="T33" fmla="*/ 2147483647 h 170"/>
                <a:gd name="T34" fmla="*/ 2147483647 w 136"/>
                <a:gd name="T35" fmla="*/ 2147483647 h 170"/>
                <a:gd name="T36" fmla="*/ 2147483647 w 136"/>
                <a:gd name="T37" fmla="*/ 2147483647 h 170"/>
                <a:gd name="T38" fmla="*/ 2147483647 w 136"/>
                <a:gd name="T39" fmla="*/ 2147483647 h 170"/>
                <a:gd name="T40" fmla="*/ 2147483647 w 136"/>
                <a:gd name="T41" fmla="*/ 2147483647 h 170"/>
                <a:gd name="T42" fmla="*/ 2147483647 w 136"/>
                <a:gd name="T43" fmla="*/ 2147483647 h 170"/>
                <a:gd name="T44" fmla="*/ 2147483647 w 136"/>
                <a:gd name="T45" fmla="*/ 2147483647 h 170"/>
                <a:gd name="T46" fmla="*/ 2147483647 w 136"/>
                <a:gd name="T47" fmla="*/ 2147483647 h 170"/>
                <a:gd name="T48" fmla="*/ 2147483647 w 136"/>
                <a:gd name="T49" fmla="*/ 2147483647 h 170"/>
                <a:gd name="T50" fmla="*/ 2147483647 w 136"/>
                <a:gd name="T51" fmla="*/ 2147483647 h 170"/>
                <a:gd name="T52" fmla="*/ 2147483647 w 136"/>
                <a:gd name="T53" fmla="*/ 2147483647 h 170"/>
                <a:gd name="T54" fmla="*/ 2147483647 w 136"/>
                <a:gd name="T55" fmla="*/ 2147483647 h 170"/>
                <a:gd name="T56" fmla="*/ 2147483647 w 136"/>
                <a:gd name="T57" fmla="*/ 2147483647 h 170"/>
                <a:gd name="T58" fmla="*/ 2147483647 w 136"/>
                <a:gd name="T59" fmla="*/ 2147483647 h 170"/>
                <a:gd name="T60" fmla="*/ 2147483647 w 136"/>
                <a:gd name="T61" fmla="*/ 2147483647 h 170"/>
                <a:gd name="T62" fmla="*/ 2147483647 w 136"/>
                <a:gd name="T63" fmla="*/ 2147483647 h 170"/>
                <a:gd name="T64" fmla="*/ 2147483647 w 136"/>
                <a:gd name="T65" fmla="*/ 2147483647 h 170"/>
                <a:gd name="T66" fmla="*/ 2147483647 w 136"/>
                <a:gd name="T67" fmla="*/ 2147483647 h 170"/>
                <a:gd name="T68" fmla="*/ 2147483647 w 136"/>
                <a:gd name="T69" fmla="*/ 2147483647 h 170"/>
                <a:gd name="T70" fmla="*/ 2147483647 w 136"/>
                <a:gd name="T71" fmla="*/ 2147483647 h 170"/>
                <a:gd name="T72" fmla="*/ 2147483647 w 136"/>
                <a:gd name="T73" fmla="*/ 2147483647 h 170"/>
                <a:gd name="T74" fmla="*/ 2147483647 w 136"/>
                <a:gd name="T75" fmla="*/ 2147483647 h 170"/>
                <a:gd name="T76" fmla="*/ 2147483647 w 136"/>
                <a:gd name="T77" fmla="*/ 0 h 170"/>
                <a:gd name="T78" fmla="*/ 2147483647 w 136"/>
                <a:gd name="T79" fmla="*/ 2147483647 h 170"/>
                <a:gd name="T80" fmla="*/ 2147483647 w 136"/>
                <a:gd name="T81" fmla="*/ 2147483647 h 170"/>
                <a:gd name="T82" fmla="*/ 2147483647 w 136"/>
                <a:gd name="T83" fmla="*/ 2147483647 h 170"/>
                <a:gd name="T84" fmla="*/ 2147483647 w 136"/>
                <a:gd name="T85" fmla="*/ 2147483647 h 170"/>
                <a:gd name="T86" fmla="*/ 2147483647 w 136"/>
                <a:gd name="T87" fmla="*/ 2147483647 h 170"/>
                <a:gd name="T88" fmla="*/ 2147483647 w 136"/>
                <a:gd name="T89" fmla="*/ 2147483647 h 170"/>
                <a:gd name="T90" fmla="*/ 2147483647 w 136"/>
                <a:gd name="T91" fmla="*/ 2147483647 h 170"/>
                <a:gd name="T92" fmla="*/ 2147483647 w 136"/>
                <a:gd name="T93" fmla="*/ 2147483647 h 170"/>
                <a:gd name="T94" fmla="*/ 2147483647 w 136"/>
                <a:gd name="T95" fmla="*/ 2147483647 h 170"/>
                <a:gd name="T96" fmla="*/ 2147483647 w 136"/>
                <a:gd name="T97" fmla="*/ 2147483647 h 170"/>
                <a:gd name="T98" fmla="*/ 2147483647 w 136"/>
                <a:gd name="T99" fmla="*/ 2147483647 h 170"/>
                <a:gd name="T100" fmla="*/ 2147483647 w 136"/>
                <a:gd name="T101" fmla="*/ 2147483647 h 170"/>
                <a:gd name="T102" fmla="*/ 2147483647 w 136"/>
                <a:gd name="T103" fmla="*/ 2147483647 h 170"/>
                <a:gd name="T104" fmla="*/ 2147483647 w 136"/>
                <a:gd name="T105" fmla="*/ 2147483647 h 1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6"/>
                <a:gd name="T160" fmla="*/ 0 h 170"/>
                <a:gd name="T161" fmla="*/ 136 w 136"/>
                <a:gd name="T162" fmla="*/ 170 h 1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6" h="170">
                  <a:moveTo>
                    <a:pt x="6" y="72"/>
                  </a:moveTo>
                  <a:lnTo>
                    <a:pt x="10" y="76"/>
                  </a:lnTo>
                  <a:lnTo>
                    <a:pt x="14" y="80"/>
                  </a:lnTo>
                  <a:lnTo>
                    <a:pt x="8" y="78"/>
                  </a:lnTo>
                  <a:lnTo>
                    <a:pt x="8" y="80"/>
                  </a:lnTo>
                  <a:lnTo>
                    <a:pt x="8" y="84"/>
                  </a:lnTo>
                  <a:lnTo>
                    <a:pt x="2" y="94"/>
                  </a:lnTo>
                  <a:lnTo>
                    <a:pt x="4" y="100"/>
                  </a:lnTo>
                  <a:lnTo>
                    <a:pt x="6" y="106"/>
                  </a:lnTo>
                  <a:lnTo>
                    <a:pt x="8" y="114"/>
                  </a:lnTo>
                  <a:lnTo>
                    <a:pt x="12" y="118"/>
                  </a:lnTo>
                  <a:lnTo>
                    <a:pt x="14" y="120"/>
                  </a:lnTo>
                  <a:lnTo>
                    <a:pt x="18" y="130"/>
                  </a:lnTo>
                  <a:lnTo>
                    <a:pt x="18" y="136"/>
                  </a:lnTo>
                  <a:lnTo>
                    <a:pt x="20" y="142"/>
                  </a:lnTo>
                  <a:lnTo>
                    <a:pt x="22" y="148"/>
                  </a:lnTo>
                  <a:lnTo>
                    <a:pt x="22" y="154"/>
                  </a:lnTo>
                  <a:lnTo>
                    <a:pt x="22" y="164"/>
                  </a:lnTo>
                  <a:lnTo>
                    <a:pt x="30" y="166"/>
                  </a:lnTo>
                  <a:lnTo>
                    <a:pt x="38" y="160"/>
                  </a:lnTo>
                  <a:lnTo>
                    <a:pt x="42" y="160"/>
                  </a:lnTo>
                  <a:lnTo>
                    <a:pt x="48" y="162"/>
                  </a:lnTo>
                  <a:lnTo>
                    <a:pt x="56" y="162"/>
                  </a:lnTo>
                  <a:lnTo>
                    <a:pt x="60" y="168"/>
                  </a:lnTo>
                  <a:lnTo>
                    <a:pt x="60" y="170"/>
                  </a:lnTo>
                  <a:lnTo>
                    <a:pt x="64" y="164"/>
                  </a:lnTo>
                  <a:lnTo>
                    <a:pt x="66" y="160"/>
                  </a:lnTo>
                  <a:lnTo>
                    <a:pt x="68" y="162"/>
                  </a:lnTo>
                  <a:lnTo>
                    <a:pt x="84" y="162"/>
                  </a:lnTo>
                  <a:lnTo>
                    <a:pt x="92" y="146"/>
                  </a:lnTo>
                  <a:lnTo>
                    <a:pt x="92" y="142"/>
                  </a:lnTo>
                  <a:lnTo>
                    <a:pt x="94" y="138"/>
                  </a:lnTo>
                  <a:lnTo>
                    <a:pt x="96" y="134"/>
                  </a:lnTo>
                  <a:lnTo>
                    <a:pt x="98" y="128"/>
                  </a:lnTo>
                  <a:lnTo>
                    <a:pt x="102" y="124"/>
                  </a:lnTo>
                  <a:lnTo>
                    <a:pt x="116" y="122"/>
                  </a:lnTo>
                  <a:lnTo>
                    <a:pt x="126" y="124"/>
                  </a:lnTo>
                  <a:lnTo>
                    <a:pt x="132" y="130"/>
                  </a:lnTo>
                  <a:lnTo>
                    <a:pt x="136" y="128"/>
                  </a:lnTo>
                  <a:lnTo>
                    <a:pt x="132" y="126"/>
                  </a:lnTo>
                  <a:lnTo>
                    <a:pt x="134" y="120"/>
                  </a:lnTo>
                  <a:lnTo>
                    <a:pt x="136" y="110"/>
                  </a:lnTo>
                  <a:lnTo>
                    <a:pt x="136" y="106"/>
                  </a:lnTo>
                  <a:lnTo>
                    <a:pt x="136" y="104"/>
                  </a:lnTo>
                  <a:lnTo>
                    <a:pt x="134" y="100"/>
                  </a:lnTo>
                  <a:lnTo>
                    <a:pt x="130" y="96"/>
                  </a:lnTo>
                  <a:lnTo>
                    <a:pt x="128" y="94"/>
                  </a:lnTo>
                  <a:lnTo>
                    <a:pt x="126" y="88"/>
                  </a:lnTo>
                  <a:lnTo>
                    <a:pt x="126" y="84"/>
                  </a:lnTo>
                  <a:lnTo>
                    <a:pt x="128" y="82"/>
                  </a:lnTo>
                  <a:lnTo>
                    <a:pt x="110" y="82"/>
                  </a:lnTo>
                  <a:lnTo>
                    <a:pt x="110" y="80"/>
                  </a:lnTo>
                  <a:lnTo>
                    <a:pt x="108" y="76"/>
                  </a:lnTo>
                  <a:lnTo>
                    <a:pt x="106" y="70"/>
                  </a:lnTo>
                  <a:lnTo>
                    <a:pt x="106" y="66"/>
                  </a:lnTo>
                  <a:lnTo>
                    <a:pt x="110" y="60"/>
                  </a:lnTo>
                  <a:lnTo>
                    <a:pt x="108" y="54"/>
                  </a:lnTo>
                  <a:lnTo>
                    <a:pt x="106" y="48"/>
                  </a:lnTo>
                  <a:lnTo>
                    <a:pt x="104" y="44"/>
                  </a:lnTo>
                  <a:lnTo>
                    <a:pt x="102" y="42"/>
                  </a:lnTo>
                  <a:lnTo>
                    <a:pt x="100" y="42"/>
                  </a:lnTo>
                  <a:lnTo>
                    <a:pt x="96" y="44"/>
                  </a:lnTo>
                  <a:lnTo>
                    <a:pt x="92" y="42"/>
                  </a:lnTo>
                  <a:lnTo>
                    <a:pt x="88" y="42"/>
                  </a:lnTo>
                  <a:lnTo>
                    <a:pt x="82" y="40"/>
                  </a:lnTo>
                  <a:lnTo>
                    <a:pt x="80" y="36"/>
                  </a:lnTo>
                  <a:lnTo>
                    <a:pt x="76" y="34"/>
                  </a:lnTo>
                  <a:lnTo>
                    <a:pt x="74" y="32"/>
                  </a:lnTo>
                  <a:lnTo>
                    <a:pt x="68" y="28"/>
                  </a:lnTo>
                  <a:lnTo>
                    <a:pt x="64" y="24"/>
                  </a:lnTo>
                  <a:lnTo>
                    <a:pt x="62" y="22"/>
                  </a:lnTo>
                  <a:lnTo>
                    <a:pt x="60" y="24"/>
                  </a:lnTo>
                  <a:lnTo>
                    <a:pt x="58" y="24"/>
                  </a:lnTo>
                  <a:lnTo>
                    <a:pt x="52" y="22"/>
                  </a:lnTo>
                  <a:lnTo>
                    <a:pt x="48" y="20"/>
                  </a:lnTo>
                  <a:lnTo>
                    <a:pt x="46" y="16"/>
                  </a:lnTo>
                  <a:lnTo>
                    <a:pt x="46" y="12"/>
                  </a:lnTo>
                  <a:lnTo>
                    <a:pt x="48" y="8"/>
                  </a:lnTo>
                  <a:lnTo>
                    <a:pt x="50" y="4"/>
                  </a:lnTo>
                  <a:lnTo>
                    <a:pt x="48" y="0"/>
                  </a:lnTo>
                  <a:lnTo>
                    <a:pt x="42" y="0"/>
                  </a:lnTo>
                  <a:lnTo>
                    <a:pt x="36" y="2"/>
                  </a:lnTo>
                  <a:lnTo>
                    <a:pt x="30" y="4"/>
                  </a:lnTo>
                  <a:lnTo>
                    <a:pt x="26" y="6"/>
                  </a:lnTo>
                  <a:lnTo>
                    <a:pt x="22" y="12"/>
                  </a:lnTo>
                  <a:lnTo>
                    <a:pt x="18" y="18"/>
                  </a:lnTo>
                  <a:lnTo>
                    <a:pt x="14" y="18"/>
                  </a:lnTo>
                  <a:lnTo>
                    <a:pt x="12" y="20"/>
                  </a:lnTo>
                  <a:lnTo>
                    <a:pt x="12" y="22"/>
                  </a:lnTo>
                  <a:lnTo>
                    <a:pt x="12" y="24"/>
                  </a:lnTo>
                  <a:lnTo>
                    <a:pt x="10" y="24"/>
                  </a:lnTo>
                  <a:lnTo>
                    <a:pt x="6" y="26"/>
                  </a:lnTo>
                  <a:lnTo>
                    <a:pt x="4" y="24"/>
                  </a:lnTo>
                  <a:lnTo>
                    <a:pt x="2" y="24"/>
                  </a:lnTo>
                  <a:lnTo>
                    <a:pt x="0" y="24"/>
                  </a:lnTo>
                  <a:lnTo>
                    <a:pt x="6" y="38"/>
                  </a:lnTo>
                  <a:lnTo>
                    <a:pt x="4" y="48"/>
                  </a:lnTo>
                  <a:lnTo>
                    <a:pt x="2" y="50"/>
                  </a:lnTo>
                  <a:lnTo>
                    <a:pt x="2" y="56"/>
                  </a:lnTo>
                  <a:lnTo>
                    <a:pt x="6" y="64"/>
                  </a:lnTo>
                  <a:lnTo>
                    <a:pt x="4" y="66"/>
                  </a:lnTo>
                  <a:lnTo>
                    <a:pt x="4" y="68"/>
                  </a:lnTo>
                  <a:lnTo>
                    <a:pt x="6" y="72"/>
                  </a:lnTo>
                  <a:close/>
                  <a:moveTo>
                    <a:pt x="32" y="116"/>
                  </a:moveTo>
                  <a:lnTo>
                    <a:pt x="32" y="116"/>
                  </a:lnTo>
                  <a:lnTo>
                    <a:pt x="34" y="120"/>
                  </a:lnTo>
                  <a:lnTo>
                    <a:pt x="34" y="124"/>
                  </a:lnTo>
                  <a:lnTo>
                    <a:pt x="32" y="122"/>
                  </a:lnTo>
                  <a:lnTo>
                    <a:pt x="30" y="118"/>
                  </a:lnTo>
                  <a:lnTo>
                    <a:pt x="30" y="116"/>
                  </a:lnTo>
                  <a:lnTo>
                    <a:pt x="32" y="11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6" name="Freeform 674">
              <a:extLst>
                <a:ext uri="{FF2B5EF4-FFF2-40B4-BE49-F238E27FC236}">
                  <a16:creationId xmlns:a16="http://schemas.microsoft.com/office/drawing/2014/main" id="{8780B004-6660-498F-9F58-9193779B2F62}"/>
                </a:ext>
              </a:extLst>
            </p:cNvPr>
            <p:cNvSpPr>
              <a:spLocks/>
            </p:cNvSpPr>
            <p:nvPr/>
          </p:nvSpPr>
          <p:spPr bwMode="gray">
            <a:xfrm>
              <a:off x="6255376" y="3549613"/>
              <a:ext cx="68272" cy="37670"/>
            </a:xfrm>
            <a:custGeom>
              <a:avLst/>
              <a:gdLst>
                <a:gd name="T0" fmla="*/ 2147483647 w 36"/>
                <a:gd name="T1" fmla="*/ 2147483647 h 20"/>
                <a:gd name="T2" fmla="*/ 0 w 36"/>
                <a:gd name="T3" fmla="*/ 2147483647 h 20"/>
                <a:gd name="T4" fmla="*/ 2147483647 w 36"/>
                <a:gd name="T5" fmla="*/ 2147483647 h 20"/>
                <a:gd name="T6" fmla="*/ 2147483647 w 36"/>
                <a:gd name="T7" fmla="*/ 2147483647 h 20"/>
                <a:gd name="T8" fmla="*/ 2147483647 w 36"/>
                <a:gd name="T9" fmla="*/ 2147483647 h 20"/>
                <a:gd name="T10" fmla="*/ 2147483647 w 36"/>
                <a:gd name="T11" fmla="*/ 2147483647 h 20"/>
                <a:gd name="T12" fmla="*/ 2147483647 w 36"/>
                <a:gd name="T13" fmla="*/ 2147483647 h 20"/>
                <a:gd name="T14" fmla="*/ 2147483647 w 36"/>
                <a:gd name="T15" fmla="*/ 2147483647 h 20"/>
                <a:gd name="T16" fmla="*/ 2147483647 w 36"/>
                <a:gd name="T17" fmla="*/ 2147483647 h 20"/>
                <a:gd name="T18" fmla="*/ 2147483647 w 36"/>
                <a:gd name="T19" fmla="*/ 2147483647 h 20"/>
                <a:gd name="T20" fmla="*/ 2147483647 w 36"/>
                <a:gd name="T21" fmla="*/ 2147483647 h 20"/>
                <a:gd name="T22" fmla="*/ 2147483647 w 36"/>
                <a:gd name="T23" fmla="*/ 2147483647 h 20"/>
                <a:gd name="T24" fmla="*/ 2147483647 w 36"/>
                <a:gd name="T25" fmla="*/ 0 h 20"/>
                <a:gd name="T26" fmla="*/ 2147483647 w 36"/>
                <a:gd name="T27" fmla="*/ 2147483647 h 20"/>
                <a:gd name="T28" fmla="*/ 2147483647 w 36"/>
                <a:gd name="T29" fmla="*/ 2147483647 h 20"/>
                <a:gd name="T30" fmla="*/ 2147483647 w 36"/>
                <a:gd name="T31" fmla="*/ 2147483647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0"/>
                <a:gd name="T50" fmla="*/ 36 w 36"/>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0">
                  <a:moveTo>
                    <a:pt x="2" y="10"/>
                  </a:moveTo>
                  <a:lnTo>
                    <a:pt x="0" y="14"/>
                  </a:lnTo>
                  <a:lnTo>
                    <a:pt x="6" y="20"/>
                  </a:lnTo>
                  <a:lnTo>
                    <a:pt x="10" y="18"/>
                  </a:lnTo>
                  <a:lnTo>
                    <a:pt x="16" y="18"/>
                  </a:lnTo>
                  <a:lnTo>
                    <a:pt x="22" y="20"/>
                  </a:lnTo>
                  <a:lnTo>
                    <a:pt x="32" y="18"/>
                  </a:lnTo>
                  <a:lnTo>
                    <a:pt x="36" y="18"/>
                  </a:lnTo>
                  <a:lnTo>
                    <a:pt x="36" y="12"/>
                  </a:lnTo>
                  <a:lnTo>
                    <a:pt x="34" y="4"/>
                  </a:lnTo>
                  <a:lnTo>
                    <a:pt x="26" y="2"/>
                  </a:lnTo>
                  <a:lnTo>
                    <a:pt x="20" y="2"/>
                  </a:lnTo>
                  <a:lnTo>
                    <a:pt x="14" y="0"/>
                  </a:lnTo>
                  <a:lnTo>
                    <a:pt x="8" y="2"/>
                  </a:lnTo>
                  <a:lnTo>
                    <a:pt x="6" y="4"/>
                  </a:lnTo>
                  <a:lnTo>
                    <a:pt x="2" y="1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7" name="Freeform 675">
              <a:extLst>
                <a:ext uri="{FF2B5EF4-FFF2-40B4-BE49-F238E27FC236}">
                  <a16:creationId xmlns:a16="http://schemas.microsoft.com/office/drawing/2014/main" id="{41C316E9-F88D-4CF2-BE6D-C44292A831DA}"/>
                </a:ext>
              </a:extLst>
            </p:cNvPr>
            <p:cNvSpPr>
              <a:spLocks/>
            </p:cNvSpPr>
            <p:nvPr/>
          </p:nvSpPr>
          <p:spPr bwMode="gray">
            <a:xfrm>
              <a:off x="4402633" y="3956904"/>
              <a:ext cx="58855" cy="174216"/>
            </a:xfrm>
            <a:custGeom>
              <a:avLst/>
              <a:gdLst>
                <a:gd name="T0" fmla="*/ 2147483647 w 32"/>
                <a:gd name="T1" fmla="*/ 2147483647 h 94"/>
                <a:gd name="T2" fmla="*/ 2147483647 w 32"/>
                <a:gd name="T3" fmla="*/ 2147483647 h 94"/>
                <a:gd name="T4" fmla="*/ 2147483647 w 32"/>
                <a:gd name="T5" fmla="*/ 2147483647 h 94"/>
                <a:gd name="T6" fmla="*/ 2147483647 w 32"/>
                <a:gd name="T7" fmla="*/ 2147483647 h 94"/>
                <a:gd name="T8" fmla="*/ 2147483647 w 32"/>
                <a:gd name="T9" fmla="*/ 2147483647 h 94"/>
                <a:gd name="T10" fmla="*/ 2147483647 w 32"/>
                <a:gd name="T11" fmla="*/ 2147483647 h 94"/>
                <a:gd name="T12" fmla="*/ 2147483647 w 32"/>
                <a:gd name="T13" fmla="*/ 2147483647 h 94"/>
                <a:gd name="T14" fmla="*/ 2147483647 w 32"/>
                <a:gd name="T15" fmla="*/ 2147483647 h 94"/>
                <a:gd name="T16" fmla="*/ 2147483647 w 32"/>
                <a:gd name="T17" fmla="*/ 2147483647 h 94"/>
                <a:gd name="T18" fmla="*/ 2147483647 w 32"/>
                <a:gd name="T19" fmla="*/ 2147483647 h 94"/>
                <a:gd name="T20" fmla="*/ 2147483647 w 32"/>
                <a:gd name="T21" fmla="*/ 2147483647 h 94"/>
                <a:gd name="T22" fmla="*/ 2147483647 w 32"/>
                <a:gd name="T23" fmla="*/ 2147483647 h 94"/>
                <a:gd name="T24" fmla="*/ 2147483647 w 32"/>
                <a:gd name="T25" fmla="*/ 2147483647 h 94"/>
                <a:gd name="T26" fmla="*/ 2147483647 w 32"/>
                <a:gd name="T27" fmla="*/ 2147483647 h 94"/>
                <a:gd name="T28" fmla="*/ 2147483647 w 32"/>
                <a:gd name="T29" fmla="*/ 2147483647 h 94"/>
                <a:gd name="T30" fmla="*/ 2147483647 w 32"/>
                <a:gd name="T31" fmla="*/ 2147483647 h 94"/>
                <a:gd name="T32" fmla="*/ 2147483647 w 32"/>
                <a:gd name="T33" fmla="*/ 2147483647 h 94"/>
                <a:gd name="T34" fmla="*/ 2147483647 w 32"/>
                <a:gd name="T35" fmla="*/ 2147483647 h 94"/>
                <a:gd name="T36" fmla="*/ 2147483647 w 32"/>
                <a:gd name="T37" fmla="*/ 2147483647 h 94"/>
                <a:gd name="T38" fmla="*/ 2147483647 w 32"/>
                <a:gd name="T39" fmla="*/ 2147483647 h 94"/>
                <a:gd name="T40" fmla="*/ 2147483647 w 32"/>
                <a:gd name="T41" fmla="*/ 2147483647 h 94"/>
                <a:gd name="T42" fmla="*/ 2147483647 w 32"/>
                <a:gd name="T43" fmla="*/ 2147483647 h 94"/>
                <a:gd name="T44" fmla="*/ 2147483647 w 32"/>
                <a:gd name="T45" fmla="*/ 2147483647 h 94"/>
                <a:gd name="T46" fmla="*/ 2147483647 w 32"/>
                <a:gd name="T47" fmla="*/ 2147483647 h 94"/>
                <a:gd name="T48" fmla="*/ 2147483647 w 32"/>
                <a:gd name="T49" fmla="*/ 0 h 94"/>
                <a:gd name="T50" fmla="*/ 2147483647 w 32"/>
                <a:gd name="T51" fmla="*/ 2147483647 h 94"/>
                <a:gd name="T52" fmla="*/ 2147483647 w 32"/>
                <a:gd name="T53" fmla="*/ 2147483647 h 94"/>
                <a:gd name="T54" fmla="*/ 2147483647 w 32"/>
                <a:gd name="T55" fmla="*/ 2147483647 h 94"/>
                <a:gd name="T56" fmla="*/ 2147483647 w 32"/>
                <a:gd name="T57" fmla="*/ 2147483647 h 94"/>
                <a:gd name="T58" fmla="*/ 2147483647 w 32"/>
                <a:gd name="T59" fmla="*/ 2147483647 h 94"/>
                <a:gd name="T60" fmla="*/ 0 w 32"/>
                <a:gd name="T61" fmla="*/ 2147483647 h 94"/>
                <a:gd name="T62" fmla="*/ 2147483647 w 32"/>
                <a:gd name="T63" fmla="*/ 2147483647 h 94"/>
                <a:gd name="T64" fmla="*/ 2147483647 w 32"/>
                <a:gd name="T65" fmla="*/ 2147483647 h 94"/>
                <a:gd name="T66" fmla="*/ 2147483647 w 32"/>
                <a:gd name="T67" fmla="*/ 2147483647 h 94"/>
                <a:gd name="T68" fmla="*/ 2147483647 w 32"/>
                <a:gd name="T69" fmla="*/ 2147483647 h 94"/>
                <a:gd name="T70" fmla="*/ 2147483647 w 32"/>
                <a:gd name="T71" fmla="*/ 2147483647 h 94"/>
                <a:gd name="T72" fmla="*/ 2147483647 w 32"/>
                <a:gd name="T73" fmla="*/ 2147483647 h 94"/>
                <a:gd name="T74" fmla="*/ 2147483647 w 32"/>
                <a:gd name="T75" fmla="*/ 2147483647 h 94"/>
                <a:gd name="T76" fmla="*/ 2147483647 w 32"/>
                <a:gd name="T77" fmla="*/ 2147483647 h 94"/>
                <a:gd name="T78" fmla="*/ 2147483647 w 32"/>
                <a:gd name="T79" fmla="*/ 2147483647 h 94"/>
                <a:gd name="T80" fmla="*/ 2147483647 w 32"/>
                <a:gd name="T81" fmla="*/ 2147483647 h 94"/>
                <a:gd name="T82" fmla="*/ 2147483647 w 32"/>
                <a:gd name="T83" fmla="*/ 2147483647 h 94"/>
                <a:gd name="T84" fmla="*/ 2147483647 w 32"/>
                <a:gd name="T85" fmla="*/ 2147483647 h 94"/>
                <a:gd name="T86" fmla="*/ 2147483647 w 32"/>
                <a:gd name="T87" fmla="*/ 2147483647 h 94"/>
                <a:gd name="T88" fmla="*/ 2147483647 w 32"/>
                <a:gd name="T89" fmla="*/ 2147483647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
                <a:gd name="T136" fmla="*/ 0 h 94"/>
                <a:gd name="T137" fmla="*/ 32 w 32"/>
                <a:gd name="T138" fmla="*/ 94 h 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 h="94">
                  <a:moveTo>
                    <a:pt x="12" y="94"/>
                  </a:moveTo>
                  <a:lnTo>
                    <a:pt x="12" y="94"/>
                  </a:lnTo>
                  <a:lnTo>
                    <a:pt x="22" y="90"/>
                  </a:lnTo>
                  <a:lnTo>
                    <a:pt x="22" y="80"/>
                  </a:lnTo>
                  <a:lnTo>
                    <a:pt x="22" y="76"/>
                  </a:lnTo>
                  <a:lnTo>
                    <a:pt x="22" y="72"/>
                  </a:lnTo>
                  <a:lnTo>
                    <a:pt x="20" y="70"/>
                  </a:lnTo>
                  <a:lnTo>
                    <a:pt x="22" y="64"/>
                  </a:lnTo>
                  <a:lnTo>
                    <a:pt x="22" y="60"/>
                  </a:lnTo>
                  <a:lnTo>
                    <a:pt x="22" y="58"/>
                  </a:lnTo>
                  <a:lnTo>
                    <a:pt x="22" y="54"/>
                  </a:lnTo>
                  <a:lnTo>
                    <a:pt x="22" y="52"/>
                  </a:lnTo>
                  <a:lnTo>
                    <a:pt x="24" y="54"/>
                  </a:lnTo>
                  <a:lnTo>
                    <a:pt x="26" y="52"/>
                  </a:lnTo>
                  <a:lnTo>
                    <a:pt x="26" y="50"/>
                  </a:lnTo>
                  <a:lnTo>
                    <a:pt x="24" y="46"/>
                  </a:lnTo>
                  <a:lnTo>
                    <a:pt x="26" y="44"/>
                  </a:lnTo>
                  <a:lnTo>
                    <a:pt x="28" y="40"/>
                  </a:lnTo>
                  <a:lnTo>
                    <a:pt x="28" y="36"/>
                  </a:lnTo>
                  <a:lnTo>
                    <a:pt x="28" y="34"/>
                  </a:lnTo>
                  <a:lnTo>
                    <a:pt x="30" y="32"/>
                  </a:lnTo>
                  <a:lnTo>
                    <a:pt x="32" y="32"/>
                  </a:lnTo>
                  <a:lnTo>
                    <a:pt x="30" y="30"/>
                  </a:lnTo>
                  <a:lnTo>
                    <a:pt x="30" y="28"/>
                  </a:lnTo>
                  <a:lnTo>
                    <a:pt x="30" y="26"/>
                  </a:lnTo>
                  <a:lnTo>
                    <a:pt x="32" y="22"/>
                  </a:lnTo>
                  <a:lnTo>
                    <a:pt x="30" y="20"/>
                  </a:lnTo>
                  <a:lnTo>
                    <a:pt x="28" y="18"/>
                  </a:lnTo>
                  <a:lnTo>
                    <a:pt x="28" y="14"/>
                  </a:lnTo>
                  <a:lnTo>
                    <a:pt x="28" y="10"/>
                  </a:lnTo>
                  <a:lnTo>
                    <a:pt x="28" y="8"/>
                  </a:lnTo>
                  <a:lnTo>
                    <a:pt x="22" y="6"/>
                  </a:lnTo>
                  <a:lnTo>
                    <a:pt x="22" y="4"/>
                  </a:lnTo>
                  <a:lnTo>
                    <a:pt x="20" y="2"/>
                  </a:lnTo>
                  <a:lnTo>
                    <a:pt x="16" y="0"/>
                  </a:lnTo>
                  <a:lnTo>
                    <a:pt x="10" y="6"/>
                  </a:lnTo>
                  <a:lnTo>
                    <a:pt x="10" y="8"/>
                  </a:lnTo>
                  <a:lnTo>
                    <a:pt x="10" y="10"/>
                  </a:lnTo>
                  <a:lnTo>
                    <a:pt x="6" y="12"/>
                  </a:lnTo>
                  <a:lnTo>
                    <a:pt x="4" y="14"/>
                  </a:lnTo>
                  <a:lnTo>
                    <a:pt x="4" y="16"/>
                  </a:lnTo>
                  <a:lnTo>
                    <a:pt x="0" y="16"/>
                  </a:lnTo>
                  <a:lnTo>
                    <a:pt x="0" y="28"/>
                  </a:lnTo>
                  <a:lnTo>
                    <a:pt x="8" y="30"/>
                  </a:lnTo>
                  <a:lnTo>
                    <a:pt x="8" y="32"/>
                  </a:lnTo>
                  <a:lnTo>
                    <a:pt x="8" y="38"/>
                  </a:lnTo>
                  <a:lnTo>
                    <a:pt x="8" y="42"/>
                  </a:lnTo>
                  <a:lnTo>
                    <a:pt x="10" y="44"/>
                  </a:lnTo>
                  <a:lnTo>
                    <a:pt x="10" y="46"/>
                  </a:lnTo>
                  <a:lnTo>
                    <a:pt x="10" y="52"/>
                  </a:lnTo>
                  <a:lnTo>
                    <a:pt x="8" y="58"/>
                  </a:lnTo>
                  <a:lnTo>
                    <a:pt x="10" y="62"/>
                  </a:lnTo>
                  <a:lnTo>
                    <a:pt x="10" y="68"/>
                  </a:lnTo>
                  <a:lnTo>
                    <a:pt x="10" y="72"/>
                  </a:lnTo>
                  <a:lnTo>
                    <a:pt x="8" y="76"/>
                  </a:lnTo>
                  <a:lnTo>
                    <a:pt x="8" y="80"/>
                  </a:lnTo>
                  <a:lnTo>
                    <a:pt x="10" y="88"/>
                  </a:lnTo>
                  <a:lnTo>
                    <a:pt x="10" y="90"/>
                  </a:lnTo>
                  <a:lnTo>
                    <a:pt x="12" y="9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8" name="Freeform 676">
              <a:extLst>
                <a:ext uri="{FF2B5EF4-FFF2-40B4-BE49-F238E27FC236}">
                  <a16:creationId xmlns:a16="http://schemas.microsoft.com/office/drawing/2014/main" id="{06F6BB53-8A95-4925-88CC-E3C48D7BCE3C}"/>
                </a:ext>
              </a:extLst>
            </p:cNvPr>
            <p:cNvSpPr>
              <a:spLocks/>
            </p:cNvSpPr>
            <p:nvPr/>
          </p:nvSpPr>
          <p:spPr bwMode="gray">
            <a:xfrm>
              <a:off x="4901721" y="2706778"/>
              <a:ext cx="157730" cy="143611"/>
            </a:xfrm>
            <a:custGeom>
              <a:avLst/>
              <a:gdLst>
                <a:gd name="T0" fmla="*/ 2147483647 w 86"/>
                <a:gd name="T1" fmla="*/ 2147483647 h 78"/>
                <a:gd name="T2" fmla="*/ 2147483647 w 86"/>
                <a:gd name="T3" fmla="*/ 2147483647 h 78"/>
                <a:gd name="T4" fmla="*/ 2147483647 w 86"/>
                <a:gd name="T5" fmla="*/ 2147483647 h 78"/>
                <a:gd name="T6" fmla="*/ 2147483647 w 86"/>
                <a:gd name="T7" fmla="*/ 2147483647 h 78"/>
                <a:gd name="T8" fmla="*/ 2147483647 w 86"/>
                <a:gd name="T9" fmla="*/ 2147483647 h 78"/>
                <a:gd name="T10" fmla="*/ 2147483647 w 86"/>
                <a:gd name="T11" fmla="*/ 0 h 78"/>
                <a:gd name="T12" fmla="*/ 2147483647 w 86"/>
                <a:gd name="T13" fmla="*/ 2147483647 h 78"/>
                <a:gd name="T14" fmla="*/ 2147483647 w 86"/>
                <a:gd name="T15" fmla="*/ 0 h 78"/>
                <a:gd name="T16" fmla="*/ 2147483647 w 86"/>
                <a:gd name="T17" fmla="*/ 2147483647 h 78"/>
                <a:gd name="T18" fmla="*/ 2147483647 w 86"/>
                <a:gd name="T19" fmla="*/ 2147483647 h 78"/>
                <a:gd name="T20" fmla="*/ 2147483647 w 86"/>
                <a:gd name="T21" fmla="*/ 2147483647 h 78"/>
                <a:gd name="T22" fmla="*/ 2147483647 w 86"/>
                <a:gd name="T23" fmla="*/ 2147483647 h 78"/>
                <a:gd name="T24" fmla="*/ 2147483647 w 86"/>
                <a:gd name="T25" fmla="*/ 2147483647 h 78"/>
                <a:gd name="T26" fmla="*/ 2147483647 w 86"/>
                <a:gd name="T27" fmla="*/ 2147483647 h 78"/>
                <a:gd name="T28" fmla="*/ 2147483647 w 86"/>
                <a:gd name="T29" fmla="*/ 2147483647 h 78"/>
                <a:gd name="T30" fmla="*/ 2147483647 w 86"/>
                <a:gd name="T31" fmla="*/ 2147483647 h 78"/>
                <a:gd name="T32" fmla="*/ 2147483647 w 86"/>
                <a:gd name="T33" fmla="*/ 2147483647 h 78"/>
                <a:gd name="T34" fmla="*/ 2147483647 w 86"/>
                <a:gd name="T35" fmla="*/ 2147483647 h 78"/>
                <a:gd name="T36" fmla="*/ 2147483647 w 86"/>
                <a:gd name="T37" fmla="*/ 2147483647 h 78"/>
                <a:gd name="T38" fmla="*/ 2147483647 w 86"/>
                <a:gd name="T39" fmla="*/ 2147483647 h 78"/>
                <a:gd name="T40" fmla="*/ 2147483647 w 86"/>
                <a:gd name="T41" fmla="*/ 2147483647 h 78"/>
                <a:gd name="T42" fmla="*/ 2147483647 w 86"/>
                <a:gd name="T43" fmla="*/ 2147483647 h 78"/>
                <a:gd name="T44" fmla="*/ 2147483647 w 86"/>
                <a:gd name="T45" fmla="*/ 2147483647 h 78"/>
                <a:gd name="T46" fmla="*/ 2147483647 w 86"/>
                <a:gd name="T47" fmla="*/ 2147483647 h 78"/>
                <a:gd name="T48" fmla="*/ 2147483647 w 86"/>
                <a:gd name="T49" fmla="*/ 2147483647 h 78"/>
                <a:gd name="T50" fmla="*/ 2147483647 w 86"/>
                <a:gd name="T51" fmla="*/ 2147483647 h 78"/>
                <a:gd name="T52" fmla="*/ 2147483647 w 86"/>
                <a:gd name="T53" fmla="*/ 2147483647 h 78"/>
                <a:gd name="T54" fmla="*/ 2147483647 w 86"/>
                <a:gd name="T55" fmla="*/ 2147483647 h 78"/>
                <a:gd name="T56" fmla="*/ 2147483647 w 86"/>
                <a:gd name="T57" fmla="*/ 2147483647 h 78"/>
                <a:gd name="T58" fmla="*/ 2147483647 w 86"/>
                <a:gd name="T59" fmla="*/ 2147483647 h 78"/>
                <a:gd name="T60" fmla="*/ 2147483647 w 86"/>
                <a:gd name="T61" fmla="*/ 2147483647 h 78"/>
                <a:gd name="T62" fmla="*/ 2147483647 w 86"/>
                <a:gd name="T63" fmla="*/ 2147483647 h 78"/>
                <a:gd name="T64" fmla="*/ 2147483647 w 86"/>
                <a:gd name="T65" fmla="*/ 2147483647 h 78"/>
                <a:gd name="T66" fmla="*/ 2147483647 w 86"/>
                <a:gd name="T67" fmla="*/ 2147483647 h 78"/>
                <a:gd name="T68" fmla="*/ 2147483647 w 86"/>
                <a:gd name="T69" fmla="*/ 2147483647 h 78"/>
                <a:gd name="T70" fmla="*/ 2147483647 w 86"/>
                <a:gd name="T71" fmla="*/ 2147483647 h 78"/>
                <a:gd name="T72" fmla="*/ 2147483647 w 86"/>
                <a:gd name="T73" fmla="*/ 2147483647 h 78"/>
                <a:gd name="T74" fmla="*/ 2147483647 w 86"/>
                <a:gd name="T75" fmla="*/ 2147483647 h 78"/>
                <a:gd name="T76" fmla="*/ 2147483647 w 86"/>
                <a:gd name="T77" fmla="*/ 2147483647 h 78"/>
                <a:gd name="T78" fmla="*/ 2147483647 w 86"/>
                <a:gd name="T79" fmla="*/ 2147483647 h 78"/>
                <a:gd name="T80" fmla="*/ 2147483647 w 86"/>
                <a:gd name="T81" fmla="*/ 2147483647 h 78"/>
                <a:gd name="T82" fmla="*/ 2147483647 w 86"/>
                <a:gd name="T83" fmla="*/ 2147483647 h 78"/>
                <a:gd name="T84" fmla="*/ 2147483647 w 86"/>
                <a:gd name="T85" fmla="*/ 2147483647 h 78"/>
                <a:gd name="T86" fmla="*/ 2147483647 w 86"/>
                <a:gd name="T87" fmla="*/ 2147483647 h 78"/>
                <a:gd name="T88" fmla="*/ 2147483647 w 86"/>
                <a:gd name="T89" fmla="*/ 2147483647 h 78"/>
                <a:gd name="T90" fmla="*/ 2147483647 w 86"/>
                <a:gd name="T91" fmla="*/ 2147483647 h 78"/>
                <a:gd name="T92" fmla="*/ 2147483647 w 86"/>
                <a:gd name="T93" fmla="*/ 2147483647 h 78"/>
                <a:gd name="T94" fmla="*/ 2147483647 w 86"/>
                <a:gd name="T95" fmla="*/ 2147483647 h 78"/>
                <a:gd name="T96" fmla="*/ 2147483647 w 86"/>
                <a:gd name="T97" fmla="*/ 2147483647 h 78"/>
                <a:gd name="T98" fmla="*/ 2147483647 w 86"/>
                <a:gd name="T99" fmla="*/ 2147483647 h 78"/>
                <a:gd name="T100" fmla="*/ 2147483647 w 86"/>
                <a:gd name="T101" fmla="*/ 2147483647 h 78"/>
                <a:gd name="T102" fmla="*/ 2147483647 w 86"/>
                <a:gd name="T103" fmla="*/ 2147483647 h 78"/>
                <a:gd name="T104" fmla="*/ 2147483647 w 86"/>
                <a:gd name="T105" fmla="*/ 2147483647 h 78"/>
                <a:gd name="T106" fmla="*/ 2147483647 w 86"/>
                <a:gd name="T107" fmla="*/ 2147483647 h 78"/>
                <a:gd name="T108" fmla="*/ 2147483647 w 86"/>
                <a:gd name="T109" fmla="*/ 2147483647 h 78"/>
                <a:gd name="T110" fmla="*/ 2147483647 w 86"/>
                <a:gd name="T111" fmla="*/ 2147483647 h 78"/>
                <a:gd name="T112" fmla="*/ 2147483647 w 86"/>
                <a:gd name="T113" fmla="*/ 2147483647 h 78"/>
                <a:gd name="T114" fmla="*/ 2147483647 w 86"/>
                <a:gd name="T115" fmla="*/ 2147483647 h 78"/>
                <a:gd name="T116" fmla="*/ 2147483647 w 86"/>
                <a:gd name="T117" fmla="*/ 2147483647 h 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6"/>
                <a:gd name="T178" fmla="*/ 0 h 78"/>
                <a:gd name="T179" fmla="*/ 86 w 86"/>
                <a:gd name="T180" fmla="*/ 78 h 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6" h="78">
                  <a:moveTo>
                    <a:pt x="24" y="16"/>
                  </a:moveTo>
                  <a:lnTo>
                    <a:pt x="24" y="16"/>
                  </a:lnTo>
                  <a:lnTo>
                    <a:pt x="28" y="12"/>
                  </a:lnTo>
                  <a:lnTo>
                    <a:pt x="30" y="12"/>
                  </a:lnTo>
                  <a:lnTo>
                    <a:pt x="34" y="12"/>
                  </a:lnTo>
                  <a:lnTo>
                    <a:pt x="36" y="12"/>
                  </a:lnTo>
                  <a:lnTo>
                    <a:pt x="38" y="8"/>
                  </a:lnTo>
                  <a:lnTo>
                    <a:pt x="38" y="2"/>
                  </a:lnTo>
                  <a:lnTo>
                    <a:pt x="40" y="0"/>
                  </a:lnTo>
                  <a:lnTo>
                    <a:pt x="44" y="2"/>
                  </a:lnTo>
                  <a:lnTo>
                    <a:pt x="46" y="2"/>
                  </a:lnTo>
                  <a:lnTo>
                    <a:pt x="48" y="0"/>
                  </a:lnTo>
                  <a:lnTo>
                    <a:pt x="50" y="2"/>
                  </a:lnTo>
                  <a:lnTo>
                    <a:pt x="50" y="4"/>
                  </a:lnTo>
                  <a:lnTo>
                    <a:pt x="52" y="4"/>
                  </a:lnTo>
                  <a:lnTo>
                    <a:pt x="54" y="2"/>
                  </a:lnTo>
                  <a:lnTo>
                    <a:pt x="56" y="2"/>
                  </a:lnTo>
                  <a:lnTo>
                    <a:pt x="62" y="4"/>
                  </a:lnTo>
                  <a:lnTo>
                    <a:pt x="66" y="4"/>
                  </a:lnTo>
                  <a:lnTo>
                    <a:pt x="68" y="8"/>
                  </a:lnTo>
                  <a:lnTo>
                    <a:pt x="68" y="10"/>
                  </a:lnTo>
                  <a:lnTo>
                    <a:pt x="70" y="10"/>
                  </a:lnTo>
                  <a:lnTo>
                    <a:pt x="72" y="12"/>
                  </a:lnTo>
                  <a:lnTo>
                    <a:pt x="72" y="14"/>
                  </a:lnTo>
                  <a:lnTo>
                    <a:pt x="74" y="18"/>
                  </a:lnTo>
                  <a:lnTo>
                    <a:pt x="74" y="24"/>
                  </a:lnTo>
                  <a:lnTo>
                    <a:pt x="74" y="28"/>
                  </a:lnTo>
                  <a:lnTo>
                    <a:pt x="76" y="32"/>
                  </a:lnTo>
                  <a:lnTo>
                    <a:pt x="80" y="36"/>
                  </a:lnTo>
                  <a:lnTo>
                    <a:pt x="84" y="38"/>
                  </a:lnTo>
                  <a:lnTo>
                    <a:pt x="86" y="44"/>
                  </a:lnTo>
                  <a:lnTo>
                    <a:pt x="86" y="46"/>
                  </a:lnTo>
                  <a:lnTo>
                    <a:pt x="84" y="48"/>
                  </a:lnTo>
                  <a:lnTo>
                    <a:pt x="82" y="48"/>
                  </a:lnTo>
                  <a:lnTo>
                    <a:pt x="80" y="46"/>
                  </a:lnTo>
                  <a:lnTo>
                    <a:pt x="78" y="46"/>
                  </a:lnTo>
                  <a:lnTo>
                    <a:pt x="76" y="48"/>
                  </a:lnTo>
                  <a:lnTo>
                    <a:pt x="76" y="50"/>
                  </a:lnTo>
                  <a:lnTo>
                    <a:pt x="78" y="52"/>
                  </a:lnTo>
                  <a:lnTo>
                    <a:pt x="80" y="54"/>
                  </a:lnTo>
                  <a:lnTo>
                    <a:pt x="80" y="68"/>
                  </a:lnTo>
                  <a:lnTo>
                    <a:pt x="76" y="68"/>
                  </a:lnTo>
                  <a:lnTo>
                    <a:pt x="74" y="70"/>
                  </a:lnTo>
                  <a:lnTo>
                    <a:pt x="72" y="72"/>
                  </a:lnTo>
                  <a:lnTo>
                    <a:pt x="72" y="76"/>
                  </a:lnTo>
                  <a:lnTo>
                    <a:pt x="70" y="78"/>
                  </a:lnTo>
                  <a:lnTo>
                    <a:pt x="60" y="76"/>
                  </a:lnTo>
                  <a:lnTo>
                    <a:pt x="58" y="76"/>
                  </a:lnTo>
                  <a:lnTo>
                    <a:pt x="54" y="76"/>
                  </a:lnTo>
                  <a:lnTo>
                    <a:pt x="52" y="76"/>
                  </a:lnTo>
                  <a:lnTo>
                    <a:pt x="50" y="74"/>
                  </a:lnTo>
                  <a:lnTo>
                    <a:pt x="48" y="78"/>
                  </a:lnTo>
                  <a:lnTo>
                    <a:pt x="46" y="76"/>
                  </a:lnTo>
                  <a:lnTo>
                    <a:pt x="42" y="76"/>
                  </a:lnTo>
                  <a:lnTo>
                    <a:pt x="34" y="76"/>
                  </a:lnTo>
                  <a:lnTo>
                    <a:pt x="20" y="74"/>
                  </a:lnTo>
                  <a:lnTo>
                    <a:pt x="12" y="74"/>
                  </a:lnTo>
                  <a:lnTo>
                    <a:pt x="10" y="76"/>
                  </a:lnTo>
                  <a:lnTo>
                    <a:pt x="10" y="78"/>
                  </a:lnTo>
                  <a:lnTo>
                    <a:pt x="8" y="76"/>
                  </a:lnTo>
                  <a:lnTo>
                    <a:pt x="6" y="74"/>
                  </a:lnTo>
                  <a:lnTo>
                    <a:pt x="4" y="74"/>
                  </a:lnTo>
                  <a:lnTo>
                    <a:pt x="2" y="76"/>
                  </a:lnTo>
                  <a:lnTo>
                    <a:pt x="2" y="66"/>
                  </a:lnTo>
                  <a:lnTo>
                    <a:pt x="4" y="62"/>
                  </a:lnTo>
                  <a:lnTo>
                    <a:pt x="4" y="58"/>
                  </a:lnTo>
                  <a:lnTo>
                    <a:pt x="4" y="56"/>
                  </a:lnTo>
                  <a:lnTo>
                    <a:pt x="2" y="50"/>
                  </a:lnTo>
                  <a:lnTo>
                    <a:pt x="0" y="46"/>
                  </a:lnTo>
                  <a:lnTo>
                    <a:pt x="6" y="44"/>
                  </a:lnTo>
                  <a:lnTo>
                    <a:pt x="12" y="44"/>
                  </a:lnTo>
                  <a:lnTo>
                    <a:pt x="14" y="42"/>
                  </a:lnTo>
                  <a:lnTo>
                    <a:pt x="14" y="40"/>
                  </a:lnTo>
                  <a:lnTo>
                    <a:pt x="18" y="40"/>
                  </a:lnTo>
                  <a:lnTo>
                    <a:pt x="18" y="34"/>
                  </a:lnTo>
                  <a:lnTo>
                    <a:pt x="20" y="28"/>
                  </a:lnTo>
                  <a:lnTo>
                    <a:pt x="24" y="22"/>
                  </a:lnTo>
                  <a:lnTo>
                    <a:pt x="26" y="18"/>
                  </a:lnTo>
                  <a:lnTo>
                    <a:pt x="24" y="1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29" name="Freeform 677">
              <a:extLst>
                <a:ext uri="{FF2B5EF4-FFF2-40B4-BE49-F238E27FC236}">
                  <a16:creationId xmlns:a16="http://schemas.microsoft.com/office/drawing/2014/main" id="{92ADF926-0034-46FC-9FC7-C76952AC610F}"/>
                </a:ext>
              </a:extLst>
            </p:cNvPr>
            <p:cNvSpPr>
              <a:spLocks/>
            </p:cNvSpPr>
            <p:nvPr/>
          </p:nvSpPr>
          <p:spPr bwMode="gray">
            <a:xfrm>
              <a:off x="2516935" y="3808584"/>
              <a:ext cx="23541" cy="68274"/>
            </a:xfrm>
            <a:custGeom>
              <a:avLst/>
              <a:gdLst>
                <a:gd name="T0" fmla="*/ 2147483647 w 12"/>
                <a:gd name="T1" fmla="*/ 0 h 36"/>
                <a:gd name="T2" fmla="*/ 2147483647 w 12"/>
                <a:gd name="T3" fmla="*/ 0 h 36"/>
                <a:gd name="T4" fmla="*/ 2147483647 w 12"/>
                <a:gd name="T5" fmla="*/ 0 h 36"/>
                <a:gd name="T6" fmla="*/ 2147483647 w 12"/>
                <a:gd name="T7" fmla="*/ 0 h 36"/>
                <a:gd name="T8" fmla="*/ 2147483647 w 12"/>
                <a:gd name="T9" fmla="*/ 2147483647 h 36"/>
                <a:gd name="T10" fmla="*/ 0 w 12"/>
                <a:gd name="T11" fmla="*/ 2147483647 h 36"/>
                <a:gd name="T12" fmla="*/ 0 w 12"/>
                <a:gd name="T13" fmla="*/ 2147483647 h 36"/>
                <a:gd name="T14" fmla="*/ 2147483647 w 12"/>
                <a:gd name="T15" fmla="*/ 2147483647 h 36"/>
                <a:gd name="T16" fmla="*/ 2147483647 w 12"/>
                <a:gd name="T17" fmla="*/ 2147483647 h 36"/>
                <a:gd name="T18" fmla="*/ 2147483647 w 12"/>
                <a:gd name="T19" fmla="*/ 2147483647 h 36"/>
                <a:gd name="T20" fmla="*/ 2147483647 w 12"/>
                <a:gd name="T21" fmla="*/ 2147483647 h 36"/>
                <a:gd name="T22" fmla="*/ 2147483647 w 12"/>
                <a:gd name="T23" fmla="*/ 2147483647 h 36"/>
                <a:gd name="T24" fmla="*/ 2147483647 w 12"/>
                <a:gd name="T25" fmla="*/ 2147483647 h 36"/>
                <a:gd name="T26" fmla="*/ 2147483647 w 12"/>
                <a:gd name="T27" fmla="*/ 0 h 36"/>
                <a:gd name="T28" fmla="*/ 2147483647 w 12"/>
                <a:gd name="T29" fmla="*/ 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36"/>
                <a:gd name="T47" fmla="*/ 12 w 12"/>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36">
                  <a:moveTo>
                    <a:pt x="8" y="0"/>
                  </a:moveTo>
                  <a:lnTo>
                    <a:pt x="8" y="0"/>
                  </a:lnTo>
                  <a:lnTo>
                    <a:pt x="6" y="0"/>
                  </a:lnTo>
                  <a:lnTo>
                    <a:pt x="4" y="0"/>
                  </a:lnTo>
                  <a:lnTo>
                    <a:pt x="4" y="2"/>
                  </a:lnTo>
                  <a:lnTo>
                    <a:pt x="0" y="4"/>
                  </a:lnTo>
                  <a:lnTo>
                    <a:pt x="0" y="36"/>
                  </a:lnTo>
                  <a:lnTo>
                    <a:pt x="6" y="36"/>
                  </a:lnTo>
                  <a:lnTo>
                    <a:pt x="10" y="18"/>
                  </a:lnTo>
                  <a:lnTo>
                    <a:pt x="12" y="10"/>
                  </a:lnTo>
                  <a:lnTo>
                    <a:pt x="12" y="4"/>
                  </a:lnTo>
                  <a:lnTo>
                    <a:pt x="10" y="0"/>
                  </a:lnTo>
                  <a:lnTo>
                    <a:pt x="8"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0" name="Freeform 678">
              <a:extLst>
                <a:ext uri="{FF2B5EF4-FFF2-40B4-BE49-F238E27FC236}">
                  <a16:creationId xmlns:a16="http://schemas.microsoft.com/office/drawing/2014/main" id="{61E36F4B-34CD-47C8-90EA-54D1C9172F9F}"/>
                </a:ext>
              </a:extLst>
            </p:cNvPr>
            <p:cNvSpPr>
              <a:spLocks/>
            </p:cNvSpPr>
            <p:nvPr/>
          </p:nvSpPr>
          <p:spPr bwMode="gray">
            <a:xfrm>
              <a:off x="4430884" y="2864514"/>
              <a:ext cx="84751" cy="56504"/>
            </a:xfrm>
            <a:custGeom>
              <a:avLst/>
              <a:gdLst>
                <a:gd name="T0" fmla="*/ 2147483647 w 46"/>
                <a:gd name="T1" fmla="*/ 2147483647 h 30"/>
                <a:gd name="T2" fmla="*/ 2147483647 w 46"/>
                <a:gd name="T3" fmla="*/ 2147483647 h 30"/>
                <a:gd name="T4" fmla="*/ 2147483647 w 46"/>
                <a:gd name="T5" fmla="*/ 2147483647 h 30"/>
                <a:gd name="T6" fmla="*/ 2147483647 w 46"/>
                <a:gd name="T7" fmla="*/ 2147483647 h 30"/>
                <a:gd name="T8" fmla="*/ 2147483647 w 46"/>
                <a:gd name="T9" fmla="*/ 2147483647 h 30"/>
                <a:gd name="T10" fmla="*/ 2147483647 w 46"/>
                <a:gd name="T11" fmla="*/ 2147483647 h 30"/>
                <a:gd name="T12" fmla="*/ 2147483647 w 46"/>
                <a:gd name="T13" fmla="*/ 2147483647 h 30"/>
                <a:gd name="T14" fmla="*/ 2147483647 w 46"/>
                <a:gd name="T15" fmla="*/ 2147483647 h 30"/>
                <a:gd name="T16" fmla="*/ 2147483647 w 46"/>
                <a:gd name="T17" fmla="*/ 2147483647 h 30"/>
                <a:gd name="T18" fmla="*/ 2147483647 w 46"/>
                <a:gd name="T19" fmla="*/ 2147483647 h 30"/>
                <a:gd name="T20" fmla="*/ 2147483647 w 46"/>
                <a:gd name="T21" fmla="*/ 2147483647 h 30"/>
                <a:gd name="T22" fmla="*/ 2147483647 w 46"/>
                <a:gd name="T23" fmla="*/ 2147483647 h 30"/>
                <a:gd name="T24" fmla="*/ 2147483647 w 46"/>
                <a:gd name="T25" fmla="*/ 2147483647 h 30"/>
                <a:gd name="T26" fmla="*/ 2147483647 w 46"/>
                <a:gd name="T27" fmla="*/ 2147483647 h 30"/>
                <a:gd name="T28" fmla="*/ 2147483647 w 46"/>
                <a:gd name="T29" fmla="*/ 2147483647 h 30"/>
                <a:gd name="T30" fmla="*/ 2147483647 w 46"/>
                <a:gd name="T31" fmla="*/ 2147483647 h 30"/>
                <a:gd name="T32" fmla="*/ 2147483647 w 46"/>
                <a:gd name="T33" fmla="*/ 2147483647 h 30"/>
                <a:gd name="T34" fmla="*/ 2147483647 w 46"/>
                <a:gd name="T35" fmla="*/ 2147483647 h 30"/>
                <a:gd name="T36" fmla="*/ 2147483647 w 46"/>
                <a:gd name="T37" fmla="*/ 2147483647 h 30"/>
                <a:gd name="T38" fmla="*/ 2147483647 w 46"/>
                <a:gd name="T39" fmla="*/ 2147483647 h 30"/>
                <a:gd name="T40" fmla="*/ 2147483647 w 46"/>
                <a:gd name="T41" fmla="*/ 2147483647 h 30"/>
                <a:gd name="T42" fmla="*/ 2147483647 w 46"/>
                <a:gd name="T43" fmla="*/ 2147483647 h 30"/>
                <a:gd name="T44" fmla="*/ 2147483647 w 46"/>
                <a:gd name="T45" fmla="*/ 2147483647 h 30"/>
                <a:gd name="T46" fmla="*/ 2147483647 w 46"/>
                <a:gd name="T47" fmla="*/ 2147483647 h 30"/>
                <a:gd name="T48" fmla="*/ 2147483647 w 46"/>
                <a:gd name="T49" fmla="*/ 2147483647 h 30"/>
                <a:gd name="T50" fmla="*/ 2147483647 w 46"/>
                <a:gd name="T51" fmla="*/ 2147483647 h 30"/>
                <a:gd name="T52" fmla="*/ 2147483647 w 46"/>
                <a:gd name="T53" fmla="*/ 2147483647 h 30"/>
                <a:gd name="T54" fmla="*/ 2147483647 w 46"/>
                <a:gd name="T55" fmla="*/ 2147483647 h 30"/>
                <a:gd name="T56" fmla="*/ 2147483647 w 46"/>
                <a:gd name="T57" fmla="*/ 2147483647 h 30"/>
                <a:gd name="T58" fmla="*/ 2147483647 w 46"/>
                <a:gd name="T59" fmla="*/ 2147483647 h 30"/>
                <a:gd name="T60" fmla="*/ 2147483647 w 46"/>
                <a:gd name="T61" fmla="*/ 2147483647 h 30"/>
                <a:gd name="T62" fmla="*/ 2147483647 w 46"/>
                <a:gd name="T63" fmla="*/ 0 h 30"/>
                <a:gd name="T64" fmla="*/ 0 w 46"/>
                <a:gd name="T65" fmla="*/ 2147483647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30"/>
                <a:gd name="T101" fmla="*/ 46 w 46"/>
                <a:gd name="T102" fmla="*/ 30 h 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30">
                  <a:moveTo>
                    <a:pt x="0" y="4"/>
                  </a:moveTo>
                  <a:lnTo>
                    <a:pt x="4" y="6"/>
                  </a:lnTo>
                  <a:lnTo>
                    <a:pt x="6" y="8"/>
                  </a:lnTo>
                  <a:lnTo>
                    <a:pt x="8" y="12"/>
                  </a:lnTo>
                  <a:lnTo>
                    <a:pt x="12" y="16"/>
                  </a:lnTo>
                  <a:lnTo>
                    <a:pt x="14" y="18"/>
                  </a:lnTo>
                  <a:lnTo>
                    <a:pt x="16" y="18"/>
                  </a:lnTo>
                  <a:lnTo>
                    <a:pt x="18" y="16"/>
                  </a:lnTo>
                  <a:lnTo>
                    <a:pt x="18" y="18"/>
                  </a:lnTo>
                  <a:lnTo>
                    <a:pt x="20" y="22"/>
                  </a:lnTo>
                  <a:lnTo>
                    <a:pt x="24" y="24"/>
                  </a:lnTo>
                  <a:lnTo>
                    <a:pt x="26" y="24"/>
                  </a:lnTo>
                  <a:lnTo>
                    <a:pt x="28" y="24"/>
                  </a:lnTo>
                  <a:lnTo>
                    <a:pt x="30" y="24"/>
                  </a:lnTo>
                  <a:lnTo>
                    <a:pt x="30" y="28"/>
                  </a:lnTo>
                  <a:lnTo>
                    <a:pt x="34" y="30"/>
                  </a:lnTo>
                  <a:lnTo>
                    <a:pt x="36" y="30"/>
                  </a:lnTo>
                  <a:lnTo>
                    <a:pt x="42" y="28"/>
                  </a:lnTo>
                  <a:lnTo>
                    <a:pt x="42" y="26"/>
                  </a:lnTo>
                  <a:lnTo>
                    <a:pt x="42" y="24"/>
                  </a:lnTo>
                  <a:lnTo>
                    <a:pt x="42" y="22"/>
                  </a:lnTo>
                  <a:lnTo>
                    <a:pt x="44" y="22"/>
                  </a:lnTo>
                  <a:lnTo>
                    <a:pt x="46" y="18"/>
                  </a:lnTo>
                  <a:lnTo>
                    <a:pt x="46" y="16"/>
                  </a:lnTo>
                  <a:lnTo>
                    <a:pt x="44" y="14"/>
                  </a:lnTo>
                  <a:lnTo>
                    <a:pt x="42" y="12"/>
                  </a:lnTo>
                  <a:lnTo>
                    <a:pt x="44" y="12"/>
                  </a:lnTo>
                  <a:lnTo>
                    <a:pt x="44" y="10"/>
                  </a:lnTo>
                  <a:lnTo>
                    <a:pt x="42" y="8"/>
                  </a:lnTo>
                  <a:lnTo>
                    <a:pt x="40" y="8"/>
                  </a:lnTo>
                  <a:lnTo>
                    <a:pt x="38" y="8"/>
                  </a:lnTo>
                  <a:lnTo>
                    <a:pt x="36" y="6"/>
                  </a:lnTo>
                  <a:lnTo>
                    <a:pt x="34" y="4"/>
                  </a:lnTo>
                  <a:lnTo>
                    <a:pt x="30" y="4"/>
                  </a:lnTo>
                  <a:lnTo>
                    <a:pt x="26" y="4"/>
                  </a:lnTo>
                  <a:lnTo>
                    <a:pt x="22" y="6"/>
                  </a:lnTo>
                  <a:lnTo>
                    <a:pt x="18" y="4"/>
                  </a:lnTo>
                  <a:lnTo>
                    <a:pt x="16" y="2"/>
                  </a:lnTo>
                  <a:lnTo>
                    <a:pt x="16" y="0"/>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1" name="Freeform 679">
              <a:extLst>
                <a:ext uri="{FF2B5EF4-FFF2-40B4-BE49-F238E27FC236}">
                  <a16:creationId xmlns:a16="http://schemas.microsoft.com/office/drawing/2014/main" id="{7ECA3416-E39D-4CFF-B758-CB20A3304C28}"/>
                </a:ext>
              </a:extLst>
            </p:cNvPr>
            <p:cNvSpPr>
              <a:spLocks/>
            </p:cNvSpPr>
            <p:nvPr/>
          </p:nvSpPr>
          <p:spPr bwMode="gray">
            <a:xfrm>
              <a:off x="6222417" y="3606114"/>
              <a:ext cx="115355" cy="160092"/>
            </a:xfrm>
            <a:custGeom>
              <a:avLst/>
              <a:gdLst>
                <a:gd name="T0" fmla="*/ 2147483647 w 62"/>
                <a:gd name="T1" fmla="*/ 2147483647 h 86"/>
                <a:gd name="T2" fmla="*/ 2147483647 w 62"/>
                <a:gd name="T3" fmla="*/ 2147483647 h 86"/>
                <a:gd name="T4" fmla="*/ 2147483647 w 62"/>
                <a:gd name="T5" fmla="*/ 2147483647 h 86"/>
                <a:gd name="T6" fmla="*/ 2147483647 w 62"/>
                <a:gd name="T7" fmla="*/ 2147483647 h 86"/>
                <a:gd name="T8" fmla="*/ 2147483647 w 62"/>
                <a:gd name="T9" fmla="*/ 2147483647 h 86"/>
                <a:gd name="T10" fmla="*/ 2147483647 w 62"/>
                <a:gd name="T11" fmla="*/ 2147483647 h 86"/>
                <a:gd name="T12" fmla="*/ 2147483647 w 62"/>
                <a:gd name="T13" fmla="*/ 2147483647 h 86"/>
                <a:gd name="T14" fmla="*/ 2147483647 w 62"/>
                <a:gd name="T15" fmla="*/ 2147483647 h 86"/>
                <a:gd name="T16" fmla="*/ 2147483647 w 62"/>
                <a:gd name="T17" fmla="*/ 2147483647 h 86"/>
                <a:gd name="T18" fmla="*/ 2147483647 w 62"/>
                <a:gd name="T19" fmla="*/ 2147483647 h 86"/>
                <a:gd name="T20" fmla="*/ 2147483647 w 62"/>
                <a:gd name="T21" fmla="*/ 2147483647 h 86"/>
                <a:gd name="T22" fmla="*/ 2147483647 w 62"/>
                <a:gd name="T23" fmla="*/ 2147483647 h 86"/>
                <a:gd name="T24" fmla="*/ 2147483647 w 62"/>
                <a:gd name="T25" fmla="*/ 2147483647 h 86"/>
                <a:gd name="T26" fmla="*/ 2147483647 w 62"/>
                <a:gd name="T27" fmla="*/ 2147483647 h 86"/>
                <a:gd name="T28" fmla="*/ 2147483647 w 62"/>
                <a:gd name="T29" fmla="*/ 2147483647 h 86"/>
                <a:gd name="T30" fmla="*/ 2147483647 w 62"/>
                <a:gd name="T31" fmla="*/ 2147483647 h 86"/>
                <a:gd name="T32" fmla="*/ 2147483647 w 62"/>
                <a:gd name="T33" fmla="*/ 2147483647 h 86"/>
                <a:gd name="T34" fmla="*/ 2147483647 w 62"/>
                <a:gd name="T35" fmla="*/ 2147483647 h 86"/>
                <a:gd name="T36" fmla="*/ 2147483647 w 62"/>
                <a:gd name="T37" fmla="*/ 2147483647 h 86"/>
                <a:gd name="T38" fmla="*/ 2147483647 w 62"/>
                <a:gd name="T39" fmla="*/ 2147483647 h 86"/>
                <a:gd name="T40" fmla="*/ 2147483647 w 62"/>
                <a:gd name="T41" fmla="*/ 2147483647 h 86"/>
                <a:gd name="T42" fmla="*/ 2147483647 w 62"/>
                <a:gd name="T43" fmla="*/ 2147483647 h 86"/>
                <a:gd name="T44" fmla="*/ 2147483647 w 62"/>
                <a:gd name="T45" fmla="*/ 2147483647 h 86"/>
                <a:gd name="T46" fmla="*/ 2147483647 w 62"/>
                <a:gd name="T47" fmla="*/ 2147483647 h 86"/>
                <a:gd name="T48" fmla="*/ 2147483647 w 62"/>
                <a:gd name="T49" fmla="*/ 2147483647 h 86"/>
                <a:gd name="T50" fmla="*/ 2147483647 w 62"/>
                <a:gd name="T51" fmla="*/ 2147483647 h 86"/>
                <a:gd name="T52" fmla="*/ 2147483647 w 62"/>
                <a:gd name="T53" fmla="*/ 2147483647 h 86"/>
                <a:gd name="T54" fmla="*/ 2147483647 w 62"/>
                <a:gd name="T55" fmla="*/ 2147483647 h 86"/>
                <a:gd name="T56" fmla="*/ 2147483647 w 62"/>
                <a:gd name="T57" fmla="*/ 2147483647 h 86"/>
                <a:gd name="T58" fmla="*/ 2147483647 w 62"/>
                <a:gd name="T59" fmla="*/ 2147483647 h 86"/>
                <a:gd name="T60" fmla="*/ 2147483647 w 62"/>
                <a:gd name="T61" fmla="*/ 0 h 86"/>
                <a:gd name="T62" fmla="*/ 2147483647 w 62"/>
                <a:gd name="T63" fmla="*/ 2147483647 h 86"/>
                <a:gd name="T64" fmla="*/ 2147483647 w 62"/>
                <a:gd name="T65" fmla="*/ 2147483647 h 86"/>
                <a:gd name="T66" fmla="*/ 2147483647 w 62"/>
                <a:gd name="T67" fmla="*/ 2147483647 h 86"/>
                <a:gd name="T68" fmla="*/ 2147483647 w 62"/>
                <a:gd name="T69" fmla="*/ 2147483647 h 86"/>
                <a:gd name="T70" fmla="*/ 0 w 62"/>
                <a:gd name="T71" fmla="*/ 2147483647 h 86"/>
                <a:gd name="T72" fmla="*/ 2147483647 w 62"/>
                <a:gd name="T73" fmla="*/ 2147483647 h 86"/>
                <a:gd name="T74" fmla="*/ 2147483647 w 62"/>
                <a:gd name="T75" fmla="*/ 2147483647 h 86"/>
                <a:gd name="T76" fmla="*/ 2147483647 w 62"/>
                <a:gd name="T77" fmla="*/ 2147483647 h 86"/>
                <a:gd name="T78" fmla="*/ 2147483647 w 62"/>
                <a:gd name="T79" fmla="*/ 2147483647 h 86"/>
                <a:gd name="T80" fmla="*/ 2147483647 w 62"/>
                <a:gd name="T81" fmla="*/ 2147483647 h 86"/>
                <a:gd name="T82" fmla="*/ 2147483647 w 62"/>
                <a:gd name="T83" fmla="*/ 2147483647 h 86"/>
                <a:gd name="T84" fmla="*/ 2147483647 w 62"/>
                <a:gd name="T85" fmla="*/ 2147483647 h 86"/>
                <a:gd name="T86" fmla="*/ 2147483647 w 62"/>
                <a:gd name="T87" fmla="*/ 2147483647 h 86"/>
                <a:gd name="T88" fmla="*/ 2147483647 w 62"/>
                <a:gd name="T89" fmla="*/ 2147483647 h 86"/>
                <a:gd name="T90" fmla="*/ 2147483647 w 62"/>
                <a:gd name="T91" fmla="*/ 2147483647 h 86"/>
                <a:gd name="T92" fmla="*/ 2147483647 w 62"/>
                <a:gd name="T93" fmla="*/ 2147483647 h 86"/>
                <a:gd name="T94" fmla="*/ 2147483647 w 62"/>
                <a:gd name="T95" fmla="*/ 2147483647 h 86"/>
                <a:gd name="T96" fmla="*/ 2147483647 w 62"/>
                <a:gd name="T97" fmla="*/ 2147483647 h 86"/>
                <a:gd name="T98" fmla="*/ 2147483647 w 62"/>
                <a:gd name="T99" fmla="*/ 2147483647 h 86"/>
                <a:gd name="T100" fmla="*/ 2147483647 w 62"/>
                <a:gd name="T101" fmla="*/ 2147483647 h 86"/>
                <a:gd name="T102" fmla="*/ 2147483647 w 62"/>
                <a:gd name="T103" fmla="*/ 2147483647 h 86"/>
                <a:gd name="T104" fmla="*/ 2147483647 w 62"/>
                <a:gd name="T105" fmla="*/ 2147483647 h 86"/>
                <a:gd name="T106" fmla="*/ 2147483647 w 62"/>
                <a:gd name="T107" fmla="*/ 2147483647 h 86"/>
                <a:gd name="T108" fmla="*/ 2147483647 w 62"/>
                <a:gd name="T109" fmla="*/ 2147483647 h 86"/>
                <a:gd name="T110" fmla="*/ 2147483647 w 62"/>
                <a:gd name="T111" fmla="*/ 2147483647 h 86"/>
                <a:gd name="T112" fmla="*/ 2147483647 w 62"/>
                <a:gd name="T113" fmla="*/ 2147483647 h 86"/>
                <a:gd name="T114" fmla="*/ 2147483647 w 62"/>
                <a:gd name="T115" fmla="*/ 2147483647 h 86"/>
                <a:gd name="T116" fmla="*/ 2147483647 w 62"/>
                <a:gd name="T117" fmla="*/ 2147483647 h 86"/>
                <a:gd name="T118" fmla="*/ 2147483647 w 62"/>
                <a:gd name="T119" fmla="*/ 2147483647 h 86"/>
                <a:gd name="T120" fmla="*/ 2147483647 w 62"/>
                <a:gd name="T121" fmla="*/ 2147483647 h 86"/>
                <a:gd name="T122" fmla="*/ 2147483647 w 62"/>
                <a:gd name="T123" fmla="*/ 2147483647 h 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
                <a:gd name="T187" fmla="*/ 0 h 86"/>
                <a:gd name="T188" fmla="*/ 62 w 62"/>
                <a:gd name="T189" fmla="*/ 86 h 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 h="86">
                  <a:moveTo>
                    <a:pt x="56" y="86"/>
                  </a:moveTo>
                  <a:lnTo>
                    <a:pt x="56" y="82"/>
                  </a:lnTo>
                  <a:lnTo>
                    <a:pt x="58" y="80"/>
                  </a:lnTo>
                  <a:lnTo>
                    <a:pt x="62" y="82"/>
                  </a:lnTo>
                  <a:lnTo>
                    <a:pt x="62" y="76"/>
                  </a:lnTo>
                  <a:lnTo>
                    <a:pt x="60" y="72"/>
                  </a:lnTo>
                  <a:lnTo>
                    <a:pt x="60" y="66"/>
                  </a:lnTo>
                  <a:lnTo>
                    <a:pt x="58" y="62"/>
                  </a:lnTo>
                  <a:lnTo>
                    <a:pt x="58" y="56"/>
                  </a:lnTo>
                  <a:lnTo>
                    <a:pt x="54" y="48"/>
                  </a:lnTo>
                  <a:lnTo>
                    <a:pt x="52" y="54"/>
                  </a:lnTo>
                  <a:lnTo>
                    <a:pt x="46" y="54"/>
                  </a:lnTo>
                  <a:lnTo>
                    <a:pt x="46" y="50"/>
                  </a:lnTo>
                  <a:lnTo>
                    <a:pt x="48" y="40"/>
                  </a:lnTo>
                  <a:lnTo>
                    <a:pt x="50" y="36"/>
                  </a:lnTo>
                  <a:lnTo>
                    <a:pt x="52" y="32"/>
                  </a:lnTo>
                  <a:lnTo>
                    <a:pt x="54" y="30"/>
                  </a:lnTo>
                  <a:lnTo>
                    <a:pt x="52" y="24"/>
                  </a:lnTo>
                  <a:lnTo>
                    <a:pt x="58" y="20"/>
                  </a:lnTo>
                  <a:lnTo>
                    <a:pt x="50" y="20"/>
                  </a:lnTo>
                  <a:lnTo>
                    <a:pt x="44" y="22"/>
                  </a:lnTo>
                  <a:lnTo>
                    <a:pt x="38" y="22"/>
                  </a:lnTo>
                  <a:lnTo>
                    <a:pt x="30" y="22"/>
                  </a:lnTo>
                  <a:lnTo>
                    <a:pt x="26" y="22"/>
                  </a:lnTo>
                  <a:lnTo>
                    <a:pt x="24" y="12"/>
                  </a:lnTo>
                  <a:lnTo>
                    <a:pt x="26" y="6"/>
                  </a:lnTo>
                  <a:lnTo>
                    <a:pt x="22" y="4"/>
                  </a:lnTo>
                  <a:lnTo>
                    <a:pt x="16" y="4"/>
                  </a:lnTo>
                  <a:lnTo>
                    <a:pt x="10" y="0"/>
                  </a:lnTo>
                  <a:lnTo>
                    <a:pt x="6" y="4"/>
                  </a:lnTo>
                  <a:lnTo>
                    <a:pt x="12" y="10"/>
                  </a:lnTo>
                  <a:lnTo>
                    <a:pt x="10" y="16"/>
                  </a:lnTo>
                  <a:lnTo>
                    <a:pt x="4" y="18"/>
                  </a:lnTo>
                  <a:lnTo>
                    <a:pt x="0" y="20"/>
                  </a:lnTo>
                  <a:lnTo>
                    <a:pt x="2" y="28"/>
                  </a:lnTo>
                  <a:lnTo>
                    <a:pt x="2" y="32"/>
                  </a:lnTo>
                  <a:lnTo>
                    <a:pt x="10" y="36"/>
                  </a:lnTo>
                  <a:lnTo>
                    <a:pt x="12" y="40"/>
                  </a:lnTo>
                  <a:lnTo>
                    <a:pt x="10" y="48"/>
                  </a:lnTo>
                  <a:lnTo>
                    <a:pt x="14" y="52"/>
                  </a:lnTo>
                  <a:lnTo>
                    <a:pt x="14" y="60"/>
                  </a:lnTo>
                  <a:lnTo>
                    <a:pt x="12" y="64"/>
                  </a:lnTo>
                  <a:lnTo>
                    <a:pt x="12" y="74"/>
                  </a:lnTo>
                  <a:lnTo>
                    <a:pt x="28" y="66"/>
                  </a:lnTo>
                  <a:lnTo>
                    <a:pt x="28" y="68"/>
                  </a:lnTo>
                  <a:lnTo>
                    <a:pt x="32" y="68"/>
                  </a:lnTo>
                  <a:lnTo>
                    <a:pt x="34" y="50"/>
                  </a:lnTo>
                  <a:lnTo>
                    <a:pt x="44" y="56"/>
                  </a:lnTo>
                  <a:lnTo>
                    <a:pt x="48" y="64"/>
                  </a:lnTo>
                  <a:lnTo>
                    <a:pt x="50" y="72"/>
                  </a:lnTo>
                  <a:lnTo>
                    <a:pt x="52" y="82"/>
                  </a:lnTo>
                  <a:lnTo>
                    <a:pt x="54" y="84"/>
                  </a:lnTo>
                  <a:lnTo>
                    <a:pt x="56" y="8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2" name="Freeform 680">
              <a:extLst>
                <a:ext uri="{FF2B5EF4-FFF2-40B4-BE49-F238E27FC236}">
                  <a16:creationId xmlns:a16="http://schemas.microsoft.com/office/drawing/2014/main" id="{66DFC7DE-E711-45DD-9945-E386B976BCD6}"/>
                </a:ext>
              </a:extLst>
            </p:cNvPr>
            <p:cNvSpPr>
              <a:spLocks/>
            </p:cNvSpPr>
            <p:nvPr/>
          </p:nvSpPr>
          <p:spPr bwMode="gray">
            <a:xfrm>
              <a:off x="2742936" y="3632013"/>
              <a:ext cx="11771" cy="14126"/>
            </a:xfrm>
            <a:custGeom>
              <a:avLst/>
              <a:gdLst>
                <a:gd name="T0" fmla="*/ 0 w 6"/>
                <a:gd name="T1" fmla="*/ 0 h 8"/>
                <a:gd name="T2" fmla="*/ 0 w 6"/>
                <a:gd name="T3" fmla="*/ 0 h 8"/>
                <a:gd name="T4" fmla="*/ 0 w 6"/>
                <a:gd name="T5" fmla="*/ 2147483647 h 8"/>
                <a:gd name="T6" fmla="*/ 0 w 6"/>
                <a:gd name="T7" fmla="*/ 2147483647 h 8"/>
                <a:gd name="T8" fmla="*/ 2147483647 w 6"/>
                <a:gd name="T9" fmla="*/ 2147483647 h 8"/>
                <a:gd name="T10" fmla="*/ 2147483647 w 6"/>
                <a:gd name="T11" fmla="*/ 2147483647 h 8"/>
                <a:gd name="T12" fmla="*/ 0 w 6"/>
                <a:gd name="T13" fmla="*/ 0 h 8"/>
                <a:gd name="T14" fmla="*/ 0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0" y="0"/>
                  </a:moveTo>
                  <a:lnTo>
                    <a:pt x="0" y="0"/>
                  </a:lnTo>
                  <a:lnTo>
                    <a:pt x="0" y="8"/>
                  </a:lnTo>
                  <a:lnTo>
                    <a:pt x="6" y="6"/>
                  </a:lnTo>
                  <a:lnTo>
                    <a:pt x="6" y="4"/>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3" name="Freeform 681">
              <a:extLst>
                <a:ext uri="{FF2B5EF4-FFF2-40B4-BE49-F238E27FC236}">
                  <a16:creationId xmlns:a16="http://schemas.microsoft.com/office/drawing/2014/main" id="{73950CE6-BAAC-48A5-A31A-39F66ED7F498}"/>
                </a:ext>
              </a:extLst>
            </p:cNvPr>
            <p:cNvSpPr>
              <a:spLocks noEditPoints="1"/>
            </p:cNvSpPr>
            <p:nvPr/>
          </p:nvSpPr>
          <p:spPr bwMode="gray">
            <a:xfrm>
              <a:off x="5334893" y="3154092"/>
              <a:ext cx="105938" cy="101235"/>
            </a:xfrm>
            <a:custGeom>
              <a:avLst/>
              <a:gdLst>
                <a:gd name="T0" fmla="*/ 0 w 58"/>
                <a:gd name="T1" fmla="*/ 2147483647 h 54"/>
                <a:gd name="T2" fmla="*/ 2147483647 w 58"/>
                <a:gd name="T3" fmla="*/ 2147483647 h 54"/>
                <a:gd name="T4" fmla="*/ 2147483647 w 58"/>
                <a:gd name="T5" fmla="*/ 2147483647 h 54"/>
                <a:gd name="T6" fmla="*/ 2147483647 w 58"/>
                <a:gd name="T7" fmla="*/ 2147483647 h 54"/>
                <a:gd name="T8" fmla="*/ 2147483647 w 58"/>
                <a:gd name="T9" fmla="*/ 2147483647 h 54"/>
                <a:gd name="T10" fmla="*/ 2147483647 w 58"/>
                <a:gd name="T11" fmla="*/ 2147483647 h 54"/>
                <a:gd name="T12" fmla="*/ 0 w 58"/>
                <a:gd name="T13" fmla="*/ 2147483647 h 54"/>
                <a:gd name="T14" fmla="*/ 2147483647 w 58"/>
                <a:gd name="T15" fmla="*/ 2147483647 h 54"/>
                <a:gd name="T16" fmla="*/ 2147483647 w 58"/>
                <a:gd name="T17" fmla="*/ 2147483647 h 54"/>
                <a:gd name="T18" fmla="*/ 2147483647 w 58"/>
                <a:gd name="T19" fmla="*/ 2147483647 h 54"/>
                <a:gd name="T20" fmla="*/ 2147483647 w 58"/>
                <a:gd name="T21" fmla="*/ 2147483647 h 54"/>
                <a:gd name="T22" fmla="*/ 2147483647 w 58"/>
                <a:gd name="T23" fmla="*/ 2147483647 h 54"/>
                <a:gd name="T24" fmla="*/ 2147483647 w 58"/>
                <a:gd name="T25" fmla="*/ 2147483647 h 54"/>
                <a:gd name="T26" fmla="*/ 2147483647 w 58"/>
                <a:gd name="T27" fmla="*/ 2147483647 h 54"/>
                <a:gd name="T28" fmla="*/ 2147483647 w 58"/>
                <a:gd name="T29" fmla="*/ 2147483647 h 54"/>
                <a:gd name="T30" fmla="*/ 2147483647 w 58"/>
                <a:gd name="T31" fmla="*/ 0 h 54"/>
                <a:gd name="T32" fmla="*/ 2147483647 w 58"/>
                <a:gd name="T33" fmla="*/ 2147483647 h 54"/>
                <a:gd name="T34" fmla="*/ 2147483647 w 58"/>
                <a:gd name="T35" fmla="*/ 2147483647 h 54"/>
                <a:gd name="T36" fmla="*/ 2147483647 w 58"/>
                <a:gd name="T37" fmla="*/ 2147483647 h 54"/>
                <a:gd name="T38" fmla="*/ 2147483647 w 58"/>
                <a:gd name="T39" fmla="*/ 2147483647 h 54"/>
                <a:gd name="T40" fmla="*/ 2147483647 w 58"/>
                <a:gd name="T41" fmla="*/ 2147483647 h 54"/>
                <a:gd name="T42" fmla="*/ 2147483647 w 58"/>
                <a:gd name="T43" fmla="*/ 2147483647 h 54"/>
                <a:gd name="T44" fmla="*/ 2147483647 w 58"/>
                <a:gd name="T45" fmla="*/ 2147483647 h 54"/>
                <a:gd name="T46" fmla="*/ 2147483647 w 58"/>
                <a:gd name="T47" fmla="*/ 2147483647 h 54"/>
                <a:gd name="T48" fmla="*/ 2147483647 w 58"/>
                <a:gd name="T49" fmla="*/ 2147483647 h 54"/>
                <a:gd name="T50" fmla="*/ 2147483647 w 58"/>
                <a:gd name="T51" fmla="*/ 2147483647 h 54"/>
                <a:gd name="T52" fmla="*/ 2147483647 w 58"/>
                <a:gd name="T53" fmla="*/ 2147483647 h 54"/>
                <a:gd name="T54" fmla="*/ 2147483647 w 58"/>
                <a:gd name="T55" fmla="*/ 2147483647 h 54"/>
                <a:gd name="T56" fmla="*/ 2147483647 w 58"/>
                <a:gd name="T57" fmla="*/ 2147483647 h 54"/>
                <a:gd name="T58" fmla="*/ 2147483647 w 58"/>
                <a:gd name="T59" fmla="*/ 2147483647 h 54"/>
                <a:gd name="T60" fmla="*/ 2147483647 w 58"/>
                <a:gd name="T61" fmla="*/ 2147483647 h 54"/>
                <a:gd name="T62" fmla="*/ 2147483647 w 58"/>
                <a:gd name="T63" fmla="*/ 2147483647 h 54"/>
                <a:gd name="T64" fmla="*/ 2147483647 w 58"/>
                <a:gd name="T65" fmla="*/ 2147483647 h 54"/>
                <a:gd name="T66" fmla="*/ 2147483647 w 58"/>
                <a:gd name="T67" fmla="*/ 2147483647 h 54"/>
                <a:gd name="T68" fmla="*/ 2147483647 w 58"/>
                <a:gd name="T69" fmla="*/ 2147483647 h 54"/>
                <a:gd name="T70" fmla="*/ 2147483647 w 58"/>
                <a:gd name="T71" fmla="*/ 2147483647 h 54"/>
                <a:gd name="T72" fmla="*/ 2147483647 w 58"/>
                <a:gd name="T73" fmla="*/ 2147483647 h 54"/>
                <a:gd name="T74" fmla="*/ 2147483647 w 58"/>
                <a:gd name="T75" fmla="*/ 2147483647 h 54"/>
                <a:gd name="T76" fmla="*/ 2147483647 w 58"/>
                <a:gd name="T77" fmla="*/ 2147483647 h 54"/>
                <a:gd name="T78" fmla="*/ 2147483647 w 58"/>
                <a:gd name="T79" fmla="*/ 2147483647 h 54"/>
                <a:gd name="T80" fmla="*/ 2147483647 w 58"/>
                <a:gd name="T81" fmla="*/ 2147483647 h 54"/>
                <a:gd name="T82" fmla="*/ 2147483647 w 58"/>
                <a:gd name="T83" fmla="*/ 2147483647 h 54"/>
                <a:gd name="T84" fmla="*/ 2147483647 w 58"/>
                <a:gd name="T85" fmla="*/ 2147483647 h 54"/>
                <a:gd name="T86" fmla="*/ 2147483647 w 58"/>
                <a:gd name="T87" fmla="*/ 2147483647 h 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54"/>
                <a:gd name="T134" fmla="*/ 58 w 58"/>
                <a:gd name="T135" fmla="*/ 54 h 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54">
                  <a:moveTo>
                    <a:pt x="0" y="38"/>
                  </a:moveTo>
                  <a:lnTo>
                    <a:pt x="0" y="38"/>
                  </a:lnTo>
                  <a:lnTo>
                    <a:pt x="2" y="42"/>
                  </a:lnTo>
                  <a:lnTo>
                    <a:pt x="4" y="44"/>
                  </a:lnTo>
                  <a:lnTo>
                    <a:pt x="6" y="46"/>
                  </a:lnTo>
                  <a:lnTo>
                    <a:pt x="8" y="48"/>
                  </a:lnTo>
                  <a:lnTo>
                    <a:pt x="10" y="50"/>
                  </a:lnTo>
                  <a:lnTo>
                    <a:pt x="16" y="48"/>
                  </a:lnTo>
                  <a:lnTo>
                    <a:pt x="16" y="46"/>
                  </a:lnTo>
                  <a:lnTo>
                    <a:pt x="12" y="42"/>
                  </a:lnTo>
                  <a:lnTo>
                    <a:pt x="8" y="38"/>
                  </a:lnTo>
                  <a:lnTo>
                    <a:pt x="4" y="38"/>
                  </a:lnTo>
                  <a:lnTo>
                    <a:pt x="0" y="38"/>
                  </a:lnTo>
                  <a:close/>
                  <a:moveTo>
                    <a:pt x="40" y="54"/>
                  </a:moveTo>
                  <a:lnTo>
                    <a:pt x="40" y="54"/>
                  </a:lnTo>
                  <a:lnTo>
                    <a:pt x="42" y="50"/>
                  </a:lnTo>
                  <a:lnTo>
                    <a:pt x="44" y="48"/>
                  </a:lnTo>
                  <a:lnTo>
                    <a:pt x="52" y="24"/>
                  </a:lnTo>
                  <a:lnTo>
                    <a:pt x="58" y="24"/>
                  </a:lnTo>
                  <a:lnTo>
                    <a:pt x="50" y="20"/>
                  </a:lnTo>
                  <a:lnTo>
                    <a:pt x="46" y="14"/>
                  </a:lnTo>
                  <a:lnTo>
                    <a:pt x="44" y="8"/>
                  </a:lnTo>
                  <a:lnTo>
                    <a:pt x="40" y="12"/>
                  </a:lnTo>
                  <a:lnTo>
                    <a:pt x="36" y="16"/>
                  </a:lnTo>
                  <a:lnTo>
                    <a:pt x="34" y="14"/>
                  </a:lnTo>
                  <a:lnTo>
                    <a:pt x="32" y="10"/>
                  </a:lnTo>
                  <a:lnTo>
                    <a:pt x="30" y="8"/>
                  </a:lnTo>
                  <a:lnTo>
                    <a:pt x="28" y="6"/>
                  </a:lnTo>
                  <a:lnTo>
                    <a:pt x="22" y="0"/>
                  </a:lnTo>
                  <a:lnTo>
                    <a:pt x="20" y="2"/>
                  </a:lnTo>
                  <a:lnTo>
                    <a:pt x="18" y="4"/>
                  </a:lnTo>
                  <a:lnTo>
                    <a:pt x="20" y="6"/>
                  </a:lnTo>
                  <a:lnTo>
                    <a:pt x="22" y="8"/>
                  </a:lnTo>
                  <a:lnTo>
                    <a:pt x="22" y="10"/>
                  </a:lnTo>
                  <a:lnTo>
                    <a:pt x="20" y="12"/>
                  </a:lnTo>
                  <a:lnTo>
                    <a:pt x="18" y="10"/>
                  </a:lnTo>
                  <a:lnTo>
                    <a:pt x="16" y="8"/>
                  </a:lnTo>
                  <a:lnTo>
                    <a:pt x="14" y="6"/>
                  </a:lnTo>
                  <a:lnTo>
                    <a:pt x="10" y="4"/>
                  </a:lnTo>
                  <a:lnTo>
                    <a:pt x="8" y="4"/>
                  </a:lnTo>
                  <a:lnTo>
                    <a:pt x="6" y="6"/>
                  </a:lnTo>
                  <a:lnTo>
                    <a:pt x="4" y="8"/>
                  </a:lnTo>
                  <a:lnTo>
                    <a:pt x="2" y="10"/>
                  </a:lnTo>
                  <a:lnTo>
                    <a:pt x="2" y="14"/>
                  </a:lnTo>
                  <a:lnTo>
                    <a:pt x="4" y="16"/>
                  </a:lnTo>
                  <a:lnTo>
                    <a:pt x="6" y="16"/>
                  </a:lnTo>
                  <a:lnTo>
                    <a:pt x="8" y="14"/>
                  </a:lnTo>
                  <a:lnTo>
                    <a:pt x="8" y="16"/>
                  </a:lnTo>
                  <a:lnTo>
                    <a:pt x="10" y="18"/>
                  </a:lnTo>
                  <a:lnTo>
                    <a:pt x="10" y="20"/>
                  </a:lnTo>
                  <a:lnTo>
                    <a:pt x="10" y="22"/>
                  </a:lnTo>
                  <a:lnTo>
                    <a:pt x="8" y="24"/>
                  </a:lnTo>
                  <a:lnTo>
                    <a:pt x="14" y="26"/>
                  </a:lnTo>
                  <a:lnTo>
                    <a:pt x="16" y="28"/>
                  </a:lnTo>
                  <a:lnTo>
                    <a:pt x="14" y="32"/>
                  </a:lnTo>
                  <a:lnTo>
                    <a:pt x="14" y="34"/>
                  </a:lnTo>
                  <a:lnTo>
                    <a:pt x="18" y="36"/>
                  </a:lnTo>
                  <a:lnTo>
                    <a:pt x="20" y="36"/>
                  </a:lnTo>
                  <a:lnTo>
                    <a:pt x="22" y="36"/>
                  </a:lnTo>
                  <a:lnTo>
                    <a:pt x="22" y="42"/>
                  </a:lnTo>
                  <a:lnTo>
                    <a:pt x="22" y="44"/>
                  </a:lnTo>
                  <a:lnTo>
                    <a:pt x="24" y="42"/>
                  </a:lnTo>
                  <a:lnTo>
                    <a:pt x="28" y="38"/>
                  </a:lnTo>
                  <a:lnTo>
                    <a:pt x="30" y="38"/>
                  </a:lnTo>
                  <a:lnTo>
                    <a:pt x="30" y="36"/>
                  </a:lnTo>
                  <a:lnTo>
                    <a:pt x="32" y="36"/>
                  </a:lnTo>
                  <a:lnTo>
                    <a:pt x="36" y="38"/>
                  </a:lnTo>
                  <a:lnTo>
                    <a:pt x="38" y="40"/>
                  </a:lnTo>
                  <a:lnTo>
                    <a:pt x="36" y="42"/>
                  </a:lnTo>
                  <a:lnTo>
                    <a:pt x="34" y="42"/>
                  </a:lnTo>
                  <a:lnTo>
                    <a:pt x="32" y="44"/>
                  </a:lnTo>
                  <a:lnTo>
                    <a:pt x="32" y="46"/>
                  </a:lnTo>
                  <a:lnTo>
                    <a:pt x="34" y="48"/>
                  </a:lnTo>
                  <a:lnTo>
                    <a:pt x="36" y="50"/>
                  </a:lnTo>
                  <a:lnTo>
                    <a:pt x="40" y="54"/>
                  </a:lnTo>
                  <a:close/>
                  <a:moveTo>
                    <a:pt x="26" y="34"/>
                  </a:moveTo>
                  <a:lnTo>
                    <a:pt x="26" y="34"/>
                  </a:lnTo>
                  <a:lnTo>
                    <a:pt x="22" y="28"/>
                  </a:lnTo>
                  <a:lnTo>
                    <a:pt x="18" y="24"/>
                  </a:lnTo>
                  <a:lnTo>
                    <a:pt x="18" y="22"/>
                  </a:lnTo>
                  <a:lnTo>
                    <a:pt x="24" y="20"/>
                  </a:lnTo>
                  <a:lnTo>
                    <a:pt x="26" y="24"/>
                  </a:lnTo>
                  <a:lnTo>
                    <a:pt x="24" y="24"/>
                  </a:lnTo>
                  <a:lnTo>
                    <a:pt x="24" y="28"/>
                  </a:lnTo>
                  <a:lnTo>
                    <a:pt x="28" y="28"/>
                  </a:lnTo>
                  <a:lnTo>
                    <a:pt x="30" y="32"/>
                  </a:lnTo>
                  <a:lnTo>
                    <a:pt x="28" y="34"/>
                  </a:lnTo>
                  <a:lnTo>
                    <a:pt x="26" y="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4" name="Freeform 682">
              <a:extLst>
                <a:ext uri="{FF2B5EF4-FFF2-40B4-BE49-F238E27FC236}">
                  <a16:creationId xmlns:a16="http://schemas.microsoft.com/office/drawing/2014/main" id="{9783A358-803B-433B-8733-1B5287627740}"/>
                </a:ext>
              </a:extLst>
            </p:cNvPr>
            <p:cNvSpPr>
              <a:spLocks/>
            </p:cNvSpPr>
            <p:nvPr/>
          </p:nvSpPr>
          <p:spPr bwMode="gray">
            <a:xfrm>
              <a:off x="4598031" y="2935142"/>
              <a:ext cx="148313" cy="77691"/>
            </a:xfrm>
            <a:custGeom>
              <a:avLst/>
              <a:gdLst>
                <a:gd name="T0" fmla="*/ 2147483647 w 80"/>
                <a:gd name="T1" fmla="*/ 2147483647 h 42"/>
                <a:gd name="T2" fmla="*/ 2147483647 w 80"/>
                <a:gd name="T3" fmla="*/ 2147483647 h 42"/>
                <a:gd name="T4" fmla="*/ 0 w 80"/>
                <a:gd name="T5" fmla="*/ 2147483647 h 42"/>
                <a:gd name="T6" fmla="*/ 2147483647 w 80"/>
                <a:gd name="T7" fmla="*/ 2147483647 h 42"/>
                <a:gd name="T8" fmla="*/ 2147483647 w 80"/>
                <a:gd name="T9" fmla="*/ 2147483647 h 42"/>
                <a:gd name="T10" fmla="*/ 2147483647 w 80"/>
                <a:gd name="T11" fmla="*/ 2147483647 h 42"/>
                <a:gd name="T12" fmla="*/ 2147483647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2147483647 w 80"/>
                <a:gd name="T27" fmla="*/ 2147483647 h 42"/>
                <a:gd name="T28" fmla="*/ 2147483647 w 80"/>
                <a:gd name="T29" fmla="*/ 2147483647 h 42"/>
                <a:gd name="T30" fmla="*/ 2147483647 w 80"/>
                <a:gd name="T31" fmla="*/ 2147483647 h 42"/>
                <a:gd name="T32" fmla="*/ 2147483647 w 80"/>
                <a:gd name="T33" fmla="*/ 2147483647 h 42"/>
                <a:gd name="T34" fmla="*/ 2147483647 w 80"/>
                <a:gd name="T35" fmla="*/ 2147483647 h 42"/>
                <a:gd name="T36" fmla="*/ 2147483647 w 80"/>
                <a:gd name="T37" fmla="*/ 2147483647 h 42"/>
                <a:gd name="T38" fmla="*/ 2147483647 w 80"/>
                <a:gd name="T39" fmla="*/ 2147483647 h 42"/>
                <a:gd name="T40" fmla="*/ 2147483647 w 80"/>
                <a:gd name="T41" fmla="*/ 2147483647 h 42"/>
                <a:gd name="T42" fmla="*/ 2147483647 w 80"/>
                <a:gd name="T43" fmla="*/ 0 h 42"/>
                <a:gd name="T44" fmla="*/ 2147483647 w 80"/>
                <a:gd name="T45" fmla="*/ 0 h 42"/>
                <a:gd name="T46" fmla="*/ 2147483647 w 80"/>
                <a:gd name="T47" fmla="*/ 2147483647 h 42"/>
                <a:gd name="T48" fmla="*/ 2147483647 w 80"/>
                <a:gd name="T49" fmla="*/ 2147483647 h 42"/>
                <a:gd name="T50" fmla="*/ 2147483647 w 80"/>
                <a:gd name="T51" fmla="*/ 2147483647 h 42"/>
                <a:gd name="T52" fmla="*/ 2147483647 w 80"/>
                <a:gd name="T53" fmla="*/ 2147483647 h 42"/>
                <a:gd name="T54" fmla="*/ 2147483647 w 80"/>
                <a:gd name="T55" fmla="*/ 2147483647 h 42"/>
                <a:gd name="T56" fmla="*/ 2147483647 w 80"/>
                <a:gd name="T57" fmla="*/ 2147483647 h 42"/>
                <a:gd name="T58" fmla="*/ 2147483647 w 80"/>
                <a:gd name="T59" fmla="*/ 2147483647 h 42"/>
                <a:gd name="T60" fmla="*/ 2147483647 w 80"/>
                <a:gd name="T61" fmla="*/ 2147483647 h 42"/>
                <a:gd name="T62" fmla="*/ 2147483647 w 80"/>
                <a:gd name="T63" fmla="*/ 2147483647 h 42"/>
                <a:gd name="T64" fmla="*/ 2147483647 w 80"/>
                <a:gd name="T65" fmla="*/ 2147483647 h 42"/>
                <a:gd name="T66" fmla="*/ 2147483647 w 80"/>
                <a:gd name="T67" fmla="*/ 2147483647 h 42"/>
                <a:gd name="T68" fmla="*/ 2147483647 w 80"/>
                <a:gd name="T69" fmla="*/ 2147483647 h 42"/>
                <a:gd name="T70" fmla="*/ 2147483647 w 80"/>
                <a:gd name="T71" fmla="*/ 2147483647 h 42"/>
                <a:gd name="T72" fmla="*/ 2147483647 w 80"/>
                <a:gd name="T73" fmla="*/ 2147483647 h 42"/>
                <a:gd name="T74" fmla="*/ 2147483647 w 80"/>
                <a:gd name="T75" fmla="*/ 2147483647 h 42"/>
                <a:gd name="T76" fmla="*/ 2147483647 w 80"/>
                <a:gd name="T77" fmla="*/ 2147483647 h 42"/>
                <a:gd name="T78" fmla="*/ 2147483647 w 80"/>
                <a:gd name="T79" fmla="*/ 2147483647 h 42"/>
                <a:gd name="T80" fmla="*/ 2147483647 w 80"/>
                <a:gd name="T81" fmla="*/ 2147483647 h 42"/>
                <a:gd name="T82" fmla="*/ 2147483647 w 80"/>
                <a:gd name="T83" fmla="*/ 2147483647 h 42"/>
                <a:gd name="T84" fmla="*/ 2147483647 w 80"/>
                <a:gd name="T85" fmla="*/ 2147483647 h 42"/>
                <a:gd name="T86" fmla="*/ 2147483647 w 80"/>
                <a:gd name="T87" fmla="*/ 2147483647 h 42"/>
                <a:gd name="T88" fmla="*/ 2147483647 w 80"/>
                <a:gd name="T89" fmla="*/ 2147483647 h 42"/>
                <a:gd name="T90" fmla="*/ 2147483647 w 80"/>
                <a:gd name="T91" fmla="*/ 2147483647 h 42"/>
                <a:gd name="T92" fmla="*/ 2147483647 w 80"/>
                <a:gd name="T93" fmla="*/ 2147483647 h 42"/>
                <a:gd name="T94" fmla="*/ 2147483647 w 80"/>
                <a:gd name="T95" fmla="*/ 2147483647 h 42"/>
                <a:gd name="T96" fmla="*/ 2147483647 w 80"/>
                <a:gd name="T97" fmla="*/ 2147483647 h 42"/>
                <a:gd name="T98" fmla="*/ 2147483647 w 80"/>
                <a:gd name="T99" fmla="*/ 2147483647 h 42"/>
                <a:gd name="T100" fmla="*/ 2147483647 w 80"/>
                <a:gd name="T101" fmla="*/ 2147483647 h 42"/>
                <a:gd name="T102" fmla="*/ 2147483647 w 80"/>
                <a:gd name="T103" fmla="*/ 2147483647 h 42"/>
                <a:gd name="T104" fmla="*/ 2147483647 w 80"/>
                <a:gd name="T105" fmla="*/ 2147483647 h 42"/>
                <a:gd name="T106" fmla="*/ 2147483647 w 80"/>
                <a:gd name="T107" fmla="*/ 2147483647 h 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0"/>
                <a:gd name="T163" fmla="*/ 0 h 42"/>
                <a:gd name="T164" fmla="*/ 80 w 80"/>
                <a:gd name="T165" fmla="*/ 42 h 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0" h="42">
                  <a:moveTo>
                    <a:pt x="4" y="38"/>
                  </a:moveTo>
                  <a:lnTo>
                    <a:pt x="4" y="38"/>
                  </a:lnTo>
                  <a:lnTo>
                    <a:pt x="2" y="36"/>
                  </a:lnTo>
                  <a:lnTo>
                    <a:pt x="0" y="34"/>
                  </a:lnTo>
                  <a:lnTo>
                    <a:pt x="0" y="32"/>
                  </a:lnTo>
                  <a:lnTo>
                    <a:pt x="2" y="30"/>
                  </a:lnTo>
                  <a:lnTo>
                    <a:pt x="4" y="28"/>
                  </a:lnTo>
                  <a:lnTo>
                    <a:pt x="6" y="26"/>
                  </a:lnTo>
                  <a:lnTo>
                    <a:pt x="12" y="24"/>
                  </a:lnTo>
                  <a:lnTo>
                    <a:pt x="14" y="24"/>
                  </a:lnTo>
                  <a:lnTo>
                    <a:pt x="16" y="22"/>
                  </a:lnTo>
                  <a:lnTo>
                    <a:pt x="20" y="22"/>
                  </a:lnTo>
                  <a:lnTo>
                    <a:pt x="24" y="22"/>
                  </a:lnTo>
                  <a:lnTo>
                    <a:pt x="26" y="22"/>
                  </a:lnTo>
                  <a:lnTo>
                    <a:pt x="30" y="24"/>
                  </a:lnTo>
                  <a:lnTo>
                    <a:pt x="32" y="24"/>
                  </a:lnTo>
                  <a:lnTo>
                    <a:pt x="32" y="22"/>
                  </a:lnTo>
                  <a:lnTo>
                    <a:pt x="30" y="18"/>
                  </a:lnTo>
                  <a:lnTo>
                    <a:pt x="28" y="16"/>
                  </a:lnTo>
                  <a:lnTo>
                    <a:pt x="30" y="16"/>
                  </a:lnTo>
                  <a:lnTo>
                    <a:pt x="32" y="14"/>
                  </a:lnTo>
                  <a:lnTo>
                    <a:pt x="36" y="12"/>
                  </a:lnTo>
                  <a:lnTo>
                    <a:pt x="36" y="10"/>
                  </a:lnTo>
                  <a:lnTo>
                    <a:pt x="38" y="6"/>
                  </a:lnTo>
                  <a:lnTo>
                    <a:pt x="38" y="4"/>
                  </a:lnTo>
                  <a:lnTo>
                    <a:pt x="42" y="4"/>
                  </a:lnTo>
                  <a:lnTo>
                    <a:pt x="46" y="6"/>
                  </a:lnTo>
                  <a:lnTo>
                    <a:pt x="48" y="8"/>
                  </a:lnTo>
                  <a:lnTo>
                    <a:pt x="50" y="6"/>
                  </a:lnTo>
                  <a:lnTo>
                    <a:pt x="52" y="2"/>
                  </a:lnTo>
                  <a:lnTo>
                    <a:pt x="54" y="0"/>
                  </a:lnTo>
                  <a:lnTo>
                    <a:pt x="56" y="0"/>
                  </a:lnTo>
                  <a:lnTo>
                    <a:pt x="58" y="0"/>
                  </a:lnTo>
                  <a:lnTo>
                    <a:pt x="62" y="2"/>
                  </a:lnTo>
                  <a:lnTo>
                    <a:pt x="66" y="4"/>
                  </a:lnTo>
                  <a:lnTo>
                    <a:pt x="70" y="4"/>
                  </a:lnTo>
                  <a:lnTo>
                    <a:pt x="78" y="4"/>
                  </a:lnTo>
                  <a:lnTo>
                    <a:pt x="76" y="6"/>
                  </a:lnTo>
                  <a:lnTo>
                    <a:pt x="76" y="10"/>
                  </a:lnTo>
                  <a:lnTo>
                    <a:pt x="78" y="10"/>
                  </a:lnTo>
                  <a:lnTo>
                    <a:pt x="80" y="16"/>
                  </a:lnTo>
                  <a:lnTo>
                    <a:pt x="78" y="16"/>
                  </a:lnTo>
                  <a:lnTo>
                    <a:pt x="78" y="18"/>
                  </a:lnTo>
                  <a:lnTo>
                    <a:pt x="78" y="20"/>
                  </a:lnTo>
                  <a:lnTo>
                    <a:pt x="78" y="24"/>
                  </a:lnTo>
                  <a:lnTo>
                    <a:pt x="76" y="28"/>
                  </a:lnTo>
                  <a:lnTo>
                    <a:pt x="74" y="28"/>
                  </a:lnTo>
                  <a:lnTo>
                    <a:pt x="72" y="28"/>
                  </a:lnTo>
                  <a:lnTo>
                    <a:pt x="70" y="32"/>
                  </a:lnTo>
                  <a:lnTo>
                    <a:pt x="66" y="34"/>
                  </a:lnTo>
                  <a:lnTo>
                    <a:pt x="62" y="34"/>
                  </a:lnTo>
                  <a:lnTo>
                    <a:pt x="58" y="34"/>
                  </a:lnTo>
                  <a:lnTo>
                    <a:pt x="56" y="34"/>
                  </a:lnTo>
                  <a:lnTo>
                    <a:pt x="54" y="36"/>
                  </a:lnTo>
                  <a:lnTo>
                    <a:pt x="50" y="38"/>
                  </a:lnTo>
                  <a:lnTo>
                    <a:pt x="46" y="38"/>
                  </a:lnTo>
                  <a:lnTo>
                    <a:pt x="42" y="38"/>
                  </a:lnTo>
                  <a:lnTo>
                    <a:pt x="40" y="40"/>
                  </a:lnTo>
                  <a:lnTo>
                    <a:pt x="38" y="42"/>
                  </a:lnTo>
                  <a:lnTo>
                    <a:pt x="36" y="42"/>
                  </a:lnTo>
                  <a:lnTo>
                    <a:pt x="28" y="42"/>
                  </a:lnTo>
                  <a:lnTo>
                    <a:pt x="26" y="42"/>
                  </a:lnTo>
                  <a:lnTo>
                    <a:pt x="24" y="42"/>
                  </a:lnTo>
                  <a:lnTo>
                    <a:pt x="22" y="40"/>
                  </a:lnTo>
                  <a:lnTo>
                    <a:pt x="18" y="40"/>
                  </a:lnTo>
                  <a:lnTo>
                    <a:pt x="16" y="40"/>
                  </a:lnTo>
                  <a:lnTo>
                    <a:pt x="14" y="38"/>
                  </a:lnTo>
                  <a:lnTo>
                    <a:pt x="12" y="36"/>
                  </a:lnTo>
                  <a:lnTo>
                    <a:pt x="12" y="38"/>
                  </a:lnTo>
                  <a:lnTo>
                    <a:pt x="10" y="40"/>
                  </a:lnTo>
                  <a:lnTo>
                    <a:pt x="8" y="38"/>
                  </a:lnTo>
                  <a:lnTo>
                    <a:pt x="6" y="38"/>
                  </a:lnTo>
                  <a:lnTo>
                    <a:pt x="4" y="3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5" name="Freeform 683">
              <a:extLst>
                <a:ext uri="{FF2B5EF4-FFF2-40B4-BE49-F238E27FC236}">
                  <a16:creationId xmlns:a16="http://schemas.microsoft.com/office/drawing/2014/main" id="{314B3791-F3D3-4F36-B621-086AEEABFB24}"/>
                </a:ext>
              </a:extLst>
            </p:cNvPr>
            <p:cNvSpPr>
              <a:spLocks noEditPoints="1"/>
            </p:cNvSpPr>
            <p:nvPr/>
          </p:nvSpPr>
          <p:spPr bwMode="gray">
            <a:xfrm>
              <a:off x="6752108" y="4590207"/>
              <a:ext cx="835735" cy="901692"/>
            </a:xfrm>
            <a:custGeom>
              <a:avLst/>
              <a:gdLst>
                <a:gd name="T0" fmla="*/ 2147483647 w 452"/>
                <a:gd name="T1" fmla="*/ 2147483647 h 486"/>
                <a:gd name="T2" fmla="*/ 2147483647 w 452"/>
                <a:gd name="T3" fmla="*/ 2147483647 h 486"/>
                <a:gd name="T4" fmla="*/ 2147483647 w 452"/>
                <a:gd name="T5" fmla="*/ 2147483647 h 486"/>
                <a:gd name="T6" fmla="*/ 2147483647 w 452"/>
                <a:gd name="T7" fmla="*/ 2147483647 h 486"/>
                <a:gd name="T8" fmla="*/ 2147483647 w 452"/>
                <a:gd name="T9" fmla="*/ 2147483647 h 486"/>
                <a:gd name="T10" fmla="*/ 2147483647 w 452"/>
                <a:gd name="T11" fmla="*/ 2147483647 h 486"/>
                <a:gd name="T12" fmla="*/ 2147483647 w 452"/>
                <a:gd name="T13" fmla="*/ 2147483647 h 486"/>
                <a:gd name="T14" fmla="*/ 2147483647 w 452"/>
                <a:gd name="T15" fmla="*/ 2147483647 h 486"/>
                <a:gd name="T16" fmla="*/ 2147483647 w 452"/>
                <a:gd name="T17" fmla="*/ 2147483647 h 486"/>
                <a:gd name="T18" fmla="*/ 2147483647 w 452"/>
                <a:gd name="T19" fmla="*/ 2147483647 h 486"/>
                <a:gd name="T20" fmla="*/ 2147483647 w 452"/>
                <a:gd name="T21" fmla="*/ 2147483647 h 486"/>
                <a:gd name="T22" fmla="*/ 2147483647 w 452"/>
                <a:gd name="T23" fmla="*/ 2147483647 h 486"/>
                <a:gd name="T24" fmla="*/ 2147483647 w 452"/>
                <a:gd name="T25" fmla="*/ 2147483647 h 486"/>
                <a:gd name="T26" fmla="*/ 2147483647 w 452"/>
                <a:gd name="T27" fmla="*/ 2147483647 h 486"/>
                <a:gd name="T28" fmla="*/ 2147483647 w 452"/>
                <a:gd name="T29" fmla="*/ 2147483647 h 486"/>
                <a:gd name="T30" fmla="*/ 2147483647 w 452"/>
                <a:gd name="T31" fmla="*/ 2147483647 h 486"/>
                <a:gd name="T32" fmla="*/ 2147483647 w 452"/>
                <a:gd name="T33" fmla="*/ 2147483647 h 486"/>
                <a:gd name="T34" fmla="*/ 2147483647 w 452"/>
                <a:gd name="T35" fmla="*/ 2147483647 h 486"/>
                <a:gd name="T36" fmla="*/ 2147483647 w 452"/>
                <a:gd name="T37" fmla="*/ 2147483647 h 486"/>
                <a:gd name="T38" fmla="*/ 2147483647 w 452"/>
                <a:gd name="T39" fmla="*/ 2147483647 h 486"/>
                <a:gd name="T40" fmla="*/ 2147483647 w 452"/>
                <a:gd name="T41" fmla="*/ 2147483647 h 486"/>
                <a:gd name="T42" fmla="*/ 2147483647 w 452"/>
                <a:gd name="T43" fmla="*/ 2147483647 h 486"/>
                <a:gd name="T44" fmla="*/ 2147483647 w 452"/>
                <a:gd name="T45" fmla="*/ 2147483647 h 486"/>
                <a:gd name="T46" fmla="*/ 2147483647 w 452"/>
                <a:gd name="T47" fmla="*/ 2147483647 h 486"/>
                <a:gd name="T48" fmla="*/ 2147483647 w 452"/>
                <a:gd name="T49" fmla="*/ 2147483647 h 486"/>
                <a:gd name="T50" fmla="*/ 2147483647 w 452"/>
                <a:gd name="T51" fmla="*/ 0 h 486"/>
                <a:gd name="T52" fmla="*/ 2147483647 w 452"/>
                <a:gd name="T53" fmla="*/ 2147483647 h 486"/>
                <a:gd name="T54" fmla="*/ 2147483647 w 452"/>
                <a:gd name="T55" fmla="*/ 2147483647 h 486"/>
                <a:gd name="T56" fmla="*/ 2147483647 w 452"/>
                <a:gd name="T57" fmla="*/ 2147483647 h 486"/>
                <a:gd name="T58" fmla="*/ 2147483647 w 452"/>
                <a:gd name="T59" fmla="*/ 2147483647 h 486"/>
                <a:gd name="T60" fmla="*/ 2147483647 w 452"/>
                <a:gd name="T61" fmla="*/ 2147483647 h 486"/>
                <a:gd name="T62" fmla="*/ 2147483647 w 452"/>
                <a:gd name="T63" fmla="*/ 2147483647 h 486"/>
                <a:gd name="T64" fmla="*/ 2147483647 w 452"/>
                <a:gd name="T65" fmla="*/ 2147483647 h 486"/>
                <a:gd name="T66" fmla="*/ 2147483647 w 452"/>
                <a:gd name="T67" fmla="*/ 2147483647 h 486"/>
                <a:gd name="T68" fmla="*/ 2147483647 w 452"/>
                <a:gd name="T69" fmla="*/ 2147483647 h 486"/>
                <a:gd name="T70" fmla="*/ 2147483647 w 452"/>
                <a:gd name="T71" fmla="*/ 2147483647 h 486"/>
                <a:gd name="T72" fmla="*/ 2147483647 w 452"/>
                <a:gd name="T73" fmla="*/ 2147483647 h 486"/>
                <a:gd name="T74" fmla="*/ 2147483647 w 452"/>
                <a:gd name="T75" fmla="*/ 2147483647 h 486"/>
                <a:gd name="T76" fmla="*/ 2147483647 w 452"/>
                <a:gd name="T77" fmla="*/ 2147483647 h 486"/>
                <a:gd name="T78" fmla="*/ 2147483647 w 452"/>
                <a:gd name="T79" fmla="*/ 2147483647 h 486"/>
                <a:gd name="T80" fmla="*/ 2147483647 w 452"/>
                <a:gd name="T81" fmla="*/ 2147483647 h 486"/>
                <a:gd name="T82" fmla="*/ 2147483647 w 452"/>
                <a:gd name="T83" fmla="*/ 2147483647 h 486"/>
                <a:gd name="T84" fmla="*/ 2147483647 w 452"/>
                <a:gd name="T85" fmla="*/ 2147483647 h 486"/>
                <a:gd name="T86" fmla="*/ 2147483647 w 452"/>
                <a:gd name="T87" fmla="*/ 2147483647 h 486"/>
                <a:gd name="T88" fmla="*/ 2147483647 w 452"/>
                <a:gd name="T89" fmla="*/ 2147483647 h 486"/>
                <a:gd name="T90" fmla="*/ 2147483647 w 452"/>
                <a:gd name="T91" fmla="*/ 2147483647 h 486"/>
                <a:gd name="T92" fmla="*/ 2147483647 w 452"/>
                <a:gd name="T93" fmla="*/ 2147483647 h 486"/>
                <a:gd name="T94" fmla="*/ 2147483647 w 452"/>
                <a:gd name="T95" fmla="*/ 2147483647 h 486"/>
                <a:gd name="T96" fmla="*/ 2147483647 w 452"/>
                <a:gd name="T97" fmla="*/ 2147483647 h 486"/>
                <a:gd name="T98" fmla="*/ 2147483647 w 452"/>
                <a:gd name="T99" fmla="*/ 2147483647 h 486"/>
                <a:gd name="T100" fmla="*/ 2147483647 w 452"/>
                <a:gd name="T101" fmla="*/ 2147483647 h 486"/>
                <a:gd name="T102" fmla="*/ 2147483647 w 452"/>
                <a:gd name="T103" fmla="*/ 2147483647 h 486"/>
                <a:gd name="T104" fmla="*/ 2147483647 w 452"/>
                <a:gd name="T105" fmla="*/ 2147483647 h 486"/>
                <a:gd name="T106" fmla="*/ 2147483647 w 452"/>
                <a:gd name="T107" fmla="*/ 2147483647 h 486"/>
                <a:gd name="T108" fmla="*/ 2147483647 w 452"/>
                <a:gd name="T109" fmla="*/ 2147483647 h 486"/>
                <a:gd name="T110" fmla="*/ 2147483647 w 452"/>
                <a:gd name="T111" fmla="*/ 2147483647 h 486"/>
                <a:gd name="T112" fmla="*/ 2147483647 w 452"/>
                <a:gd name="T113" fmla="*/ 2147483647 h 486"/>
                <a:gd name="T114" fmla="*/ 2147483647 w 452"/>
                <a:gd name="T115" fmla="*/ 2147483647 h 486"/>
                <a:gd name="T116" fmla="*/ 2147483647 w 452"/>
                <a:gd name="T117" fmla="*/ 2147483647 h 486"/>
                <a:gd name="T118" fmla="*/ 2147483647 w 452"/>
                <a:gd name="T119" fmla="*/ 2147483647 h 4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2"/>
                <a:gd name="T181" fmla="*/ 0 h 486"/>
                <a:gd name="T182" fmla="*/ 452 w 452"/>
                <a:gd name="T183" fmla="*/ 486 h 4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2" h="486">
                  <a:moveTo>
                    <a:pt x="20" y="248"/>
                  </a:moveTo>
                  <a:lnTo>
                    <a:pt x="20" y="248"/>
                  </a:lnTo>
                  <a:lnTo>
                    <a:pt x="20" y="250"/>
                  </a:lnTo>
                  <a:lnTo>
                    <a:pt x="18" y="252"/>
                  </a:lnTo>
                  <a:lnTo>
                    <a:pt x="18" y="254"/>
                  </a:lnTo>
                  <a:lnTo>
                    <a:pt x="20" y="258"/>
                  </a:lnTo>
                  <a:lnTo>
                    <a:pt x="22" y="264"/>
                  </a:lnTo>
                  <a:lnTo>
                    <a:pt x="22" y="280"/>
                  </a:lnTo>
                  <a:lnTo>
                    <a:pt x="26" y="282"/>
                  </a:lnTo>
                  <a:lnTo>
                    <a:pt x="28" y="290"/>
                  </a:lnTo>
                  <a:lnTo>
                    <a:pt x="28" y="298"/>
                  </a:lnTo>
                  <a:lnTo>
                    <a:pt x="30" y="298"/>
                  </a:lnTo>
                  <a:lnTo>
                    <a:pt x="30" y="310"/>
                  </a:lnTo>
                  <a:lnTo>
                    <a:pt x="28" y="326"/>
                  </a:lnTo>
                  <a:lnTo>
                    <a:pt x="20" y="326"/>
                  </a:lnTo>
                  <a:lnTo>
                    <a:pt x="22" y="334"/>
                  </a:lnTo>
                  <a:lnTo>
                    <a:pt x="28" y="336"/>
                  </a:lnTo>
                  <a:lnTo>
                    <a:pt x="32" y="338"/>
                  </a:lnTo>
                  <a:lnTo>
                    <a:pt x="32" y="340"/>
                  </a:lnTo>
                  <a:lnTo>
                    <a:pt x="34" y="342"/>
                  </a:lnTo>
                  <a:lnTo>
                    <a:pt x="36" y="344"/>
                  </a:lnTo>
                  <a:lnTo>
                    <a:pt x="40" y="344"/>
                  </a:lnTo>
                  <a:lnTo>
                    <a:pt x="44" y="342"/>
                  </a:lnTo>
                  <a:lnTo>
                    <a:pt x="48" y="346"/>
                  </a:lnTo>
                  <a:lnTo>
                    <a:pt x="54" y="346"/>
                  </a:lnTo>
                  <a:lnTo>
                    <a:pt x="58" y="342"/>
                  </a:lnTo>
                  <a:lnTo>
                    <a:pt x="62" y="334"/>
                  </a:lnTo>
                  <a:lnTo>
                    <a:pt x="66" y="338"/>
                  </a:lnTo>
                  <a:lnTo>
                    <a:pt x="68" y="338"/>
                  </a:lnTo>
                  <a:lnTo>
                    <a:pt x="70" y="340"/>
                  </a:lnTo>
                  <a:lnTo>
                    <a:pt x="70" y="338"/>
                  </a:lnTo>
                  <a:lnTo>
                    <a:pt x="70" y="334"/>
                  </a:lnTo>
                  <a:lnTo>
                    <a:pt x="70" y="330"/>
                  </a:lnTo>
                  <a:lnTo>
                    <a:pt x="76" y="332"/>
                  </a:lnTo>
                  <a:lnTo>
                    <a:pt x="86" y="330"/>
                  </a:lnTo>
                  <a:lnTo>
                    <a:pt x="98" y="326"/>
                  </a:lnTo>
                  <a:lnTo>
                    <a:pt x="100" y="328"/>
                  </a:lnTo>
                  <a:lnTo>
                    <a:pt x="102" y="330"/>
                  </a:lnTo>
                  <a:lnTo>
                    <a:pt x="108" y="326"/>
                  </a:lnTo>
                  <a:lnTo>
                    <a:pt x="112" y="328"/>
                  </a:lnTo>
                  <a:lnTo>
                    <a:pt x="114" y="330"/>
                  </a:lnTo>
                  <a:lnTo>
                    <a:pt x="116" y="328"/>
                  </a:lnTo>
                  <a:lnTo>
                    <a:pt x="120" y="326"/>
                  </a:lnTo>
                  <a:lnTo>
                    <a:pt x="120" y="322"/>
                  </a:lnTo>
                  <a:lnTo>
                    <a:pt x="122" y="320"/>
                  </a:lnTo>
                  <a:lnTo>
                    <a:pt x="124" y="316"/>
                  </a:lnTo>
                  <a:lnTo>
                    <a:pt x="126" y="316"/>
                  </a:lnTo>
                  <a:lnTo>
                    <a:pt x="128" y="316"/>
                  </a:lnTo>
                  <a:lnTo>
                    <a:pt x="130" y="316"/>
                  </a:lnTo>
                  <a:lnTo>
                    <a:pt x="132" y="316"/>
                  </a:lnTo>
                  <a:lnTo>
                    <a:pt x="132" y="314"/>
                  </a:lnTo>
                  <a:lnTo>
                    <a:pt x="134" y="312"/>
                  </a:lnTo>
                  <a:lnTo>
                    <a:pt x="136" y="312"/>
                  </a:lnTo>
                  <a:lnTo>
                    <a:pt x="140" y="312"/>
                  </a:lnTo>
                  <a:lnTo>
                    <a:pt x="140" y="308"/>
                  </a:lnTo>
                  <a:lnTo>
                    <a:pt x="142" y="306"/>
                  </a:lnTo>
                  <a:lnTo>
                    <a:pt x="144" y="306"/>
                  </a:lnTo>
                  <a:lnTo>
                    <a:pt x="144" y="304"/>
                  </a:lnTo>
                  <a:lnTo>
                    <a:pt x="148" y="304"/>
                  </a:lnTo>
                  <a:lnTo>
                    <a:pt x="154" y="306"/>
                  </a:lnTo>
                  <a:lnTo>
                    <a:pt x="164" y="304"/>
                  </a:lnTo>
                  <a:lnTo>
                    <a:pt x="180" y="298"/>
                  </a:lnTo>
                  <a:lnTo>
                    <a:pt x="194" y="294"/>
                  </a:lnTo>
                  <a:lnTo>
                    <a:pt x="200" y="294"/>
                  </a:lnTo>
                  <a:lnTo>
                    <a:pt x="206" y="294"/>
                  </a:lnTo>
                  <a:lnTo>
                    <a:pt x="208" y="296"/>
                  </a:lnTo>
                  <a:lnTo>
                    <a:pt x="210" y="298"/>
                  </a:lnTo>
                  <a:lnTo>
                    <a:pt x="212" y="302"/>
                  </a:lnTo>
                  <a:lnTo>
                    <a:pt x="216" y="302"/>
                  </a:lnTo>
                  <a:lnTo>
                    <a:pt x="220" y="302"/>
                  </a:lnTo>
                  <a:lnTo>
                    <a:pt x="226" y="302"/>
                  </a:lnTo>
                  <a:lnTo>
                    <a:pt x="230" y="302"/>
                  </a:lnTo>
                  <a:lnTo>
                    <a:pt x="230" y="304"/>
                  </a:lnTo>
                  <a:lnTo>
                    <a:pt x="232" y="306"/>
                  </a:lnTo>
                  <a:lnTo>
                    <a:pt x="230" y="310"/>
                  </a:lnTo>
                  <a:lnTo>
                    <a:pt x="236" y="310"/>
                  </a:lnTo>
                  <a:lnTo>
                    <a:pt x="238" y="310"/>
                  </a:lnTo>
                  <a:lnTo>
                    <a:pt x="236" y="314"/>
                  </a:lnTo>
                  <a:lnTo>
                    <a:pt x="234" y="314"/>
                  </a:lnTo>
                  <a:lnTo>
                    <a:pt x="234" y="316"/>
                  </a:lnTo>
                  <a:lnTo>
                    <a:pt x="236" y="318"/>
                  </a:lnTo>
                  <a:lnTo>
                    <a:pt x="244" y="320"/>
                  </a:lnTo>
                  <a:lnTo>
                    <a:pt x="244" y="328"/>
                  </a:lnTo>
                  <a:lnTo>
                    <a:pt x="248" y="338"/>
                  </a:lnTo>
                  <a:lnTo>
                    <a:pt x="252" y="340"/>
                  </a:lnTo>
                  <a:lnTo>
                    <a:pt x="264" y="326"/>
                  </a:lnTo>
                  <a:lnTo>
                    <a:pt x="266" y="326"/>
                  </a:lnTo>
                  <a:lnTo>
                    <a:pt x="268" y="326"/>
                  </a:lnTo>
                  <a:lnTo>
                    <a:pt x="272" y="320"/>
                  </a:lnTo>
                  <a:lnTo>
                    <a:pt x="274" y="316"/>
                  </a:lnTo>
                  <a:lnTo>
                    <a:pt x="276" y="316"/>
                  </a:lnTo>
                  <a:lnTo>
                    <a:pt x="276" y="318"/>
                  </a:lnTo>
                  <a:lnTo>
                    <a:pt x="276" y="326"/>
                  </a:lnTo>
                  <a:lnTo>
                    <a:pt x="270" y="336"/>
                  </a:lnTo>
                  <a:lnTo>
                    <a:pt x="272" y="340"/>
                  </a:lnTo>
                  <a:lnTo>
                    <a:pt x="272" y="344"/>
                  </a:lnTo>
                  <a:lnTo>
                    <a:pt x="268" y="346"/>
                  </a:lnTo>
                  <a:lnTo>
                    <a:pt x="266" y="346"/>
                  </a:lnTo>
                  <a:lnTo>
                    <a:pt x="266" y="350"/>
                  </a:lnTo>
                  <a:lnTo>
                    <a:pt x="268" y="348"/>
                  </a:lnTo>
                  <a:lnTo>
                    <a:pt x="272" y="346"/>
                  </a:lnTo>
                  <a:lnTo>
                    <a:pt x="274" y="344"/>
                  </a:lnTo>
                  <a:lnTo>
                    <a:pt x="276" y="336"/>
                  </a:lnTo>
                  <a:lnTo>
                    <a:pt x="280" y="336"/>
                  </a:lnTo>
                  <a:lnTo>
                    <a:pt x="280" y="338"/>
                  </a:lnTo>
                  <a:lnTo>
                    <a:pt x="278" y="338"/>
                  </a:lnTo>
                  <a:lnTo>
                    <a:pt x="280" y="340"/>
                  </a:lnTo>
                  <a:lnTo>
                    <a:pt x="282" y="346"/>
                  </a:lnTo>
                  <a:lnTo>
                    <a:pt x="284" y="354"/>
                  </a:lnTo>
                  <a:lnTo>
                    <a:pt x="282" y="358"/>
                  </a:lnTo>
                  <a:lnTo>
                    <a:pt x="294" y="354"/>
                  </a:lnTo>
                  <a:lnTo>
                    <a:pt x="298" y="370"/>
                  </a:lnTo>
                  <a:lnTo>
                    <a:pt x="298" y="386"/>
                  </a:lnTo>
                  <a:lnTo>
                    <a:pt x="306" y="390"/>
                  </a:lnTo>
                  <a:lnTo>
                    <a:pt x="306" y="394"/>
                  </a:lnTo>
                  <a:lnTo>
                    <a:pt x="308" y="396"/>
                  </a:lnTo>
                  <a:lnTo>
                    <a:pt x="320" y="402"/>
                  </a:lnTo>
                  <a:lnTo>
                    <a:pt x="320" y="400"/>
                  </a:lnTo>
                  <a:lnTo>
                    <a:pt x="322" y="398"/>
                  </a:lnTo>
                  <a:lnTo>
                    <a:pt x="326" y="400"/>
                  </a:lnTo>
                  <a:lnTo>
                    <a:pt x="326" y="402"/>
                  </a:lnTo>
                  <a:lnTo>
                    <a:pt x="330" y="408"/>
                  </a:lnTo>
                  <a:lnTo>
                    <a:pt x="334" y="410"/>
                  </a:lnTo>
                  <a:lnTo>
                    <a:pt x="338" y="410"/>
                  </a:lnTo>
                  <a:lnTo>
                    <a:pt x="342" y="410"/>
                  </a:lnTo>
                  <a:lnTo>
                    <a:pt x="344" y="408"/>
                  </a:lnTo>
                  <a:lnTo>
                    <a:pt x="346" y="404"/>
                  </a:lnTo>
                  <a:lnTo>
                    <a:pt x="348" y="400"/>
                  </a:lnTo>
                  <a:lnTo>
                    <a:pt x="352" y="400"/>
                  </a:lnTo>
                  <a:lnTo>
                    <a:pt x="352" y="398"/>
                  </a:lnTo>
                  <a:lnTo>
                    <a:pt x="350" y="396"/>
                  </a:lnTo>
                  <a:lnTo>
                    <a:pt x="358" y="392"/>
                  </a:lnTo>
                  <a:lnTo>
                    <a:pt x="358" y="394"/>
                  </a:lnTo>
                  <a:lnTo>
                    <a:pt x="360" y="396"/>
                  </a:lnTo>
                  <a:lnTo>
                    <a:pt x="356" y="398"/>
                  </a:lnTo>
                  <a:lnTo>
                    <a:pt x="354" y="402"/>
                  </a:lnTo>
                  <a:lnTo>
                    <a:pt x="364" y="400"/>
                  </a:lnTo>
                  <a:lnTo>
                    <a:pt x="360" y="406"/>
                  </a:lnTo>
                  <a:lnTo>
                    <a:pt x="370" y="410"/>
                  </a:lnTo>
                  <a:lnTo>
                    <a:pt x="370" y="414"/>
                  </a:lnTo>
                  <a:lnTo>
                    <a:pt x="372" y="416"/>
                  </a:lnTo>
                  <a:lnTo>
                    <a:pt x="372" y="414"/>
                  </a:lnTo>
                  <a:lnTo>
                    <a:pt x="374" y="410"/>
                  </a:lnTo>
                  <a:lnTo>
                    <a:pt x="376" y="410"/>
                  </a:lnTo>
                  <a:lnTo>
                    <a:pt x="378" y="410"/>
                  </a:lnTo>
                  <a:lnTo>
                    <a:pt x="382" y="408"/>
                  </a:lnTo>
                  <a:lnTo>
                    <a:pt x="384" y="402"/>
                  </a:lnTo>
                  <a:lnTo>
                    <a:pt x="388" y="394"/>
                  </a:lnTo>
                  <a:lnTo>
                    <a:pt x="400" y="394"/>
                  </a:lnTo>
                  <a:lnTo>
                    <a:pt x="408" y="394"/>
                  </a:lnTo>
                  <a:lnTo>
                    <a:pt x="408" y="392"/>
                  </a:lnTo>
                  <a:lnTo>
                    <a:pt x="412" y="390"/>
                  </a:lnTo>
                  <a:lnTo>
                    <a:pt x="412" y="386"/>
                  </a:lnTo>
                  <a:lnTo>
                    <a:pt x="414" y="382"/>
                  </a:lnTo>
                  <a:lnTo>
                    <a:pt x="412" y="382"/>
                  </a:lnTo>
                  <a:lnTo>
                    <a:pt x="410" y="380"/>
                  </a:lnTo>
                  <a:lnTo>
                    <a:pt x="408" y="378"/>
                  </a:lnTo>
                  <a:lnTo>
                    <a:pt x="408" y="376"/>
                  </a:lnTo>
                  <a:lnTo>
                    <a:pt x="414" y="372"/>
                  </a:lnTo>
                  <a:lnTo>
                    <a:pt x="414" y="368"/>
                  </a:lnTo>
                  <a:lnTo>
                    <a:pt x="414" y="364"/>
                  </a:lnTo>
                  <a:lnTo>
                    <a:pt x="416" y="356"/>
                  </a:lnTo>
                  <a:lnTo>
                    <a:pt x="420" y="348"/>
                  </a:lnTo>
                  <a:lnTo>
                    <a:pt x="424" y="340"/>
                  </a:lnTo>
                  <a:lnTo>
                    <a:pt x="424" y="330"/>
                  </a:lnTo>
                  <a:lnTo>
                    <a:pt x="424" y="324"/>
                  </a:lnTo>
                  <a:lnTo>
                    <a:pt x="430" y="324"/>
                  </a:lnTo>
                  <a:lnTo>
                    <a:pt x="430" y="318"/>
                  </a:lnTo>
                  <a:lnTo>
                    <a:pt x="434" y="314"/>
                  </a:lnTo>
                  <a:lnTo>
                    <a:pt x="442" y="312"/>
                  </a:lnTo>
                  <a:lnTo>
                    <a:pt x="442" y="308"/>
                  </a:lnTo>
                  <a:lnTo>
                    <a:pt x="440" y="308"/>
                  </a:lnTo>
                  <a:lnTo>
                    <a:pt x="440" y="306"/>
                  </a:lnTo>
                  <a:lnTo>
                    <a:pt x="442" y="302"/>
                  </a:lnTo>
                  <a:lnTo>
                    <a:pt x="444" y="302"/>
                  </a:lnTo>
                  <a:lnTo>
                    <a:pt x="446" y="298"/>
                  </a:lnTo>
                  <a:lnTo>
                    <a:pt x="446" y="290"/>
                  </a:lnTo>
                  <a:lnTo>
                    <a:pt x="446" y="286"/>
                  </a:lnTo>
                  <a:lnTo>
                    <a:pt x="446" y="284"/>
                  </a:lnTo>
                  <a:lnTo>
                    <a:pt x="446" y="274"/>
                  </a:lnTo>
                  <a:lnTo>
                    <a:pt x="446" y="264"/>
                  </a:lnTo>
                  <a:lnTo>
                    <a:pt x="450" y="264"/>
                  </a:lnTo>
                  <a:lnTo>
                    <a:pt x="452" y="258"/>
                  </a:lnTo>
                  <a:lnTo>
                    <a:pt x="452" y="250"/>
                  </a:lnTo>
                  <a:lnTo>
                    <a:pt x="450" y="246"/>
                  </a:lnTo>
                  <a:lnTo>
                    <a:pt x="444" y="234"/>
                  </a:lnTo>
                  <a:lnTo>
                    <a:pt x="444" y="228"/>
                  </a:lnTo>
                  <a:lnTo>
                    <a:pt x="446" y="220"/>
                  </a:lnTo>
                  <a:lnTo>
                    <a:pt x="446" y="212"/>
                  </a:lnTo>
                  <a:lnTo>
                    <a:pt x="444" y="204"/>
                  </a:lnTo>
                  <a:lnTo>
                    <a:pt x="434" y="198"/>
                  </a:lnTo>
                  <a:lnTo>
                    <a:pt x="434" y="194"/>
                  </a:lnTo>
                  <a:lnTo>
                    <a:pt x="434" y="190"/>
                  </a:lnTo>
                  <a:lnTo>
                    <a:pt x="428" y="186"/>
                  </a:lnTo>
                  <a:lnTo>
                    <a:pt x="424" y="184"/>
                  </a:lnTo>
                  <a:lnTo>
                    <a:pt x="422" y="176"/>
                  </a:lnTo>
                  <a:lnTo>
                    <a:pt x="422" y="166"/>
                  </a:lnTo>
                  <a:lnTo>
                    <a:pt x="416" y="162"/>
                  </a:lnTo>
                  <a:lnTo>
                    <a:pt x="408" y="160"/>
                  </a:lnTo>
                  <a:lnTo>
                    <a:pt x="408" y="148"/>
                  </a:lnTo>
                  <a:lnTo>
                    <a:pt x="406" y="142"/>
                  </a:lnTo>
                  <a:lnTo>
                    <a:pt x="402" y="138"/>
                  </a:lnTo>
                  <a:lnTo>
                    <a:pt x="400" y="138"/>
                  </a:lnTo>
                  <a:lnTo>
                    <a:pt x="402" y="136"/>
                  </a:lnTo>
                  <a:lnTo>
                    <a:pt x="402" y="134"/>
                  </a:lnTo>
                  <a:lnTo>
                    <a:pt x="402" y="132"/>
                  </a:lnTo>
                  <a:lnTo>
                    <a:pt x="402" y="130"/>
                  </a:lnTo>
                  <a:lnTo>
                    <a:pt x="402" y="128"/>
                  </a:lnTo>
                  <a:lnTo>
                    <a:pt x="386" y="120"/>
                  </a:lnTo>
                  <a:lnTo>
                    <a:pt x="378" y="116"/>
                  </a:lnTo>
                  <a:lnTo>
                    <a:pt x="374" y="112"/>
                  </a:lnTo>
                  <a:lnTo>
                    <a:pt x="372" y="106"/>
                  </a:lnTo>
                  <a:lnTo>
                    <a:pt x="372" y="100"/>
                  </a:lnTo>
                  <a:lnTo>
                    <a:pt x="372" y="94"/>
                  </a:lnTo>
                  <a:lnTo>
                    <a:pt x="372" y="88"/>
                  </a:lnTo>
                  <a:lnTo>
                    <a:pt x="370" y="84"/>
                  </a:lnTo>
                  <a:lnTo>
                    <a:pt x="368" y="80"/>
                  </a:lnTo>
                  <a:lnTo>
                    <a:pt x="362" y="74"/>
                  </a:lnTo>
                  <a:lnTo>
                    <a:pt x="362" y="68"/>
                  </a:lnTo>
                  <a:lnTo>
                    <a:pt x="364" y="64"/>
                  </a:lnTo>
                  <a:lnTo>
                    <a:pt x="364" y="58"/>
                  </a:lnTo>
                  <a:lnTo>
                    <a:pt x="362" y="54"/>
                  </a:lnTo>
                  <a:lnTo>
                    <a:pt x="358" y="54"/>
                  </a:lnTo>
                  <a:lnTo>
                    <a:pt x="356" y="50"/>
                  </a:lnTo>
                  <a:lnTo>
                    <a:pt x="354" y="50"/>
                  </a:lnTo>
                  <a:lnTo>
                    <a:pt x="354" y="44"/>
                  </a:lnTo>
                  <a:lnTo>
                    <a:pt x="348" y="46"/>
                  </a:lnTo>
                  <a:lnTo>
                    <a:pt x="348" y="50"/>
                  </a:lnTo>
                  <a:lnTo>
                    <a:pt x="346" y="50"/>
                  </a:lnTo>
                  <a:lnTo>
                    <a:pt x="346" y="48"/>
                  </a:lnTo>
                  <a:lnTo>
                    <a:pt x="344" y="48"/>
                  </a:lnTo>
                  <a:lnTo>
                    <a:pt x="342" y="32"/>
                  </a:lnTo>
                  <a:lnTo>
                    <a:pt x="340" y="22"/>
                  </a:lnTo>
                  <a:lnTo>
                    <a:pt x="330" y="0"/>
                  </a:lnTo>
                  <a:lnTo>
                    <a:pt x="324" y="0"/>
                  </a:lnTo>
                  <a:lnTo>
                    <a:pt x="322" y="18"/>
                  </a:lnTo>
                  <a:lnTo>
                    <a:pt x="322" y="34"/>
                  </a:lnTo>
                  <a:lnTo>
                    <a:pt x="320" y="36"/>
                  </a:lnTo>
                  <a:lnTo>
                    <a:pt x="318" y="46"/>
                  </a:lnTo>
                  <a:lnTo>
                    <a:pt x="320" y="54"/>
                  </a:lnTo>
                  <a:lnTo>
                    <a:pt x="320" y="62"/>
                  </a:lnTo>
                  <a:lnTo>
                    <a:pt x="320" y="72"/>
                  </a:lnTo>
                  <a:lnTo>
                    <a:pt x="316" y="74"/>
                  </a:lnTo>
                  <a:lnTo>
                    <a:pt x="316" y="78"/>
                  </a:lnTo>
                  <a:lnTo>
                    <a:pt x="316" y="82"/>
                  </a:lnTo>
                  <a:lnTo>
                    <a:pt x="312" y="86"/>
                  </a:lnTo>
                  <a:lnTo>
                    <a:pt x="312" y="90"/>
                  </a:lnTo>
                  <a:lnTo>
                    <a:pt x="312" y="94"/>
                  </a:lnTo>
                  <a:lnTo>
                    <a:pt x="310" y="94"/>
                  </a:lnTo>
                  <a:lnTo>
                    <a:pt x="308" y="94"/>
                  </a:lnTo>
                  <a:lnTo>
                    <a:pt x="304" y="94"/>
                  </a:lnTo>
                  <a:lnTo>
                    <a:pt x="300" y="94"/>
                  </a:lnTo>
                  <a:lnTo>
                    <a:pt x="298" y="94"/>
                  </a:lnTo>
                  <a:lnTo>
                    <a:pt x="296" y="90"/>
                  </a:lnTo>
                  <a:lnTo>
                    <a:pt x="294" y="84"/>
                  </a:lnTo>
                  <a:lnTo>
                    <a:pt x="292" y="84"/>
                  </a:lnTo>
                  <a:lnTo>
                    <a:pt x="290" y="84"/>
                  </a:lnTo>
                  <a:lnTo>
                    <a:pt x="286" y="82"/>
                  </a:lnTo>
                  <a:lnTo>
                    <a:pt x="284" y="78"/>
                  </a:lnTo>
                  <a:lnTo>
                    <a:pt x="280" y="74"/>
                  </a:lnTo>
                  <a:lnTo>
                    <a:pt x="278" y="70"/>
                  </a:lnTo>
                  <a:lnTo>
                    <a:pt x="270" y="68"/>
                  </a:lnTo>
                  <a:lnTo>
                    <a:pt x="264" y="68"/>
                  </a:lnTo>
                  <a:lnTo>
                    <a:pt x="264" y="64"/>
                  </a:lnTo>
                  <a:lnTo>
                    <a:pt x="252" y="58"/>
                  </a:lnTo>
                  <a:lnTo>
                    <a:pt x="252" y="46"/>
                  </a:lnTo>
                  <a:lnTo>
                    <a:pt x="256" y="44"/>
                  </a:lnTo>
                  <a:lnTo>
                    <a:pt x="258" y="38"/>
                  </a:lnTo>
                  <a:lnTo>
                    <a:pt x="256" y="36"/>
                  </a:lnTo>
                  <a:lnTo>
                    <a:pt x="254" y="34"/>
                  </a:lnTo>
                  <a:lnTo>
                    <a:pt x="258" y="34"/>
                  </a:lnTo>
                  <a:lnTo>
                    <a:pt x="264" y="34"/>
                  </a:lnTo>
                  <a:lnTo>
                    <a:pt x="264" y="28"/>
                  </a:lnTo>
                  <a:lnTo>
                    <a:pt x="262" y="28"/>
                  </a:lnTo>
                  <a:lnTo>
                    <a:pt x="262" y="26"/>
                  </a:lnTo>
                  <a:lnTo>
                    <a:pt x="264" y="24"/>
                  </a:lnTo>
                  <a:lnTo>
                    <a:pt x="266" y="22"/>
                  </a:lnTo>
                  <a:lnTo>
                    <a:pt x="268" y="20"/>
                  </a:lnTo>
                  <a:lnTo>
                    <a:pt x="266" y="14"/>
                  </a:lnTo>
                  <a:lnTo>
                    <a:pt x="256" y="18"/>
                  </a:lnTo>
                  <a:lnTo>
                    <a:pt x="254" y="14"/>
                  </a:lnTo>
                  <a:lnTo>
                    <a:pt x="246" y="14"/>
                  </a:lnTo>
                  <a:lnTo>
                    <a:pt x="236" y="12"/>
                  </a:lnTo>
                  <a:lnTo>
                    <a:pt x="234" y="12"/>
                  </a:lnTo>
                  <a:lnTo>
                    <a:pt x="232" y="12"/>
                  </a:lnTo>
                  <a:lnTo>
                    <a:pt x="234" y="12"/>
                  </a:lnTo>
                  <a:lnTo>
                    <a:pt x="230" y="10"/>
                  </a:lnTo>
                  <a:lnTo>
                    <a:pt x="228" y="8"/>
                  </a:lnTo>
                  <a:lnTo>
                    <a:pt x="226" y="10"/>
                  </a:lnTo>
                  <a:lnTo>
                    <a:pt x="224" y="10"/>
                  </a:lnTo>
                  <a:lnTo>
                    <a:pt x="226" y="12"/>
                  </a:lnTo>
                  <a:lnTo>
                    <a:pt x="222" y="10"/>
                  </a:lnTo>
                  <a:lnTo>
                    <a:pt x="220" y="10"/>
                  </a:lnTo>
                  <a:lnTo>
                    <a:pt x="222" y="10"/>
                  </a:lnTo>
                  <a:lnTo>
                    <a:pt x="218" y="6"/>
                  </a:lnTo>
                  <a:lnTo>
                    <a:pt x="214" y="4"/>
                  </a:lnTo>
                  <a:lnTo>
                    <a:pt x="210" y="4"/>
                  </a:lnTo>
                  <a:lnTo>
                    <a:pt x="214" y="8"/>
                  </a:lnTo>
                  <a:lnTo>
                    <a:pt x="224" y="14"/>
                  </a:lnTo>
                  <a:lnTo>
                    <a:pt x="222" y="18"/>
                  </a:lnTo>
                  <a:lnTo>
                    <a:pt x="222" y="20"/>
                  </a:lnTo>
                  <a:lnTo>
                    <a:pt x="220" y="18"/>
                  </a:lnTo>
                  <a:lnTo>
                    <a:pt x="220" y="22"/>
                  </a:lnTo>
                  <a:lnTo>
                    <a:pt x="216" y="22"/>
                  </a:lnTo>
                  <a:lnTo>
                    <a:pt x="212" y="20"/>
                  </a:lnTo>
                  <a:lnTo>
                    <a:pt x="206" y="18"/>
                  </a:lnTo>
                  <a:lnTo>
                    <a:pt x="202" y="16"/>
                  </a:lnTo>
                  <a:lnTo>
                    <a:pt x="200" y="22"/>
                  </a:lnTo>
                  <a:lnTo>
                    <a:pt x="198" y="20"/>
                  </a:lnTo>
                  <a:lnTo>
                    <a:pt x="196" y="18"/>
                  </a:lnTo>
                  <a:lnTo>
                    <a:pt x="192" y="28"/>
                  </a:lnTo>
                  <a:lnTo>
                    <a:pt x="194" y="32"/>
                  </a:lnTo>
                  <a:lnTo>
                    <a:pt x="196" y="34"/>
                  </a:lnTo>
                  <a:lnTo>
                    <a:pt x="192" y="34"/>
                  </a:lnTo>
                  <a:lnTo>
                    <a:pt x="188" y="34"/>
                  </a:lnTo>
                  <a:lnTo>
                    <a:pt x="188" y="42"/>
                  </a:lnTo>
                  <a:lnTo>
                    <a:pt x="184" y="44"/>
                  </a:lnTo>
                  <a:lnTo>
                    <a:pt x="182" y="46"/>
                  </a:lnTo>
                  <a:lnTo>
                    <a:pt x="186" y="54"/>
                  </a:lnTo>
                  <a:lnTo>
                    <a:pt x="186" y="56"/>
                  </a:lnTo>
                  <a:lnTo>
                    <a:pt x="180" y="56"/>
                  </a:lnTo>
                  <a:lnTo>
                    <a:pt x="178" y="56"/>
                  </a:lnTo>
                  <a:lnTo>
                    <a:pt x="176" y="54"/>
                  </a:lnTo>
                  <a:lnTo>
                    <a:pt x="174" y="54"/>
                  </a:lnTo>
                  <a:lnTo>
                    <a:pt x="170" y="54"/>
                  </a:lnTo>
                  <a:lnTo>
                    <a:pt x="170" y="60"/>
                  </a:lnTo>
                  <a:lnTo>
                    <a:pt x="166" y="62"/>
                  </a:lnTo>
                  <a:lnTo>
                    <a:pt x="168" y="52"/>
                  </a:lnTo>
                  <a:lnTo>
                    <a:pt x="166" y="48"/>
                  </a:lnTo>
                  <a:lnTo>
                    <a:pt x="162" y="44"/>
                  </a:lnTo>
                  <a:lnTo>
                    <a:pt x="160" y="40"/>
                  </a:lnTo>
                  <a:lnTo>
                    <a:pt x="150" y="42"/>
                  </a:lnTo>
                  <a:lnTo>
                    <a:pt x="148" y="44"/>
                  </a:lnTo>
                  <a:lnTo>
                    <a:pt x="146" y="50"/>
                  </a:lnTo>
                  <a:lnTo>
                    <a:pt x="146" y="48"/>
                  </a:lnTo>
                  <a:lnTo>
                    <a:pt x="144" y="46"/>
                  </a:lnTo>
                  <a:lnTo>
                    <a:pt x="142" y="46"/>
                  </a:lnTo>
                  <a:lnTo>
                    <a:pt x="144" y="50"/>
                  </a:lnTo>
                  <a:lnTo>
                    <a:pt x="140" y="50"/>
                  </a:lnTo>
                  <a:lnTo>
                    <a:pt x="142" y="56"/>
                  </a:lnTo>
                  <a:lnTo>
                    <a:pt x="138" y="56"/>
                  </a:lnTo>
                  <a:lnTo>
                    <a:pt x="136" y="56"/>
                  </a:lnTo>
                  <a:lnTo>
                    <a:pt x="138" y="58"/>
                  </a:lnTo>
                  <a:lnTo>
                    <a:pt x="138" y="60"/>
                  </a:lnTo>
                  <a:lnTo>
                    <a:pt x="138" y="62"/>
                  </a:lnTo>
                  <a:lnTo>
                    <a:pt x="132" y="58"/>
                  </a:lnTo>
                  <a:lnTo>
                    <a:pt x="130" y="60"/>
                  </a:lnTo>
                  <a:lnTo>
                    <a:pt x="130" y="62"/>
                  </a:lnTo>
                  <a:lnTo>
                    <a:pt x="130" y="68"/>
                  </a:lnTo>
                  <a:lnTo>
                    <a:pt x="130" y="72"/>
                  </a:lnTo>
                  <a:lnTo>
                    <a:pt x="122" y="68"/>
                  </a:lnTo>
                  <a:lnTo>
                    <a:pt x="120" y="68"/>
                  </a:lnTo>
                  <a:lnTo>
                    <a:pt x="118" y="70"/>
                  </a:lnTo>
                  <a:lnTo>
                    <a:pt x="118" y="82"/>
                  </a:lnTo>
                  <a:lnTo>
                    <a:pt x="122" y="80"/>
                  </a:lnTo>
                  <a:lnTo>
                    <a:pt x="120" y="84"/>
                  </a:lnTo>
                  <a:lnTo>
                    <a:pt x="118" y="88"/>
                  </a:lnTo>
                  <a:lnTo>
                    <a:pt x="114" y="82"/>
                  </a:lnTo>
                  <a:lnTo>
                    <a:pt x="112" y="76"/>
                  </a:lnTo>
                  <a:lnTo>
                    <a:pt x="110" y="78"/>
                  </a:lnTo>
                  <a:lnTo>
                    <a:pt x="104" y="82"/>
                  </a:lnTo>
                  <a:lnTo>
                    <a:pt x="102" y="94"/>
                  </a:lnTo>
                  <a:lnTo>
                    <a:pt x="102" y="98"/>
                  </a:lnTo>
                  <a:lnTo>
                    <a:pt x="104" y="100"/>
                  </a:lnTo>
                  <a:lnTo>
                    <a:pt x="100" y="104"/>
                  </a:lnTo>
                  <a:lnTo>
                    <a:pt x="94" y="108"/>
                  </a:lnTo>
                  <a:lnTo>
                    <a:pt x="94" y="112"/>
                  </a:lnTo>
                  <a:lnTo>
                    <a:pt x="92" y="116"/>
                  </a:lnTo>
                  <a:lnTo>
                    <a:pt x="88" y="118"/>
                  </a:lnTo>
                  <a:lnTo>
                    <a:pt x="84" y="120"/>
                  </a:lnTo>
                  <a:lnTo>
                    <a:pt x="74" y="122"/>
                  </a:lnTo>
                  <a:lnTo>
                    <a:pt x="72" y="124"/>
                  </a:lnTo>
                  <a:lnTo>
                    <a:pt x="70" y="124"/>
                  </a:lnTo>
                  <a:lnTo>
                    <a:pt x="68" y="124"/>
                  </a:lnTo>
                  <a:lnTo>
                    <a:pt x="68" y="122"/>
                  </a:lnTo>
                  <a:lnTo>
                    <a:pt x="66" y="122"/>
                  </a:lnTo>
                  <a:lnTo>
                    <a:pt x="64" y="128"/>
                  </a:lnTo>
                  <a:lnTo>
                    <a:pt x="62" y="132"/>
                  </a:lnTo>
                  <a:lnTo>
                    <a:pt x="54" y="132"/>
                  </a:lnTo>
                  <a:lnTo>
                    <a:pt x="52" y="136"/>
                  </a:lnTo>
                  <a:lnTo>
                    <a:pt x="46" y="134"/>
                  </a:lnTo>
                  <a:lnTo>
                    <a:pt x="42" y="134"/>
                  </a:lnTo>
                  <a:lnTo>
                    <a:pt x="40" y="136"/>
                  </a:lnTo>
                  <a:lnTo>
                    <a:pt x="40" y="138"/>
                  </a:lnTo>
                  <a:lnTo>
                    <a:pt x="36" y="138"/>
                  </a:lnTo>
                  <a:lnTo>
                    <a:pt x="34" y="138"/>
                  </a:lnTo>
                  <a:lnTo>
                    <a:pt x="34" y="140"/>
                  </a:lnTo>
                  <a:lnTo>
                    <a:pt x="26" y="146"/>
                  </a:lnTo>
                  <a:lnTo>
                    <a:pt x="18" y="154"/>
                  </a:lnTo>
                  <a:lnTo>
                    <a:pt x="12" y="158"/>
                  </a:lnTo>
                  <a:lnTo>
                    <a:pt x="8" y="160"/>
                  </a:lnTo>
                  <a:lnTo>
                    <a:pt x="10" y="154"/>
                  </a:lnTo>
                  <a:lnTo>
                    <a:pt x="8" y="156"/>
                  </a:lnTo>
                  <a:lnTo>
                    <a:pt x="6" y="158"/>
                  </a:lnTo>
                  <a:lnTo>
                    <a:pt x="6" y="162"/>
                  </a:lnTo>
                  <a:lnTo>
                    <a:pt x="6" y="170"/>
                  </a:lnTo>
                  <a:lnTo>
                    <a:pt x="8" y="174"/>
                  </a:lnTo>
                  <a:lnTo>
                    <a:pt x="8" y="178"/>
                  </a:lnTo>
                  <a:lnTo>
                    <a:pt x="4" y="182"/>
                  </a:lnTo>
                  <a:lnTo>
                    <a:pt x="0" y="184"/>
                  </a:lnTo>
                  <a:lnTo>
                    <a:pt x="2" y="188"/>
                  </a:lnTo>
                  <a:lnTo>
                    <a:pt x="2" y="190"/>
                  </a:lnTo>
                  <a:lnTo>
                    <a:pt x="4" y="190"/>
                  </a:lnTo>
                  <a:lnTo>
                    <a:pt x="6" y="194"/>
                  </a:lnTo>
                  <a:lnTo>
                    <a:pt x="8" y="198"/>
                  </a:lnTo>
                  <a:lnTo>
                    <a:pt x="10" y="206"/>
                  </a:lnTo>
                  <a:lnTo>
                    <a:pt x="10" y="216"/>
                  </a:lnTo>
                  <a:lnTo>
                    <a:pt x="8" y="214"/>
                  </a:lnTo>
                  <a:lnTo>
                    <a:pt x="6" y="214"/>
                  </a:lnTo>
                  <a:lnTo>
                    <a:pt x="6" y="208"/>
                  </a:lnTo>
                  <a:lnTo>
                    <a:pt x="4" y="208"/>
                  </a:lnTo>
                  <a:lnTo>
                    <a:pt x="4" y="210"/>
                  </a:lnTo>
                  <a:lnTo>
                    <a:pt x="4" y="214"/>
                  </a:lnTo>
                  <a:lnTo>
                    <a:pt x="12" y="220"/>
                  </a:lnTo>
                  <a:lnTo>
                    <a:pt x="12" y="222"/>
                  </a:lnTo>
                  <a:lnTo>
                    <a:pt x="10" y="222"/>
                  </a:lnTo>
                  <a:lnTo>
                    <a:pt x="2" y="218"/>
                  </a:lnTo>
                  <a:lnTo>
                    <a:pt x="2" y="222"/>
                  </a:lnTo>
                  <a:lnTo>
                    <a:pt x="8" y="228"/>
                  </a:lnTo>
                  <a:lnTo>
                    <a:pt x="10" y="230"/>
                  </a:lnTo>
                  <a:lnTo>
                    <a:pt x="12" y="232"/>
                  </a:lnTo>
                  <a:lnTo>
                    <a:pt x="12" y="238"/>
                  </a:lnTo>
                  <a:lnTo>
                    <a:pt x="12" y="244"/>
                  </a:lnTo>
                  <a:lnTo>
                    <a:pt x="16" y="246"/>
                  </a:lnTo>
                  <a:lnTo>
                    <a:pt x="20" y="248"/>
                  </a:lnTo>
                  <a:close/>
                  <a:moveTo>
                    <a:pt x="380" y="480"/>
                  </a:moveTo>
                  <a:lnTo>
                    <a:pt x="382" y="484"/>
                  </a:lnTo>
                  <a:lnTo>
                    <a:pt x="382" y="482"/>
                  </a:lnTo>
                  <a:lnTo>
                    <a:pt x="380" y="480"/>
                  </a:lnTo>
                  <a:close/>
                  <a:moveTo>
                    <a:pt x="350" y="438"/>
                  </a:moveTo>
                  <a:lnTo>
                    <a:pt x="350" y="438"/>
                  </a:lnTo>
                  <a:lnTo>
                    <a:pt x="350" y="442"/>
                  </a:lnTo>
                  <a:lnTo>
                    <a:pt x="348" y="444"/>
                  </a:lnTo>
                  <a:lnTo>
                    <a:pt x="352" y="448"/>
                  </a:lnTo>
                  <a:lnTo>
                    <a:pt x="354" y="452"/>
                  </a:lnTo>
                  <a:lnTo>
                    <a:pt x="356" y="458"/>
                  </a:lnTo>
                  <a:lnTo>
                    <a:pt x="358" y="462"/>
                  </a:lnTo>
                  <a:lnTo>
                    <a:pt x="362" y="464"/>
                  </a:lnTo>
                  <a:lnTo>
                    <a:pt x="360" y="466"/>
                  </a:lnTo>
                  <a:lnTo>
                    <a:pt x="360" y="468"/>
                  </a:lnTo>
                  <a:lnTo>
                    <a:pt x="360" y="472"/>
                  </a:lnTo>
                  <a:lnTo>
                    <a:pt x="366" y="476"/>
                  </a:lnTo>
                  <a:lnTo>
                    <a:pt x="368" y="480"/>
                  </a:lnTo>
                  <a:lnTo>
                    <a:pt x="368" y="484"/>
                  </a:lnTo>
                  <a:lnTo>
                    <a:pt x="374" y="486"/>
                  </a:lnTo>
                  <a:lnTo>
                    <a:pt x="378" y="484"/>
                  </a:lnTo>
                  <a:lnTo>
                    <a:pt x="382" y="476"/>
                  </a:lnTo>
                  <a:lnTo>
                    <a:pt x="386" y="478"/>
                  </a:lnTo>
                  <a:lnTo>
                    <a:pt x="386" y="480"/>
                  </a:lnTo>
                  <a:lnTo>
                    <a:pt x="388" y="478"/>
                  </a:lnTo>
                  <a:lnTo>
                    <a:pt x="388" y="476"/>
                  </a:lnTo>
                  <a:lnTo>
                    <a:pt x="388" y="468"/>
                  </a:lnTo>
                  <a:lnTo>
                    <a:pt x="388" y="462"/>
                  </a:lnTo>
                  <a:lnTo>
                    <a:pt x="392" y="462"/>
                  </a:lnTo>
                  <a:lnTo>
                    <a:pt x="392" y="452"/>
                  </a:lnTo>
                  <a:lnTo>
                    <a:pt x="390" y="442"/>
                  </a:lnTo>
                  <a:lnTo>
                    <a:pt x="380" y="446"/>
                  </a:lnTo>
                  <a:lnTo>
                    <a:pt x="370" y="446"/>
                  </a:lnTo>
                  <a:lnTo>
                    <a:pt x="350" y="438"/>
                  </a:lnTo>
                  <a:close/>
                  <a:moveTo>
                    <a:pt x="388" y="426"/>
                  </a:moveTo>
                  <a:lnTo>
                    <a:pt x="388" y="426"/>
                  </a:lnTo>
                  <a:lnTo>
                    <a:pt x="388" y="434"/>
                  </a:lnTo>
                  <a:lnTo>
                    <a:pt x="392" y="434"/>
                  </a:lnTo>
                  <a:lnTo>
                    <a:pt x="392" y="432"/>
                  </a:lnTo>
                  <a:lnTo>
                    <a:pt x="390" y="428"/>
                  </a:lnTo>
                  <a:lnTo>
                    <a:pt x="388" y="426"/>
                  </a:lnTo>
                  <a:close/>
                  <a:moveTo>
                    <a:pt x="340" y="422"/>
                  </a:moveTo>
                  <a:lnTo>
                    <a:pt x="340" y="422"/>
                  </a:lnTo>
                  <a:lnTo>
                    <a:pt x="340" y="424"/>
                  </a:lnTo>
                  <a:lnTo>
                    <a:pt x="340" y="426"/>
                  </a:lnTo>
                  <a:lnTo>
                    <a:pt x="342" y="430"/>
                  </a:lnTo>
                  <a:lnTo>
                    <a:pt x="344" y="426"/>
                  </a:lnTo>
                  <a:lnTo>
                    <a:pt x="344" y="422"/>
                  </a:lnTo>
                  <a:lnTo>
                    <a:pt x="340" y="422"/>
                  </a:lnTo>
                  <a:close/>
                  <a:moveTo>
                    <a:pt x="270" y="358"/>
                  </a:moveTo>
                  <a:lnTo>
                    <a:pt x="268" y="364"/>
                  </a:lnTo>
                  <a:lnTo>
                    <a:pt x="276" y="362"/>
                  </a:lnTo>
                  <a:lnTo>
                    <a:pt x="278" y="360"/>
                  </a:lnTo>
                  <a:lnTo>
                    <a:pt x="276" y="360"/>
                  </a:lnTo>
                  <a:lnTo>
                    <a:pt x="270" y="358"/>
                  </a:lnTo>
                  <a:close/>
                  <a:moveTo>
                    <a:pt x="250" y="290"/>
                  </a:moveTo>
                  <a:lnTo>
                    <a:pt x="250" y="290"/>
                  </a:lnTo>
                  <a:lnTo>
                    <a:pt x="250" y="292"/>
                  </a:lnTo>
                  <a:lnTo>
                    <a:pt x="248" y="294"/>
                  </a:lnTo>
                  <a:lnTo>
                    <a:pt x="248" y="292"/>
                  </a:lnTo>
                  <a:lnTo>
                    <a:pt x="248" y="290"/>
                  </a:lnTo>
                  <a:lnTo>
                    <a:pt x="250" y="290"/>
                  </a:lnTo>
                  <a:close/>
                  <a:moveTo>
                    <a:pt x="254" y="288"/>
                  </a:moveTo>
                  <a:lnTo>
                    <a:pt x="254" y="288"/>
                  </a:lnTo>
                  <a:lnTo>
                    <a:pt x="258" y="296"/>
                  </a:lnTo>
                  <a:lnTo>
                    <a:pt x="258" y="300"/>
                  </a:lnTo>
                  <a:lnTo>
                    <a:pt x="254" y="300"/>
                  </a:lnTo>
                  <a:lnTo>
                    <a:pt x="254" y="294"/>
                  </a:lnTo>
                  <a:lnTo>
                    <a:pt x="254" y="288"/>
                  </a:lnTo>
                  <a:close/>
                  <a:moveTo>
                    <a:pt x="274" y="284"/>
                  </a:moveTo>
                  <a:lnTo>
                    <a:pt x="274" y="284"/>
                  </a:lnTo>
                  <a:lnTo>
                    <a:pt x="278" y="290"/>
                  </a:lnTo>
                  <a:lnTo>
                    <a:pt x="278" y="292"/>
                  </a:lnTo>
                  <a:lnTo>
                    <a:pt x="276" y="292"/>
                  </a:lnTo>
                  <a:lnTo>
                    <a:pt x="274" y="286"/>
                  </a:lnTo>
                  <a:lnTo>
                    <a:pt x="272" y="284"/>
                  </a:lnTo>
                  <a:lnTo>
                    <a:pt x="274" y="284"/>
                  </a:lnTo>
                  <a:close/>
                  <a:moveTo>
                    <a:pt x="0" y="210"/>
                  </a:moveTo>
                  <a:lnTo>
                    <a:pt x="2" y="218"/>
                  </a:lnTo>
                  <a:lnTo>
                    <a:pt x="2" y="212"/>
                  </a:lnTo>
                  <a:lnTo>
                    <a:pt x="2" y="210"/>
                  </a:lnTo>
                  <a:lnTo>
                    <a:pt x="0" y="210"/>
                  </a:lnTo>
                  <a:close/>
                  <a:moveTo>
                    <a:pt x="296" y="76"/>
                  </a:moveTo>
                  <a:lnTo>
                    <a:pt x="296" y="76"/>
                  </a:lnTo>
                  <a:lnTo>
                    <a:pt x="294" y="76"/>
                  </a:lnTo>
                  <a:lnTo>
                    <a:pt x="294" y="78"/>
                  </a:lnTo>
                  <a:lnTo>
                    <a:pt x="296" y="80"/>
                  </a:lnTo>
                  <a:lnTo>
                    <a:pt x="298" y="82"/>
                  </a:lnTo>
                  <a:lnTo>
                    <a:pt x="298" y="78"/>
                  </a:lnTo>
                  <a:lnTo>
                    <a:pt x="298" y="76"/>
                  </a:lnTo>
                  <a:lnTo>
                    <a:pt x="296" y="76"/>
                  </a:lnTo>
                  <a:close/>
                  <a:moveTo>
                    <a:pt x="266" y="38"/>
                  </a:moveTo>
                  <a:lnTo>
                    <a:pt x="266" y="38"/>
                  </a:lnTo>
                  <a:lnTo>
                    <a:pt x="262" y="40"/>
                  </a:lnTo>
                  <a:lnTo>
                    <a:pt x="262" y="46"/>
                  </a:lnTo>
                  <a:lnTo>
                    <a:pt x="266" y="44"/>
                  </a:lnTo>
                  <a:lnTo>
                    <a:pt x="268" y="42"/>
                  </a:lnTo>
                  <a:lnTo>
                    <a:pt x="266" y="38"/>
                  </a:lnTo>
                  <a:close/>
                  <a:moveTo>
                    <a:pt x="192" y="10"/>
                  </a:moveTo>
                  <a:lnTo>
                    <a:pt x="192" y="12"/>
                  </a:lnTo>
                  <a:lnTo>
                    <a:pt x="196" y="12"/>
                  </a:lnTo>
                  <a:lnTo>
                    <a:pt x="194" y="12"/>
                  </a:lnTo>
                  <a:lnTo>
                    <a:pt x="194" y="10"/>
                  </a:lnTo>
                  <a:lnTo>
                    <a:pt x="192" y="10"/>
                  </a:lnTo>
                  <a:close/>
                  <a:moveTo>
                    <a:pt x="198" y="8"/>
                  </a:moveTo>
                  <a:lnTo>
                    <a:pt x="198" y="12"/>
                  </a:lnTo>
                  <a:lnTo>
                    <a:pt x="200" y="12"/>
                  </a:lnTo>
                  <a:lnTo>
                    <a:pt x="200" y="10"/>
                  </a:lnTo>
                  <a:lnTo>
                    <a:pt x="198" y="8"/>
                  </a:lnTo>
                  <a:close/>
                  <a:moveTo>
                    <a:pt x="202" y="6"/>
                  </a:moveTo>
                  <a:lnTo>
                    <a:pt x="202" y="10"/>
                  </a:lnTo>
                  <a:lnTo>
                    <a:pt x="206" y="10"/>
                  </a:lnTo>
                  <a:lnTo>
                    <a:pt x="204" y="8"/>
                  </a:lnTo>
                  <a:lnTo>
                    <a:pt x="206" y="8"/>
                  </a:lnTo>
                  <a:lnTo>
                    <a:pt x="204" y="6"/>
                  </a:lnTo>
                  <a:lnTo>
                    <a:pt x="202" y="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6" name="Freeform 684">
              <a:extLst>
                <a:ext uri="{FF2B5EF4-FFF2-40B4-BE49-F238E27FC236}">
                  <a16:creationId xmlns:a16="http://schemas.microsoft.com/office/drawing/2014/main" id="{7B6B02DC-8EBE-4E77-B2D0-924E23E9647A}"/>
                </a:ext>
              </a:extLst>
            </p:cNvPr>
            <p:cNvSpPr>
              <a:spLocks noEditPoints="1"/>
            </p:cNvSpPr>
            <p:nvPr/>
          </p:nvSpPr>
          <p:spPr bwMode="gray">
            <a:xfrm>
              <a:off x="5304288" y="3172927"/>
              <a:ext cx="70626" cy="70629"/>
            </a:xfrm>
            <a:custGeom>
              <a:avLst/>
              <a:gdLst>
                <a:gd name="T0" fmla="*/ 2147483647 w 38"/>
                <a:gd name="T1" fmla="*/ 2147483647 h 38"/>
                <a:gd name="T2" fmla="*/ 2147483647 w 38"/>
                <a:gd name="T3" fmla="*/ 2147483647 h 38"/>
                <a:gd name="T4" fmla="*/ 2147483647 w 38"/>
                <a:gd name="T5" fmla="*/ 2147483647 h 38"/>
                <a:gd name="T6" fmla="*/ 0 w 38"/>
                <a:gd name="T7" fmla="*/ 2147483647 h 38"/>
                <a:gd name="T8" fmla="*/ 0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2147483647 h 38"/>
                <a:gd name="T34" fmla="*/ 2147483647 w 38"/>
                <a:gd name="T35" fmla="*/ 2147483647 h 38"/>
                <a:gd name="T36" fmla="*/ 2147483647 w 38"/>
                <a:gd name="T37" fmla="*/ 2147483647 h 38"/>
                <a:gd name="T38" fmla="*/ 2147483647 w 38"/>
                <a:gd name="T39" fmla="*/ 2147483647 h 38"/>
                <a:gd name="T40" fmla="*/ 2147483647 w 38"/>
                <a:gd name="T41" fmla="*/ 2147483647 h 38"/>
                <a:gd name="T42" fmla="*/ 2147483647 w 38"/>
                <a:gd name="T43" fmla="*/ 2147483647 h 38"/>
                <a:gd name="T44" fmla="*/ 2147483647 w 38"/>
                <a:gd name="T45" fmla="*/ 2147483647 h 38"/>
                <a:gd name="T46" fmla="*/ 2147483647 w 38"/>
                <a:gd name="T47" fmla="*/ 2147483647 h 38"/>
                <a:gd name="T48" fmla="*/ 2147483647 w 38"/>
                <a:gd name="T49" fmla="*/ 2147483647 h 38"/>
                <a:gd name="T50" fmla="*/ 2147483647 w 38"/>
                <a:gd name="T51" fmla="*/ 2147483647 h 38"/>
                <a:gd name="T52" fmla="*/ 2147483647 w 38"/>
                <a:gd name="T53" fmla="*/ 2147483647 h 38"/>
                <a:gd name="T54" fmla="*/ 2147483647 w 38"/>
                <a:gd name="T55" fmla="*/ 0 h 38"/>
                <a:gd name="T56" fmla="*/ 2147483647 w 38"/>
                <a:gd name="T57" fmla="*/ 0 h 38"/>
                <a:gd name="T58" fmla="*/ 2147483647 w 38"/>
                <a:gd name="T59" fmla="*/ 2147483647 h 38"/>
                <a:gd name="T60" fmla="*/ 2147483647 w 38"/>
                <a:gd name="T61" fmla="*/ 2147483647 h 38"/>
                <a:gd name="T62" fmla="*/ 2147483647 w 38"/>
                <a:gd name="T63" fmla="*/ 2147483647 h 38"/>
                <a:gd name="T64" fmla="*/ 2147483647 w 38"/>
                <a:gd name="T65" fmla="*/ 2147483647 h 38"/>
                <a:gd name="T66" fmla="*/ 2147483647 w 38"/>
                <a:gd name="T67" fmla="*/ 2147483647 h 38"/>
                <a:gd name="T68" fmla="*/ 2147483647 w 38"/>
                <a:gd name="T69" fmla="*/ 2147483647 h 38"/>
                <a:gd name="T70" fmla="*/ 2147483647 w 38"/>
                <a:gd name="T71" fmla="*/ 2147483647 h 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
                <a:gd name="T109" fmla="*/ 0 h 38"/>
                <a:gd name="T110" fmla="*/ 38 w 38"/>
                <a:gd name="T111" fmla="*/ 38 h 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 h="38">
                  <a:moveTo>
                    <a:pt x="2" y="2"/>
                  </a:moveTo>
                  <a:lnTo>
                    <a:pt x="2" y="2"/>
                  </a:lnTo>
                  <a:lnTo>
                    <a:pt x="4" y="4"/>
                  </a:lnTo>
                  <a:lnTo>
                    <a:pt x="4" y="6"/>
                  </a:lnTo>
                  <a:lnTo>
                    <a:pt x="2" y="10"/>
                  </a:lnTo>
                  <a:lnTo>
                    <a:pt x="0" y="12"/>
                  </a:lnTo>
                  <a:lnTo>
                    <a:pt x="0" y="16"/>
                  </a:lnTo>
                  <a:lnTo>
                    <a:pt x="0" y="18"/>
                  </a:lnTo>
                  <a:lnTo>
                    <a:pt x="4" y="20"/>
                  </a:lnTo>
                  <a:lnTo>
                    <a:pt x="12" y="22"/>
                  </a:lnTo>
                  <a:lnTo>
                    <a:pt x="14" y="24"/>
                  </a:lnTo>
                  <a:lnTo>
                    <a:pt x="16" y="26"/>
                  </a:lnTo>
                  <a:lnTo>
                    <a:pt x="16" y="28"/>
                  </a:lnTo>
                  <a:lnTo>
                    <a:pt x="20" y="28"/>
                  </a:lnTo>
                  <a:lnTo>
                    <a:pt x="24" y="28"/>
                  </a:lnTo>
                  <a:lnTo>
                    <a:pt x="28" y="32"/>
                  </a:lnTo>
                  <a:lnTo>
                    <a:pt x="32" y="36"/>
                  </a:lnTo>
                  <a:lnTo>
                    <a:pt x="32" y="38"/>
                  </a:lnTo>
                  <a:lnTo>
                    <a:pt x="36" y="36"/>
                  </a:lnTo>
                  <a:lnTo>
                    <a:pt x="38" y="34"/>
                  </a:lnTo>
                  <a:lnTo>
                    <a:pt x="38" y="32"/>
                  </a:lnTo>
                  <a:lnTo>
                    <a:pt x="38" y="26"/>
                  </a:lnTo>
                  <a:lnTo>
                    <a:pt x="36" y="26"/>
                  </a:lnTo>
                  <a:lnTo>
                    <a:pt x="34" y="26"/>
                  </a:lnTo>
                  <a:lnTo>
                    <a:pt x="30" y="24"/>
                  </a:lnTo>
                  <a:lnTo>
                    <a:pt x="30" y="22"/>
                  </a:lnTo>
                  <a:lnTo>
                    <a:pt x="32" y="18"/>
                  </a:lnTo>
                  <a:lnTo>
                    <a:pt x="30" y="16"/>
                  </a:lnTo>
                  <a:lnTo>
                    <a:pt x="24" y="14"/>
                  </a:lnTo>
                  <a:lnTo>
                    <a:pt x="26" y="12"/>
                  </a:lnTo>
                  <a:lnTo>
                    <a:pt x="26" y="10"/>
                  </a:lnTo>
                  <a:lnTo>
                    <a:pt x="26" y="8"/>
                  </a:lnTo>
                  <a:lnTo>
                    <a:pt x="24" y="6"/>
                  </a:lnTo>
                  <a:lnTo>
                    <a:pt x="24" y="4"/>
                  </a:lnTo>
                  <a:lnTo>
                    <a:pt x="22" y="6"/>
                  </a:lnTo>
                  <a:lnTo>
                    <a:pt x="20" y="6"/>
                  </a:lnTo>
                  <a:lnTo>
                    <a:pt x="18" y="4"/>
                  </a:lnTo>
                  <a:lnTo>
                    <a:pt x="18" y="0"/>
                  </a:lnTo>
                  <a:lnTo>
                    <a:pt x="10" y="0"/>
                  </a:lnTo>
                  <a:lnTo>
                    <a:pt x="2" y="2"/>
                  </a:lnTo>
                  <a:close/>
                  <a:moveTo>
                    <a:pt x="14" y="16"/>
                  </a:moveTo>
                  <a:lnTo>
                    <a:pt x="14" y="16"/>
                  </a:lnTo>
                  <a:lnTo>
                    <a:pt x="18" y="18"/>
                  </a:lnTo>
                  <a:lnTo>
                    <a:pt x="20" y="20"/>
                  </a:lnTo>
                  <a:lnTo>
                    <a:pt x="18" y="20"/>
                  </a:lnTo>
                  <a:lnTo>
                    <a:pt x="14" y="20"/>
                  </a:lnTo>
                  <a:lnTo>
                    <a:pt x="12" y="18"/>
                  </a:lnTo>
                  <a:lnTo>
                    <a:pt x="14" y="1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7" name="Freeform 685">
              <a:extLst>
                <a:ext uri="{FF2B5EF4-FFF2-40B4-BE49-F238E27FC236}">
                  <a16:creationId xmlns:a16="http://schemas.microsoft.com/office/drawing/2014/main" id="{9DF22462-D723-4307-BA56-4540720AA470}"/>
                </a:ext>
              </a:extLst>
            </p:cNvPr>
            <p:cNvSpPr>
              <a:spLocks noEditPoints="1"/>
            </p:cNvSpPr>
            <p:nvPr/>
          </p:nvSpPr>
          <p:spPr bwMode="gray">
            <a:xfrm>
              <a:off x="2846520" y="4865659"/>
              <a:ext cx="407274" cy="972322"/>
            </a:xfrm>
            <a:custGeom>
              <a:avLst/>
              <a:gdLst>
                <a:gd name="T0" fmla="*/ 2147483647 w 220"/>
                <a:gd name="T1" fmla="*/ 2147483647 h 526"/>
                <a:gd name="T2" fmla="*/ 2147483647 w 220"/>
                <a:gd name="T3" fmla="*/ 2147483647 h 526"/>
                <a:gd name="T4" fmla="*/ 2147483647 w 220"/>
                <a:gd name="T5" fmla="*/ 0 h 526"/>
                <a:gd name="T6" fmla="*/ 2147483647 w 220"/>
                <a:gd name="T7" fmla="*/ 2147483647 h 526"/>
                <a:gd name="T8" fmla="*/ 2147483647 w 220"/>
                <a:gd name="T9" fmla="*/ 2147483647 h 526"/>
                <a:gd name="T10" fmla="*/ 2147483647 w 220"/>
                <a:gd name="T11" fmla="*/ 2147483647 h 526"/>
                <a:gd name="T12" fmla="*/ 2147483647 w 220"/>
                <a:gd name="T13" fmla="*/ 2147483647 h 526"/>
                <a:gd name="T14" fmla="*/ 2147483647 w 220"/>
                <a:gd name="T15" fmla="*/ 2147483647 h 526"/>
                <a:gd name="T16" fmla="*/ 2147483647 w 220"/>
                <a:gd name="T17" fmla="*/ 2147483647 h 526"/>
                <a:gd name="T18" fmla="*/ 2147483647 w 220"/>
                <a:gd name="T19" fmla="*/ 2147483647 h 526"/>
                <a:gd name="T20" fmla="*/ 2147483647 w 220"/>
                <a:gd name="T21" fmla="*/ 2147483647 h 526"/>
                <a:gd name="T22" fmla="*/ 2147483647 w 220"/>
                <a:gd name="T23" fmla="*/ 2147483647 h 526"/>
                <a:gd name="T24" fmla="*/ 2147483647 w 220"/>
                <a:gd name="T25" fmla="*/ 2147483647 h 526"/>
                <a:gd name="T26" fmla="*/ 2147483647 w 220"/>
                <a:gd name="T27" fmla="*/ 2147483647 h 526"/>
                <a:gd name="T28" fmla="*/ 2147483647 w 220"/>
                <a:gd name="T29" fmla="*/ 2147483647 h 526"/>
                <a:gd name="T30" fmla="*/ 2147483647 w 220"/>
                <a:gd name="T31" fmla="*/ 2147483647 h 526"/>
                <a:gd name="T32" fmla="*/ 2147483647 w 220"/>
                <a:gd name="T33" fmla="*/ 2147483647 h 526"/>
                <a:gd name="T34" fmla="*/ 2147483647 w 220"/>
                <a:gd name="T35" fmla="*/ 2147483647 h 526"/>
                <a:gd name="T36" fmla="*/ 2147483647 w 220"/>
                <a:gd name="T37" fmla="*/ 2147483647 h 526"/>
                <a:gd name="T38" fmla="*/ 2147483647 w 220"/>
                <a:gd name="T39" fmla="*/ 2147483647 h 526"/>
                <a:gd name="T40" fmla="*/ 2147483647 w 220"/>
                <a:gd name="T41" fmla="*/ 2147483647 h 526"/>
                <a:gd name="T42" fmla="*/ 2147483647 w 220"/>
                <a:gd name="T43" fmla="*/ 2147483647 h 526"/>
                <a:gd name="T44" fmla="*/ 2147483647 w 220"/>
                <a:gd name="T45" fmla="*/ 2147483647 h 526"/>
                <a:gd name="T46" fmla="*/ 0 w 220"/>
                <a:gd name="T47" fmla="*/ 2147483647 h 526"/>
                <a:gd name="T48" fmla="*/ 2147483647 w 220"/>
                <a:gd name="T49" fmla="*/ 2147483647 h 526"/>
                <a:gd name="T50" fmla="*/ 2147483647 w 220"/>
                <a:gd name="T51" fmla="*/ 2147483647 h 526"/>
                <a:gd name="T52" fmla="*/ 2147483647 w 220"/>
                <a:gd name="T53" fmla="*/ 2147483647 h 526"/>
                <a:gd name="T54" fmla="*/ 2147483647 w 220"/>
                <a:gd name="T55" fmla="*/ 2147483647 h 526"/>
                <a:gd name="T56" fmla="*/ 2147483647 w 220"/>
                <a:gd name="T57" fmla="*/ 2147483647 h 526"/>
                <a:gd name="T58" fmla="*/ 2147483647 w 220"/>
                <a:gd name="T59" fmla="*/ 2147483647 h 526"/>
                <a:gd name="T60" fmla="*/ 2147483647 w 220"/>
                <a:gd name="T61" fmla="*/ 2147483647 h 526"/>
                <a:gd name="T62" fmla="*/ 2147483647 w 220"/>
                <a:gd name="T63" fmla="*/ 2147483647 h 526"/>
                <a:gd name="T64" fmla="*/ 2147483647 w 220"/>
                <a:gd name="T65" fmla="*/ 2147483647 h 526"/>
                <a:gd name="T66" fmla="*/ 2147483647 w 220"/>
                <a:gd name="T67" fmla="*/ 2147483647 h 526"/>
                <a:gd name="T68" fmla="*/ 2147483647 w 220"/>
                <a:gd name="T69" fmla="*/ 2147483647 h 526"/>
                <a:gd name="T70" fmla="*/ 2147483647 w 220"/>
                <a:gd name="T71" fmla="*/ 2147483647 h 526"/>
                <a:gd name="T72" fmla="*/ 2147483647 w 220"/>
                <a:gd name="T73" fmla="*/ 2147483647 h 526"/>
                <a:gd name="T74" fmla="*/ 2147483647 w 220"/>
                <a:gd name="T75" fmla="*/ 2147483647 h 526"/>
                <a:gd name="T76" fmla="*/ 2147483647 w 220"/>
                <a:gd name="T77" fmla="*/ 2147483647 h 526"/>
                <a:gd name="T78" fmla="*/ 2147483647 w 220"/>
                <a:gd name="T79" fmla="*/ 2147483647 h 526"/>
                <a:gd name="T80" fmla="*/ 2147483647 w 220"/>
                <a:gd name="T81" fmla="*/ 2147483647 h 526"/>
                <a:gd name="T82" fmla="*/ 2147483647 w 220"/>
                <a:gd name="T83" fmla="*/ 2147483647 h 526"/>
                <a:gd name="T84" fmla="*/ 2147483647 w 220"/>
                <a:gd name="T85" fmla="*/ 2147483647 h 526"/>
                <a:gd name="T86" fmla="*/ 2147483647 w 220"/>
                <a:gd name="T87" fmla="*/ 2147483647 h 526"/>
                <a:gd name="T88" fmla="*/ 2147483647 w 220"/>
                <a:gd name="T89" fmla="*/ 2147483647 h 526"/>
                <a:gd name="T90" fmla="*/ 2147483647 w 220"/>
                <a:gd name="T91" fmla="*/ 2147483647 h 526"/>
                <a:gd name="T92" fmla="*/ 2147483647 w 220"/>
                <a:gd name="T93" fmla="*/ 2147483647 h 526"/>
                <a:gd name="T94" fmla="*/ 2147483647 w 220"/>
                <a:gd name="T95" fmla="*/ 2147483647 h 526"/>
                <a:gd name="T96" fmla="*/ 2147483647 w 220"/>
                <a:gd name="T97" fmla="*/ 2147483647 h 526"/>
                <a:gd name="T98" fmla="*/ 2147483647 w 220"/>
                <a:gd name="T99" fmla="*/ 2147483647 h 526"/>
                <a:gd name="T100" fmla="*/ 2147483647 w 220"/>
                <a:gd name="T101" fmla="*/ 2147483647 h 526"/>
                <a:gd name="T102" fmla="*/ 2147483647 w 220"/>
                <a:gd name="T103" fmla="*/ 2147483647 h 526"/>
                <a:gd name="T104" fmla="*/ 2147483647 w 220"/>
                <a:gd name="T105" fmla="*/ 2147483647 h 526"/>
                <a:gd name="T106" fmla="*/ 2147483647 w 220"/>
                <a:gd name="T107" fmla="*/ 2147483647 h 526"/>
                <a:gd name="T108" fmla="*/ 2147483647 w 220"/>
                <a:gd name="T109" fmla="*/ 2147483647 h 526"/>
                <a:gd name="T110" fmla="*/ 2147483647 w 220"/>
                <a:gd name="T111" fmla="*/ 2147483647 h 526"/>
                <a:gd name="T112" fmla="*/ 2147483647 w 220"/>
                <a:gd name="T113" fmla="*/ 2147483647 h 526"/>
                <a:gd name="T114" fmla="*/ 2147483647 w 220"/>
                <a:gd name="T115" fmla="*/ 2147483647 h 526"/>
                <a:gd name="T116" fmla="*/ 2147483647 w 220"/>
                <a:gd name="T117" fmla="*/ 2147483647 h 526"/>
                <a:gd name="T118" fmla="*/ 2147483647 w 220"/>
                <a:gd name="T119" fmla="*/ 2147483647 h 526"/>
                <a:gd name="T120" fmla="*/ 2147483647 w 220"/>
                <a:gd name="T121" fmla="*/ 2147483647 h 5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0"/>
                <a:gd name="T184" fmla="*/ 0 h 526"/>
                <a:gd name="T185" fmla="*/ 220 w 220"/>
                <a:gd name="T186" fmla="*/ 526 h 5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0" h="526">
                  <a:moveTo>
                    <a:pt x="52" y="490"/>
                  </a:moveTo>
                  <a:lnTo>
                    <a:pt x="52" y="524"/>
                  </a:lnTo>
                  <a:lnTo>
                    <a:pt x="54" y="522"/>
                  </a:lnTo>
                  <a:lnTo>
                    <a:pt x="62" y="524"/>
                  </a:lnTo>
                  <a:lnTo>
                    <a:pt x="88" y="526"/>
                  </a:lnTo>
                  <a:lnTo>
                    <a:pt x="88" y="520"/>
                  </a:lnTo>
                  <a:lnTo>
                    <a:pt x="84" y="520"/>
                  </a:lnTo>
                  <a:lnTo>
                    <a:pt x="80" y="520"/>
                  </a:lnTo>
                  <a:lnTo>
                    <a:pt x="74" y="520"/>
                  </a:lnTo>
                  <a:lnTo>
                    <a:pt x="56" y="504"/>
                  </a:lnTo>
                  <a:lnTo>
                    <a:pt x="56" y="496"/>
                  </a:lnTo>
                  <a:lnTo>
                    <a:pt x="56" y="492"/>
                  </a:lnTo>
                  <a:lnTo>
                    <a:pt x="52" y="490"/>
                  </a:lnTo>
                  <a:close/>
                  <a:moveTo>
                    <a:pt x="122" y="2"/>
                  </a:moveTo>
                  <a:lnTo>
                    <a:pt x="106" y="2"/>
                  </a:lnTo>
                  <a:lnTo>
                    <a:pt x="104" y="0"/>
                  </a:lnTo>
                  <a:lnTo>
                    <a:pt x="102" y="4"/>
                  </a:lnTo>
                  <a:lnTo>
                    <a:pt x="98" y="10"/>
                  </a:lnTo>
                  <a:lnTo>
                    <a:pt x="98" y="8"/>
                  </a:lnTo>
                  <a:lnTo>
                    <a:pt x="94" y="2"/>
                  </a:lnTo>
                  <a:lnTo>
                    <a:pt x="86" y="2"/>
                  </a:lnTo>
                  <a:lnTo>
                    <a:pt x="80" y="0"/>
                  </a:lnTo>
                  <a:lnTo>
                    <a:pt x="76" y="0"/>
                  </a:lnTo>
                  <a:lnTo>
                    <a:pt x="68" y="6"/>
                  </a:lnTo>
                  <a:lnTo>
                    <a:pt x="68" y="10"/>
                  </a:lnTo>
                  <a:lnTo>
                    <a:pt x="68" y="14"/>
                  </a:lnTo>
                  <a:lnTo>
                    <a:pt x="70" y="16"/>
                  </a:lnTo>
                  <a:lnTo>
                    <a:pt x="72" y="18"/>
                  </a:lnTo>
                  <a:lnTo>
                    <a:pt x="72" y="20"/>
                  </a:lnTo>
                  <a:lnTo>
                    <a:pt x="72" y="28"/>
                  </a:lnTo>
                  <a:lnTo>
                    <a:pt x="70" y="30"/>
                  </a:lnTo>
                  <a:lnTo>
                    <a:pt x="68" y="30"/>
                  </a:lnTo>
                  <a:lnTo>
                    <a:pt x="66" y="32"/>
                  </a:lnTo>
                  <a:lnTo>
                    <a:pt x="64" y="34"/>
                  </a:lnTo>
                  <a:lnTo>
                    <a:pt x="62" y="36"/>
                  </a:lnTo>
                  <a:lnTo>
                    <a:pt x="60" y="38"/>
                  </a:lnTo>
                  <a:lnTo>
                    <a:pt x="58" y="40"/>
                  </a:lnTo>
                  <a:lnTo>
                    <a:pt x="56" y="42"/>
                  </a:lnTo>
                  <a:lnTo>
                    <a:pt x="56" y="54"/>
                  </a:lnTo>
                  <a:lnTo>
                    <a:pt x="58" y="60"/>
                  </a:lnTo>
                  <a:lnTo>
                    <a:pt x="58" y="62"/>
                  </a:lnTo>
                  <a:lnTo>
                    <a:pt x="58" y="64"/>
                  </a:lnTo>
                  <a:lnTo>
                    <a:pt x="56" y="66"/>
                  </a:lnTo>
                  <a:lnTo>
                    <a:pt x="56" y="72"/>
                  </a:lnTo>
                  <a:lnTo>
                    <a:pt x="58" y="76"/>
                  </a:lnTo>
                  <a:lnTo>
                    <a:pt x="56" y="82"/>
                  </a:lnTo>
                  <a:lnTo>
                    <a:pt x="50" y="92"/>
                  </a:lnTo>
                  <a:lnTo>
                    <a:pt x="46" y="96"/>
                  </a:lnTo>
                  <a:lnTo>
                    <a:pt x="46" y="98"/>
                  </a:lnTo>
                  <a:lnTo>
                    <a:pt x="44" y="102"/>
                  </a:lnTo>
                  <a:lnTo>
                    <a:pt x="42" y="118"/>
                  </a:lnTo>
                  <a:lnTo>
                    <a:pt x="44" y="124"/>
                  </a:lnTo>
                  <a:lnTo>
                    <a:pt x="42" y="130"/>
                  </a:lnTo>
                  <a:lnTo>
                    <a:pt x="40" y="134"/>
                  </a:lnTo>
                  <a:lnTo>
                    <a:pt x="40" y="140"/>
                  </a:lnTo>
                  <a:lnTo>
                    <a:pt x="38" y="146"/>
                  </a:lnTo>
                  <a:lnTo>
                    <a:pt x="38" y="152"/>
                  </a:lnTo>
                  <a:lnTo>
                    <a:pt x="40" y="158"/>
                  </a:lnTo>
                  <a:lnTo>
                    <a:pt x="38" y="162"/>
                  </a:lnTo>
                  <a:lnTo>
                    <a:pt x="36" y="168"/>
                  </a:lnTo>
                  <a:lnTo>
                    <a:pt x="36" y="172"/>
                  </a:lnTo>
                  <a:lnTo>
                    <a:pt x="38" y="178"/>
                  </a:lnTo>
                  <a:lnTo>
                    <a:pt x="38" y="182"/>
                  </a:lnTo>
                  <a:lnTo>
                    <a:pt x="36" y="192"/>
                  </a:lnTo>
                  <a:lnTo>
                    <a:pt x="32" y="200"/>
                  </a:lnTo>
                  <a:lnTo>
                    <a:pt x="32" y="204"/>
                  </a:lnTo>
                  <a:lnTo>
                    <a:pt x="32" y="208"/>
                  </a:lnTo>
                  <a:lnTo>
                    <a:pt x="32" y="212"/>
                  </a:lnTo>
                  <a:lnTo>
                    <a:pt x="32" y="216"/>
                  </a:lnTo>
                  <a:lnTo>
                    <a:pt x="30" y="218"/>
                  </a:lnTo>
                  <a:lnTo>
                    <a:pt x="28" y="218"/>
                  </a:lnTo>
                  <a:lnTo>
                    <a:pt x="24" y="222"/>
                  </a:lnTo>
                  <a:lnTo>
                    <a:pt x="24" y="224"/>
                  </a:lnTo>
                  <a:lnTo>
                    <a:pt x="22" y="228"/>
                  </a:lnTo>
                  <a:lnTo>
                    <a:pt x="22" y="238"/>
                  </a:lnTo>
                  <a:lnTo>
                    <a:pt x="24" y="242"/>
                  </a:lnTo>
                  <a:lnTo>
                    <a:pt x="24" y="248"/>
                  </a:lnTo>
                  <a:lnTo>
                    <a:pt x="22" y="250"/>
                  </a:lnTo>
                  <a:lnTo>
                    <a:pt x="18" y="260"/>
                  </a:lnTo>
                  <a:lnTo>
                    <a:pt x="18" y="268"/>
                  </a:lnTo>
                  <a:lnTo>
                    <a:pt x="16" y="272"/>
                  </a:lnTo>
                  <a:lnTo>
                    <a:pt x="14" y="276"/>
                  </a:lnTo>
                  <a:lnTo>
                    <a:pt x="12" y="278"/>
                  </a:lnTo>
                  <a:lnTo>
                    <a:pt x="14" y="282"/>
                  </a:lnTo>
                  <a:lnTo>
                    <a:pt x="16" y="288"/>
                  </a:lnTo>
                  <a:lnTo>
                    <a:pt x="14" y="294"/>
                  </a:lnTo>
                  <a:lnTo>
                    <a:pt x="14" y="296"/>
                  </a:lnTo>
                  <a:lnTo>
                    <a:pt x="16" y="298"/>
                  </a:lnTo>
                  <a:lnTo>
                    <a:pt x="18" y="298"/>
                  </a:lnTo>
                  <a:lnTo>
                    <a:pt x="18" y="302"/>
                  </a:lnTo>
                  <a:lnTo>
                    <a:pt x="18" y="312"/>
                  </a:lnTo>
                  <a:lnTo>
                    <a:pt x="16" y="318"/>
                  </a:lnTo>
                  <a:lnTo>
                    <a:pt x="14" y="322"/>
                  </a:lnTo>
                  <a:lnTo>
                    <a:pt x="14" y="324"/>
                  </a:lnTo>
                  <a:lnTo>
                    <a:pt x="18" y="328"/>
                  </a:lnTo>
                  <a:lnTo>
                    <a:pt x="18" y="330"/>
                  </a:lnTo>
                  <a:lnTo>
                    <a:pt x="18" y="332"/>
                  </a:lnTo>
                  <a:lnTo>
                    <a:pt x="18" y="336"/>
                  </a:lnTo>
                  <a:lnTo>
                    <a:pt x="20" y="340"/>
                  </a:lnTo>
                  <a:lnTo>
                    <a:pt x="20" y="344"/>
                  </a:lnTo>
                  <a:lnTo>
                    <a:pt x="22" y="346"/>
                  </a:lnTo>
                  <a:lnTo>
                    <a:pt x="20" y="348"/>
                  </a:lnTo>
                  <a:lnTo>
                    <a:pt x="18" y="352"/>
                  </a:lnTo>
                  <a:lnTo>
                    <a:pt x="18" y="356"/>
                  </a:lnTo>
                  <a:lnTo>
                    <a:pt x="20" y="358"/>
                  </a:lnTo>
                  <a:lnTo>
                    <a:pt x="20" y="360"/>
                  </a:lnTo>
                  <a:lnTo>
                    <a:pt x="18" y="362"/>
                  </a:lnTo>
                  <a:lnTo>
                    <a:pt x="16" y="362"/>
                  </a:lnTo>
                  <a:lnTo>
                    <a:pt x="16" y="366"/>
                  </a:lnTo>
                  <a:lnTo>
                    <a:pt x="14" y="368"/>
                  </a:lnTo>
                  <a:lnTo>
                    <a:pt x="16" y="372"/>
                  </a:lnTo>
                  <a:lnTo>
                    <a:pt x="18" y="376"/>
                  </a:lnTo>
                  <a:lnTo>
                    <a:pt x="16" y="380"/>
                  </a:lnTo>
                  <a:lnTo>
                    <a:pt x="16" y="386"/>
                  </a:lnTo>
                  <a:lnTo>
                    <a:pt x="16" y="392"/>
                  </a:lnTo>
                  <a:lnTo>
                    <a:pt x="16" y="396"/>
                  </a:lnTo>
                  <a:lnTo>
                    <a:pt x="12" y="400"/>
                  </a:lnTo>
                  <a:lnTo>
                    <a:pt x="10" y="404"/>
                  </a:lnTo>
                  <a:lnTo>
                    <a:pt x="10" y="408"/>
                  </a:lnTo>
                  <a:lnTo>
                    <a:pt x="12" y="412"/>
                  </a:lnTo>
                  <a:lnTo>
                    <a:pt x="10" y="416"/>
                  </a:lnTo>
                  <a:lnTo>
                    <a:pt x="4" y="420"/>
                  </a:lnTo>
                  <a:lnTo>
                    <a:pt x="2" y="420"/>
                  </a:lnTo>
                  <a:lnTo>
                    <a:pt x="0" y="424"/>
                  </a:lnTo>
                  <a:lnTo>
                    <a:pt x="2" y="430"/>
                  </a:lnTo>
                  <a:lnTo>
                    <a:pt x="2" y="434"/>
                  </a:lnTo>
                  <a:lnTo>
                    <a:pt x="0" y="438"/>
                  </a:lnTo>
                  <a:lnTo>
                    <a:pt x="0" y="442"/>
                  </a:lnTo>
                  <a:lnTo>
                    <a:pt x="0" y="448"/>
                  </a:lnTo>
                  <a:lnTo>
                    <a:pt x="0" y="450"/>
                  </a:lnTo>
                  <a:lnTo>
                    <a:pt x="2" y="450"/>
                  </a:lnTo>
                  <a:lnTo>
                    <a:pt x="6" y="448"/>
                  </a:lnTo>
                  <a:lnTo>
                    <a:pt x="8" y="450"/>
                  </a:lnTo>
                  <a:lnTo>
                    <a:pt x="10" y="454"/>
                  </a:lnTo>
                  <a:lnTo>
                    <a:pt x="8" y="456"/>
                  </a:lnTo>
                  <a:lnTo>
                    <a:pt x="6" y="458"/>
                  </a:lnTo>
                  <a:lnTo>
                    <a:pt x="6" y="460"/>
                  </a:lnTo>
                  <a:lnTo>
                    <a:pt x="10" y="466"/>
                  </a:lnTo>
                  <a:lnTo>
                    <a:pt x="14" y="472"/>
                  </a:lnTo>
                  <a:lnTo>
                    <a:pt x="18" y="478"/>
                  </a:lnTo>
                  <a:lnTo>
                    <a:pt x="34" y="476"/>
                  </a:lnTo>
                  <a:lnTo>
                    <a:pt x="52" y="478"/>
                  </a:lnTo>
                  <a:lnTo>
                    <a:pt x="52" y="472"/>
                  </a:lnTo>
                  <a:lnTo>
                    <a:pt x="46" y="472"/>
                  </a:lnTo>
                  <a:lnTo>
                    <a:pt x="48" y="470"/>
                  </a:lnTo>
                  <a:lnTo>
                    <a:pt x="48" y="464"/>
                  </a:lnTo>
                  <a:lnTo>
                    <a:pt x="48" y="460"/>
                  </a:lnTo>
                  <a:lnTo>
                    <a:pt x="48" y="454"/>
                  </a:lnTo>
                  <a:lnTo>
                    <a:pt x="52" y="452"/>
                  </a:lnTo>
                  <a:lnTo>
                    <a:pt x="56" y="452"/>
                  </a:lnTo>
                  <a:lnTo>
                    <a:pt x="54" y="448"/>
                  </a:lnTo>
                  <a:lnTo>
                    <a:pt x="50" y="446"/>
                  </a:lnTo>
                  <a:lnTo>
                    <a:pt x="52" y="442"/>
                  </a:lnTo>
                  <a:lnTo>
                    <a:pt x="52" y="438"/>
                  </a:lnTo>
                  <a:lnTo>
                    <a:pt x="56" y="442"/>
                  </a:lnTo>
                  <a:lnTo>
                    <a:pt x="56" y="446"/>
                  </a:lnTo>
                  <a:lnTo>
                    <a:pt x="60" y="444"/>
                  </a:lnTo>
                  <a:lnTo>
                    <a:pt x="64" y="444"/>
                  </a:lnTo>
                  <a:lnTo>
                    <a:pt x="64" y="438"/>
                  </a:lnTo>
                  <a:lnTo>
                    <a:pt x="66" y="432"/>
                  </a:lnTo>
                  <a:lnTo>
                    <a:pt x="70" y="424"/>
                  </a:lnTo>
                  <a:lnTo>
                    <a:pt x="78" y="416"/>
                  </a:lnTo>
                  <a:lnTo>
                    <a:pt x="88" y="410"/>
                  </a:lnTo>
                  <a:lnTo>
                    <a:pt x="84" y="404"/>
                  </a:lnTo>
                  <a:lnTo>
                    <a:pt x="84" y="402"/>
                  </a:lnTo>
                  <a:lnTo>
                    <a:pt x="84" y="398"/>
                  </a:lnTo>
                  <a:lnTo>
                    <a:pt x="82" y="394"/>
                  </a:lnTo>
                  <a:lnTo>
                    <a:pt x="78" y="394"/>
                  </a:lnTo>
                  <a:lnTo>
                    <a:pt x="74" y="394"/>
                  </a:lnTo>
                  <a:lnTo>
                    <a:pt x="72" y="388"/>
                  </a:lnTo>
                  <a:lnTo>
                    <a:pt x="66" y="382"/>
                  </a:lnTo>
                  <a:lnTo>
                    <a:pt x="64" y="378"/>
                  </a:lnTo>
                  <a:lnTo>
                    <a:pt x="66" y="374"/>
                  </a:lnTo>
                  <a:lnTo>
                    <a:pt x="72" y="370"/>
                  </a:lnTo>
                  <a:lnTo>
                    <a:pt x="80" y="358"/>
                  </a:lnTo>
                  <a:lnTo>
                    <a:pt x="82" y="358"/>
                  </a:lnTo>
                  <a:lnTo>
                    <a:pt x="86" y="360"/>
                  </a:lnTo>
                  <a:lnTo>
                    <a:pt x="88" y="360"/>
                  </a:lnTo>
                  <a:lnTo>
                    <a:pt x="88" y="356"/>
                  </a:lnTo>
                  <a:lnTo>
                    <a:pt x="88" y="354"/>
                  </a:lnTo>
                  <a:lnTo>
                    <a:pt x="88" y="352"/>
                  </a:lnTo>
                  <a:lnTo>
                    <a:pt x="90" y="350"/>
                  </a:lnTo>
                  <a:lnTo>
                    <a:pt x="92" y="350"/>
                  </a:lnTo>
                  <a:lnTo>
                    <a:pt x="92" y="338"/>
                  </a:lnTo>
                  <a:lnTo>
                    <a:pt x="94" y="328"/>
                  </a:lnTo>
                  <a:lnTo>
                    <a:pt x="98" y="328"/>
                  </a:lnTo>
                  <a:lnTo>
                    <a:pt x="100" y="326"/>
                  </a:lnTo>
                  <a:lnTo>
                    <a:pt x="102" y="324"/>
                  </a:lnTo>
                  <a:lnTo>
                    <a:pt x="100" y="322"/>
                  </a:lnTo>
                  <a:lnTo>
                    <a:pt x="96" y="322"/>
                  </a:lnTo>
                  <a:lnTo>
                    <a:pt x="98" y="318"/>
                  </a:lnTo>
                  <a:lnTo>
                    <a:pt x="102" y="318"/>
                  </a:lnTo>
                  <a:lnTo>
                    <a:pt x="104" y="318"/>
                  </a:lnTo>
                  <a:lnTo>
                    <a:pt x="106" y="320"/>
                  </a:lnTo>
                  <a:lnTo>
                    <a:pt x="108" y="322"/>
                  </a:lnTo>
                  <a:lnTo>
                    <a:pt x="108" y="324"/>
                  </a:lnTo>
                  <a:lnTo>
                    <a:pt x="112" y="322"/>
                  </a:lnTo>
                  <a:lnTo>
                    <a:pt x="112" y="320"/>
                  </a:lnTo>
                  <a:lnTo>
                    <a:pt x="112" y="318"/>
                  </a:lnTo>
                  <a:lnTo>
                    <a:pt x="112" y="314"/>
                  </a:lnTo>
                  <a:lnTo>
                    <a:pt x="104" y="316"/>
                  </a:lnTo>
                  <a:lnTo>
                    <a:pt x="98" y="314"/>
                  </a:lnTo>
                  <a:lnTo>
                    <a:pt x="98" y="304"/>
                  </a:lnTo>
                  <a:lnTo>
                    <a:pt x="96" y="304"/>
                  </a:lnTo>
                  <a:lnTo>
                    <a:pt x="92" y="302"/>
                  </a:lnTo>
                  <a:lnTo>
                    <a:pt x="96" y="290"/>
                  </a:lnTo>
                  <a:lnTo>
                    <a:pt x="100" y="292"/>
                  </a:lnTo>
                  <a:lnTo>
                    <a:pt x="102" y="292"/>
                  </a:lnTo>
                  <a:lnTo>
                    <a:pt x="104" y="294"/>
                  </a:lnTo>
                  <a:lnTo>
                    <a:pt x="104" y="298"/>
                  </a:lnTo>
                  <a:lnTo>
                    <a:pt x="114" y="298"/>
                  </a:lnTo>
                  <a:lnTo>
                    <a:pt x="120" y="294"/>
                  </a:lnTo>
                  <a:lnTo>
                    <a:pt x="126" y="290"/>
                  </a:lnTo>
                  <a:lnTo>
                    <a:pt x="128" y="268"/>
                  </a:lnTo>
                  <a:lnTo>
                    <a:pt x="122" y="264"/>
                  </a:lnTo>
                  <a:lnTo>
                    <a:pt x="122" y="262"/>
                  </a:lnTo>
                  <a:lnTo>
                    <a:pt x="122" y="260"/>
                  </a:lnTo>
                  <a:lnTo>
                    <a:pt x="124" y="258"/>
                  </a:lnTo>
                  <a:lnTo>
                    <a:pt x="126" y="260"/>
                  </a:lnTo>
                  <a:lnTo>
                    <a:pt x="130" y="262"/>
                  </a:lnTo>
                  <a:lnTo>
                    <a:pt x="134" y="260"/>
                  </a:lnTo>
                  <a:lnTo>
                    <a:pt x="154" y="256"/>
                  </a:lnTo>
                  <a:lnTo>
                    <a:pt x="162" y="254"/>
                  </a:lnTo>
                  <a:lnTo>
                    <a:pt x="170" y="250"/>
                  </a:lnTo>
                  <a:lnTo>
                    <a:pt x="178" y="244"/>
                  </a:lnTo>
                  <a:lnTo>
                    <a:pt x="182" y="238"/>
                  </a:lnTo>
                  <a:lnTo>
                    <a:pt x="186" y="220"/>
                  </a:lnTo>
                  <a:lnTo>
                    <a:pt x="182" y="218"/>
                  </a:lnTo>
                  <a:lnTo>
                    <a:pt x="180" y="218"/>
                  </a:lnTo>
                  <a:lnTo>
                    <a:pt x="178" y="216"/>
                  </a:lnTo>
                  <a:lnTo>
                    <a:pt x="178" y="212"/>
                  </a:lnTo>
                  <a:lnTo>
                    <a:pt x="178" y="210"/>
                  </a:lnTo>
                  <a:lnTo>
                    <a:pt x="180" y="208"/>
                  </a:lnTo>
                  <a:lnTo>
                    <a:pt x="180" y="206"/>
                  </a:lnTo>
                  <a:lnTo>
                    <a:pt x="174" y="200"/>
                  </a:lnTo>
                  <a:lnTo>
                    <a:pt x="170" y="192"/>
                  </a:lnTo>
                  <a:lnTo>
                    <a:pt x="164" y="180"/>
                  </a:lnTo>
                  <a:lnTo>
                    <a:pt x="166" y="180"/>
                  </a:lnTo>
                  <a:lnTo>
                    <a:pt x="166" y="178"/>
                  </a:lnTo>
                  <a:lnTo>
                    <a:pt x="166" y="172"/>
                  </a:lnTo>
                  <a:lnTo>
                    <a:pt x="168" y="168"/>
                  </a:lnTo>
                  <a:lnTo>
                    <a:pt x="166" y="168"/>
                  </a:lnTo>
                  <a:lnTo>
                    <a:pt x="168" y="166"/>
                  </a:lnTo>
                  <a:lnTo>
                    <a:pt x="170" y="164"/>
                  </a:lnTo>
                  <a:lnTo>
                    <a:pt x="170" y="160"/>
                  </a:lnTo>
                  <a:lnTo>
                    <a:pt x="170" y="156"/>
                  </a:lnTo>
                  <a:lnTo>
                    <a:pt x="170" y="154"/>
                  </a:lnTo>
                  <a:lnTo>
                    <a:pt x="170" y="152"/>
                  </a:lnTo>
                  <a:lnTo>
                    <a:pt x="172" y="150"/>
                  </a:lnTo>
                  <a:lnTo>
                    <a:pt x="172" y="146"/>
                  </a:lnTo>
                  <a:lnTo>
                    <a:pt x="172" y="144"/>
                  </a:lnTo>
                  <a:lnTo>
                    <a:pt x="174" y="142"/>
                  </a:lnTo>
                  <a:lnTo>
                    <a:pt x="174" y="140"/>
                  </a:lnTo>
                  <a:lnTo>
                    <a:pt x="174" y="138"/>
                  </a:lnTo>
                  <a:lnTo>
                    <a:pt x="174" y="134"/>
                  </a:lnTo>
                  <a:lnTo>
                    <a:pt x="176" y="130"/>
                  </a:lnTo>
                  <a:lnTo>
                    <a:pt x="178" y="128"/>
                  </a:lnTo>
                  <a:lnTo>
                    <a:pt x="180" y="120"/>
                  </a:lnTo>
                  <a:lnTo>
                    <a:pt x="182" y="116"/>
                  </a:lnTo>
                  <a:lnTo>
                    <a:pt x="184" y="114"/>
                  </a:lnTo>
                  <a:lnTo>
                    <a:pt x="188" y="110"/>
                  </a:lnTo>
                  <a:lnTo>
                    <a:pt x="188" y="106"/>
                  </a:lnTo>
                  <a:lnTo>
                    <a:pt x="190" y="104"/>
                  </a:lnTo>
                  <a:lnTo>
                    <a:pt x="192" y="102"/>
                  </a:lnTo>
                  <a:lnTo>
                    <a:pt x="194" y="100"/>
                  </a:lnTo>
                  <a:lnTo>
                    <a:pt x="196" y="100"/>
                  </a:lnTo>
                  <a:lnTo>
                    <a:pt x="198" y="96"/>
                  </a:lnTo>
                  <a:lnTo>
                    <a:pt x="202" y="94"/>
                  </a:lnTo>
                  <a:lnTo>
                    <a:pt x="204" y="90"/>
                  </a:lnTo>
                  <a:lnTo>
                    <a:pt x="208" y="86"/>
                  </a:lnTo>
                  <a:lnTo>
                    <a:pt x="208" y="84"/>
                  </a:lnTo>
                  <a:lnTo>
                    <a:pt x="212" y="84"/>
                  </a:lnTo>
                  <a:lnTo>
                    <a:pt x="214" y="84"/>
                  </a:lnTo>
                  <a:lnTo>
                    <a:pt x="216" y="82"/>
                  </a:lnTo>
                  <a:lnTo>
                    <a:pt x="220" y="80"/>
                  </a:lnTo>
                  <a:lnTo>
                    <a:pt x="220" y="78"/>
                  </a:lnTo>
                  <a:lnTo>
                    <a:pt x="220" y="66"/>
                  </a:lnTo>
                  <a:lnTo>
                    <a:pt x="220" y="56"/>
                  </a:lnTo>
                  <a:lnTo>
                    <a:pt x="218" y="56"/>
                  </a:lnTo>
                  <a:lnTo>
                    <a:pt x="216" y="56"/>
                  </a:lnTo>
                  <a:lnTo>
                    <a:pt x="214" y="58"/>
                  </a:lnTo>
                  <a:lnTo>
                    <a:pt x="212" y="56"/>
                  </a:lnTo>
                  <a:lnTo>
                    <a:pt x="210" y="56"/>
                  </a:lnTo>
                  <a:lnTo>
                    <a:pt x="208" y="58"/>
                  </a:lnTo>
                  <a:lnTo>
                    <a:pt x="208" y="62"/>
                  </a:lnTo>
                  <a:lnTo>
                    <a:pt x="208" y="68"/>
                  </a:lnTo>
                  <a:lnTo>
                    <a:pt x="206" y="72"/>
                  </a:lnTo>
                  <a:lnTo>
                    <a:pt x="204" y="76"/>
                  </a:lnTo>
                  <a:lnTo>
                    <a:pt x="202" y="80"/>
                  </a:lnTo>
                  <a:lnTo>
                    <a:pt x="200" y="82"/>
                  </a:lnTo>
                  <a:lnTo>
                    <a:pt x="198" y="82"/>
                  </a:lnTo>
                  <a:lnTo>
                    <a:pt x="194" y="82"/>
                  </a:lnTo>
                  <a:lnTo>
                    <a:pt x="184" y="82"/>
                  </a:lnTo>
                  <a:lnTo>
                    <a:pt x="180" y="82"/>
                  </a:lnTo>
                  <a:lnTo>
                    <a:pt x="176" y="80"/>
                  </a:lnTo>
                  <a:lnTo>
                    <a:pt x="172" y="80"/>
                  </a:lnTo>
                  <a:lnTo>
                    <a:pt x="168" y="80"/>
                  </a:lnTo>
                  <a:lnTo>
                    <a:pt x="164" y="80"/>
                  </a:lnTo>
                  <a:lnTo>
                    <a:pt x="164" y="78"/>
                  </a:lnTo>
                  <a:lnTo>
                    <a:pt x="168" y="70"/>
                  </a:lnTo>
                  <a:lnTo>
                    <a:pt x="172" y="66"/>
                  </a:lnTo>
                  <a:lnTo>
                    <a:pt x="174" y="60"/>
                  </a:lnTo>
                  <a:lnTo>
                    <a:pt x="174" y="54"/>
                  </a:lnTo>
                  <a:lnTo>
                    <a:pt x="174" y="52"/>
                  </a:lnTo>
                  <a:lnTo>
                    <a:pt x="172" y="50"/>
                  </a:lnTo>
                  <a:lnTo>
                    <a:pt x="168" y="46"/>
                  </a:lnTo>
                  <a:lnTo>
                    <a:pt x="166" y="42"/>
                  </a:lnTo>
                  <a:lnTo>
                    <a:pt x="160" y="38"/>
                  </a:lnTo>
                  <a:lnTo>
                    <a:pt x="158" y="38"/>
                  </a:lnTo>
                  <a:lnTo>
                    <a:pt x="156" y="38"/>
                  </a:lnTo>
                  <a:lnTo>
                    <a:pt x="154" y="36"/>
                  </a:lnTo>
                  <a:lnTo>
                    <a:pt x="150" y="32"/>
                  </a:lnTo>
                  <a:lnTo>
                    <a:pt x="146" y="30"/>
                  </a:lnTo>
                  <a:lnTo>
                    <a:pt x="144" y="28"/>
                  </a:lnTo>
                  <a:lnTo>
                    <a:pt x="144" y="26"/>
                  </a:lnTo>
                  <a:lnTo>
                    <a:pt x="142" y="22"/>
                  </a:lnTo>
                  <a:lnTo>
                    <a:pt x="140" y="18"/>
                  </a:lnTo>
                  <a:lnTo>
                    <a:pt x="136" y="16"/>
                  </a:lnTo>
                  <a:lnTo>
                    <a:pt x="134" y="14"/>
                  </a:lnTo>
                  <a:lnTo>
                    <a:pt x="132" y="12"/>
                  </a:lnTo>
                  <a:lnTo>
                    <a:pt x="130" y="6"/>
                  </a:lnTo>
                  <a:lnTo>
                    <a:pt x="122" y="2"/>
                  </a:lnTo>
                  <a:close/>
                  <a:moveTo>
                    <a:pt x="102" y="520"/>
                  </a:moveTo>
                  <a:lnTo>
                    <a:pt x="102" y="520"/>
                  </a:lnTo>
                  <a:lnTo>
                    <a:pt x="100" y="522"/>
                  </a:lnTo>
                  <a:lnTo>
                    <a:pt x="102" y="524"/>
                  </a:lnTo>
                  <a:lnTo>
                    <a:pt x="104" y="524"/>
                  </a:lnTo>
                  <a:lnTo>
                    <a:pt x="102" y="524"/>
                  </a:lnTo>
                  <a:lnTo>
                    <a:pt x="108" y="524"/>
                  </a:lnTo>
                  <a:lnTo>
                    <a:pt x="108" y="522"/>
                  </a:lnTo>
                  <a:lnTo>
                    <a:pt x="102" y="52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8" name="Freeform 686">
              <a:extLst>
                <a:ext uri="{FF2B5EF4-FFF2-40B4-BE49-F238E27FC236}">
                  <a16:creationId xmlns:a16="http://schemas.microsoft.com/office/drawing/2014/main" id="{2C436DE8-4167-41D2-9E0E-81B0C9D9F9E4}"/>
                </a:ext>
              </a:extLst>
            </p:cNvPr>
            <p:cNvSpPr>
              <a:spLocks noEditPoints="1"/>
            </p:cNvSpPr>
            <p:nvPr/>
          </p:nvSpPr>
          <p:spPr bwMode="gray">
            <a:xfrm>
              <a:off x="4623926" y="4394801"/>
              <a:ext cx="273084" cy="369623"/>
            </a:xfrm>
            <a:custGeom>
              <a:avLst/>
              <a:gdLst>
                <a:gd name="T0" fmla="*/ 2147483647 w 148"/>
                <a:gd name="T1" fmla="*/ 2147483647 h 200"/>
                <a:gd name="T2" fmla="*/ 2147483647 w 148"/>
                <a:gd name="T3" fmla="*/ 2147483647 h 200"/>
                <a:gd name="T4" fmla="*/ 2147483647 w 148"/>
                <a:gd name="T5" fmla="*/ 2147483647 h 200"/>
                <a:gd name="T6" fmla="*/ 2147483647 w 148"/>
                <a:gd name="T7" fmla="*/ 2147483647 h 200"/>
                <a:gd name="T8" fmla="*/ 2147483647 w 148"/>
                <a:gd name="T9" fmla="*/ 2147483647 h 200"/>
                <a:gd name="T10" fmla="*/ 2147483647 w 148"/>
                <a:gd name="T11" fmla="*/ 2147483647 h 200"/>
                <a:gd name="T12" fmla="*/ 2147483647 w 148"/>
                <a:gd name="T13" fmla="*/ 2147483647 h 200"/>
                <a:gd name="T14" fmla="*/ 2147483647 w 148"/>
                <a:gd name="T15" fmla="*/ 2147483647 h 200"/>
                <a:gd name="T16" fmla="*/ 2147483647 w 148"/>
                <a:gd name="T17" fmla="*/ 2147483647 h 200"/>
                <a:gd name="T18" fmla="*/ 2147483647 w 148"/>
                <a:gd name="T19" fmla="*/ 2147483647 h 200"/>
                <a:gd name="T20" fmla="*/ 2147483647 w 148"/>
                <a:gd name="T21" fmla="*/ 2147483647 h 200"/>
                <a:gd name="T22" fmla="*/ 2147483647 w 148"/>
                <a:gd name="T23" fmla="*/ 2147483647 h 200"/>
                <a:gd name="T24" fmla="*/ 2147483647 w 148"/>
                <a:gd name="T25" fmla="*/ 2147483647 h 200"/>
                <a:gd name="T26" fmla="*/ 2147483647 w 148"/>
                <a:gd name="T27" fmla="*/ 2147483647 h 200"/>
                <a:gd name="T28" fmla="*/ 2147483647 w 148"/>
                <a:gd name="T29" fmla="*/ 2147483647 h 200"/>
                <a:gd name="T30" fmla="*/ 2147483647 w 148"/>
                <a:gd name="T31" fmla="*/ 2147483647 h 200"/>
                <a:gd name="T32" fmla="*/ 2147483647 w 148"/>
                <a:gd name="T33" fmla="*/ 2147483647 h 200"/>
                <a:gd name="T34" fmla="*/ 2147483647 w 148"/>
                <a:gd name="T35" fmla="*/ 2147483647 h 200"/>
                <a:gd name="T36" fmla="*/ 2147483647 w 148"/>
                <a:gd name="T37" fmla="*/ 2147483647 h 200"/>
                <a:gd name="T38" fmla="*/ 2147483647 w 148"/>
                <a:gd name="T39" fmla="*/ 2147483647 h 200"/>
                <a:gd name="T40" fmla="*/ 2147483647 w 148"/>
                <a:gd name="T41" fmla="*/ 2147483647 h 200"/>
                <a:gd name="T42" fmla="*/ 2147483647 w 148"/>
                <a:gd name="T43" fmla="*/ 2147483647 h 200"/>
                <a:gd name="T44" fmla="*/ 2147483647 w 148"/>
                <a:gd name="T45" fmla="*/ 2147483647 h 200"/>
                <a:gd name="T46" fmla="*/ 2147483647 w 148"/>
                <a:gd name="T47" fmla="*/ 2147483647 h 200"/>
                <a:gd name="T48" fmla="*/ 2147483647 w 148"/>
                <a:gd name="T49" fmla="*/ 2147483647 h 200"/>
                <a:gd name="T50" fmla="*/ 2147483647 w 148"/>
                <a:gd name="T51" fmla="*/ 2147483647 h 200"/>
                <a:gd name="T52" fmla="*/ 2147483647 w 148"/>
                <a:gd name="T53" fmla="*/ 2147483647 h 200"/>
                <a:gd name="T54" fmla="*/ 2147483647 w 148"/>
                <a:gd name="T55" fmla="*/ 2147483647 h 200"/>
                <a:gd name="T56" fmla="*/ 2147483647 w 148"/>
                <a:gd name="T57" fmla="*/ 2147483647 h 200"/>
                <a:gd name="T58" fmla="*/ 2147483647 w 148"/>
                <a:gd name="T59" fmla="*/ 2147483647 h 200"/>
                <a:gd name="T60" fmla="*/ 2147483647 w 148"/>
                <a:gd name="T61" fmla="*/ 2147483647 h 200"/>
                <a:gd name="T62" fmla="*/ 2147483647 w 148"/>
                <a:gd name="T63" fmla="*/ 2147483647 h 200"/>
                <a:gd name="T64" fmla="*/ 2147483647 w 148"/>
                <a:gd name="T65" fmla="*/ 2147483647 h 200"/>
                <a:gd name="T66" fmla="*/ 2147483647 w 148"/>
                <a:gd name="T67" fmla="*/ 2147483647 h 200"/>
                <a:gd name="T68" fmla="*/ 2147483647 w 148"/>
                <a:gd name="T69" fmla="*/ 2147483647 h 200"/>
                <a:gd name="T70" fmla="*/ 2147483647 w 148"/>
                <a:gd name="T71" fmla="*/ 2147483647 h 200"/>
                <a:gd name="T72" fmla="*/ 2147483647 w 148"/>
                <a:gd name="T73" fmla="*/ 2147483647 h 200"/>
                <a:gd name="T74" fmla="*/ 2147483647 w 148"/>
                <a:gd name="T75" fmla="*/ 2147483647 h 200"/>
                <a:gd name="T76" fmla="*/ 0 w 148"/>
                <a:gd name="T77" fmla="*/ 2147483647 h 200"/>
                <a:gd name="T78" fmla="*/ 2147483647 w 148"/>
                <a:gd name="T79" fmla="*/ 2147483647 h 200"/>
                <a:gd name="T80" fmla="*/ 2147483647 w 148"/>
                <a:gd name="T81" fmla="*/ 2147483647 h 200"/>
                <a:gd name="T82" fmla="*/ 2147483647 w 148"/>
                <a:gd name="T83" fmla="*/ 2147483647 h 200"/>
                <a:gd name="T84" fmla="*/ 2147483647 w 148"/>
                <a:gd name="T85" fmla="*/ 2147483647 h 200"/>
                <a:gd name="T86" fmla="*/ 2147483647 w 148"/>
                <a:gd name="T87" fmla="*/ 2147483647 h 200"/>
                <a:gd name="T88" fmla="*/ 2147483647 w 148"/>
                <a:gd name="T89" fmla="*/ 2147483647 h 200"/>
                <a:gd name="T90" fmla="*/ 2147483647 w 148"/>
                <a:gd name="T91" fmla="*/ 2147483647 h 200"/>
                <a:gd name="T92" fmla="*/ 2147483647 w 148"/>
                <a:gd name="T93" fmla="*/ 2147483647 h 200"/>
                <a:gd name="T94" fmla="*/ 2147483647 w 148"/>
                <a:gd name="T95" fmla="*/ 2147483647 h 2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8"/>
                <a:gd name="T145" fmla="*/ 0 h 200"/>
                <a:gd name="T146" fmla="*/ 148 w 148"/>
                <a:gd name="T147" fmla="*/ 200 h 2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8" h="200">
                  <a:moveTo>
                    <a:pt x="6" y="18"/>
                  </a:moveTo>
                  <a:lnTo>
                    <a:pt x="14" y="12"/>
                  </a:lnTo>
                  <a:lnTo>
                    <a:pt x="16" y="8"/>
                  </a:lnTo>
                  <a:lnTo>
                    <a:pt x="18" y="4"/>
                  </a:lnTo>
                  <a:lnTo>
                    <a:pt x="18" y="2"/>
                  </a:lnTo>
                  <a:lnTo>
                    <a:pt x="16" y="0"/>
                  </a:lnTo>
                  <a:lnTo>
                    <a:pt x="14" y="2"/>
                  </a:lnTo>
                  <a:lnTo>
                    <a:pt x="12" y="4"/>
                  </a:lnTo>
                  <a:lnTo>
                    <a:pt x="10" y="4"/>
                  </a:lnTo>
                  <a:lnTo>
                    <a:pt x="4" y="6"/>
                  </a:lnTo>
                  <a:lnTo>
                    <a:pt x="2" y="8"/>
                  </a:lnTo>
                  <a:lnTo>
                    <a:pt x="6" y="14"/>
                  </a:lnTo>
                  <a:lnTo>
                    <a:pt x="6" y="18"/>
                  </a:lnTo>
                  <a:close/>
                  <a:moveTo>
                    <a:pt x="10" y="32"/>
                  </a:moveTo>
                  <a:lnTo>
                    <a:pt x="10" y="32"/>
                  </a:lnTo>
                  <a:lnTo>
                    <a:pt x="20" y="26"/>
                  </a:lnTo>
                  <a:lnTo>
                    <a:pt x="24" y="22"/>
                  </a:lnTo>
                  <a:lnTo>
                    <a:pt x="32" y="22"/>
                  </a:lnTo>
                  <a:lnTo>
                    <a:pt x="46" y="24"/>
                  </a:lnTo>
                  <a:lnTo>
                    <a:pt x="68" y="22"/>
                  </a:lnTo>
                  <a:lnTo>
                    <a:pt x="72" y="30"/>
                  </a:lnTo>
                  <a:lnTo>
                    <a:pt x="72" y="34"/>
                  </a:lnTo>
                  <a:lnTo>
                    <a:pt x="72" y="38"/>
                  </a:lnTo>
                  <a:lnTo>
                    <a:pt x="72" y="42"/>
                  </a:lnTo>
                  <a:lnTo>
                    <a:pt x="74" y="46"/>
                  </a:lnTo>
                  <a:lnTo>
                    <a:pt x="74" y="50"/>
                  </a:lnTo>
                  <a:lnTo>
                    <a:pt x="76" y="52"/>
                  </a:lnTo>
                  <a:lnTo>
                    <a:pt x="80" y="54"/>
                  </a:lnTo>
                  <a:lnTo>
                    <a:pt x="84" y="54"/>
                  </a:lnTo>
                  <a:lnTo>
                    <a:pt x="88" y="52"/>
                  </a:lnTo>
                  <a:lnTo>
                    <a:pt x="90" y="50"/>
                  </a:lnTo>
                  <a:lnTo>
                    <a:pt x="90" y="52"/>
                  </a:lnTo>
                  <a:lnTo>
                    <a:pt x="94" y="52"/>
                  </a:lnTo>
                  <a:lnTo>
                    <a:pt x="94" y="50"/>
                  </a:lnTo>
                  <a:lnTo>
                    <a:pt x="94" y="46"/>
                  </a:lnTo>
                  <a:lnTo>
                    <a:pt x="94" y="40"/>
                  </a:lnTo>
                  <a:lnTo>
                    <a:pt x="96" y="40"/>
                  </a:lnTo>
                  <a:lnTo>
                    <a:pt x="102" y="40"/>
                  </a:lnTo>
                  <a:lnTo>
                    <a:pt x="106" y="40"/>
                  </a:lnTo>
                  <a:lnTo>
                    <a:pt x="108" y="40"/>
                  </a:lnTo>
                  <a:lnTo>
                    <a:pt x="108" y="42"/>
                  </a:lnTo>
                  <a:lnTo>
                    <a:pt x="108" y="44"/>
                  </a:lnTo>
                  <a:lnTo>
                    <a:pt x="112" y="44"/>
                  </a:lnTo>
                  <a:lnTo>
                    <a:pt x="116" y="44"/>
                  </a:lnTo>
                  <a:lnTo>
                    <a:pt x="118" y="48"/>
                  </a:lnTo>
                  <a:lnTo>
                    <a:pt x="118" y="52"/>
                  </a:lnTo>
                  <a:lnTo>
                    <a:pt x="118" y="54"/>
                  </a:lnTo>
                  <a:lnTo>
                    <a:pt x="120" y="54"/>
                  </a:lnTo>
                  <a:lnTo>
                    <a:pt x="120" y="56"/>
                  </a:lnTo>
                  <a:lnTo>
                    <a:pt x="120" y="58"/>
                  </a:lnTo>
                  <a:lnTo>
                    <a:pt x="120" y="62"/>
                  </a:lnTo>
                  <a:lnTo>
                    <a:pt x="122" y="70"/>
                  </a:lnTo>
                  <a:lnTo>
                    <a:pt x="124" y="74"/>
                  </a:lnTo>
                  <a:lnTo>
                    <a:pt x="124" y="76"/>
                  </a:lnTo>
                  <a:lnTo>
                    <a:pt x="126" y="80"/>
                  </a:lnTo>
                  <a:lnTo>
                    <a:pt x="126" y="82"/>
                  </a:lnTo>
                  <a:lnTo>
                    <a:pt x="124" y="86"/>
                  </a:lnTo>
                  <a:lnTo>
                    <a:pt x="126" y="90"/>
                  </a:lnTo>
                  <a:lnTo>
                    <a:pt x="126" y="94"/>
                  </a:lnTo>
                  <a:lnTo>
                    <a:pt x="128" y="98"/>
                  </a:lnTo>
                  <a:lnTo>
                    <a:pt x="130" y="100"/>
                  </a:lnTo>
                  <a:lnTo>
                    <a:pt x="132" y="98"/>
                  </a:lnTo>
                  <a:lnTo>
                    <a:pt x="134" y="96"/>
                  </a:lnTo>
                  <a:lnTo>
                    <a:pt x="138" y="96"/>
                  </a:lnTo>
                  <a:lnTo>
                    <a:pt x="146" y="96"/>
                  </a:lnTo>
                  <a:lnTo>
                    <a:pt x="148" y="106"/>
                  </a:lnTo>
                  <a:lnTo>
                    <a:pt x="146" y="108"/>
                  </a:lnTo>
                  <a:lnTo>
                    <a:pt x="146" y="112"/>
                  </a:lnTo>
                  <a:lnTo>
                    <a:pt x="146" y="118"/>
                  </a:lnTo>
                  <a:lnTo>
                    <a:pt x="146" y="122"/>
                  </a:lnTo>
                  <a:lnTo>
                    <a:pt x="120" y="122"/>
                  </a:lnTo>
                  <a:lnTo>
                    <a:pt x="120" y="172"/>
                  </a:lnTo>
                  <a:lnTo>
                    <a:pt x="122" y="174"/>
                  </a:lnTo>
                  <a:lnTo>
                    <a:pt x="124" y="178"/>
                  </a:lnTo>
                  <a:lnTo>
                    <a:pt x="124" y="184"/>
                  </a:lnTo>
                  <a:lnTo>
                    <a:pt x="128" y="188"/>
                  </a:lnTo>
                  <a:lnTo>
                    <a:pt x="132" y="190"/>
                  </a:lnTo>
                  <a:lnTo>
                    <a:pt x="132" y="194"/>
                  </a:lnTo>
                  <a:lnTo>
                    <a:pt x="134" y="196"/>
                  </a:lnTo>
                  <a:lnTo>
                    <a:pt x="136" y="196"/>
                  </a:lnTo>
                  <a:lnTo>
                    <a:pt x="134" y="196"/>
                  </a:lnTo>
                  <a:lnTo>
                    <a:pt x="108" y="200"/>
                  </a:lnTo>
                  <a:lnTo>
                    <a:pt x="106" y="200"/>
                  </a:lnTo>
                  <a:lnTo>
                    <a:pt x="100" y="198"/>
                  </a:lnTo>
                  <a:lnTo>
                    <a:pt x="98" y="198"/>
                  </a:lnTo>
                  <a:lnTo>
                    <a:pt x="96" y="198"/>
                  </a:lnTo>
                  <a:lnTo>
                    <a:pt x="94" y="198"/>
                  </a:lnTo>
                  <a:lnTo>
                    <a:pt x="92" y="198"/>
                  </a:lnTo>
                  <a:lnTo>
                    <a:pt x="90" y="196"/>
                  </a:lnTo>
                  <a:lnTo>
                    <a:pt x="86" y="196"/>
                  </a:lnTo>
                  <a:lnTo>
                    <a:pt x="84" y="196"/>
                  </a:lnTo>
                  <a:lnTo>
                    <a:pt x="82" y="194"/>
                  </a:lnTo>
                  <a:lnTo>
                    <a:pt x="78" y="192"/>
                  </a:lnTo>
                  <a:lnTo>
                    <a:pt x="76" y="190"/>
                  </a:lnTo>
                  <a:lnTo>
                    <a:pt x="26" y="188"/>
                  </a:lnTo>
                  <a:lnTo>
                    <a:pt x="24" y="186"/>
                  </a:lnTo>
                  <a:lnTo>
                    <a:pt x="20" y="184"/>
                  </a:lnTo>
                  <a:lnTo>
                    <a:pt x="18" y="186"/>
                  </a:lnTo>
                  <a:lnTo>
                    <a:pt x="16" y="188"/>
                  </a:lnTo>
                  <a:lnTo>
                    <a:pt x="14" y="188"/>
                  </a:lnTo>
                  <a:lnTo>
                    <a:pt x="6" y="188"/>
                  </a:lnTo>
                  <a:lnTo>
                    <a:pt x="0" y="190"/>
                  </a:lnTo>
                  <a:lnTo>
                    <a:pt x="0" y="166"/>
                  </a:lnTo>
                  <a:lnTo>
                    <a:pt x="6" y="158"/>
                  </a:lnTo>
                  <a:lnTo>
                    <a:pt x="10" y="152"/>
                  </a:lnTo>
                  <a:lnTo>
                    <a:pt x="10" y="146"/>
                  </a:lnTo>
                  <a:lnTo>
                    <a:pt x="10" y="142"/>
                  </a:lnTo>
                  <a:lnTo>
                    <a:pt x="10" y="138"/>
                  </a:lnTo>
                  <a:lnTo>
                    <a:pt x="12" y="132"/>
                  </a:lnTo>
                  <a:lnTo>
                    <a:pt x="16" y="132"/>
                  </a:lnTo>
                  <a:lnTo>
                    <a:pt x="16" y="128"/>
                  </a:lnTo>
                  <a:lnTo>
                    <a:pt x="16" y="126"/>
                  </a:lnTo>
                  <a:lnTo>
                    <a:pt x="20" y="122"/>
                  </a:lnTo>
                  <a:lnTo>
                    <a:pt x="24" y="118"/>
                  </a:lnTo>
                  <a:lnTo>
                    <a:pt x="24" y="110"/>
                  </a:lnTo>
                  <a:lnTo>
                    <a:pt x="24" y="102"/>
                  </a:lnTo>
                  <a:lnTo>
                    <a:pt x="22" y="90"/>
                  </a:lnTo>
                  <a:lnTo>
                    <a:pt x="18" y="88"/>
                  </a:lnTo>
                  <a:lnTo>
                    <a:pt x="18" y="82"/>
                  </a:lnTo>
                  <a:lnTo>
                    <a:pt x="20" y="76"/>
                  </a:lnTo>
                  <a:lnTo>
                    <a:pt x="22" y="70"/>
                  </a:lnTo>
                  <a:lnTo>
                    <a:pt x="22" y="64"/>
                  </a:lnTo>
                  <a:lnTo>
                    <a:pt x="18" y="60"/>
                  </a:lnTo>
                  <a:lnTo>
                    <a:pt x="18" y="52"/>
                  </a:lnTo>
                  <a:lnTo>
                    <a:pt x="16" y="44"/>
                  </a:lnTo>
                  <a:lnTo>
                    <a:pt x="12" y="38"/>
                  </a:lnTo>
                  <a:lnTo>
                    <a:pt x="10" y="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39" name="Freeform 687">
              <a:extLst>
                <a:ext uri="{FF2B5EF4-FFF2-40B4-BE49-F238E27FC236}">
                  <a16:creationId xmlns:a16="http://schemas.microsoft.com/office/drawing/2014/main" id="{1AE74C8B-41DE-44B1-9E53-B65204FA2B89}"/>
                </a:ext>
              </a:extLst>
            </p:cNvPr>
            <p:cNvSpPr>
              <a:spLocks/>
            </p:cNvSpPr>
            <p:nvPr/>
          </p:nvSpPr>
          <p:spPr bwMode="gray">
            <a:xfrm>
              <a:off x="4419113" y="3139966"/>
              <a:ext cx="9417" cy="7064"/>
            </a:xfrm>
            <a:custGeom>
              <a:avLst/>
              <a:gdLst>
                <a:gd name="T0" fmla="*/ 2147483647 w 4"/>
                <a:gd name="T1" fmla="*/ 2147483647 h 4"/>
                <a:gd name="T2" fmla="*/ 2147483647 w 4"/>
                <a:gd name="T3" fmla="*/ 2147483647 h 4"/>
                <a:gd name="T4" fmla="*/ 0 w 4"/>
                <a:gd name="T5" fmla="*/ 0 h 4"/>
                <a:gd name="T6" fmla="*/ 0 w 4"/>
                <a:gd name="T7" fmla="*/ 0 h 4"/>
                <a:gd name="T8" fmla="*/ 2147483647 w 4"/>
                <a:gd name="T9" fmla="*/ 0 h 4"/>
                <a:gd name="T10" fmla="*/ 2147483647 w 4"/>
                <a:gd name="T11" fmla="*/ 0 h 4"/>
                <a:gd name="T12" fmla="*/ 2147483647 w 4"/>
                <a:gd name="T13" fmla="*/ 0 h 4"/>
                <a:gd name="T14" fmla="*/ 2147483647 w 4"/>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2"/>
                  </a:moveTo>
                  <a:lnTo>
                    <a:pt x="2" y="4"/>
                  </a:lnTo>
                  <a:lnTo>
                    <a:pt x="0" y="0"/>
                  </a:lnTo>
                  <a:lnTo>
                    <a:pt x="2" y="0"/>
                  </a:lnTo>
                  <a:lnTo>
                    <a:pt x="4" y="0"/>
                  </a:lnTo>
                  <a:lnTo>
                    <a:pt x="4"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0" name="Freeform 688">
              <a:extLst>
                <a:ext uri="{FF2B5EF4-FFF2-40B4-BE49-F238E27FC236}">
                  <a16:creationId xmlns:a16="http://schemas.microsoft.com/office/drawing/2014/main" id="{F2A757F1-E1A8-4DB7-9F4A-52C09121BC0B}"/>
                </a:ext>
              </a:extLst>
            </p:cNvPr>
            <p:cNvSpPr>
              <a:spLocks/>
            </p:cNvSpPr>
            <p:nvPr/>
          </p:nvSpPr>
          <p:spPr bwMode="gray">
            <a:xfrm>
              <a:off x="4216653" y="3297702"/>
              <a:ext cx="407274" cy="489692"/>
            </a:xfrm>
            <a:custGeom>
              <a:avLst/>
              <a:gdLst>
                <a:gd name="T0" fmla="*/ 2147483647 w 220"/>
                <a:gd name="T1" fmla="*/ 2147483647 h 264"/>
                <a:gd name="T2" fmla="*/ 2147483647 w 220"/>
                <a:gd name="T3" fmla="*/ 2147483647 h 264"/>
                <a:gd name="T4" fmla="*/ 2147483647 w 220"/>
                <a:gd name="T5" fmla="*/ 2147483647 h 264"/>
                <a:gd name="T6" fmla="*/ 2147483647 w 220"/>
                <a:gd name="T7" fmla="*/ 2147483647 h 264"/>
                <a:gd name="T8" fmla="*/ 2147483647 w 220"/>
                <a:gd name="T9" fmla="*/ 2147483647 h 264"/>
                <a:gd name="T10" fmla="*/ 2147483647 w 220"/>
                <a:gd name="T11" fmla="*/ 2147483647 h 264"/>
                <a:gd name="T12" fmla="*/ 2147483647 w 220"/>
                <a:gd name="T13" fmla="*/ 2147483647 h 264"/>
                <a:gd name="T14" fmla="*/ 2147483647 w 220"/>
                <a:gd name="T15" fmla="*/ 2147483647 h 264"/>
                <a:gd name="T16" fmla="*/ 2147483647 w 220"/>
                <a:gd name="T17" fmla="*/ 2147483647 h 264"/>
                <a:gd name="T18" fmla="*/ 2147483647 w 220"/>
                <a:gd name="T19" fmla="*/ 2147483647 h 264"/>
                <a:gd name="T20" fmla="*/ 2147483647 w 220"/>
                <a:gd name="T21" fmla="*/ 2147483647 h 264"/>
                <a:gd name="T22" fmla="*/ 2147483647 w 220"/>
                <a:gd name="T23" fmla="*/ 2147483647 h 264"/>
                <a:gd name="T24" fmla="*/ 2147483647 w 220"/>
                <a:gd name="T25" fmla="*/ 2147483647 h 264"/>
                <a:gd name="T26" fmla="*/ 2147483647 w 220"/>
                <a:gd name="T27" fmla="*/ 2147483647 h 264"/>
                <a:gd name="T28" fmla="*/ 2147483647 w 220"/>
                <a:gd name="T29" fmla="*/ 2147483647 h 264"/>
                <a:gd name="T30" fmla="*/ 2147483647 w 220"/>
                <a:gd name="T31" fmla="*/ 2147483647 h 264"/>
                <a:gd name="T32" fmla="*/ 2147483647 w 220"/>
                <a:gd name="T33" fmla="*/ 2147483647 h 264"/>
                <a:gd name="T34" fmla="*/ 2147483647 w 220"/>
                <a:gd name="T35" fmla="*/ 2147483647 h 264"/>
                <a:gd name="T36" fmla="*/ 2147483647 w 220"/>
                <a:gd name="T37" fmla="*/ 2147483647 h 264"/>
                <a:gd name="T38" fmla="*/ 2147483647 w 220"/>
                <a:gd name="T39" fmla="*/ 2147483647 h 264"/>
                <a:gd name="T40" fmla="*/ 2147483647 w 220"/>
                <a:gd name="T41" fmla="*/ 2147483647 h 264"/>
                <a:gd name="T42" fmla="*/ 2147483647 w 220"/>
                <a:gd name="T43" fmla="*/ 2147483647 h 264"/>
                <a:gd name="T44" fmla="*/ 2147483647 w 220"/>
                <a:gd name="T45" fmla="*/ 2147483647 h 264"/>
                <a:gd name="T46" fmla="*/ 2147483647 w 220"/>
                <a:gd name="T47" fmla="*/ 2147483647 h 264"/>
                <a:gd name="T48" fmla="*/ 2147483647 w 220"/>
                <a:gd name="T49" fmla="*/ 2147483647 h 264"/>
                <a:gd name="T50" fmla="*/ 2147483647 w 220"/>
                <a:gd name="T51" fmla="*/ 2147483647 h 264"/>
                <a:gd name="T52" fmla="*/ 2147483647 w 220"/>
                <a:gd name="T53" fmla="*/ 2147483647 h 264"/>
                <a:gd name="T54" fmla="*/ 2147483647 w 220"/>
                <a:gd name="T55" fmla="*/ 2147483647 h 264"/>
                <a:gd name="T56" fmla="*/ 2147483647 w 220"/>
                <a:gd name="T57" fmla="*/ 2147483647 h 264"/>
                <a:gd name="T58" fmla="*/ 2147483647 w 220"/>
                <a:gd name="T59" fmla="*/ 2147483647 h 264"/>
                <a:gd name="T60" fmla="*/ 2147483647 w 220"/>
                <a:gd name="T61" fmla="*/ 2147483647 h 264"/>
                <a:gd name="T62" fmla="*/ 2147483647 w 220"/>
                <a:gd name="T63" fmla="*/ 0 h 264"/>
                <a:gd name="T64" fmla="*/ 2147483647 w 220"/>
                <a:gd name="T65" fmla="*/ 2147483647 h 264"/>
                <a:gd name="T66" fmla="*/ 2147483647 w 220"/>
                <a:gd name="T67" fmla="*/ 0 h 264"/>
                <a:gd name="T68" fmla="*/ 2147483647 w 220"/>
                <a:gd name="T69" fmla="*/ 2147483647 h 264"/>
                <a:gd name="T70" fmla="*/ 2147483647 w 220"/>
                <a:gd name="T71" fmla="*/ 2147483647 h 264"/>
                <a:gd name="T72" fmla="*/ 2147483647 w 220"/>
                <a:gd name="T73" fmla="*/ 2147483647 h 264"/>
                <a:gd name="T74" fmla="*/ 2147483647 w 220"/>
                <a:gd name="T75" fmla="*/ 2147483647 h 264"/>
                <a:gd name="T76" fmla="*/ 2147483647 w 220"/>
                <a:gd name="T77" fmla="*/ 2147483647 h 264"/>
                <a:gd name="T78" fmla="*/ 2147483647 w 220"/>
                <a:gd name="T79" fmla="*/ 2147483647 h 264"/>
                <a:gd name="T80" fmla="*/ 2147483647 w 220"/>
                <a:gd name="T81" fmla="*/ 2147483647 h 264"/>
                <a:gd name="T82" fmla="*/ 2147483647 w 220"/>
                <a:gd name="T83" fmla="*/ 2147483647 h 264"/>
                <a:gd name="T84" fmla="*/ 2147483647 w 220"/>
                <a:gd name="T85" fmla="*/ 2147483647 h 264"/>
                <a:gd name="T86" fmla="*/ 2147483647 w 220"/>
                <a:gd name="T87" fmla="*/ 2147483647 h 264"/>
                <a:gd name="T88" fmla="*/ 2147483647 w 220"/>
                <a:gd name="T89" fmla="*/ 2147483647 h 264"/>
                <a:gd name="T90" fmla="*/ 2147483647 w 220"/>
                <a:gd name="T91" fmla="*/ 2147483647 h 264"/>
                <a:gd name="T92" fmla="*/ 2147483647 w 220"/>
                <a:gd name="T93" fmla="*/ 2147483647 h 264"/>
                <a:gd name="T94" fmla="*/ 2147483647 w 220"/>
                <a:gd name="T95" fmla="*/ 2147483647 h 264"/>
                <a:gd name="T96" fmla="*/ 2147483647 w 220"/>
                <a:gd name="T97" fmla="*/ 2147483647 h 264"/>
                <a:gd name="T98" fmla="*/ 2147483647 w 220"/>
                <a:gd name="T99" fmla="*/ 2147483647 h 264"/>
                <a:gd name="T100" fmla="*/ 2147483647 w 220"/>
                <a:gd name="T101" fmla="*/ 2147483647 h 264"/>
                <a:gd name="T102" fmla="*/ 2147483647 w 220"/>
                <a:gd name="T103" fmla="*/ 2147483647 h 264"/>
                <a:gd name="T104" fmla="*/ 2147483647 w 220"/>
                <a:gd name="T105" fmla="*/ 2147483647 h 264"/>
                <a:gd name="T106" fmla="*/ 2147483647 w 220"/>
                <a:gd name="T107" fmla="*/ 2147483647 h 264"/>
                <a:gd name="T108" fmla="*/ 2147483647 w 220"/>
                <a:gd name="T109" fmla="*/ 2147483647 h 264"/>
                <a:gd name="T110" fmla="*/ 2147483647 w 220"/>
                <a:gd name="T111" fmla="*/ 2147483647 h 264"/>
                <a:gd name="T112" fmla="*/ 2147483647 w 220"/>
                <a:gd name="T113" fmla="*/ 2147483647 h 264"/>
                <a:gd name="T114" fmla="*/ 2147483647 w 220"/>
                <a:gd name="T115" fmla="*/ 2147483647 h 264"/>
                <a:gd name="T116" fmla="*/ 2147483647 w 220"/>
                <a:gd name="T117" fmla="*/ 2147483647 h 264"/>
                <a:gd name="T118" fmla="*/ 0 w 220"/>
                <a:gd name="T119" fmla="*/ 2147483647 h 2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0"/>
                <a:gd name="T181" fmla="*/ 0 h 264"/>
                <a:gd name="T182" fmla="*/ 220 w 220"/>
                <a:gd name="T183" fmla="*/ 264 h 26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0" h="264">
                  <a:moveTo>
                    <a:pt x="0" y="142"/>
                  </a:moveTo>
                  <a:lnTo>
                    <a:pt x="0" y="150"/>
                  </a:lnTo>
                  <a:lnTo>
                    <a:pt x="38" y="180"/>
                  </a:lnTo>
                  <a:lnTo>
                    <a:pt x="110" y="234"/>
                  </a:lnTo>
                  <a:lnTo>
                    <a:pt x="110" y="236"/>
                  </a:lnTo>
                  <a:lnTo>
                    <a:pt x="114" y="240"/>
                  </a:lnTo>
                  <a:lnTo>
                    <a:pt x="118" y="242"/>
                  </a:lnTo>
                  <a:lnTo>
                    <a:pt x="122" y="244"/>
                  </a:lnTo>
                  <a:lnTo>
                    <a:pt x="124" y="246"/>
                  </a:lnTo>
                  <a:lnTo>
                    <a:pt x="126" y="248"/>
                  </a:lnTo>
                  <a:lnTo>
                    <a:pt x="126" y="250"/>
                  </a:lnTo>
                  <a:lnTo>
                    <a:pt x="124" y="254"/>
                  </a:lnTo>
                  <a:lnTo>
                    <a:pt x="126" y="256"/>
                  </a:lnTo>
                  <a:lnTo>
                    <a:pt x="126" y="260"/>
                  </a:lnTo>
                  <a:lnTo>
                    <a:pt x="126" y="264"/>
                  </a:lnTo>
                  <a:lnTo>
                    <a:pt x="128" y="264"/>
                  </a:lnTo>
                  <a:lnTo>
                    <a:pt x="132" y="262"/>
                  </a:lnTo>
                  <a:lnTo>
                    <a:pt x="138" y="262"/>
                  </a:lnTo>
                  <a:lnTo>
                    <a:pt x="154" y="258"/>
                  </a:lnTo>
                  <a:lnTo>
                    <a:pt x="160" y="246"/>
                  </a:lnTo>
                  <a:lnTo>
                    <a:pt x="220" y="200"/>
                  </a:lnTo>
                  <a:lnTo>
                    <a:pt x="218" y="198"/>
                  </a:lnTo>
                  <a:lnTo>
                    <a:pt x="214" y="196"/>
                  </a:lnTo>
                  <a:lnTo>
                    <a:pt x="212" y="194"/>
                  </a:lnTo>
                  <a:lnTo>
                    <a:pt x="210" y="190"/>
                  </a:lnTo>
                  <a:lnTo>
                    <a:pt x="202" y="190"/>
                  </a:lnTo>
                  <a:lnTo>
                    <a:pt x="198" y="186"/>
                  </a:lnTo>
                  <a:lnTo>
                    <a:pt x="196" y="182"/>
                  </a:lnTo>
                  <a:lnTo>
                    <a:pt x="196" y="178"/>
                  </a:lnTo>
                  <a:lnTo>
                    <a:pt x="194" y="174"/>
                  </a:lnTo>
                  <a:lnTo>
                    <a:pt x="192" y="170"/>
                  </a:lnTo>
                  <a:lnTo>
                    <a:pt x="190" y="166"/>
                  </a:lnTo>
                  <a:lnTo>
                    <a:pt x="186" y="162"/>
                  </a:lnTo>
                  <a:lnTo>
                    <a:pt x="190" y="160"/>
                  </a:lnTo>
                  <a:lnTo>
                    <a:pt x="192" y="158"/>
                  </a:lnTo>
                  <a:lnTo>
                    <a:pt x="194" y="156"/>
                  </a:lnTo>
                  <a:lnTo>
                    <a:pt x="194" y="140"/>
                  </a:lnTo>
                  <a:lnTo>
                    <a:pt x="194" y="138"/>
                  </a:lnTo>
                  <a:lnTo>
                    <a:pt x="192" y="136"/>
                  </a:lnTo>
                  <a:lnTo>
                    <a:pt x="194" y="134"/>
                  </a:lnTo>
                  <a:lnTo>
                    <a:pt x="196" y="132"/>
                  </a:lnTo>
                  <a:lnTo>
                    <a:pt x="192" y="128"/>
                  </a:lnTo>
                  <a:lnTo>
                    <a:pt x="194" y="104"/>
                  </a:lnTo>
                  <a:lnTo>
                    <a:pt x="192" y="102"/>
                  </a:lnTo>
                  <a:lnTo>
                    <a:pt x="192" y="100"/>
                  </a:lnTo>
                  <a:lnTo>
                    <a:pt x="194" y="98"/>
                  </a:lnTo>
                  <a:lnTo>
                    <a:pt x="190" y="72"/>
                  </a:lnTo>
                  <a:lnTo>
                    <a:pt x="184" y="70"/>
                  </a:lnTo>
                  <a:lnTo>
                    <a:pt x="180" y="60"/>
                  </a:lnTo>
                  <a:lnTo>
                    <a:pt x="178" y="58"/>
                  </a:lnTo>
                  <a:lnTo>
                    <a:pt x="176" y="58"/>
                  </a:lnTo>
                  <a:lnTo>
                    <a:pt x="174" y="46"/>
                  </a:lnTo>
                  <a:lnTo>
                    <a:pt x="174" y="42"/>
                  </a:lnTo>
                  <a:lnTo>
                    <a:pt x="178" y="42"/>
                  </a:lnTo>
                  <a:lnTo>
                    <a:pt x="182" y="40"/>
                  </a:lnTo>
                  <a:lnTo>
                    <a:pt x="184" y="36"/>
                  </a:lnTo>
                  <a:lnTo>
                    <a:pt x="184" y="32"/>
                  </a:lnTo>
                  <a:lnTo>
                    <a:pt x="186" y="32"/>
                  </a:lnTo>
                  <a:lnTo>
                    <a:pt x="186" y="30"/>
                  </a:lnTo>
                  <a:lnTo>
                    <a:pt x="184" y="18"/>
                  </a:lnTo>
                  <a:lnTo>
                    <a:pt x="184" y="14"/>
                  </a:lnTo>
                  <a:lnTo>
                    <a:pt x="182" y="12"/>
                  </a:lnTo>
                  <a:lnTo>
                    <a:pt x="182" y="8"/>
                  </a:lnTo>
                  <a:lnTo>
                    <a:pt x="180" y="6"/>
                  </a:lnTo>
                  <a:lnTo>
                    <a:pt x="182" y="0"/>
                  </a:lnTo>
                  <a:lnTo>
                    <a:pt x="176" y="0"/>
                  </a:lnTo>
                  <a:lnTo>
                    <a:pt x="174" y="4"/>
                  </a:lnTo>
                  <a:lnTo>
                    <a:pt x="172" y="6"/>
                  </a:lnTo>
                  <a:lnTo>
                    <a:pt x="170" y="4"/>
                  </a:lnTo>
                  <a:lnTo>
                    <a:pt x="166" y="0"/>
                  </a:lnTo>
                  <a:lnTo>
                    <a:pt x="156" y="2"/>
                  </a:lnTo>
                  <a:lnTo>
                    <a:pt x="144" y="2"/>
                  </a:lnTo>
                  <a:lnTo>
                    <a:pt x="134" y="4"/>
                  </a:lnTo>
                  <a:lnTo>
                    <a:pt x="126" y="6"/>
                  </a:lnTo>
                  <a:lnTo>
                    <a:pt x="120" y="6"/>
                  </a:lnTo>
                  <a:lnTo>
                    <a:pt x="110" y="4"/>
                  </a:lnTo>
                  <a:lnTo>
                    <a:pt x="106" y="8"/>
                  </a:lnTo>
                  <a:lnTo>
                    <a:pt x="102" y="12"/>
                  </a:lnTo>
                  <a:lnTo>
                    <a:pt x="98" y="12"/>
                  </a:lnTo>
                  <a:lnTo>
                    <a:pt x="96" y="12"/>
                  </a:lnTo>
                  <a:lnTo>
                    <a:pt x="92" y="16"/>
                  </a:lnTo>
                  <a:lnTo>
                    <a:pt x="86" y="18"/>
                  </a:lnTo>
                  <a:lnTo>
                    <a:pt x="80" y="18"/>
                  </a:lnTo>
                  <a:lnTo>
                    <a:pt x="76" y="20"/>
                  </a:lnTo>
                  <a:lnTo>
                    <a:pt x="74" y="24"/>
                  </a:lnTo>
                  <a:lnTo>
                    <a:pt x="72" y="28"/>
                  </a:lnTo>
                  <a:lnTo>
                    <a:pt x="68" y="28"/>
                  </a:lnTo>
                  <a:lnTo>
                    <a:pt x="68" y="32"/>
                  </a:lnTo>
                  <a:lnTo>
                    <a:pt x="70" y="36"/>
                  </a:lnTo>
                  <a:lnTo>
                    <a:pt x="68" y="46"/>
                  </a:lnTo>
                  <a:lnTo>
                    <a:pt x="68" y="48"/>
                  </a:lnTo>
                  <a:lnTo>
                    <a:pt x="70" y="48"/>
                  </a:lnTo>
                  <a:lnTo>
                    <a:pt x="72" y="50"/>
                  </a:lnTo>
                  <a:lnTo>
                    <a:pt x="72" y="52"/>
                  </a:lnTo>
                  <a:lnTo>
                    <a:pt x="72" y="56"/>
                  </a:lnTo>
                  <a:lnTo>
                    <a:pt x="74" y="60"/>
                  </a:lnTo>
                  <a:lnTo>
                    <a:pt x="76" y="64"/>
                  </a:lnTo>
                  <a:lnTo>
                    <a:pt x="78" y="66"/>
                  </a:lnTo>
                  <a:lnTo>
                    <a:pt x="76" y="66"/>
                  </a:lnTo>
                  <a:lnTo>
                    <a:pt x="72" y="70"/>
                  </a:lnTo>
                  <a:lnTo>
                    <a:pt x="70" y="72"/>
                  </a:lnTo>
                  <a:lnTo>
                    <a:pt x="68" y="74"/>
                  </a:lnTo>
                  <a:lnTo>
                    <a:pt x="66" y="76"/>
                  </a:lnTo>
                  <a:lnTo>
                    <a:pt x="64" y="78"/>
                  </a:lnTo>
                  <a:lnTo>
                    <a:pt x="62" y="78"/>
                  </a:lnTo>
                  <a:lnTo>
                    <a:pt x="62" y="80"/>
                  </a:lnTo>
                  <a:lnTo>
                    <a:pt x="62" y="84"/>
                  </a:lnTo>
                  <a:lnTo>
                    <a:pt x="60" y="88"/>
                  </a:lnTo>
                  <a:lnTo>
                    <a:pt x="54" y="90"/>
                  </a:lnTo>
                  <a:lnTo>
                    <a:pt x="52" y="90"/>
                  </a:lnTo>
                  <a:lnTo>
                    <a:pt x="50" y="96"/>
                  </a:lnTo>
                  <a:lnTo>
                    <a:pt x="44" y="104"/>
                  </a:lnTo>
                  <a:lnTo>
                    <a:pt x="40" y="106"/>
                  </a:lnTo>
                  <a:lnTo>
                    <a:pt x="36" y="108"/>
                  </a:lnTo>
                  <a:lnTo>
                    <a:pt x="32" y="108"/>
                  </a:lnTo>
                  <a:lnTo>
                    <a:pt x="30" y="110"/>
                  </a:lnTo>
                  <a:lnTo>
                    <a:pt x="26" y="114"/>
                  </a:lnTo>
                  <a:lnTo>
                    <a:pt x="24" y="114"/>
                  </a:lnTo>
                  <a:lnTo>
                    <a:pt x="18" y="116"/>
                  </a:lnTo>
                  <a:lnTo>
                    <a:pt x="12" y="118"/>
                  </a:lnTo>
                  <a:lnTo>
                    <a:pt x="8" y="120"/>
                  </a:lnTo>
                  <a:lnTo>
                    <a:pt x="2" y="126"/>
                  </a:lnTo>
                  <a:lnTo>
                    <a:pt x="0" y="130"/>
                  </a:lnTo>
                  <a:lnTo>
                    <a:pt x="0" y="14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1" name="Freeform 689">
              <a:extLst>
                <a:ext uri="{FF2B5EF4-FFF2-40B4-BE49-F238E27FC236}">
                  <a16:creationId xmlns:a16="http://schemas.microsoft.com/office/drawing/2014/main" id="{A4BBA7A7-76B8-4B83-A6B1-4ECE255A296F}"/>
                </a:ext>
              </a:extLst>
            </p:cNvPr>
            <p:cNvSpPr>
              <a:spLocks/>
            </p:cNvSpPr>
            <p:nvPr/>
          </p:nvSpPr>
          <p:spPr bwMode="gray">
            <a:xfrm>
              <a:off x="4791074" y="3147030"/>
              <a:ext cx="40022" cy="82401"/>
            </a:xfrm>
            <a:custGeom>
              <a:avLst/>
              <a:gdLst>
                <a:gd name="T0" fmla="*/ 2147483647 w 22"/>
                <a:gd name="T1" fmla="*/ 2147483647 h 44"/>
                <a:gd name="T2" fmla="*/ 2147483647 w 22"/>
                <a:gd name="T3" fmla="*/ 2147483647 h 44"/>
                <a:gd name="T4" fmla="*/ 2147483647 w 22"/>
                <a:gd name="T5" fmla="*/ 2147483647 h 44"/>
                <a:gd name="T6" fmla="*/ 2147483647 w 22"/>
                <a:gd name="T7" fmla="*/ 2147483647 h 44"/>
                <a:gd name="T8" fmla="*/ 2147483647 w 22"/>
                <a:gd name="T9" fmla="*/ 2147483647 h 44"/>
                <a:gd name="T10" fmla="*/ 2147483647 w 22"/>
                <a:gd name="T11" fmla="*/ 2147483647 h 44"/>
                <a:gd name="T12" fmla="*/ 2147483647 w 22"/>
                <a:gd name="T13" fmla="*/ 2147483647 h 44"/>
                <a:gd name="T14" fmla="*/ 2147483647 w 22"/>
                <a:gd name="T15" fmla="*/ 2147483647 h 44"/>
                <a:gd name="T16" fmla="*/ 2147483647 w 22"/>
                <a:gd name="T17" fmla="*/ 2147483647 h 44"/>
                <a:gd name="T18" fmla="*/ 2147483647 w 22"/>
                <a:gd name="T19" fmla="*/ 2147483647 h 44"/>
                <a:gd name="T20" fmla="*/ 2147483647 w 22"/>
                <a:gd name="T21" fmla="*/ 2147483647 h 44"/>
                <a:gd name="T22" fmla="*/ 2147483647 w 22"/>
                <a:gd name="T23" fmla="*/ 2147483647 h 44"/>
                <a:gd name="T24" fmla="*/ 2147483647 w 22"/>
                <a:gd name="T25" fmla="*/ 2147483647 h 44"/>
                <a:gd name="T26" fmla="*/ 2147483647 w 22"/>
                <a:gd name="T27" fmla="*/ 2147483647 h 44"/>
                <a:gd name="T28" fmla="*/ 2147483647 w 22"/>
                <a:gd name="T29" fmla="*/ 2147483647 h 44"/>
                <a:gd name="T30" fmla="*/ 2147483647 w 22"/>
                <a:gd name="T31" fmla="*/ 2147483647 h 44"/>
                <a:gd name="T32" fmla="*/ 2147483647 w 22"/>
                <a:gd name="T33" fmla="*/ 2147483647 h 44"/>
                <a:gd name="T34" fmla="*/ 2147483647 w 22"/>
                <a:gd name="T35" fmla="*/ 2147483647 h 44"/>
                <a:gd name="T36" fmla="*/ 2147483647 w 22"/>
                <a:gd name="T37" fmla="*/ 2147483647 h 44"/>
                <a:gd name="T38" fmla="*/ 2147483647 w 22"/>
                <a:gd name="T39" fmla="*/ 2147483647 h 44"/>
                <a:gd name="T40" fmla="*/ 2147483647 w 22"/>
                <a:gd name="T41" fmla="*/ 2147483647 h 44"/>
                <a:gd name="T42" fmla="*/ 2147483647 w 22"/>
                <a:gd name="T43" fmla="*/ 0 h 44"/>
                <a:gd name="T44" fmla="*/ 2147483647 w 22"/>
                <a:gd name="T45" fmla="*/ 2147483647 h 44"/>
                <a:gd name="T46" fmla="*/ 2147483647 w 22"/>
                <a:gd name="T47" fmla="*/ 0 h 44"/>
                <a:gd name="T48" fmla="*/ 0 w 22"/>
                <a:gd name="T49" fmla="*/ 2147483647 h 44"/>
                <a:gd name="T50" fmla="*/ 0 w 22"/>
                <a:gd name="T51" fmla="*/ 2147483647 h 44"/>
                <a:gd name="T52" fmla="*/ 0 w 22"/>
                <a:gd name="T53" fmla="*/ 2147483647 h 44"/>
                <a:gd name="T54" fmla="*/ 0 w 22"/>
                <a:gd name="T55" fmla="*/ 2147483647 h 44"/>
                <a:gd name="T56" fmla="*/ 2147483647 w 22"/>
                <a:gd name="T57" fmla="*/ 2147483647 h 44"/>
                <a:gd name="T58" fmla="*/ 2147483647 w 22"/>
                <a:gd name="T59" fmla="*/ 2147483647 h 44"/>
                <a:gd name="T60" fmla="*/ 2147483647 w 22"/>
                <a:gd name="T61" fmla="*/ 2147483647 h 44"/>
                <a:gd name="T62" fmla="*/ 0 w 22"/>
                <a:gd name="T63" fmla="*/ 2147483647 h 44"/>
                <a:gd name="T64" fmla="*/ 0 w 22"/>
                <a:gd name="T65" fmla="*/ 2147483647 h 44"/>
                <a:gd name="T66" fmla="*/ 0 w 22"/>
                <a:gd name="T67" fmla="*/ 2147483647 h 44"/>
                <a:gd name="T68" fmla="*/ 2147483647 w 22"/>
                <a:gd name="T69" fmla="*/ 2147483647 h 44"/>
                <a:gd name="T70" fmla="*/ 2147483647 w 22"/>
                <a:gd name="T71" fmla="*/ 2147483647 h 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
                <a:gd name="T109" fmla="*/ 0 h 44"/>
                <a:gd name="T110" fmla="*/ 22 w 22"/>
                <a:gd name="T111" fmla="*/ 44 h 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 h="44">
                  <a:moveTo>
                    <a:pt x="10" y="44"/>
                  </a:moveTo>
                  <a:lnTo>
                    <a:pt x="10" y="44"/>
                  </a:lnTo>
                  <a:lnTo>
                    <a:pt x="14" y="44"/>
                  </a:lnTo>
                  <a:lnTo>
                    <a:pt x="16" y="44"/>
                  </a:lnTo>
                  <a:lnTo>
                    <a:pt x="16" y="42"/>
                  </a:lnTo>
                  <a:lnTo>
                    <a:pt x="16" y="40"/>
                  </a:lnTo>
                  <a:lnTo>
                    <a:pt x="18" y="40"/>
                  </a:lnTo>
                  <a:lnTo>
                    <a:pt x="22" y="34"/>
                  </a:lnTo>
                  <a:lnTo>
                    <a:pt x="20" y="30"/>
                  </a:lnTo>
                  <a:lnTo>
                    <a:pt x="18" y="24"/>
                  </a:lnTo>
                  <a:lnTo>
                    <a:pt x="16" y="22"/>
                  </a:lnTo>
                  <a:lnTo>
                    <a:pt x="16" y="20"/>
                  </a:lnTo>
                  <a:lnTo>
                    <a:pt x="18" y="12"/>
                  </a:lnTo>
                  <a:lnTo>
                    <a:pt x="16" y="6"/>
                  </a:lnTo>
                  <a:lnTo>
                    <a:pt x="12" y="0"/>
                  </a:lnTo>
                  <a:lnTo>
                    <a:pt x="8" y="4"/>
                  </a:lnTo>
                  <a:lnTo>
                    <a:pt x="6" y="0"/>
                  </a:lnTo>
                  <a:lnTo>
                    <a:pt x="0" y="4"/>
                  </a:lnTo>
                  <a:lnTo>
                    <a:pt x="0" y="6"/>
                  </a:lnTo>
                  <a:lnTo>
                    <a:pt x="2" y="8"/>
                  </a:lnTo>
                  <a:lnTo>
                    <a:pt x="2" y="12"/>
                  </a:lnTo>
                  <a:lnTo>
                    <a:pt x="2" y="18"/>
                  </a:lnTo>
                  <a:lnTo>
                    <a:pt x="0" y="24"/>
                  </a:lnTo>
                  <a:lnTo>
                    <a:pt x="0" y="30"/>
                  </a:lnTo>
                  <a:lnTo>
                    <a:pt x="10" y="4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2" name="Freeform 690">
              <a:extLst>
                <a:ext uri="{FF2B5EF4-FFF2-40B4-BE49-F238E27FC236}">
                  <a16:creationId xmlns:a16="http://schemas.microsoft.com/office/drawing/2014/main" id="{DD0736A8-B1EE-42F9-8599-CE12F1ACCC4F}"/>
                </a:ext>
              </a:extLst>
            </p:cNvPr>
            <p:cNvSpPr>
              <a:spLocks noEditPoints="1"/>
            </p:cNvSpPr>
            <p:nvPr/>
          </p:nvSpPr>
          <p:spPr bwMode="gray">
            <a:xfrm>
              <a:off x="555899" y="2146455"/>
              <a:ext cx="7832366" cy="727474"/>
            </a:xfrm>
            <a:custGeom>
              <a:avLst/>
              <a:gdLst>
                <a:gd name="T0" fmla="*/ 2147483647 w 4232"/>
                <a:gd name="T1" fmla="*/ 2147483647 h 392"/>
                <a:gd name="T2" fmla="*/ 2147483647 w 4232"/>
                <a:gd name="T3" fmla="*/ 2147483647 h 392"/>
                <a:gd name="T4" fmla="*/ 2147483647 w 4232"/>
                <a:gd name="T5" fmla="*/ 2147483647 h 392"/>
                <a:gd name="T6" fmla="*/ 2147483647 w 4232"/>
                <a:gd name="T7" fmla="*/ 2147483647 h 392"/>
                <a:gd name="T8" fmla="*/ 2147483647 w 4232"/>
                <a:gd name="T9" fmla="*/ 2147483647 h 392"/>
                <a:gd name="T10" fmla="*/ 2147483647 w 4232"/>
                <a:gd name="T11" fmla="*/ 2147483647 h 392"/>
                <a:gd name="T12" fmla="*/ 2147483647 w 4232"/>
                <a:gd name="T13" fmla="*/ 2147483647 h 392"/>
                <a:gd name="T14" fmla="*/ 2147483647 w 4232"/>
                <a:gd name="T15" fmla="*/ 2147483647 h 392"/>
                <a:gd name="T16" fmla="*/ 2147483647 w 4232"/>
                <a:gd name="T17" fmla="*/ 2147483647 h 392"/>
                <a:gd name="T18" fmla="*/ 2147483647 w 4232"/>
                <a:gd name="T19" fmla="*/ 2147483647 h 392"/>
                <a:gd name="T20" fmla="*/ 2147483647 w 4232"/>
                <a:gd name="T21" fmla="*/ 2147483647 h 392"/>
                <a:gd name="T22" fmla="*/ 2147483647 w 4232"/>
                <a:gd name="T23" fmla="*/ 2147483647 h 392"/>
                <a:gd name="T24" fmla="*/ 2147483647 w 4232"/>
                <a:gd name="T25" fmla="*/ 2147483647 h 392"/>
                <a:gd name="T26" fmla="*/ 2147483647 w 4232"/>
                <a:gd name="T27" fmla="*/ 2147483647 h 392"/>
                <a:gd name="T28" fmla="*/ 2147483647 w 4232"/>
                <a:gd name="T29" fmla="*/ 2147483647 h 392"/>
                <a:gd name="T30" fmla="*/ 2147483647 w 4232"/>
                <a:gd name="T31" fmla="*/ 2147483647 h 392"/>
                <a:gd name="T32" fmla="*/ 2147483647 w 4232"/>
                <a:gd name="T33" fmla="*/ 2147483647 h 392"/>
                <a:gd name="T34" fmla="*/ 2147483647 w 4232"/>
                <a:gd name="T35" fmla="*/ 2147483647 h 392"/>
                <a:gd name="T36" fmla="*/ 2147483647 w 4232"/>
                <a:gd name="T37" fmla="*/ 2147483647 h 392"/>
                <a:gd name="T38" fmla="*/ 2147483647 w 4232"/>
                <a:gd name="T39" fmla="*/ 2147483647 h 392"/>
                <a:gd name="T40" fmla="*/ 2147483647 w 4232"/>
                <a:gd name="T41" fmla="*/ 2147483647 h 392"/>
                <a:gd name="T42" fmla="*/ 2147483647 w 4232"/>
                <a:gd name="T43" fmla="*/ 2147483647 h 392"/>
                <a:gd name="T44" fmla="*/ 2147483647 w 4232"/>
                <a:gd name="T45" fmla="*/ 2147483647 h 392"/>
                <a:gd name="T46" fmla="*/ 2147483647 w 4232"/>
                <a:gd name="T47" fmla="*/ 2147483647 h 392"/>
                <a:gd name="T48" fmla="*/ 2147483647 w 4232"/>
                <a:gd name="T49" fmla="*/ 2147483647 h 392"/>
                <a:gd name="T50" fmla="*/ 2147483647 w 4232"/>
                <a:gd name="T51" fmla="*/ 2147483647 h 392"/>
                <a:gd name="T52" fmla="*/ 2147483647 w 4232"/>
                <a:gd name="T53" fmla="*/ 2147483647 h 392"/>
                <a:gd name="T54" fmla="*/ 2147483647 w 4232"/>
                <a:gd name="T55" fmla="*/ 2147483647 h 392"/>
                <a:gd name="T56" fmla="*/ 2147483647 w 4232"/>
                <a:gd name="T57" fmla="*/ 2147483647 h 392"/>
                <a:gd name="T58" fmla="*/ 2147483647 w 4232"/>
                <a:gd name="T59" fmla="*/ 2147483647 h 392"/>
                <a:gd name="T60" fmla="*/ 2147483647 w 4232"/>
                <a:gd name="T61" fmla="*/ 2147483647 h 392"/>
                <a:gd name="T62" fmla="*/ 2147483647 w 4232"/>
                <a:gd name="T63" fmla="*/ 2147483647 h 392"/>
                <a:gd name="T64" fmla="*/ 2147483647 w 4232"/>
                <a:gd name="T65" fmla="*/ 2147483647 h 392"/>
                <a:gd name="T66" fmla="*/ 2147483647 w 4232"/>
                <a:gd name="T67" fmla="*/ 2147483647 h 392"/>
                <a:gd name="T68" fmla="*/ 2147483647 w 4232"/>
                <a:gd name="T69" fmla="*/ 2147483647 h 392"/>
                <a:gd name="T70" fmla="*/ 2147483647 w 4232"/>
                <a:gd name="T71" fmla="*/ 2147483647 h 392"/>
                <a:gd name="T72" fmla="*/ 2147483647 w 4232"/>
                <a:gd name="T73" fmla="*/ 2147483647 h 392"/>
                <a:gd name="T74" fmla="*/ 2147483647 w 4232"/>
                <a:gd name="T75" fmla="*/ 2147483647 h 392"/>
                <a:gd name="T76" fmla="*/ 2147483647 w 4232"/>
                <a:gd name="T77" fmla="*/ 2147483647 h 392"/>
                <a:gd name="T78" fmla="*/ 2147483647 w 4232"/>
                <a:gd name="T79" fmla="*/ 2147483647 h 392"/>
                <a:gd name="T80" fmla="*/ 2147483647 w 4232"/>
                <a:gd name="T81" fmla="*/ 2147483647 h 392"/>
                <a:gd name="T82" fmla="*/ 2147483647 w 4232"/>
                <a:gd name="T83" fmla="*/ 2147483647 h 392"/>
                <a:gd name="T84" fmla="*/ 2147483647 w 4232"/>
                <a:gd name="T85" fmla="*/ 2147483647 h 392"/>
                <a:gd name="T86" fmla="*/ 2147483647 w 4232"/>
                <a:gd name="T87" fmla="*/ 2147483647 h 392"/>
                <a:gd name="T88" fmla="*/ 2147483647 w 4232"/>
                <a:gd name="T89" fmla="*/ 2147483647 h 392"/>
                <a:gd name="T90" fmla="*/ 2147483647 w 4232"/>
                <a:gd name="T91" fmla="*/ 2147483647 h 392"/>
                <a:gd name="T92" fmla="*/ 2147483647 w 4232"/>
                <a:gd name="T93" fmla="*/ 2147483647 h 392"/>
                <a:gd name="T94" fmla="*/ 2147483647 w 4232"/>
                <a:gd name="T95" fmla="*/ 2147483647 h 392"/>
                <a:gd name="T96" fmla="*/ 2147483647 w 4232"/>
                <a:gd name="T97" fmla="*/ 2147483647 h 392"/>
                <a:gd name="T98" fmla="*/ 2147483647 w 4232"/>
                <a:gd name="T99" fmla="*/ 2147483647 h 392"/>
                <a:gd name="T100" fmla="*/ 2147483647 w 4232"/>
                <a:gd name="T101" fmla="*/ 2147483647 h 392"/>
                <a:gd name="T102" fmla="*/ 2147483647 w 4232"/>
                <a:gd name="T103" fmla="*/ 2147483647 h 392"/>
                <a:gd name="T104" fmla="*/ 2147483647 w 4232"/>
                <a:gd name="T105" fmla="*/ 2147483647 h 392"/>
                <a:gd name="T106" fmla="*/ 2147483647 w 4232"/>
                <a:gd name="T107" fmla="*/ 2147483647 h 392"/>
                <a:gd name="T108" fmla="*/ 2147483647 w 4232"/>
                <a:gd name="T109" fmla="*/ 2147483647 h 392"/>
                <a:gd name="T110" fmla="*/ 2147483647 w 4232"/>
                <a:gd name="T111" fmla="*/ 2147483647 h 392"/>
                <a:gd name="T112" fmla="*/ 2147483647 w 4232"/>
                <a:gd name="T113" fmla="*/ 2147483647 h 392"/>
                <a:gd name="T114" fmla="*/ 2147483647 w 4232"/>
                <a:gd name="T115" fmla="*/ 2147483647 h 392"/>
                <a:gd name="T116" fmla="*/ 2147483647 w 4232"/>
                <a:gd name="T117" fmla="*/ 2147483647 h 392"/>
                <a:gd name="T118" fmla="*/ 2147483647 w 4232"/>
                <a:gd name="T119" fmla="*/ 2147483647 h 392"/>
                <a:gd name="T120" fmla="*/ 2147483647 w 4232"/>
                <a:gd name="T121" fmla="*/ 2147483647 h 392"/>
                <a:gd name="T122" fmla="*/ 2147483647 w 4232"/>
                <a:gd name="T123" fmla="*/ 2147483647 h 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32"/>
                <a:gd name="T187" fmla="*/ 0 h 392"/>
                <a:gd name="T188" fmla="*/ 4232 w 4232"/>
                <a:gd name="T189" fmla="*/ 392 h 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32" h="392">
                  <a:moveTo>
                    <a:pt x="466" y="28"/>
                  </a:moveTo>
                  <a:lnTo>
                    <a:pt x="466" y="28"/>
                  </a:lnTo>
                  <a:lnTo>
                    <a:pt x="456" y="22"/>
                  </a:lnTo>
                  <a:lnTo>
                    <a:pt x="450" y="22"/>
                  </a:lnTo>
                  <a:lnTo>
                    <a:pt x="444" y="22"/>
                  </a:lnTo>
                  <a:lnTo>
                    <a:pt x="444" y="26"/>
                  </a:lnTo>
                  <a:lnTo>
                    <a:pt x="434" y="26"/>
                  </a:lnTo>
                  <a:lnTo>
                    <a:pt x="432" y="24"/>
                  </a:lnTo>
                  <a:lnTo>
                    <a:pt x="418" y="24"/>
                  </a:lnTo>
                  <a:lnTo>
                    <a:pt x="418" y="20"/>
                  </a:lnTo>
                  <a:lnTo>
                    <a:pt x="406" y="20"/>
                  </a:lnTo>
                  <a:lnTo>
                    <a:pt x="394" y="22"/>
                  </a:lnTo>
                  <a:lnTo>
                    <a:pt x="392" y="18"/>
                  </a:lnTo>
                  <a:lnTo>
                    <a:pt x="390" y="18"/>
                  </a:lnTo>
                  <a:lnTo>
                    <a:pt x="390" y="20"/>
                  </a:lnTo>
                  <a:lnTo>
                    <a:pt x="386" y="20"/>
                  </a:lnTo>
                  <a:lnTo>
                    <a:pt x="378" y="14"/>
                  </a:lnTo>
                  <a:lnTo>
                    <a:pt x="372" y="14"/>
                  </a:lnTo>
                  <a:lnTo>
                    <a:pt x="368" y="16"/>
                  </a:lnTo>
                  <a:lnTo>
                    <a:pt x="364" y="18"/>
                  </a:lnTo>
                  <a:lnTo>
                    <a:pt x="360" y="18"/>
                  </a:lnTo>
                  <a:lnTo>
                    <a:pt x="340" y="12"/>
                  </a:lnTo>
                  <a:lnTo>
                    <a:pt x="338" y="10"/>
                  </a:lnTo>
                  <a:lnTo>
                    <a:pt x="328" y="10"/>
                  </a:lnTo>
                  <a:lnTo>
                    <a:pt x="320" y="10"/>
                  </a:lnTo>
                  <a:lnTo>
                    <a:pt x="318" y="10"/>
                  </a:lnTo>
                  <a:lnTo>
                    <a:pt x="318" y="8"/>
                  </a:lnTo>
                  <a:lnTo>
                    <a:pt x="316" y="4"/>
                  </a:lnTo>
                  <a:lnTo>
                    <a:pt x="306" y="10"/>
                  </a:lnTo>
                  <a:lnTo>
                    <a:pt x="304" y="8"/>
                  </a:lnTo>
                  <a:lnTo>
                    <a:pt x="304" y="4"/>
                  </a:lnTo>
                  <a:lnTo>
                    <a:pt x="302" y="2"/>
                  </a:lnTo>
                  <a:lnTo>
                    <a:pt x="300" y="0"/>
                  </a:lnTo>
                  <a:lnTo>
                    <a:pt x="292" y="0"/>
                  </a:lnTo>
                  <a:lnTo>
                    <a:pt x="286" y="4"/>
                  </a:lnTo>
                  <a:lnTo>
                    <a:pt x="280" y="10"/>
                  </a:lnTo>
                  <a:lnTo>
                    <a:pt x="276" y="10"/>
                  </a:lnTo>
                  <a:lnTo>
                    <a:pt x="270" y="10"/>
                  </a:lnTo>
                  <a:lnTo>
                    <a:pt x="268" y="12"/>
                  </a:lnTo>
                  <a:lnTo>
                    <a:pt x="266" y="12"/>
                  </a:lnTo>
                  <a:lnTo>
                    <a:pt x="266" y="10"/>
                  </a:lnTo>
                  <a:lnTo>
                    <a:pt x="266" y="8"/>
                  </a:lnTo>
                  <a:lnTo>
                    <a:pt x="264" y="10"/>
                  </a:lnTo>
                  <a:lnTo>
                    <a:pt x="264" y="12"/>
                  </a:lnTo>
                  <a:lnTo>
                    <a:pt x="258" y="12"/>
                  </a:lnTo>
                  <a:lnTo>
                    <a:pt x="256" y="16"/>
                  </a:lnTo>
                  <a:lnTo>
                    <a:pt x="250" y="16"/>
                  </a:lnTo>
                  <a:lnTo>
                    <a:pt x="244" y="16"/>
                  </a:lnTo>
                  <a:lnTo>
                    <a:pt x="240" y="18"/>
                  </a:lnTo>
                  <a:lnTo>
                    <a:pt x="238" y="22"/>
                  </a:lnTo>
                  <a:lnTo>
                    <a:pt x="234" y="28"/>
                  </a:lnTo>
                  <a:lnTo>
                    <a:pt x="230" y="28"/>
                  </a:lnTo>
                  <a:lnTo>
                    <a:pt x="228" y="30"/>
                  </a:lnTo>
                  <a:lnTo>
                    <a:pt x="226" y="42"/>
                  </a:lnTo>
                  <a:lnTo>
                    <a:pt x="224" y="50"/>
                  </a:lnTo>
                  <a:lnTo>
                    <a:pt x="218" y="52"/>
                  </a:lnTo>
                  <a:lnTo>
                    <a:pt x="214" y="52"/>
                  </a:lnTo>
                  <a:lnTo>
                    <a:pt x="204" y="52"/>
                  </a:lnTo>
                  <a:lnTo>
                    <a:pt x="202" y="54"/>
                  </a:lnTo>
                  <a:lnTo>
                    <a:pt x="198" y="56"/>
                  </a:lnTo>
                  <a:lnTo>
                    <a:pt x="194" y="54"/>
                  </a:lnTo>
                  <a:lnTo>
                    <a:pt x="192" y="54"/>
                  </a:lnTo>
                  <a:lnTo>
                    <a:pt x="188" y="54"/>
                  </a:lnTo>
                  <a:lnTo>
                    <a:pt x="188" y="64"/>
                  </a:lnTo>
                  <a:lnTo>
                    <a:pt x="186" y="68"/>
                  </a:lnTo>
                  <a:lnTo>
                    <a:pt x="194" y="70"/>
                  </a:lnTo>
                  <a:lnTo>
                    <a:pt x="200" y="74"/>
                  </a:lnTo>
                  <a:lnTo>
                    <a:pt x="204" y="78"/>
                  </a:lnTo>
                  <a:lnTo>
                    <a:pt x="210" y="82"/>
                  </a:lnTo>
                  <a:lnTo>
                    <a:pt x="212" y="82"/>
                  </a:lnTo>
                  <a:lnTo>
                    <a:pt x="216" y="82"/>
                  </a:lnTo>
                  <a:lnTo>
                    <a:pt x="216" y="84"/>
                  </a:lnTo>
                  <a:lnTo>
                    <a:pt x="216" y="86"/>
                  </a:lnTo>
                  <a:lnTo>
                    <a:pt x="216" y="90"/>
                  </a:lnTo>
                  <a:lnTo>
                    <a:pt x="218" y="92"/>
                  </a:lnTo>
                  <a:lnTo>
                    <a:pt x="222" y="92"/>
                  </a:lnTo>
                  <a:lnTo>
                    <a:pt x="224" y="90"/>
                  </a:lnTo>
                  <a:lnTo>
                    <a:pt x="226" y="90"/>
                  </a:lnTo>
                  <a:lnTo>
                    <a:pt x="230" y="90"/>
                  </a:lnTo>
                  <a:lnTo>
                    <a:pt x="236" y="90"/>
                  </a:lnTo>
                  <a:lnTo>
                    <a:pt x="238" y="90"/>
                  </a:lnTo>
                  <a:lnTo>
                    <a:pt x="238" y="92"/>
                  </a:lnTo>
                  <a:lnTo>
                    <a:pt x="238" y="94"/>
                  </a:lnTo>
                  <a:lnTo>
                    <a:pt x="236" y="94"/>
                  </a:lnTo>
                  <a:lnTo>
                    <a:pt x="246" y="100"/>
                  </a:lnTo>
                  <a:lnTo>
                    <a:pt x="246" y="98"/>
                  </a:lnTo>
                  <a:lnTo>
                    <a:pt x="248" y="98"/>
                  </a:lnTo>
                  <a:lnTo>
                    <a:pt x="250" y="98"/>
                  </a:lnTo>
                  <a:lnTo>
                    <a:pt x="250" y="104"/>
                  </a:lnTo>
                  <a:lnTo>
                    <a:pt x="238" y="102"/>
                  </a:lnTo>
                  <a:lnTo>
                    <a:pt x="238" y="104"/>
                  </a:lnTo>
                  <a:lnTo>
                    <a:pt x="236" y="106"/>
                  </a:lnTo>
                  <a:lnTo>
                    <a:pt x="242" y="106"/>
                  </a:lnTo>
                  <a:lnTo>
                    <a:pt x="244" y="112"/>
                  </a:lnTo>
                  <a:lnTo>
                    <a:pt x="242" y="108"/>
                  </a:lnTo>
                  <a:lnTo>
                    <a:pt x="236" y="114"/>
                  </a:lnTo>
                  <a:lnTo>
                    <a:pt x="230" y="114"/>
                  </a:lnTo>
                  <a:lnTo>
                    <a:pt x="222" y="112"/>
                  </a:lnTo>
                  <a:lnTo>
                    <a:pt x="212" y="108"/>
                  </a:lnTo>
                  <a:lnTo>
                    <a:pt x="214" y="106"/>
                  </a:lnTo>
                  <a:lnTo>
                    <a:pt x="214" y="102"/>
                  </a:lnTo>
                  <a:lnTo>
                    <a:pt x="212" y="96"/>
                  </a:lnTo>
                  <a:lnTo>
                    <a:pt x="192" y="104"/>
                  </a:lnTo>
                  <a:lnTo>
                    <a:pt x="192" y="110"/>
                  </a:lnTo>
                  <a:lnTo>
                    <a:pt x="188" y="110"/>
                  </a:lnTo>
                  <a:lnTo>
                    <a:pt x="186" y="110"/>
                  </a:lnTo>
                  <a:lnTo>
                    <a:pt x="184" y="108"/>
                  </a:lnTo>
                  <a:lnTo>
                    <a:pt x="182" y="108"/>
                  </a:lnTo>
                  <a:lnTo>
                    <a:pt x="174" y="112"/>
                  </a:lnTo>
                  <a:lnTo>
                    <a:pt x="170" y="118"/>
                  </a:lnTo>
                  <a:lnTo>
                    <a:pt x="170" y="120"/>
                  </a:lnTo>
                  <a:lnTo>
                    <a:pt x="182" y="122"/>
                  </a:lnTo>
                  <a:lnTo>
                    <a:pt x="186" y="124"/>
                  </a:lnTo>
                  <a:lnTo>
                    <a:pt x="180" y="126"/>
                  </a:lnTo>
                  <a:lnTo>
                    <a:pt x="182" y="128"/>
                  </a:lnTo>
                  <a:lnTo>
                    <a:pt x="184" y="132"/>
                  </a:lnTo>
                  <a:lnTo>
                    <a:pt x="186" y="134"/>
                  </a:lnTo>
                  <a:lnTo>
                    <a:pt x="186" y="136"/>
                  </a:lnTo>
                  <a:lnTo>
                    <a:pt x="194" y="138"/>
                  </a:lnTo>
                  <a:lnTo>
                    <a:pt x="204" y="138"/>
                  </a:lnTo>
                  <a:lnTo>
                    <a:pt x="224" y="134"/>
                  </a:lnTo>
                  <a:lnTo>
                    <a:pt x="226" y="138"/>
                  </a:lnTo>
                  <a:lnTo>
                    <a:pt x="228" y="142"/>
                  </a:lnTo>
                  <a:lnTo>
                    <a:pt x="232" y="136"/>
                  </a:lnTo>
                  <a:lnTo>
                    <a:pt x="238" y="136"/>
                  </a:lnTo>
                  <a:lnTo>
                    <a:pt x="242" y="136"/>
                  </a:lnTo>
                  <a:lnTo>
                    <a:pt x="250" y="136"/>
                  </a:lnTo>
                  <a:lnTo>
                    <a:pt x="248" y="146"/>
                  </a:lnTo>
                  <a:lnTo>
                    <a:pt x="250" y="158"/>
                  </a:lnTo>
                  <a:lnTo>
                    <a:pt x="244" y="160"/>
                  </a:lnTo>
                  <a:lnTo>
                    <a:pt x="238" y="162"/>
                  </a:lnTo>
                  <a:lnTo>
                    <a:pt x="236" y="162"/>
                  </a:lnTo>
                  <a:lnTo>
                    <a:pt x="236" y="160"/>
                  </a:lnTo>
                  <a:lnTo>
                    <a:pt x="228" y="168"/>
                  </a:lnTo>
                  <a:lnTo>
                    <a:pt x="224" y="168"/>
                  </a:lnTo>
                  <a:lnTo>
                    <a:pt x="220" y="168"/>
                  </a:lnTo>
                  <a:lnTo>
                    <a:pt x="216" y="162"/>
                  </a:lnTo>
                  <a:lnTo>
                    <a:pt x="214" y="162"/>
                  </a:lnTo>
                  <a:lnTo>
                    <a:pt x="210" y="162"/>
                  </a:lnTo>
                  <a:lnTo>
                    <a:pt x="204" y="170"/>
                  </a:lnTo>
                  <a:lnTo>
                    <a:pt x="204" y="172"/>
                  </a:lnTo>
                  <a:lnTo>
                    <a:pt x="210" y="172"/>
                  </a:lnTo>
                  <a:lnTo>
                    <a:pt x="210" y="176"/>
                  </a:lnTo>
                  <a:lnTo>
                    <a:pt x="206" y="174"/>
                  </a:lnTo>
                  <a:lnTo>
                    <a:pt x="204" y="180"/>
                  </a:lnTo>
                  <a:lnTo>
                    <a:pt x="200" y="182"/>
                  </a:lnTo>
                  <a:lnTo>
                    <a:pt x="196" y="184"/>
                  </a:lnTo>
                  <a:lnTo>
                    <a:pt x="196" y="186"/>
                  </a:lnTo>
                  <a:lnTo>
                    <a:pt x="196" y="188"/>
                  </a:lnTo>
                  <a:lnTo>
                    <a:pt x="196" y="190"/>
                  </a:lnTo>
                  <a:lnTo>
                    <a:pt x="190" y="194"/>
                  </a:lnTo>
                  <a:lnTo>
                    <a:pt x="200" y="202"/>
                  </a:lnTo>
                  <a:lnTo>
                    <a:pt x="206" y="204"/>
                  </a:lnTo>
                  <a:lnTo>
                    <a:pt x="216" y="204"/>
                  </a:lnTo>
                  <a:lnTo>
                    <a:pt x="212" y="212"/>
                  </a:lnTo>
                  <a:lnTo>
                    <a:pt x="210" y="208"/>
                  </a:lnTo>
                  <a:lnTo>
                    <a:pt x="208" y="206"/>
                  </a:lnTo>
                  <a:lnTo>
                    <a:pt x="202" y="206"/>
                  </a:lnTo>
                  <a:lnTo>
                    <a:pt x="202" y="208"/>
                  </a:lnTo>
                  <a:lnTo>
                    <a:pt x="204" y="210"/>
                  </a:lnTo>
                  <a:lnTo>
                    <a:pt x="204" y="214"/>
                  </a:lnTo>
                  <a:lnTo>
                    <a:pt x="210" y="214"/>
                  </a:lnTo>
                  <a:lnTo>
                    <a:pt x="208" y="216"/>
                  </a:lnTo>
                  <a:lnTo>
                    <a:pt x="208" y="220"/>
                  </a:lnTo>
                  <a:lnTo>
                    <a:pt x="212" y="228"/>
                  </a:lnTo>
                  <a:lnTo>
                    <a:pt x="222" y="228"/>
                  </a:lnTo>
                  <a:lnTo>
                    <a:pt x="226" y="226"/>
                  </a:lnTo>
                  <a:lnTo>
                    <a:pt x="228" y="222"/>
                  </a:lnTo>
                  <a:lnTo>
                    <a:pt x="228" y="216"/>
                  </a:lnTo>
                  <a:lnTo>
                    <a:pt x="232" y="218"/>
                  </a:lnTo>
                  <a:lnTo>
                    <a:pt x="232" y="220"/>
                  </a:lnTo>
                  <a:lnTo>
                    <a:pt x="232" y="224"/>
                  </a:lnTo>
                  <a:lnTo>
                    <a:pt x="234" y="228"/>
                  </a:lnTo>
                  <a:lnTo>
                    <a:pt x="238" y="234"/>
                  </a:lnTo>
                  <a:lnTo>
                    <a:pt x="236" y="236"/>
                  </a:lnTo>
                  <a:lnTo>
                    <a:pt x="236" y="240"/>
                  </a:lnTo>
                  <a:lnTo>
                    <a:pt x="234" y="240"/>
                  </a:lnTo>
                  <a:lnTo>
                    <a:pt x="238" y="242"/>
                  </a:lnTo>
                  <a:lnTo>
                    <a:pt x="238" y="250"/>
                  </a:lnTo>
                  <a:lnTo>
                    <a:pt x="242" y="248"/>
                  </a:lnTo>
                  <a:lnTo>
                    <a:pt x="246" y="244"/>
                  </a:lnTo>
                  <a:lnTo>
                    <a:pt x="250" y="242"/>
                  </a:lnTo>
                  <a:lnTo>
                    <a:pt x="254" y="240"/>
                  </a:lnTo>
                  <a:lnTo>
                    <a:pt x="256" y="240"/>
                  </a:lnTo>
                  <a:lnTo>
                    <a:pt x="256" y="242"/>
                  </a:lnTo>
                  <a:lnTo>
                    <a:pt x="258" y="244"/>
                  </a:lnTo>
                  <a:lnTo>
                    <a:pt x="260" y="244"/>
                  </a:lnTo>
                  <a:lnTo>
                    <a:pt x="262" y="244"/>
                  </a:lnTo>
                  <a:lnTo>
                    <a:pt x="262" y="242"/>
                  </a:lnTo>
                  <a:lnTo>
                    <a:pt x="264" y="242"/>
                  </a:lnTo>
                  <a:lnTo>
                    <a:pt x="270" y="252"/>
                  </a:lnTo>
                  <a:lnTo>
                    <a:pt x="272" y="250"/>
                  </a:lnTo>
                  <a:lnTo>
                    <a:pt x="272" y="246"/>
                  </a:lnTo>
                  <a:lnTo>
                    <a:pt x="278" y="248"/>
                  </a:lnTo>
                  <a:lnTo>
                    <a:pt x="282" y="248"/>
                  </a:lnTo>
                  <a:lnTo>
                    <a:pt x="288" y="246"/>
                  </a:lnTo>
                  <a:lnTo>
                    <a:pt x="294" y="242"/>
                  </a:lnTo>
                  <a:lnTo>
                    <a:pt x="292" y="248"/>
                  </a:lnTo>
                  <a:lnTo>
                    <a:pt x="292" y="254"/>
                  </a:lnTo>
                  <a:lnTo>
                    <a:pt x="288" y="256"/>
                  </a:lnTo>
                  <a:lnTo>
                    <a:pt x="282" y="262"/>
                  </a:lnTo>
                  <a:lnTo>
                    <a:pt x="282" y="268"/>
                  </a:lnTo>
                  <a:lnTo>
                    <a:pt x="282" y="272"/>
                  </a:lnTo>
                  <a:lnTo>
                    <a:pt x="276" y="282"/>
                  </a:lnTo>
                  <a:lnTo>
                    <a:pt x="266" y="290"/>
                  </a:lnTo>
                  <a:lnTo>
                    <a:pt x="254" y="296"/>
                  </a:lnTo>
                  <a:lnTo>
                    <a:pt x="254" y="302"/>
                  </a:lnTo>
                  <a:lnTo>
                    <a:pt x="250" y="302"/>
                  </a:lnTo>
                  <a:lnTo>
                    <a:pt x="248" y="304"/>
                  </a:lnTo>
                  <a:lnTo>
                    <a:pt x="246" y="302"/>
                  </a:lnTo>
                  <a:lnTo>
                    <a:pt x="242" y="302"/>
                  </a:lnTo>
                  <a:lnTo>
                    <a:pt x="238" y="302"/>
                  </a:lnTo>
                  <a:lnTo>
                    <a:pt x="232" y="310"/>
                  </a:lnTo>
                  <a:lnTo>
                    <a:pt x="228" y="316"/>
                  </a:lnTo>
                  <a:lnTo>
                    <a:pt x="226" y="316"/>
                  </a:lnTo>
                  <a:lnTo>
                    <a:pt x="224" y="316"/>
                  </a:lnTo>
                  <a:lnTo>
                    <a:pt x="222" y="318"/>
                  </a:lnTo>
                  <a:lnTo>
                    <a:pt x="222" y="322"/>
                  </a:lnTo>
                  <a:lnTo>
                    <a:pt x="228" y="320"/>
                  </a:lnTo>
                  <a:lnTo>
                    <a:pt x="232" y="318"/>
                  </a:lnTo>
                  <a:lnTo>
                    <a:pt x="234" y="314"/>
                  </a:lnTo>
                  <a:lnTo>
                    <a:pt x="238" y="306"/>
                  </a:lnTo>
                  <a:lnTo>
                    <a:pt x="244" y="306"/>
                  </a:lnTo>
                  <a:lnTo>
                    <a:pt x="242" y="308"/>
                  </a:lnTo>
                  <a:lnTo>
                    <a:pt x="242" y="310"/>
                  </a:lnTo>
                  <a:lnTo>
                    <a:pt x="248" y="310"/>
                  </a:lnTo>
                  <a:lnTo>
                    <a:pt x="254" y="308"/>
                  </a:lnTo>
                  <a:lnTo>
                    <a:pt x="258" y="304"/>
                  </a:lnTo>
                  <a:lnTo>
                    <a:pt x="264" y="302"/>
                  </a:lnTo>
                  <a:lnTo>
                    <a:pt x="264" y="304"/>
                  </a:lnTo>
                  <a:lnTo>
                    <a:pt x="266" y="304"/>
                  </a:lnTo>
                  <a:lnTo>
                    <a:pt x="268" y="298"/>
                  </a:lnTo>
                  <a:lnTo>
                    <a:pt x="270" y="298"/>
                  </a:lnTo>
                  <a:lnTo>
                    <a:pt x="270" y="300"/>
                  </a:lnTo>
                  <a:lnTo>
                    <a:pt x="272" y="300"/>
                  </a:lnTo>
                  <a:lnTo>
                    <a:pt x="272" y="294"/>
                  </a:lnTo>
                  <a:lnTo>
                    <a:pt x="278" y="292"/>
                  </a:lnTo>
                  <a:lnTo>
                    <a:pt x="278" y="288"/>
                  </a:lnTo>
                  <a:lnTo>
                    <a:pt x="280" y="288"/>
                  </a:lnTo>
                  <a:lnTo>
                    <a:pt x="282" y="288"/>
                  </a:lnTo>
                  <a:lnTo>
                    <a:pt x="288" y="284"/>
                  </a:lnTo>
                  <a:lnTo>
                    <a:pt x="294" y="280"/>
                  </a:lnTo>
                  <a:lnTo>
                    <a:pt x="292" y="274"/>
                  </a:lnTo>
                  <a:lnTo>
                    <a:pt x="296" y="272"/>
                  </a:lnTo>
                  <a:lnTo>
                    <a:pt x="302" y="270"/>
                  </a:lnTo>
                  <a:lnTo>
                    <a:pt x="306" y="264"/>
                  </a:lnTo>
                  <a:lnTo>
                    <a:pt x="312" y="258"/>
                  </a:lnTo>
                  <a:lnTo>
                    <a:pt x="316" y="258"/>
                  </a:lnTo>
                  <a:lnTo>
                    <a:pt x="320" y="256"/>
                  </a:lnTo>
                  <a:lnTo>
                    <a:pt x="320" y="252"/>
                  </a:lnTo>
                  <a:lnTo>
                    <a:pt x="322" y="250"/>
                  </a:lnTo>
                  <a:lnTo>
                    <a:pt x="324" y="248"/>
                  </a:lnTo>
                  <a:lnTo>
                    <a:pt x="330" y="246"/>
                  </a:lnTo>
                  <a:lnTo>
                    <a:pt x="330" y="242"/>
                  </a:lnTo>
                  <a:lnTo>
                    <a:pt x="326" y="242"/>
                  </a:lnTo>
                  <a:lnTo>
                    <a:pt x="320" y="242"/>
                  </a:lnTo>
                  <a:lnTo>
                    <a:pt x="324" y="236"/>
                  </a:lnTo>
                  <a:lnTo>
                    <a:pt x="326" y="230"/>
                  </a:lnTo>
                  <a:lnTo>
                    <a:pt x="330" y="228"/>
                  </a:lnTo>
                  <a:lnTo>
                    <a:pt x="336" y="224"/>
                  </a:lnTo>
                  <a:lnTo>
                    <a:pt x="334" y="222"/>
                  </a:lnTo>
                  <a:lnTo>
                    <a:pt x="334" y="218"/>
                  </a:lnTo>
                  <a:lnTo>
                    <a:pt x="338" y="218"/>
                  </a:lnTo>
                  <a:lnTo>
                    <a:pt x="342" y="218"/>
                  </a:lnTo>
                  <a:lnTo>
                    <a:pt x="342" y="214"/>
                  </a:lnTo>
                  <a:lnTo>
                    <a:pt x="344" y="212"/>
                  </a:lnTo>
                  <a:lnTo>
                    <a:pt x="346" y="210"/>
                  </a:lnTo>
                  <a:lnTo>
                    <a:pt x="350" y="210"/>
                  </a:lnTo>
                  <a:lnTo>
                    <a:pt x="352" y="206"/>
                  </a:lnTo>
                  <a:lnTo>
                    <a:pt x="352" y="202"/>
                  </a:lnTo>
                  <a:lnTo>
                    <a:pt x="360" y="196"/>
                  </a:lnTo>
                  <a:lnTo>
                    <a:pt x="364" y="196"/>
                  </a:lnTo>
                  <a:lnTo>
                    <a:pt x="364" y="198"/>
                  </a:lnTo>
                  <a:lnTo>
                    <a:pt x="366" y="200"/>
                  </a:lnTo>
                  <a:lnTo>
                    <a:pt x="372" y="196"/>
                  </a:lnTo>
                  <a:lnTo>
                    <a:pt x="374" y="196"/>
                  </a:lnTo>
                  <a:lnTo>
                    <a:pt x="374" y="198"/>
                  </a:lnTo>
                  <a:lnTo>
                    <a:pt x="372" y="200"/>
                  </a:lnTo>
                  <a:lnTo>
                    <a:pt x="372" y="202"/>
                  </a:lnTo>
                  <a:lnTo>
                    <a:pt x="374" y="202"/>
                  </a:lnTo>
                  <a:lnTo>
                    <a:pt x="374" y="204"/>
                  </a:lnTo>
                  <a:lnTo>
                    <a:pt x="374" y="206"/>
                  </a:lnTo>
                  <a:lnTo>
                    <a:pt x="368" y="204"/>
                  </a:lnTo>
                  <a:lnTo>
                    <a:pt x="362" y="204"/>
                  </a:lnTo>
                  <a:lnTo>
                    <a:pt x="358" y="210"/>
                  </a:lnTo>
                  <a:lnTo>
                    <a:pt x="354" y="210"/>
                  </a:lnTo>
                  <a:lnTo>
                    <a:pt x="350" y="230"/>
                  </a:lnTo>
                  <a:lnTo>
                    <a:pt x="356" y="230"/>
                  </a:lnTo>
                  <a:lnTo>
                    <a:pt x="356" y="234"/>
                  </a:lnTo>
                  <a:lnTo>
                    <a:pt x="348" y="238"/>
                  </a:lnTo>
                  <a:lnTo>
                    <a:pt x="350" y="240"/>
                  </a:lnTo>
                  <a:lnTo>
                    <a:pt x="352" y="242"/>
                  </a:lnTo>
                  <a:lnTo>
                    <a:pt x="366" y="236"/>
                  </a:lnTo>
                  <a:lnTo>
                    <a:pt x="366" y="232"/>
                  </a:lnTo>
                  <a:lnTo>
                    <a:pt x="370" y="232"/>
                  </a:lnTo>
                  <a:lnTo>
                    <a:pt x="374" y="230"/>
                  </a:lnTo>
                  <a:lnTo>
                    <a:pt x="374" y="226"/>
                  </a:lnTo>
                  <a:lnTo>
                    <a:pt x="376" y="224"/>
                  </a:lnTo>
                  <a:lnTo>
                    <a:pt x="378" y="222"/>
                  </a:lnTo>
                  <a:lnTo>
                    <a:pt x="382" y="222"/>
                  </a:lnTo>
                  <a:lnTo>
                    <a:pt x="384" y="224"/>
                  </a:lnTo>
                  <a:lnTo>
                    <a:pt x="388" y="224"/>
                  </a:lnTo>
                  <a:lnTo>
                    <a:pt x="390" y="226"/>
                  </a:lnTo>
                  <a:lnTo>
                    <a:pt x="392" y="224"/>
                  </a:lnTo>
                  <a:lnTo>
                    <a:pt x="396" y="220"/>
                  </a:lnTo>
                  <a:lnTo>
                    <a:pt x="394" y="214"/>
                  </a:lnTo>
                  <a:lnTo>
                    <a:pt x="388" y="212"/>
                  </a:lnTo>
                  <a:lnTo>
                    <a:pt x="390" y="206"/>
                  </a:lnTo>
                  <a:lnTo>
                    <a:pt x="388" y="202"/>
                  </a:lnTo>
                  <a:lnTo>
                    <a:pt x="400" y="204"/>
                  </a:lnTo>
                  <a:lnTo>
                    <a:pt x="404" y="204"/>
                  </a:lnTo>
                  <a:lnTo>
                    <a:pt x="408" y="202"/>
                  </a:lnTo>
                  <a:lnTo>
                    <a:pt x="408" y="200"/>
                  </a:lnTo>
                  <a:lnTo>
                    <a:pt x="410" y="200"/>
                  </a:lnTo>
                  <a:lnTo>
                    <a:pt x="410" y="206"/>
                  </a:lnTo>
                  <a:lnTo>
                    <a:pt x="412" y="208"/>
                  </a:lnTo>
                  <a:lnTo>
                    <a:pt x="410" y="208"/>
                  </a:lnTo>
                  <a:lnTo>
                    <a:pt x="418" y="212"/>
                  </a:lnTo>
                  <a:lnTo>
                    <a:pt x="418" y="214"/>
                  </a:lnTo>
                  <a:lnTo>
                    <a:pt x="418" y="218"/>
                  </a:lnTo>
                  <a:lnTo>
                    <a:pt x="420" y="218"/>
                  </a:lnTo>
                  <a:lnTo>
                    <a:pt x="422" y="218"/>
                  </a:lnTo>
                  <a:lnTo>
                    <a:pt x="424" y="216"/>
                  </a:lnTo>
                  <a:lnTo>
                    <a:pt x="428" y="216"/>
                  </a:lnTo>
                  <a:lnTo>
                    <a:pt x="428" y="222"/>
                  </a:lnTo>
                  <a:lnTo>
                    <a:pt x="434" y="222"/>
                  </a:lnTo>
                  <a:lnTo>
                    <a:pt x="438" y="224"/>
                  </a:lnTo>
                  <a:lnTo>
                    <a:pt x="438" y="226"/>
                  </a:lnTo>
                  <a:lnTo>
                    <a:pt x="444" y="226"/>
                  </a:lnTo>
                  <a:lnTo>
                    <a:pt x="448" y="224"/>
                  </a:lnTo>
                  <a:lnTo>
                    <a:pt x="452" y="224"/>
                  </a:lnTo>
                  <a:lnTo>
                    <a:pt x="458" y="224"/>
                  </a:lnTo>
                  <a:lnTo>
                    <a:pt x="466" y="226"/>
                  </a:lnTo>
                  <a:lnTo>
                    <a:pt x="474" y="230"/>
                  </a:lnTo>
                  <a:lnTo>
                    <a:pt x="484" y="234"/>
                  </a:lnTo>
                  <a:lnTo>
                    <a:pt x="488" y="234"/>
                  </a:lnTo>
                  <a:lnTo>
                    <a:pt x="492" y="234"/>
                  </a:lnTo>
                  <a:lnTo>
                    <a:pt x="492" y="232"/>
                  </a:lnTo>
                  <a:lnTo>
                    <a:pt x="496" y="230"/>
                  </a:lnTo>
                  <a:lnTo>
                    <a:pt x="494" y="240"/>
                  </a:lnTo>
                  <a:lnTo>
                    <a:pt x="500" y="242"/>
                  </a:lnTo>
                  <a:lnTo>
                    <a:pt x="506" y="244"/>
                  </a:lnTo>
                  <a:lnTo>
                    <a:pt x="506" y="240"/>
                  </a:lnTo>
                  <a:lnTo>
                    <a:pt x="510" y="240"/>
                  </a:lnTo>
                  <a:lnTo>
                    <a:pt x="510" y="244"/>
                  </a:lnTo>
                  <a:lnTo>
                    <a:pt x="510" y="250"/>
                  </a:lnTo>
                  <a:lnTo>
                    <a:pt x="512" y="250"/>
                  </a:lnTo>
                  <a:lnTo>
                    <a:pt x="520" y="260"/>
                  </a:lnTo>
                  <a:lnTo>
                    <a:pt x="522" y="258"/>
                  </a:lnTo>
                  <a:lnTo>
                    <a:pt x="524" y="258"/>
                  </a:lnTo>
                  <a:lnTo>
                    <a:pt x="524" y="264"/>
                  </a:lnTo>
                  <a:lnTo>
                    <a:pt x="528" y="264"/>
                  </a:lnTo>
                  <a:lnTo>
                    <a:pt x="530" y="266"/>
                  </a:lnTo>
                  <a:lnTo>
                    <a:pt x="528" y="268"/>
                  </a:lnTo>
                  <a:lnTo>
                    <a:pt x="532" y="268"/>
                  </a:lnTo>
                  <a:lnTo>
                    <a:pt x="532" y="270"/>
                  </a:lnTo>
                  <a:lnTo>
                    <a:pt x="532" y="274"/>
                  </a:lnTo>
                  <a:lnTo>
                    <a:pt x="540" y="280"/>
                  </a:lnTo>
                  <a:lnTo>
                    <a:pt x="540" y="282"/>
                  </a:lnTo>
                  <a:lnTo>
                    <a:pt x="540" y="284"/>
                  </a:lnTo>
                  <a:lnTo>
                    <a:pt x="544" y="290"/>
                  </a:lnTo>
                  <a:lnTo>
                    <a:pt x="550" y="296"/>
                  </a:lnTo>
                  <a:lnTo>
                    <a:pt x="550" y="298"/>
                  </a:lnTo>
                  <a:lnTo>
                    <a:pt x="552" y="298"/>
                  </a:lnTo>
                  <a:lnTo>
                    <a:pt x="552" y="300"/>
                  </a:lnTo>
                  <a:lnTo>
                    <a:pt x="554" y="300"/>
                  </a:lnTo>
                  <a:lnTo>
                    <a:pt x="554" y="298"/>
                  </a:lnTo>
                  <a:lnTo>
                    <a:pt x="554" y="296"/>
                  </a:lnTo>
                  <a:lnTo>
                    <a:pt x="560" y="298"/>
                  </a:lnTo>
                  <a:lnTo>
                    <a:pt x="558" y="300"/>
                  </a:lnTo>
                  <a:lnTo>
                    <a:pt x="558" y="302"/>
                  </a:lnTo>
                  <a:lnTo>
                    <a:pt x="564" y="304"/>
                  </a:lnTo>
                  <a:lnTo>
                    <a:pt x="562" y="296"/>
                  </a:lnTo>
                  <a:lnTo>
                    <a:pt x="564" y="296"/>
                  </a:lnTo>
                  <a:lnTo>
                    <a:pt x="564" y="298"/>
                  </a:lnTo>
                  <a:lnTo>
                    <a:pt x="566" y="298"/>
                  </a:lnTo>
                  <a:lnTo>
                    <a:pt x="568" y="294"/>
                  </a:lnTo>
                  <a:lnTo>
                    <a:pt x="568" y="288"/>
                  </a:lnTo>
                  <a:lnTo>
                    <a:pt x="564" y="288"/>
                  </a:lnTo>
                  <a:lnTo>
                    <a:pt x="566" y="288"/>
                  </a:lnTo>
                  <a:lnTo>
                    <a:pt x="564" y="286"/>
                  </a:lnTo>
                  <a:lnTo>
                    <a:pt x="560" y="286"/>
                  </a:lnTo>
                  <a:lnTo>
                    <a:pt x="560" y="294"/>
                  </a:lnTo>
                  <a:lnTo>
                    <a:pt x="552" y="292"/>
                  </a:lnTo>
                  <a:lnTo>
                    <a:pt x="552" y="288"/>
                  </a:lnTo>
                  <a:lnTo>
                    <a:pt x="550" y="282"/>
                  </a:lnTo>
                  <a:lnTo>
                    <a:pt x="546" y="282"/>
                  </a:lnTo>
                  <a:lnTo>
                    <a:pt x="550" y="278"/>
                  </a:lnTo>
                  <a:lnTo>
                    <a:pt x="550" y="272"/>
                  </a:lnTo>
                  <a:lnTo>
                    <a:pt x="546" y="272"/>
                  </a:lnTo>
                  <a:lnTo>
                    <a:pt x="546" y="270"/>
                  </a:lnTo>
                  <a:lnTo>
                    <a:pt x="546" y="268"/>
                  </a:lnTo>
                  <a:lnTo>
                    <a:pt x="542" y="266"/>
                  </a:lnTo>
                  <a:lnTo>
                    <a:pt x="534" y="264"/>
                  </a:lnTo>
                  <a:lnTo>
                    <a:pt x="532" y="264"/>
                  </a:lnTo>
                  <a:lnTo>
                    <a:pt x="534" y="264"/>
                  </a:lnTo>
                  <a:lnTo>
                    <a:pt x="544" y="260"/>
                  </a:lnTo>
                  <a:lnTo>
                    <a:pt x="544" y="262"/>
                  </a:lnTo>
                  <a:lnTo>
                    <a:pt x="546" y="264"/>
                  </a:lnTo>
                  <a:lnTo>
                    <a:pt x="544" y="258"/>
                  </a:lnTo>
                  <a:lnTo>
                    <a:pt x="546" y="252"/>
                  </a:lnTo>
                  <a:lnTo>
                    <a:pt x="552" y="262"/>
                  </a:lnTo>
                  <a:lnTo>
                    <a:pt x="558" y="262"/>
                  </a:lnTo>
                  <a:lnTo>
                    <a:pt x="558" y="266"/>
                  </a:lnTo>
                  <a:lnTo>
                    <a:pt x="560" y="266"/>
                  </a:lnTo>
                  <a:lnTo>
                    <a:pt x="564" y="266"/>
                  </a:lnTo>
                  <a:lnTo>
                    <a:pt x="564" y="268"/>
                  </a:lnTo>
                  <a:lnTo>
                    <a:pt x="562" y="268"/>
                  </a:lnTo>
                  <a:lnTo>
                    <a:pt x="564" y="272"/>
                  </a:lnTo>
                  <a:lnTo>
                    <a:pt x="566" y="276"/>
                  </a:lnTo>
                  <a:lnTo>
                    <a:pt x="566" y="278"/>
                  </a:lnTo>
                  <a:lnTo>
                    <a:pt x="566" y="280"/>
                  </a:lnTo>
                  <a:lnTo>
                    <a:pt x="566" y="284"/>
                  </a:lnTo>
                  <a:lnTo>
                    <a:pt x="572" y="284"/>
                  </a:lnTo>
                  <a:lnTo>
                    <a:pt x="574" y="292"/>
                  </a:lnTo>
                  <a:lnTo>
                    <a:pt x="572" y="294"/>
                  </a:lnTo>
                  <a:lnTo>
                    <a:pt x="570" y="296"/>
                  </a:lnTo>
                  <a:lnTo>
                    <a:pt x="572" y="298"/>
                  </a:lnTo>
                  <a:lnTo>
                    <a:pt x="574" y="298"/>
                  </a:lnTo>
                  <a:lnTo>
                    <a:pt x="574" y="294"/>
                  </a:lnTo>
                  <a:lnTo>
                    <a:pt x="576" y="296"/>
                  </a:lnTo>
                  <a:lnTo>
                    <a:pt x="580" y="296"/>
                  </a:lnTo>
                  <a:lnTo>
                    <a:pt x="580" y="298"/>
                  </a:lnTo>
                  <a:lnTo>
                    <a:pt x="578" y="300"/>
                  </a:lnTo>
                  <a:lnTo>
                    <a:pt x="582" y="298"/>
                  </a:lnTo>
                  <a:lnTo>
                    <a:pt x="582" y="312"/>
                  </a:lnTo>
                  <a:lnTo>
                    <a:pt x="584" y="310"/>
                  </a:lnTo>
                  <a:lnTo>
                    <a:pt x="586" y="308"/>
                  </a:lnTo>
                  <a:lnTo>
                    <a:pt x="590" y="320"/>
                  </a:lnTo>
                  <a:lnTo>
                    <a:pt x="592" y="318"/>
                  </a:lnTo>
                  <a:lnTo>
                    <a:pt x="594" y="320"/>
                  </a:lnTo>
                  <a:lnTo>
                    <a:pt x="594" y="316"/>
                  </a:lnTo>
                  <a:lnTo>
                    <a:pt x="596" y="312"/>
                  </a:lnTo>
                  <a:lnTo>
                    <a:pt x="596" y="314"/>
                  </a:lnTo>
                  <a:lnTo>
                    <a:pt x="596" y="320"/>
                  </a:lnTo>
                  <a:lnTo>
                    <a:pt x="592" y="324"/>
                  </a:lnTo>
                  <a:lnTo>
                    <a:pt x="594" y="326"/>
                  </a:lnTo>
                  <a:lnTo>
                    <a:pt x="594" y="328"/>
                  </a:lnTo>
                  <a:lnTo>
                    <a:pt x="598" y="330"/>
                  </a:lnTo>
                  <a:lnTo>
                    <a:pt x="602" y="330"/>
                  </a:lnTo>
                  <a:lnTo>
                    <a:pt x="602" y="326"/>
                  </a:lnTo>
                  <a:lnTo>
                    <a:pt x="606" y="324"/>
                  </a:lnTo>
                  <a:lnTo>
                    <a:pt x="608" y="322"/>
                  </a:lnTo>
                  <a:lnTo>
                    <a:pt x="612" y="318"/>
                  </a:lnTo>
                  <a:lnTo>
                    <a:pt x="612" y="316"/>
                  </a:lnTo>
                  <a:lnTo>
                    <a:pt x="612" y="314"/>
                  </a:lnTo>
                  <a:lnTo>
                    <a:pt x="612" y="312"/>
                  </a:lnTo>
                  <a:lnTo>
                    <a:pt x="612" y="310"/>
                  </a:lnTo>
                  <a:lnTo>
                    <a:pt x="614" y="308"/>
                  </a:lnTo>
                  <a:lnTo>
                    <a:pt x="612" y="308"/>
                  </a:lnTo>
                  <a:lnTo>
                    <a:pt x="612" y="306"/>
                  </a:lnTo>
                  <a:lnTo>
                    <a:pt x="612" y="302"/>
                  </a:lnTo>
                  <a:lnTo>
                    <a:pt x="610" y="300"/>
                  </a:lnTo>
                  <a:lnTo>
                    <a:pt x="608" y="300"/>
                  </a:lnTo>
                  <a:lnTo>
                    <a:pt x="608" y="302"/>
                  </a:lnTo>
                  <a:lnTo>
                    <a:pt x="606" y="302"/>
                  </a:lnTo>
                  <a:lnTo>
                    <a:pt x="606" y="300"/>
                  </a:lnTo>
                  <a:lnTo>
                    <a:pt x="604" y="298"/>
                  </a:lnTo>
                  <a:lnTo>
                    <a:pt x="604" y="296"/>
                  </a:lnTo>
                  <a:lnTo>
                    <a:pt x="600" y="294"/>
                  </a:lnTo>
                  <a:lnTo>
                    <a:pt x="592" y="290"/>
                  </a:lnTo>
                  <a:lnTo>
                    <a:pt x="588" y="288"/>
                  </a:lnTo>
                  <a:lnTo>
                    <a:pt x="588" y="284"/>
                  </a:lnTo>
                  <a:lnTo>
                    <a:pt x="588" y="280"/>
                  </a:lnTo>
                  <a:lnTo>
                    <a:pt x="584" y="278"/>
                  </a:lnTo>
                  <a:lnTo>
                    <a:pt x="582" y="276"/>
                  </a:lnTo>
                  <a:lnTo>
                    <a:pt x="580" y="272"/>
                  </a:lnTo>
                  <a:lnTo>
                    <a:pt x="578" y="266"/>
                  </a:lnTo>
                  <a:lnTo>
                    <a:pt x="562" y="250"/>
                  </a:lnTo>
                  <a:lnTo>
                    <a:pt x="558" y="244"/>
                  </a:lnTo>
                  <a:lnTo>
                    <a:pt x="556" y="242"/>
                  </a:lnTo>
                  <a:lnTo>
                    <a:pt x="552" y="240"/>
                  </a:lnTo>
                  <a:lnTo>
                    <a:pt x="550" y="240"/>
                  </a:lnTo>
                  <a:lnTo>
                    <a:pt x="548" y="238"/>
                  </a:lnTo>
                  <a:lnTo>
                    <a:pt x="548" y="234"/>
                  </a:lnTo>
                  <a:lnTo>
                    <a:pt x="546" y="232"/>
                  </a:lnTo>
                  <a:lnTo>
                    <a:pt x="544" y="230"/>
                  </a:lnTo>
                  <a:lnTo>
                    <a:pt x="542" y="230"/>
                  </a:lnTo>
                  <a:lnTo>
                    <a:pt x="538" y="228"/>
                  </a:lnTo>
                  <a:lnTo>
                    <a:pt x="536" y="226"/>
                  </a:lnTo>
                  <a:lnTo>
                    <a:pt x="534" y="226"/>
                  </a:lnTo>
                  <a:lnTo>
                    <a:pt x="528" y="228"/>
                  </a:lnTo>
                  <a:lnTo>
                    <a:pt x="528" y="230"/>
                  </a:lnTo>
                  <a:lnTo>
                    <a:pt x="528" y="232"/>
                  </a:lnTo>
                  <a:lnTo>
                    <a:pt x="528" y="234"/>
                  </a:lnTo>
                  <a:lnTo>
                    <a:pt x="526" y="236"/>
                  </a:lnTo>
                  <a:lnTo>
                    <a:pt x="524" y="238"/>
                  </a:lnTo>
                  <a:lnTo>
                    <a:pt x="518" y="240"/>
                  </a:lnTo>
                  <a:lnTo>
                    <a:pt x="514" y="242"/>
                  </a:lnTo>
                  <a:lnTo>
                    <a:pt x="514" y="240"/>
                  </a:lnTo>
                  <a:lnTo>
                    <a:pt x="512" y="236"/>
                  </a:lnTo>
                  <a:lnTo>
                    <a:pt x="510" y="234"/>
                  </a:lnTo>
                  <a:lnTo>
                    <a:pt x="506" y="230"/>
                  </a:lnTo>
                  <a:lnTo>
                    <a:pt x="502" y="228"/>
                  </a:lnTo>
                  <a:lnTo>
                    <a:pt x="498" y="224"/>
                  </a:lnTo>
                  <a:lnTo>
                    <a:pt x="494" y="216"/>
                  </a:lnTo>
                  <a:lnTo>
                    <a:pt x="494" y="210"/>
                  </a:lnTo>
                  <a:lnTo>
                    <a:pt x="490" y="212"/>
                  </a:lnTo>
                  <a:lnTo>
                    <a:pt x="488" y="214"/>
                  </a:lnTo>
                  <a:lnTo>
                    <a:pt x="486" y="212"/>
                  </a:lnTo>
                  <a:lnTo>
                    <a:pt x="482" y="210"/>
                  </a:lnTo>
                  <a:lnTo>
                    <a:pt x="478" y="210"/>
                  </a:lnTo>
                  <a:lnTo>
                    <a:pt x="476" y="210"/>
                  </a:lnTo>
                  <a:lnTo>
                    <a:pt x="472" y="212"/>
                  </a:lnTo>
                  <a:lnTo>
                    <a:pt x="466" y="28"/>
                  </a:lnTo>
                  <a:close/>
                  <a:moveTo>
                    <a:pt x="4090" y="388"/>
                  </a:moveTo>
                  <a:lnTo>
                    <a:pt x="4090" y="392"/>
                  </a:lnTo>
                  <a:lnTo>
                    <a:pt x="4094" y="392"/>
                  </a:lnTo>
                  <a:lnTo>
                    <a:pt x="4094" y="390"/>
                  </a:lnTo>
                  <a:lnTo>
                    <a:pt x="4090" y="388"/>
                  </a:lnTo>
                  <a:close/>
                  <a:moveTo>
                    <a:pt x="4126" y="382"/>
                  </a:moveTo>
                  <a:lnTo>
                    <a:pt x="4126" y="382"/>
                  </a:lnTo>
                  <a:lnTo>
                    <a:pt x="4124" y="384"/>
                  </a:lnTo>
                  <a:lnTo>
                    <a:pt x="4126" y="384"/>
                  </a:lnTo>
                  <a:lnTo>
                    <a:pt x="4130" y="388"/>
                  </a:lnTo>
                  <a:lnTo>
                    <a:pt x="4130" y="384"/>
                  </a:lnTo>
                  <a:lnTo>
                    <a:pt x="4126" y="382"/>
                  </a:lnTo>
                  <a:close/>
                  <a:moveTo>
                    <a:pt x="4076" y="378"/>
                  </a:moveTo>
                  <a:lnTo>
                    <a:pt x="4076" y="378"/>
                  </a:lnTo>
                  <a:lnTo>
                    <a:pt x="4074" y="382"/>
                  </a:lnTo>
                  <a:lnTo>
                    <a:pt x="4074" y="384"/>
                  </a:lnTo>
                  <a:lnTo>
                    <a:pt x="4076" y="384"/>
                  </a:lnTo>
                  <a:lnTo>
                    <a:pt x="4076" y="380"/>
                  </a:lnTo>
                  <a:lnTo>
                    <a:pt x="4076" y="378"/>
                  </a:lnTo>
                  <a:close/>
                  <a:moveTo>
                    <a:pt x="4166" y="376"/>
                  </a:moveTo>
                  <a:lnTo>
                    <a:pt x="4166" y="376"/>
                  </a:lnTo>
                  <a:lnTo>
                    <a:pt x="4162" y="376"/>
                  </a:lnTo>
                  <a:lnTo>
                    <a:pt x="4162" y="378"/>
                  </a:lnTo>
                  <a:lnTo>
                    <a:pt x="4162" y="380"/>
                  </a:lnTo>
                  <a:lnTo>
                    <a:pt x="4168" y="380"/>
                  </a:lnTo>
                  <a:lnTo>
                    <a:pt x="4166" y="380"/>
                  </a:lnTo>
                  <a:lnTo>
                    <a:pt x="4166" y="378"/>
                  </a:lnTo>
                  <a:lnTo>
                    <a:pt x="4166" y="376"/>
                  </a:lnTo>
                  <a:close/>
                  <a:moveTo>
                    <a:pt x="4006" y="364"/>
                  </a:moveTo>
                  <a:lnTo>
                    <a:pt x="4006" y="364"/>
                  </a:lnTo>
                  <a:lnTo>
                    <a:pt x="4008" y="368"/>
                  </a:lnTo>
                  <a:lnTo>
                    <a:pt x="4010" y="368"/>
                  </a:lnTo>
                  <a:lnTo>
                    <a:pt x="4010" y="366"/>
                  </a:lnTo>
                  <a:lnTo>
                    <a:pt x="4014" y="366"/>
                  </a:lnTo>
                  <a:lnTo>
                    <a:pt x="4012" y="364"/>
                  </a:lnTo>
                  <a:lnTo>
                    <a:pt x="4006" y="364"/>
                  </a:lnTo>
                  <a:close/>
                  <a:moveTo>
                    <a:pt x="4186" y="220"/>
                  </a:moveTo>
                  <a:lnTo>
                    <a:pt x="4186" y="220"/>
                  </a:lnTo>
                  <a:lnTo>
                    <a:pt x="4186" y="226"/>
                  </a:lnTo>
                  <a:lnTo>
                    <a:pt x="4184" y="224"/>
                  </a:lnTo>
                  <a:lnTo>
                    <a:pt x="4184" y="226"/>
                  </a:lnTo>
                  <a:lnTo>
                    <a:pt x="4184" y="228"/>
                  </a:lnTo>
                  <a:lnTo>
                    <a:pt x="4186" y="232"/>
                  </a:lnTo>
                  <a:lnTo>
                    <a:pt x="4188" y="234"/>
                  </a:lnTo>
                  <a:lnTo>
                    <a:pt x="4196" y="230"/>
                  </a:lnTo>
                  <a:lnTo>
                    <a:pt x="4198" y="226"/>
                  </a:lnTo>
                  <a:lnTo>
                    <a:pt x="4196" y="224"/>
                  </a:lnTo>
                  <a:lnTo>
                    <a:pt x="4186" y="220"/>
                  </a:lnTo>
                  <a:close/>
                  <a:moveTo>
                    <a:pt x="4200" y="162"/>
                  </a:moveTo>
                  <a:lnTo>
                    <a:pt x="4200" y="162"/>
                  </a:lnTo>
                  <a:lnTo>
                    <a:pt x="4200" y="174"/>
                  </a:lnTo>
                  <a:lnTo>
                    <a:pt x="4208" y="170"/>
                  </a:lnTo>
                  <a:lnTo>
                    <a:pt x="4212" y="170"/>
                  </a:lnTo>
                  <a:lnTo>
                    <a:pt x="4218" y="172"/>
                  </a:lnTo>
                  <a:lnTo>
                    <a:pt x="4224" y="176"/>
                  </a:lnTo>
                  <a:lnTo>
                    <a:pt x="4222" y="178"/>
                  </a:lnTo>
                  <a:lnTo>
                    <a:pt x="4224" y="180"/>
                  </a:lnTo>
                  <a:lnTo>
                    <a:pt x="4228" y="182"/>
                  </a:lnTo>
                  <a:lnTo>
                    <a:pt x="4230" y="176"/>
                  </a:lnTo>
                  <a:lnTo>
                    <a:pt x="4232" y="174"/>
                  </a:lnTo>
                  <a:lnTo>
                    <a:pt x="4228" y="172"/>
                  </a:lnTo>
                  <a:lnTo>
                    <a:pt x="4224" y="172"/>
                  </a:lnTo>
                  <a:lnTo>
                    <a:pt x="4222" y="170"/>
                  </a:lnTo>
                  <a:lnTo>
                    <a:pt x="4222" y="166"/>
                  </a:lnTo>
                  <a:lnTo>
                    <a:pt x="4216" y="162"/>
                  </a:lnTo>
                  <a:lnTo>
                    <a:pt x="4210" y="164"/>
                  </a:lnTo>
                  <a:lnTo>
                    <a:pt x="4202" y="168"/>
                  </a:lnTo>
                  <a:lnTo>
                    <a:pt x="4202" y="164"/>
                  </a:lnTo>
                  <a:lnTo>
                    <a:pt x="4200" y="162"/>
                  </a:lnTo>
                  <a:close/>
                  <a:moveTo>
                    <a:pt x="16" y="378"/>
                  </a:moveTo>
                  <a:lnTo>
                    <a:pt x="16" y="378"/>
                  </a:lnTo>
                  <a:lnTo>
                    <a:pt x="20" y="384"/>
                  </a:lnTo>
                  <a:lnTo>
                    <a:pt x="20" y="382"/>
                  </a:lnTo>
                  <a:lnTo>
                    <a:pt x="16" y="378"/>
                  </a:lnTo>
                  <a:close/>
                  <a:moveTo>
                    <a:pt x="52" y="374"/>
                  </a:moveTo>
                  <a:lnTo>
                    <a:pt x="56" y="378"/>
                  </a:lnTo>
                  <a:lnTo>
                    <a:pt x="56" y="376"/>
                  </a:lnTo>
                  <a:lnTo>
                    <a:pt x="56" y="374"/>
                  </a:lnTo>
                  <a:lnTo>
                    <a:pt x="52" y="374"/>
                  </a:lnTo>
                  <a:close/>
                  <a:moveTo>
                    <a:pt x="68" y="372"/>
                  </a:moveTo>
                  <a:lnTo>
                    <a:pt x="68" y="372"/>
                  </a:lnTo>
                  <a:lnTo>
                    <a:pt x="66" y="376"/>
                  </a:lnTo>
                  <a:lnTo>
                    <a:pt x="66" y="378"/>
                  </a:lnTo>
                  <a:lnTo>
                    <a:pt x="68" y="378"/>
                  </a:lnTo>
                  <a:lnTo>
                    <a:pt x="70" y="374"/>
                  </a:lnTo>
                  <a:lnTo>
                    <a:pt x="70" y="372"/>
                  </a:lnTo>
                  <a:lnTo>
                    <a:pt x="68" y="372"/>
                  </a:lnTo>
                  <a:close/>
                  <a:moveTo>
                    <a:pt x="62" y="372"/>
                  </a:moveTo>
                  <a:lnTo>
                    <a:pt x="62" y="372"/>
                  </a:lnTo>
                  <a:lnTo>
                    <a:pt x="60" y="374"/>
                  </a:lnTo>
                  <a:lnTo>
                    <a:pt x="62" y="376"/>
                  </a:lnTo>
                  <a:lnTo>
                    <a:pt x="64" y="378"/>
                  </a:lnTo>
                  <a:lnTo>
                    <a:pt x="64" y="374"/>
                  </a:lnTo>
                  <a:lnTo>
                    <a:pt x="64" y="372"/>
                  </a:lnTo>
                  <a:lnTo>
                    <a:pt x="62" y="372"/>
                  </a:lnTo>
                  <a:close/>
                  <a:moveTo>
                    <a:pt x="24" y="370"/>
                  </a:moveTo>
                  <a:lnTo>
                    <a:pt x="24" y="370"/>
                  </a:lnTo>
                  <a:lnTo>
                    <a:pt x="22" y="372"/>
                  </a:lnTo>
                  <a:lnTo>
                    <a:pt x="24" y="374"/>
                  </a:lnTo>
                  <a:lnTo>
                    <a:pt x="26" y="376"/>
                  </a:lnTo>
                  <a:lnTo>
                    <a:pt x="26" y="372"/>
                  </a:lnTo>
                  <a:lnTo>
                    <a:pt x="26" y="370"/>
                  </a:lnTo>
                  <a:lnTo>
                    <a:pt x="24" y="370"/>
                  </a:lnTo>
                  <a:close/>
                  <a:moveTo>
                    <a:pt x="2" y="370"/>
                  </a:moveTo>
                  <a:lnTo>
                    <a:pt x="2" y="370"/>
                  </a:lnTo>
                  <a:lnTo>
                    <a:pt x="0" y="372"/>
                  </a:lnTo>
                  <a:lnTo>
                    <a:pt x="0" y="374"/>
                  </a:lnTo>
                  <a:lnTo>
                    <a:pt x="4" y="376"/>
                  </a:lnTo>
                  <a:lnTo>
                    <a:pt x="4" y="372"/>
                  </a:lnTo>
                  <a:lnTo>
                    <a:pt x="4" y="370"/>
                  </a:lnTo>
                  <a:lnTo>
                    <a:pt x="2" y="370"/>
                  </a:lnTo>
                  <a:close/>
                  <a:moveTo>
                    <a:pt x="92" y="364"/>
                  </a:moveTo>
                  <a:lnTo>
                    <a:pt x="92" y="364"/>
                  </a:lnTo>
                  <a:lnTo>
                    <a:pt x="88" y="370"/>
                  </a:lnTo>
                  <a:lnTo>
                    <a:pt x="88" y="372"/>
                  </a:lnTo>
                  <a:lnTo>
                    <a:pt x="92" y="372"/>
                  </a:lnTo>
                  <a:lnTo>
                    <a:pt x="94" y="368"/>
                  </a:lnTo>
                  <a:lnTo>
                    <a:pt x="94" y="366"/>
                  </a:lnTo>
                  <a:lnTo>
                    <a:pt x="92" y="364"/>
                  </a:lnTo>
                  <a:close/>
                  <a:moveTo>
                    <a:pt x="162" y="350"/>
                  </a:moveTo>
                  <a:lnTo>
                    <a:pt x="162" y="350"/>
                  </a:lnTo>
                  <a:lnTo>
                    <a:pt x="158" y="356"/>
                  </a:lnTo>
                  <a:lnTo>
                    <a:pt x="156" y="360"/>
                  </a:lnTo>
                  <a:lnTo>
                    <a:pt x="160" y="358"/>
                  </a:lnTo>
                  <a:lnTo>
                    <a:pt x="160" y="354"/>
                  </a:lnTo>
                  <a:lnTo>
                    <a:pt x="164" y="352"/>
                  </a:lnTo>
                  <a:lnTo>
                    <a:pt x="166" y="350"/>
                  </a:lnTo>
                  <a:lnTo>
                    <a:pt x="164" y="348"/>
                  </a:lnTo>
                  <a:lnTo>
                    <a:pt x="162" y="350"/>
                  </a:lnTo>
                  <a:close/>
                  <a:moveTo>
                    <a:pt x="176" y="344"/>
                  </a:moveTo>
                  <a:lnTo>
                    <a:pt x="176" y="348"/>
                  </a:lnTo>
                  <a:lnTo>
                    <a:pt x="168" y="354"/>
                  </a:lnTo>
                  <a:lnTo>
                    <a:pt x="168" y="356"/>
                  </a:lnTo>
                  <a:lnTo>
                    <a:pt x="174" y="354"/>
                  </a:lnTo>
                  <a:lnTo>
                    <a:pt x="180" y="350"/>
                  </a:lnTo>
                  <a:lnTo>
                    <a:pt x="182" y="348"/>
                  </a:lnTo>
                  <a:lnTo>
                    <a:pt x="182" y="346"/>
                  </a:lnTo>
                  <a:lnTo>
                    <a:pt x="180" y="344"/>
                  </a:lnTo>
                  <a:lnTo>
                    <a:pt x="176" y="344"/>
                  </a:lnTo>
                  <a:close/>
                  <a:moveTo>
                    <a:pt x="536" y="282"/>
                  </a:moveTo>
                  <a:lnTo>
                    <a:pt x="538" y="286"/>
                  </a:lnTo>
                  <a:lnTo>
                    <a:pt x="538" y="284"/>
                  </a:lnTo>
                  <a:lnTo>
                    <a:pt x="536" y="282"/>
                  </a:lnTo>
                  <a:close/>
                  <a:moveTo>
                    <a:pt x="542" y="276"/>
                  </a:moveTo>
                  <a:lnTo>
                    <a:pt x="542" y="276"/>
                  </a:lnTo>
                  <a:lnTo>
                    <a:pt x="544" y="278"/>
                  </a:lnTo>
                  <a:lnTo>
                    <a:pt x="546" y="280"/>
                  </a:lnTo>
                  <a:lnTo>
                    <a:pt x="542" y="278"/>
                  </a:lnTo>
                  <a:lnTo>
                    <a:pt x="540" y="276"/>
                  </a:lnTo>
                  <a:lnTo>
                    <a:pt x="542" y="276"/>
                  </a:lnTo>
                  <a:close/>
                  <a:moveTo>
                    <a:pt x="226" y="324"/>
                  </a:moveTo>
                  <a:lnTo>
                    <a:pt x="226" y="324"/>
                  </a:lnTo>
                  <a:lnTo>
                    <a:pt x="228" y="326"/>
                  </a:lnTo>
                  <a:lnTo>
                    <a:pt x="230" y="324"/>
                  </a:lnTo>
                  <a:lnTo>
                    <a:pt x="230" y="322"/>
                  </a:lnTo>
                  <a:lnTo>
                    <a:pt x="226" y="324"/>
                  </a:lnTo>
                  <a:close/>
                  <a:moveTo>
                    <a:pt x="210" y="322"/>
                  </a:moveTo>
                  <a:lnTo>
                    <a:pt x="210" y="322"/>
                  </a:lnTo>
                  <a:lnTo>
                    <a:pt x="206" y="324"/>
                  </a:lnTo>
                  <a:lnTo>
                    <a:pt x="202" y="328"/>
                  </a:lnTo>
                  <a:lnTo>
                    <a:pt x="200" y="332"/>
                  </a:lnTo>
                  <a:lnTo>
                    <a:pt x="200" y="334"/>
                  </a:lnTo>
                  <a:lnTo>
                    <a:pt x="202" y="334"/>
                  </a:lnTo>
                  <a:lnTo>
                    <a:pt x="204" y="330"/>
                  </a:lnTo>
                  <a:lnTo>
                    <a:pt x="214" y="328"/>
                  </a:lnTo>
                  <a:lnTo>
                    <a:pt x="218" y="326"/>
                  </a:lnTo>
                  <a:lnTo>
                    <a:pt x="218" y="324"/>
                  </a:lnTo>
                  <a:lnTo>
                    <a:pt x="216" y="324"/>
                  </a:lnTo>
                  <a:lnTo>
                    <a:pt x="214" y="322"/>
                  </a:lnTo>
                  <a:lnTo>
                    <a:pt x="210" y="322"/>
                  </a:lnTo>
                  <a:close/>
                  <a:moveTo>
                    <a:pt x="256" y="320"/>
                  </a:moveTo>
                  <a:lnTo>
                    <a:pt x="256" y="320"/>
                  </a:lnTo>
                  <a:lnTo>
                    <a:pt x="254" y="322"/>
                  </a:lnTo>
                  <a:lnTo>
                    <a:pt x="258" y="324"/>
                  </a:lnTo>
                  <a:lnTo>
                    <a:pt x="258" y="320"/>
                  </a:lnTo>
                  <a:lnTo>
                    <a:pt x="256" y="320"/>
                  </a:lnTo>
                  <a:close/>
                  <a:moveTo>
                    <a:pt x="248" y="314"/>
                  </a:moveTo>
                  <a:lnTo>
                    <a:pt x="250" y="318"/>
                  </a:lnTo>
                  <a:lnTo>
                    <a:pt x="250" y="316"/>
                  </a:lnTo>
                  <a:lnTo>
                    <a:pt x="248" y="314"/>
                  </a:lnTo>
                  <a:close/>
                  <a:moveTo>
                    <a:pt x="564" y="300"/>
                  </a:moveTo>
                  <a:lnTo>
                    <a:pt x="564" y="300"/>
                  </a:lnTo>
                  <a:lnTo>
                    <a:pt x="564" y="304"/>
                  </a:lnTo>
                  <a:lnTo>
                    <a:pt x="564" y="308"/>
                  </a:lnTo>
                  <a:lnTo>
                    <a:pt x="570" y="308"/>
                  </a:lnTo>
                  <a:lnTo>
                    <a:pt x="570" y="312"/>
                  </a:lnTo>
                  <a:lnTo>
                    <a:pt x="572" y="312"/>
                  </a:lnTo>
                  <a:lnTo>
                    <a:pt x="574" y="310"/>
                  </a:lnTo>
                  <a:lnTo>
                    <a:pt x="574" y="314"/>
                  </a:lnTo>
                  <a:lnTo>
                    <a:pt x="574" y="318"/>
                  </a:lnTo>
                  <a:lnTo>
                    <a:pt x="584" y="324"/>
                  </a:lnTo>
                  <a:lnTo>
                    <a:pt x="584" y="326"/>
                  </a:lnTo>
                  <a:lnTo>
                    <a:pt x="584" y="330"/>
                  </a:lnTo>
                  <a:lnTo>
                    <a:pt x="590" y="330"/>
                  </a:lnTo>
                  <a:lnTo>
                    <a:pt x="586" y="320"/>
                  </a:lnTo>
                  <a:lnTo>
                    <a:pt x="588" y="320"/>
                  </a:lnTo>
                  <a:lnTo>
                    <a:pt x="588" y="318"/>
                  </a:lnTo>
                  <a:lnTo>
                    <a:pt x="588" y="316"/>
                  </a:lnTo>
                  <a:lnTo>
                    <a:pt x="582" y="316"/>
                  </a:lnTo>
                  <a:lnTo>
                    <a:pt x="580" y="314"/>
                  </a:lnTo>
                  <a:lnTo>
                    <a:pt x="578" y="312"/>
                  </a:lnTo>
                  <a:lnTo>
                    <a:pt x="580" y="308"/>
                  </a:lnTo>
                  <a:lnTo>
                    <a:pt x="580" y="304"/>
                  </a:lnTo>
                  <a:lnTo>
                    <a:pt x="574" y="300"/>
                  </a:lnTo>
                  <a:lnTo>
                    <a:pt x="578" y="304"/>
                  </a:lnTo>
                  <a:lnTo>
                    <a:pt x="576" y="306"/>
                  </a:lnTo>
                  <a:lnTo>
                    <a:pt x="564" y="300"/>
                  </a:lnTo>
                  <a:close/>
                  <a:moveTo>
                    <a:pt x="334" y="266"/>
                  </a:moveTo>
                  <a:lnTo>
                    <a:pt x="334" y="268"/>
                  </a:lnTo>
                  <a:lnTo>
                    <a:pt x="328" y="268"/>
                  </a:lnTo>
                  <a:lnTo>
                    <a:pt x="324" y="268"/>
                  </a:lnTo>
                  <a:lnTo>
                    <a:pt x="324" y="270"/>
                  </a:lnTo>
                  <a:lnTo>
                    <a:pt x="326" y="272"/>
                  </a:lnTo>
                  <a:lnTo>
                    <a:pt x="316" y="274"/>
                  </a:lnTo>
                  <a:lnTo>
                    <a:pt x="318" y="282"/>
                  </a:lnTo>
                  <a:lnTo>
                    <a:pt x="322" y="282"/>
                  </a:lnTo>
                  <a:lnTo>
                    <a:pt x="324" y="282"/>
                  </a:lnTo>
                  <a:lnTo>
                    <a:pt x="326" y="284"/>
                  </a:lnTo>
                  <a:lnTo>
                    <a:pt x="330" y="284"/>
                  </a:lnTo>
                  <a:lnTo>
                    <a:pt x="332" y="282"/>
                  </a:lnTo>
                  <a:lnTo>
                    <a:pt x="334" y="282"/>
                  </a:lnTo>
                  <a:lnTo>
                    <a:pt x="334" y="284"/>
                  </a:lnTo>
                  <a:lnTo>
                    <a:pt x="336" y="284"/>
                  </a:lnTo>
                  <a:lnTo>
                    <a:pt x="336" y="282"/>
                  </a:lnTo>
                  <a:lnTo>
                    <a:pt x="334" y="280"/>
                  </a:lnTo>
                  <a:lnTo>
                    <a:pt x="342" y="280"/>
                  </a:lnTo>
                  <a:lnTo>
                    <a:pt x="340" y="278"/>
                  </a:lnTo>
                  <a:lnTo>
                    <a:pt x="338" y="276"/>
                  </a:lnTo>
                  <a:lnTo>
                    <a:pt x="346" y="276"/>
                  </a:lnTo>
                  <a:lnTo>
                    <a:pt x="342" y="270"/>
                  </a:lnTo>
                  <a:lnTo>
                    <a:pt x="338" y="268"/>
                  </a:lnTo>
                  <a:lnTo>
                    <a:pt x="334" y="266"/>
                  </a:lnTo>
                  <a:close/>
                  <a:moveTo>
                    <a:pt x="550" y="264"/>
                  </a:moveTo>
                  <a:lnTo>
                    <a:pt x="550" y="264"/>
                  </a:lnTo>
                  <a:lnTo>
                    <a:pt x="554" y="284"/>
                  </a:lnTo>
                  <a:lnTo>
                    <a:pt x="558" y="284"/>
                  </a:lnTo>
                  <a:lnTo>
                    <a:pt x="560" y="282"/>
                  </a:lnTo>
                  <a:lnTo>
                    <a:pt x="560" y="278"/>
                  </a:lnTo>
                  <a:lnTo>
                    <a:pt x="560" y="272"/>
                  </a:lnTo>
                  <a:lnTo>
                    <a:pt x="556" y="266"/>
                  </a:lnTo>
                  <a:lnTo>
                    <a:pt x="550" y="264"/>
                  </a:lnTo>
                  <a:close/>
                  <a:moveTo>
                    <a:pt x="338" y="254"/>
                  </a:moveTo>
                  <a:lnTo>
                    <a:pt x="338" y="254"/>
                  </a:lnTo>
                  <a:lnTo>
                    <a:pt x="336" y="260"/>
                  </a:lnTo>
                  <a:lnTo>
                    <a:pt x="334" y="264"/>
                  </a:lnTo>
                  <a:lnTo>
                    <a:pt x="336" y="264"/>
                  </a:lnTo>
                  <a:lnTo>
                    <a:pt x="340" y="260"/>
                  </a:lnTo>
                  <a:lnTo>
                    <a:pt x="346" y="258"/>
                  </a:lnTo>
                  <a:lnTo>
                    <a:pt x="338" y="254"/>
                  </a:lnTo>
                  <a:close/>
                  <a:moveTo>
                    <a:pt x="530" y="248"/>
                  </a:moveTo>
                  <a:lnTo>
                    <a:pt x="530" y="248"/>
                  </a:lnTo>
                  <a:lnTo>
                    <a:pt x="534" y="250"/>
                  </a:lnTo>
                  <a:lnTo>
                    <a:pt x="534" y="252"/>
                  </a:lnTo>
                  <a:lnTo>
                    <a:pt x="534" y="254"/>
                  </a:lnTo>
                  <a:lnTo>
                    <a:pt x="528" y="256"/>
                  </a:lnTo>
                  <a:lnTo>
                    <a:pt x="528" y="250"/>
                  </a:lnTo>
                  <a:lnTo>
                    <a:pt x="528" y="248"/>
                  </a:lnTo>
                  <a:lnTo>
                    <a:pt x="530" y="248"/>
                  </a:lnTo>
                  <a:close/>
                  <a:moveTo>
                    <a:pt x="544" y="242"/>
                  </a:moveTo>
                  <a:lnTo>
                    <a:pt x="544" y="242"/>
                  </a:lnTo>
                  <a:lnTo>
                    <a:pt x="544" y="244"/>
                  </a:lnTo>
                  <a:lnTo>
                    <a:pt x="544" y="246"/>
                  </a:lnTo>
                  <a:lnTo>
                    <a:pt x="542" y="246"/>
                  </a:lnTo>
                  <a:lnTo>
                    <a:pt x="542" y="244"/>
                  </a:lnTo>
                  <a:lnTo>
                    <a:pt x="542" y="242"/>
                  </a:lnTo>
                  <a:lnTo>
                    <a:pt x="544" y="242"/>
                  </a:lnTo>
                  <a:close/>
                  <a:moveTo>
                    <a:pt x="402" y="220"/>
                  </a:moveTo>
                  <a:lnTo>
                    <a:pt x="402" y="220"/>
                  </a:lnTo>
                  <a:lnTo>
                    <a:pt x="400" y="228"/>
                  </a:lnTo>
                  <a:lnTo>
                    <a:pt x="402" y="228"/>
                  </a:lnTo>
                  <a:lnTo>
                    <a:pt x="404" y="226"/>
                  </a:lnTo>
                  <a:lnTo>
                    <a:pt x="404" y="222"/>
                  </a:lnTo>
                  <a:lnTo>
                    <a:pt x="404" y="220"/>
                  </a:lnTo>
                  <a:lnTo>
                    <a:pt x="402" y="220"/>
                  </a:lnTo>
                  <a:close/>
                  <a:moveTo>
                    <a:pt x="186" y="218"/>
                  </a:moveTo>
                  <a:lnTo>
                    <a:pt x="182" y="222"/>
                  </a:lnTo>
                  <a:lnTo>
                    <a:pt x="180" y="222"/>
                  </a:lnTo>
                  <a:lnTo>
                    <a:pt x="178" y="220"/>
                  </a:lnTo>
                  <a:lnTo>
                    <a:pt x="176" y="222"/>
                  </a:lnTo>
                  <a:lnTo>
                    <a:pt x="174" y="224"/>
                  </a:lnTo>
                  <a:lnTo>
                    <a:pt x="180" y="226"/>
                  </a:lnTo>
                  <a:lnTo>
                    <a:pt x="184" y="228"/>
                  </a:lnTo>
                  <a:lnTo>
                    <a:pt x="190" y="228"/>
                  </a:lnTo>
                  <a:lnTo>
                    <a:pt x="194" y="224"/>
                  </a:lnTo>
                  <a:lnTo>
                    <a:pt x="194" y="222"/>
                  </a:lnTo>
                  <a:lnTo>
                    <a:pt x="194" y="220"/>
                  </a:lnTo>
                  <a:lnTo>
                    <a:pt x="186" y="218"/>
                  </a:lnTo>
                  <a:close/>
                  <a:moveTo>
                    <a:pt x="138" y="150"/>
                  </a:moveTo>
                  <a:lnTo>
                    <a:pt x="138" y="154"/>
                  </a:lnTo>
                  <a:lnTo>
                    <a:pt x="126" y="154"/>
                  </a:lnTo>
                  <a:lnTo>
                    <a:pt x="124" y="160"/>
                  </a:lnTo>
                  <a:lnTo>
                    <a:pt x="138" y="160"/>
                  </a:lnTo>
                  <a:lnTo>
                    <a:pt x="144" y="160"/>
                  </a:lnTo>
                  <a:lnTo>
                    <a:pt x="150" y="164"/>
                  </a:lnTo>
                  <a:lnTo>
                    <a:pt x="152" y="170"/>
                  </a:lnTo>
                  <a:lnTo>
                    <a:pt x="156" y="160"/>
                  </a:lnTo>
                  <a:lnTo>
                    <a:pt x="152" y="160"/>
                  </a:lnTo>
                  <a:lnTo>
                    <a:pt x="148" y="160"/>
                  </a:lnTo>
                  <a:lnTo>
                    <a:pt x="146" y="158"/>
                  </a:lnTo>
                  <a:lnTo>
                    <a:pt x="144" y="156"/>
                  </a:lnTo>
                  <a:lnTo>
                    <a:pt x="142" y="152"/>
                  </a:lnTo>
                  <a:lnTo>
                    <a:pt x="138" y="150"/>
                  </a:lnTo>
                  <a:close/>
                </a:path>
              </a:pathLst>
            </a:custGeom>
            <a:solidFill>
              <a:schemeClr val="bg1">
                <a:lumMod val="85000"/>
              </a:schemeClr>
            </a:solid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3" name="Freeform 691">
              <a:extLst>
                <a:ext uri="{FF2B5EF4-FFF2-40B4-BE49-F238E27FC236}">
                  <a16:creationId xmlns:a16="http://schemas.microsoft.com/office/drawing/2014/main" id="{12ABB62F-A8DD-40D7-8B08-F567B69637C4}"/>
                </a:ext>
              </a:extLst>
            </p:cNvPr>
            <p:cNvSpPr>
              <a:spLocks/>
            </p:cNvSpPr>
            <p:nvPr/>
          </p:nvSpPr>
          <p:spPr bwMode="gray">
            <a:xfrm>
              <a:off x="5659769" y="3281223"/>
              <a:ext cx="282502" cy="223656"/>
            </a:xfrm>
            <a:custGeom>
              <a:avLst/>
              <a:gdLst>
                <a:gd name="T0" fmla="*/ 2147483647 w 152"/>
                <a:gd name="T1" fmla="*/ 2147483647 h 122"/>
                <a:gd name="T2" fmla="*/ 2147483647 w 152"/>
                <a:gd name="T3" fmla="*/ 2147483647 h 122"/>
                <a:gd name="T4" fmla="*/ 2147483647 w 152"/>
                <a:gd name="T5" fmla="*/ 2147483647 h 122"/>
                <a:gd name="T6" fmla="*/ 2147483647 w 152"/>
                <a:gd name="T7" fmla="*/ 0 h 122"/>
                <a:gd name="T8" fmla="*/ 2147483647 w 152"/>
                <a:gd name="T9" fmla="*/ 2147483647 h 122"/>
                <a:gd name="T10" fmla="*/ 2147483647 w 152"/>
                <a:gd name="T11" fmla="*/ 2147483647 h 122"/>
                <a:gd name="T12" fmla="*/ 2147483647 w 152"/>
                <a:gd name="T13" fmla="*/ 2147483647 h 122"/>
                <a:gd name="T14" fmla="*/ 2147483647 w 152"/>
                <a:gd name="T15" fmla="*/ 2147483647 h 122"/>
                <a:gd name="T16" fmla="*/ 2147483647 w 152"/>
                <a:gd name="T17" fmla="*/ 2147483647 h 122"/>
                <a:gd name="T18" fmla="*/ 2147483647 w 152"/>
                <a:gd name="T19" fmla="*/ 2147483647 h 122"/>
                <a:gd name="T20" fmla="*/ 2147483647 w 152"/>
                <a:gd name="T21" fmla="*/ 2147483647 h 122"/>
                <a:gd name="T22" fmla="*/ 0 w 152"/>
                <a:gd name="T23" fmla="*/ 2147483647 h 122"/>
                <a:gd name="T24" fmla="*/ 2147483647 w 152"/>
                <a:gd name="T25" fmla="*/ 2147483647 h 122"/>
                <a:gd name="T26" fmla="*/ 0 w 152"/>
                <a:gd name="T27" fmla="*/ 2147483647 h 122"/>
                <a:gd name="T28" fmla="*/ 2147483647 w 152"/>
                <a:gd name="T29" fmla="*/ 2147483647 h 122"/>
                <a:gd name="T30" fmla="*/ 2147483647 w 152"/>
                <a:gd name="T31" fmla="*/ 2147483647 h 122"/>
                <a:gd name="T32" fmla="*/ 2147483647 w 152"/>
                <a:gd name="T33" fmla="*/ 2147483647 h 122"/>
                <a:gd name="T34" fmla="*/ 2147483647 w 152"/>
                <a:gd name="T35" fmla="*/ 2147483647 h 122"/>
                <a:gd name="T36" fmla="*/ 2147483647 w 152"/>
                <a:gd name="T37" fmla="*/ 2147483647 h 122"/>
                <a:gd name="T38" fmla="*/ 2147483647 w 152"/>
                <a:gd name="T39" fmla="*/ 2147483647 h 122"/>
                <a:gd name="T40" fmla="*/ 2147483647 w 152"/>
                <a:gd name="T41" fmla="*/ 2147483647 h 122"/>
                <a:gd name="T42" fmla="*/ 2147483647 w 152"/>
                <a:gd name="T43" fmla="*/ 2147483647 h 122"/>
                <a:gd name="T44" fmla="*/ 2147483647 w 152"/>
                <a:gd name="T45" fmla="*/ 2147483647 h 122"/>
                <a:gd name="T46" fmla="*/ 2147483647 w 152"/>
                <a:gd name="T47" fmla="*/ 2147483647 h 122"/>
                <a:gd name="T48" fmla="*/ 2147483647 w 152"/>
                <a:gd name="T49" fmla="*/ 2147483647 h 122"/>
                <a:gd name="T50" fmla="*/ 2147483647 w 152"/>
                <a:gd name="T51" fmla="*/ 2147483647 h 122"/>
                <a:gd name="T52" fmla="*/ 2147483647 w 152"/>
                <a:gd name="T53" fmla="*/ 2147483647 h 122"/>
                <a:gd name="T54" fmla="*/ 2147483647 w 152"/>
                <a:gd name="T55" fmla="*/ 2147483647 h 122"/>
                <a:gd name="T56" fmla="*/ 2147483647 w 152"/>
                <a:gd name="T57" fmla="*/ 2147483647 h 122"/>
                <a:gd name="T58" fmla="*/ 2147483647 w 152"/>
                <a:gd name="T59" fmla="*/ 2147483647 h 122"/>
                <a:gd name="T60" fmla="*/ 2147483647 w 152"/>
                <a:gd name="T61" fmla="*/ 2147483647 h 122"/>
                <a:gd name="T62" fmla="*/ 2147483647 w 152"/>
                <a:gd name="T63" fmla="*/ 2147483647 h 122"/>
                <a:gd name="T64" fmla="*/ 2147483647 w 152"/>
                <a:gd name="T65" fmla="*/ 2147483647 h 122"/>
                <a:gd name="T66" fmla="*/ 2147483647 w 152"/>
                <a:gd name="T67" fmla="*/ 2147483647 h 122"/>
                <a:gd name="T68" fmla="*/ 2147483647 w 152"/>
                <a:gd name="T69" fmla="*/ 2147483647 h 122"/>
                <a:gd name="T70" fmla="*/ 2147483647 w 152"/>
                <a:gd name="T71" fmla="*/ 2147483647 h 122"/>
                <a:gd name="T72" fmla="*/ 2147483647 w 152"/>
                <a:gd name="T73" fmla="*/ 2147483647 h 122"/>
                <a:gd name="T74" fmla="*/ 2147483647 w 152"/>
                <a:gd name="T75" fmla="*/ 2147483647 h 122"/>
                <a:gd name="T76" fmla="*/ 2147483647 w 152"/>
                <a:gd name="T77" fmla="*/ 2147483647 h 122"/>
                <a:gd name="T78" fmla="*/ 2147483647 w 152"/>
                <a:gd name="T79" fmla="*/ 2147483647 h 122"/>
                <a:gd name="T80" fmla="*/ 2147483647 w 152"/>
                <a:gd name="T81" fmla="*/ 2147483647 h 122"/>
                <a:gd name="T82" fmla="*/ 2147483647 w 152"/>
                <a:gd name="T83" fmla="*/ 2147483647 h 122"/>
                <a:gd name="T84" fmla="*/ 2147483647 w 152"/>
                <a:gd name="T85" fmla="*/ 2147483647 h 122"/>
                <a:gd name="T86" fmla="*/ 2147483647 w 152"/>
                <a:gd name="T87" fmla="*/ 2147483647 h 122"/>
                <a:gd name="T88" fmla="*/ 2147483647 w 152"/>
                <a:gd name="T89" fmla="*/ 2147483647 h 122"/>
                <a:gd name="T90" fmla="*/ 2147483647 w 152"/>
                <a:gd name="T91" fmla="*/ 2147483647 h 122"/>
                <a:gd name="T92" fmla="*/ 2147483647 w 152"/>
                <a:gd name="T93" fmla="*/ 2147483647 h 1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2"/>
                <a:gd name="T142" fmla="*/ 0 h 122"/>
                <a:gd name="T143" fmla="*/ 152 w 152"/>
                <a:gd name="T144" fmla="*/ 122 h 1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2" h="122">
                  <a:moveTo>
                    <a:pt x="78" y="8"/>
                  </a:moveTo>
                  <a:lnTo>
                    <a:pt x="74" y="10"/>
                  </a:lnTo>
                  <a:lnTo>
                    <a:pt x="68" y="10"/>
                  </a:lnTo>
                  <a:lnTo>
                    <a:pt x="64" y="6"/>
                  </a:lnTo>
                  <a:lnTo>
                    <a:pt x="60" y="4"/>
                  </a:lnTo>
                  <a:lnTo>
                    <a:pt x="54" y="4"/>
                  </a:lnTo>
                  <a:lnTo>
                    <a:pt x="50" y="2"/>
                  </a:lnTo>
                  <a:lnTo>
                    <a:pt x="46" y="0"/>
                  </a:lnTo>
                  <a:lnTo>
                    <a:pt x="44" y="4"/>
                  </a:lnTo>
                  <a:lnTo>
                    <a:pt x="42" y="6"/>
                  </a:lnTo>
                  <a:lnTo>
                    <a:pt x="42" y="14"/>
                  </a:lnTo>
                  <a:lnTo>
                    <a:pt x="40" y="18"/>
                  </a:lnTo>
                  <a:lnTo>
                    <a:pt x="34" y="24"/>
                  </a:lnTo>
                  <a:lnTo>
                    <a:pt x="36" y="30"/>
                  </a:lnTo>
                  <a:lnTo>
                    <a:pt x="26" y="34"/>
                  </a:lnTo>
                  <a:lnTo>
                    <a:pt x="22" y="32"/>
                  </a:lnTo>
                  <a:lnTo>
                    <a:pt x="20" y="34"/>
                  </a:lnTo>
                  <a:lnTo>
                    <a:pt x="14" y="34"/>
                  </a:lnTo>
                  <a:lnTo>
                    <a:pt x="12" y="38"/>
                  </a:lnTo>
                  <a:lnTo>
                    <a:pt x="10" y="42"/>
                  </a:lnTo>
                  <a:lnTo>
                    <a:pt x="6" y="42"/>
                  </a:lnTo>
                  <a:lnTo>
                    <a:pt x="4" y="44"/>
                  </a:lnTo>
                  <a:lnTo>
                    <a:pt x="0" y="50"/>
                  </a:lnTo>
                  <a:lnTo>
                    <a:pt x="0" y="58"/>
                  </a:lnTo>
                  <a:lnTo>
                    <a:pt x="0" y="60"/>
                  </a:lnTo>
                  <a:lnTo>
                    <a:pt x="4" y="62"/>
                  </a:lnTo>
                  <a:lnTo>
                    <a:pt x="0" y="66"/>
                  </a:lnTo>
                  <a:lnTo>
                    <a:pt x="0" y="72"/>
                  </a:lnTo>
                  <a:lnTo>
                    <a:pt x="4" y="76"/>
                  </a:lnTo>
                  <a:lnTo>
                    <a:pt x="8" y="84"/>
                  </a:lnTo>
                  <a:lnTo>
                    <a:pt x="8" y="90"/>
                  </a:lnTo>
                  <a:lnTo>
                    <a:pt x="8" y="92"/>
                  </a:lnTo>
                  <a:lnTo>
                    <a:pt x="18" y="94"/>
                  </a:lnTo>
                  <a:lnTo>
                    <a:pt x="20" y="96"/>
                  </a:lnTo>
                  <a:lnTo>
                    <a:pt x="20" y="100"/>
                  </a:lnTo>
                  <a:lnTo>
                    <a:pt x="8" y="114"/>
                  </a:lnTo>
                  <a:lnTo>
                    <a:pt x="20" y="122"/>
                  </a:lnTo>
                  <a:lnTo>
                    <a:pt x="24" y="120"/>
                  </a:lnTo>
                  <a:lnTo>
                    <a:pt x="28" y="120"/>
                  </a:lnTo>
                  <a:lnTo>
                    <a:pt x="40" y="120"/>
                  </a:lnTo>
                  <a:lnTo>
                    <a:pt x="46" y="122"/>
                  </a:lnTo>
                  <a:lnTo>
                    <a:pt x="46" y="116"/>
                  </a:lnTo>
                  <a:lnTo>
                    <a:pt x="52" y="116"/>
                  </a:lnTo>
                  <a:lnTo>
                    <a:pt x="54" y="110"/>
                  </a:lnTo>
                  <a:lnTo>
                    <a:pt x="56" y="106"/>
                  </a:lnTo>
                  <a:lnTo>
                    <a:pt x="60" y="102"/>
                  </a:lnTo>
                  <a:lnTo>
                    <a:pt x="68" y="92"/>
                  </a:lnTo>
                  <a:lnTo>
                    <a:pt x="72" y="94"/>
                  </a:lnTo>
                  <a:lnTo>
                    <a:pt x="74" y="92"/>
                  </a:lnTo>
                  <a:lnTo>
                    <a:pt x="76" y="88"/>
                  </a:lnTo>
                  <a:lnTo>
                    <a:pt x="72" y="84"/>
                  </a:lnTo>
                  <a:lnTo>
                    <a:pt x="78" y="80"/>
                  </a:lnTo>
                  <a:lnTo>
                    <a:pt x="80" y="76"/>
                  </a:lnTo>
                  <a:lnTo>
                    <a:pt x="84" y="80"/>
                  </a:lnTo>
                  <a:lnTo>
                    <a:pt x="88" y="82"/>
                  </a:lnTo>
                  <a:lnTo>
                    <a:pt x="92" y="80"/>
                  </a:lnTo>
                  <a:lnTo>
                    <a:pt x="94" y="76"/>
                  </a:lnTo>
                  <a:lnTo>
                    <a:pt x="94" y="70"/>
                  </a:lnTo>
                  <a:lnTo>
                    <a:pt x="98" y="66"/>
                  </a:lnTo>
                  <a:lnTo>
                    <a:pt x="98" y="60"/>
                  </a:lnTo>
                  <a:lnTo>
                    <a:pt x="94" y="56"/>
                  </a:lnTo>
                  <a:lnTo>
                    <a:pt x="96" y="52"/>
                  </a:lnTo>
                  <a:lnTo>
                    <a:pt x="102" y="52"/>
                  </a:lnTo>
                  <a:lnTo>
                    <a:pt x="108" y="52"/>
                  </a:lnTo>
                  <a:lnTo>
                    <a:pt x="110" y="44"/>
                  </a:lnTo>
                  <a:lnTo>
                    <a:pt x="106" y="40"/>
                  </a:lnTo>
                  <a:lnTo>
                    <a:pt x="110" y="38"/>
                  </a:lnTo>
                  <a:lnTo>
                    <a:pt x="110" y="30"/>
                  </a:lnTo>
                  <a:lnTo>
                    <a:pt x="124" y="22"/>
                  </a:lnTo>
                  <a:lnTo>
                    <a:pt x="130" y="22"/>
                  </a:lnTo>
                  <a:lnTo>
                    <a:pt x="138" y="18"/>
                  </a:lnTo>
                  <a:lnTo>
                    <a:pt x="144" y="18"/>
                  </a:lnTo>
                  <a:lnTo>
                    <a:pt x="148" y="18"/>
                  </a:lnTo>
                  <a:lnTo>
                    <a:pt x="152" y="16"/>
                  </a:lnTo>
                  <a:lnTo>
                    <a:pt x="152" y="12"/>
                  </a:lnTo>
                  <a:lnTo>
                    <a:pt x="144" y="12"/>
                  </a:lnTo>
                  <a:lnTo>
                    <a:pt x="134" y="10"/>
                  </a:lnTo>
                  <a:lnTo>
                    <a:pt x="130" y="12"/>
                  </a:lnTo>
                  <a:lnTo>
                    <a:pt x="122" y="16"/>
                  </a:lnTo>
                  <a:lnTo>
                    <a:pt x="118" y="16"/>
                  </a:lnTo>
                  <a:lnTo>
                    <a:pt x="116" y="22"/>
                  </a:lnTo>
                  <a:lnTo>
                    <a:pt x="110" y="26"/>
                  </a:lnTo>
                  <a:lnTo>
                    <a:pt x="104" y="28"/>
                  </a:lnTo>
                  <a:lnTo>
                    <a:pt x="100" y="22"/>
                  </a:lnTo>
                  <a:lnTo>
                    <a:pt x="102" y="14"/>
                  </a:lnTo>
                  <a:lnTo>
                    <a:pt x="104" y="10"/>
                  </a:lnTo>
                  <a:lnTo>
                    <a:pt x="100" y="6"/>
                  </a:lnTo>
                  <a:lnTo>
                    <a:pt x="98" y="2"/>
                  </a:lnTo>
                  <a:lnTo>
                    <a:pt x="94" y="0"/>
                  </a:lnTo>
                  <a:lnTo>
                    <a:pt x="92" y="4"/>
                  </a:lnTo>
                  <a:lnTo>
                    <a:pt x="90" y="6"/>
                  </a:lnTo>
                  <a:lnTo>
                    <a:pt x="84" y="8"/>
                  </a:lnTo>
                  <a:lnTo>
                    <a:pt x="80" y="8"/>
                  </a:lnTo>
                  <a:lnTo>
                    <a:pt x="78"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4" name="Freeform 692">
              <a:extLst>
                <a:ext uri="{FF2B5EF4-FFF2-40B4-BE49-F238E27FC236}">
                  <a16:creationId xmlns:a16="http://schemas.microsoft.com/office/drawing/2014/main" id="{58D4DE56-36AC-44A6-ABA5-07D4CB86979C}"/>
                </a:ext>
              </a:extLst>
            </p:cNvPr>
            <p:cNvSpPr>
              <a:spLocks/>
            </p:cNvSpPr>
            <p:nvPr/>
          </p:nvSpPr>
          <p:spPr bwMode="gray">
            <a:xfrm>
              <a:off x="2921853" y="5475416"/>
              <a:ext cx="9417" cy="18834"/>
            </a:xfrm>
            <a:custGeom>
              <a:avLst/>
              <a:gdLst>
                <a:gd name="T0" fmla="*/ 0 w 6"/>
                <a:gd name="T1" fmla="*/ 0 h 10"/>
                <a:gd name="T2" fmla="*/ 0 w 6"/>
                <a:gd name="T3" fmla="*/ 2147483647 h 10"/>
                <a:gd name="T4" fmla="*/ 0 w 6"/>
                <a:gd name="T5" fmla="*/ 2147483647 h 10"/>
                <a:gd name="T6" fmla="*/ 2147483647 w 6"/>
                <a:gd name="T7" fmla="*/ 2147483647 h 10"/>
                <a:gd name="T8" fmla="*/ 2147483647 w 6"/>
                <a:gd name="T9" fmla="*/ 2147483647 h 10"/>
                <a:gd name="T10" fmla="*/ 2147483647 w 6"/>
                <a:gd name="T11" fmla="*/ 2147483647 h 10"/>
                <a:gd name="T12" fmla="*/ 2147483647 w 6"/>
                <a:gd name="T13" fmla="*/ 2147483647 h 10"/>
                <a:gd name="T14" fmla="*/ 2147483647 w 6"/>
                <a:gd name="T15" fmla="*/ 2147483647 h 10"/>
                <a:gd name="T16" fmla="*/ 0 w 6"/>
                <a:gd name="T17" fmla="*/ 0 h 10"/>
                <a:gd name="T18" fmla="*/ 0 w 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0"/>
                <a:gd name="T32" fmla="*/ 6 w 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0">
                  <a:moveTo>
                    <a:pt x="0" y="0"/>
                  </a:moveTo>
                  <a:lnTo>
                    <a:pt x="0" y="8"/>
                  </a:lnTo>
                  <a:lnTo>
                    <a:pt x="2" y="8"/>
                  </a:lnTo>
                  <a:lnTo>
                    <a:pt x="6" y="10"/>
                  </a:lnTo>
                  <a:lnTo>
                    <a:pt x="6" y="4"/>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5" name="Freeform 695">
              <a:extLst>
                <a:ext uri="{FF2B5EF4-FFF2-40B4-BE49-F238E27FC236}">
                  <a16:creationId xmlns:a16="http://schemas.microsoft.com/office/drawing/2014/main" id="{AB6B3B2C-86BA-4E33-A834-A66D21019219}"/>
                </a:ext>
              </a:extLst>
            </p:cNvPr>
            <p:cNvSpPr>
              <a:spLocks/>
            </p:cNvSpPr>
            <p:nvPr/>
          </p:nvSpPr>
          <p:spPr bwMode="gray">
            <a:xfrm>
              <a:off x="6544942" y="4246479"/>
              <a:ext cx="21188" cy="7064"/>
            </a:xfrm>
            <a:custGeom>
              <a:avLst/>
              <a:gdLst>
                <a:gd name="T0" fmla="*/ 0 w 12"/>
                <a:gd name="T1" fmla="*/ 2147483647 h 4"/>
                <a:gd name="T2" fmla="*/ 2147483647 w 12"/>
                <a:gd name="T3" fmla="*/ 0 h 4"/>
                <a:gd name="T4" fmla="*/ 2147483647 w 12"/>
                <a:gd name="T5" fmla="*/ 2147483647 h 4"/>
                <a:gd name="T6" fmla="*/ 2147483647 w 12"/>
                <a:gd name="T7" fmla="*/ 2147483647 h 4"/>
                <a:gd name="T8" fmla="*/ 2147483647 w 12"/>
                <a:gd name="T9" fmla="*/ 2147483647 h 4"/>
                <a:gd name="T10" fmla="*/ 2147483647 w 12"/>
                <a:gd name="T11" fmla="*/ 2147483647 h 4"/>
                <a:gd name="T12" fmla="*/ 0 w 12"/>
                <a:gd name="T13" fmla="*/ 2147483647 h 4"/>
                <a:gd name="T14" fmla="*/ 0 w 12"/>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4"/>
                <a:gd name="T26" fmla="*/ 12 w 1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4">
                  <a:moveTo>
                    <a:pt x="0" y="4"/>
                  </a:moveTo>
                  <a:lnTo>
                    <a:pt x="4" y="0"/>
                  </a:lnTo>
                  <a:lnTo>
                    <a:pt x="12" y="2"/>
                  </a:lnTo>
                  <a:lnTo>
                    <a:pt x="6" y="4"/>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6" name="Freeform 696">
              <a:extLst>
                <a:ext uri="{FF2B5EF4-FFF2-40B4-BE49-F238E27FC236}">
                  <a16:creationId xmlns:a16="http://schemas.microsoft.com/office/drawing/2014/main" id="{98F60F91-78D2-4891-B91D-C13E35C585BD}"/>
                </a:ext>
              </a:extLst>
            </p:cNvPr>
            <p:cNvSpPr>
              <a:spLocks/>
            </p:cNvSpPr>
            <p:nvPr/>
          </p:nvSpPr>
          <p:spPr bwMode="gray">
            <a:xfrm>
              <a:off x="4682781" y="2760926"/>
              <a:ext cx="226002" cy="185990"/>
            </a:xfrm>
            <a:custGeom>
              <a:avLst/>
              <a:gdLst>
                <a:gd name="T0" fmla="*/ 2147483647 w 122"/>
                <a:gd name="T1" fmla="*/ 2147483647 h 100"/>
                <a:gd name="T2" fmla="*/ 2147483647 w 122"/>
                <a:gd name="T3" fmla="*/ 2147483647 h 100"/>
                <a:gd name="T4" fmla="*/ 2147483647 w 122"/>
                <a:gd name="T5" fmla="*/ 2147483647 h 100"/>
                <a:gd name="T6" fmla="*/ 2147483647 w 122"/>
                <a:gd name="T7" fmla="*/ 2147483647 h 100"/>
                <a:gd name="T8" fmla="*/ 2147483647 w 122"/>
                <a:gd name="T9" fmla="*/ 0 h 100"/>
                <a:gd name="T10" fmla="*/ 2147483647 w 122"/>
                <a:gd name="T11" fmla="*/ 2147483647 h 100"/>
                <a:gd name="T12" fmla="*/ 2147483647 w 122"/>
                <a:gd name="T13" fmla="*/ 2147483647 h 100"/>
                <a:gd name="T14" fmla="*/ 2147483647 w 122"/>
                <a:gd name="T15" fmla="*/ 2147483647 h 100"/>
                <a:gd name="T16" fmla="*/ 0 w 122"/>
                <a:gd name="T17" fmla="*/ 2147483647 h 100"/>
                <a:gd name="T18" fmla="*/ 2147483647 w 122"/>
                <a:gd name="T19" fmla="*/ 2147483647 h 100"/>
                <a:gd name="T20" fmla="*/ 2147483647 w 122"/>
                <a:gd name="T21" fmla="*/ 2147483647 h 100"/>
                <a:gd name="T22" fmla="*/ 2147483647 w 122"/>
                <a:gd name="T23" fmla="*/ 2147483647 h 100"/>
                <a:gd name="T24" fmla="*/ 2147483647 w 122"/>
                <a:gd name="T25" fmla="*/ 2147483647 h 100"/>
                <a:gd name="T26" fmla="*/ 2147483647 w 122"/>
                <a:gd name="T27" fmla="*/ 2147483647 h 100"/>
                <a:gd name="T28" fmla="*/ 2147483647 w 122"/>
                <a:gd name="T29" fmla="*/ 2147483647 h 100"/>
                <a:gd name="T30" fmla="*/ 2147483647 w 122"/>
                <a:gd name="T31" fmla="*/ 2147483647 h 100"/>
                <a:gd name="T32" fmla="*/ 2147483647 w 122"/>
                <a:gd name="T33" fmla="*/ 2147483647 h 100"/>
                <a:gd name="T34" fmla="*/ 2147483647 w 122"/>
                <a:gd name="T35" fmla="*/ 2147483647 h 100"/>
                <a:gd name="T36" fmla="*/ 2147483647 w 122"/>
                <a:gd name="T37" fmla="*/ 2147483647 h 100"/>
                <a:gd name="T38" fmla="*/ 2147483647 w 122"/>
                <a:gd name="T39" fmla="*/ 2147483647 h 100"/>
                <a:gd name="T40" fmla="*/ 2147483647 w 122"/>
                <a:gd name="T41" fmla="*/ 2147483647 h 100"/>
                <a:gd name="T42" fmla="*/ 2147483647 w 122"/>
                <a:gd name="T43" fmla="*/ 2147483647 h 100"/>
                <a:gd name="T44" fmla="*/ 2147483647 w 122"/>
                <a:gd name="T45" fmla="*/ 2147483647 h 100"/>
                <a:gd name="T46" fmla="*/ 2147483647 w 122"/>
                <a:gd name="T47" fmla="*/ 2147483647 h 100"/>
                <a:gd name="T48" fmla="*/ 2147483647 w 122"/>
                <a:gd name="T49" fmla="*/ 2147483647 h 100"/>
                <a:gd name="T50" fmla="*/ 2147483647 w 122"/>
                <a:gd name="T51" fmla="*/ 2147483647 h 100"/>
                <a:gd name="T52" fmla="*/ 2147483647 w 122"/>
                <a:gd name="T53" fmla="*/ 2147483647 h 100"/>
                <a:gd name="T54" fmla="*/ 2147483647 w 122"/>
                <a:gd name="T55" fmla="*/ 2147483647 h 100"/>
                <a:gd name="T56" fmla="*/ 2147483647 w 122"/>
                <a:gd name="T57" fmla="*/ 2147483647 h 100"/>
                <a:gd name="T58" fmla="*/ 2147483647 w 122"/>
                <a:gd name="T59" fmla="*/ 2147483647 h 100"/>
                <a:gd name="T60" fmla="*/ 2147483647 w 122"/>
                <a:gd name="T61" fmla="*/ 2147483647 h 100"/>
                <a:gd name="T62" fmla="*/ 2147483647 w 122"/>
                <a:gd name="T63" fmla="*/ 2147483647 h 100"/>
                <a:gd name="T64" fmla="*/ 2147483647 w 122"/>
                <a:gd name="T65" fmla="*/ 2147483647 h 100"/>
                <a:gd name="T66" fmla="*/ 2147483647 w 122"/>
                <a:gd name="T67" fmla="*/ 2147483647 h 100"/>
                <a:gd name="T68" fmla="*/ 2147483647 w 122"/>
                <a:gd name="T69" fmla="*/ 2147483647 h 100"/>
                <a:gd name="T70" fmla="*/ 2147483647 w 122"/>
                <a:gd name="T71" fmla="*/ 2147483647 h 100"/>
                <a:gd name="T72" fmla="*/ 2147483647 w 122"/>
                <a:gd name="T73" fmla="*/ 2147483647 h 100"/>
                <a:gd name="T74" fmla="*/ 2147483647 w 122"/>
                <a:gd name="T75" fmla="*/ 2147483647 h 100"/>
                <a:gd name="T76" fmla="*/ 2147483647 w 122"/>
                <a:gd name="T77" fmla="*/ 2147483647 h 100"/>
                <a:gd name="T78" fmla="*/ 2147483647 w 122"/>
                <a:gd name="T79" fmla="*/ 2147483647 h 100"/>
                <a:gd name="T80" fmla="*/ 2147483647 w 122"/>
                <a:gd name="T81" fmla="*/ 2147483647 h 100"/>
                <a:gd name="T82" fmla="*/ 2147483647 w 122"/>
                <a:gd name="T83" fmla="*/ 2147483647 h 100"/>
                <a:gd name="T84" fmla="*/ 2147483647 w 122"/>
                <a:gd name="T85" fmla="*/ 2147483647 h 100"/>
                <a:gd name="T86" fmla="*/ 2147483647 w 122"/>
                <a:gd name="T87" fmla="*/ 2147483647 h 100"/>
                <a:gd name="T88" fmla="*/ 2147483647 w 122"/>
                <a:gd name="T89" fmla="*/ 2147483647 h 100"/>
                <a:gd name="T90" fmla="*/ 2147483647 w 122"/>
                <a:gd name="T91" fmla="*/ 2147483647 h 100"/>
                <a:gd name="T92" fmla="*/ 2147483647 w 122"/>
                <a:gd name="T93" fmla="*/ 2147483647 h 100"/>
                <a:gd name="T94" fmla="*/ 2147483647 w 122"/>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2"/>
                <a:gd name="T145" fmla="*/ 0 h 100"/>
                <a:gd name="T146" fmla="*/ 122 w 122"/>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2" h="100">
                  <a:moveTo>
                    <a:pt x="62" y="6"/>
                  </a:moveTo>
                  <a:lnTo>
                    <a:pt x="62" y="6"/>
                  </a:lnTo>
                  <a:lnTo>
                    <a:pt x="60" y="6"/>
                  </a:lnTo>
                  <a:lnTo>
                    <a:pt x="60" y="4"/>
                  </a:lnTo>
                  <a:lnTo>
                    <a:pt x="58" y="4"/>
                  </a:lnTo>
                  <a:lnTo>
                    <a:pt x="54" y="6"/>
                  </a:lnTo>
                  <a:lnTo>
                    <a:pt x="50" y="8"/>
                  </a:lnTo>
                  <a:lnTo>
                    <a:pt x="48" y="4"/>
                  </a:lnTo>
                  <a:lnTo>
                    <a:pt x="50" y="4"/>
                  </a:lnTo>
                  <a:lnTo>
                    <a:pt x="50" y="2"/>
                  </a:lnTo>
                  <a:lnTo>
                    <a:pt x="48" y="0"/>
                  </a:lnTo>
                  <a:lnTo>
                    <a:pt x="44" y="0"/>
                  </a:lnTo>
                  <a:lnTo>
                    <a:pt x="36" y="2"/>
                  </a:lnTo>
                  <a:lnTo>
                    <a:pt x="28" y="6"/>
                  </a:lnTo>
                  <a:lnTo>
                    <a:pt x="18" y="12"/>
                  </a:lnTo>
                  <a:lnTo>
                    <a:pt x="8" y="14"/>
                  </a:lnTo>
                  <a:lnTo>
                    <a:pt x="2" y="14"/>
                  </a:lnTo>
                  <a:lnTo>
                    <a:pt x="2" y="18"/>
                  </a:lnTo>
                  <a:lnTo>
                    <a:pt x="0" y="24"/>
                  </a:lnTo>
                  <a:lnTo>
                    <a:pt x="0" y="26"/>
                  </a:lnTo>
                  <a:lnTo>
                    <a:pt x="2" y="30"/>
                  </a:lnTo>
                  <a:lnTo>
                    <a:pt x="2" y="32"/>
                  </a:lnTo>
                  <a:lnTo>
                    <a:pt x="2" y="40"/>
                  </a:lnTo>
                  <a:lnTo>
                    <a:pt x="4" y="44"/>
                  </a:lnTo>
                  <a:lnTo>
                    <a:pt x="4" y="46"/>
                  </a:lnTo>
                  <a:lnTo>
                    <a:pt x="6" y="62"/>
                  </a:lnTo>
                  <a:lnTo>
                    <a:pt x="8" y="64"/>
                  </a:lnTo>
                  <a:lnTo>
                    <a:pt x="14" y="64"/>
                  </a:lnTo>
                  <a:lnTo>
                    <a:pt x="18" y="66"/>
                  </a:lnTo>
                  <a:lnTo>
                    <a:pt x="18" y="68"/>
                  </a:lnTo>
                  <a:lnTo>
                    <a:pt x="20" y="68"/>
                  </a:lnTo>
                  <a:lnTo>
                    <a:pt x="22" y="66"/>
                  </a:lnTo>
                  <a:lnTo>
                    <a:pt x="24" y="68"/>
                  </a:lnTo>
                  <a:lnTo>
                    <a:pt x="28" y="72"/>
                  </a:lnTo>
                  <a:lnTo>
                    <a:pt x="32" y="74"/>
                  </a:lnTo>
                  <a:lnTo>
                    <a:pt x="36" y="72"/>
                  </a:lnTo>
                  <a:lnTo>
                    <a:pt x="38" y="74"/>
                  </a:lnTo>
                  <a:lnTo>
                    <a:pt x="38" y="76"/>
                  </a:lnTo>
                  <a:lnTo>
                    <a:pt x="40" y="78"/>
                  </a:lnTo>
                  <a:lnTo>
                    <a:pt x="42" y="78"/>
                  </a:lnTo>
                  <a:lnTo>
                    <a:pt x="44" y="82"/>
                  </a:lnTo>
                  <a:lnTo>
                    <a:pt x="46" y="84"/>
                  </a:lnTo>
                  <a:lnTo>
                    <a:pt x="50" y="86"/>
                  </a:lnTo>
                  <a:lnTo>
                    <a:pt x="54" y="84"/>
                  </a:lnTo>
                  <a:lnTo>
                    <a:pt x="58" y="86"/>
                  </a:lnTo>
                  <a:lnTo>
                    <a:pt x="64" y="88"/>
                  </a:lnTo>
                  <a:lnTo>
                    <a:pt x="68" y="90"/>
                  </a:lnTo>
                  <a:lnTo>
                    <a:pt x="70" y="90"/>
                  </a:lnTo>
                  <a:lnTo>
                    <a:pt x="72" y="88"/>
                  </a:lnTo>
                  <a:lnTo>
                    <a:pt x="74" y="86"/>
                  </a:lnTo>
                  <a:lnTo>
                    <a:pt x="78" y="86"/>
                  </a:lnTo>
                  <a:lnTo>
                    <a:pt x="84" y="82"/>
                  </a:lnTo>
                  <a:lnTo>
                    <a:pt x="86" y="80"/>
                  </a:lnTo>
                  <a:lnTo>
                    <a:pt x="90" y="82"/>
                  </a:lnTo>
                  <a:lnTo>
                    <a:pt x="94" y="84"/>
                  </a:lnTo>
                  <a:lnTo>
                    <a:pt x="98" y="86"/>
                  </a:lnTo>
                  <a:lnTo>
                    <a:pt x="100" y="88"/>
                  </a:lnTo>
                  <a:lnTo>
                    <a:pt x="102" y="90"/>
                  </a:lnTo>
                  <a:lnTo>
                    <a:pt x="104" y="92"/>
                  </a:lnTo>
                  <a:lnTo>
                    <a:pt x="106" y="96"/>
                  </a:lnTo>
                  <a:lnTo>
                    <a:pt x="108" y="100"/>
                  </a:lnTo>
                  <a:lnTo>
                    <a:pt x="110" y="100"/>
                  </a:lnTo>
                  <a:lnTo>
                    <a:pt x="114" y="100"/>
                  </a:lnTo>
                  <a:lnTo>
                    <a:pt x="116" y="98"/>
                  </a:lnTo>
                  <a:lnTo>
                    <a:pt x="118" y="96"/>
                  </a:lnTo>
                  <a:lnTo>
                    <a:pt x="116" y="92"/>
                  </a:lnTo>
                  <a:lnTo>
                    <a:pt x="116" y="88"/>
                  </a:lnTo>
                  <a:lnTo>
                    <a:pt x="118" y="82"/>
                  </a:lnTo>
                  <a:lnTo>
                    <a:pt x="122" y="74"/>
                  </a:lnTo>
                  <a:lnTo>
                    <a:pt x="120" y="70"/>
                  </a:lnTo>
                  <a:lnTo>
                    <a:pt x="118" y="68"/>
                  </a:lnTo>
                  <a:lnTo>
                    <a:pt x="118" y="66"/>
                  </a:lnTo>
                  <a:lnTo>
                    <a:pt x="120" y="62"/>
                  </a:lnTo>
                  <a:lnTo>
                    <a:pt x="120" y="58"/>
                  </a:lnTo>
                  <a:lnTo>
                    <a:pt x="120" y="56"/>
                  </a:lnTo>
                  <a:lnTo>
                    <a:pt x="120" y="54"/>
                  </a:lnTo>
                  <a:lnTo>
                    <a:pt x="118" y="48"/>
                  </a:lnTo>
                  <a:lnTo>
                    <a:pt x="118" y="46"/>
                  </a:lnTo>
                  <a:lnTo>
                    <a:pt x="120" y="46"/>
                  </a:lnTo>
                  <a:lnTo>
                    <a:pt x="120" y="36"/>
                  </a:lnTo>
                  <a:lnTo>
                    <a:pt x="122" y="32"/>
                  </a:lnTo>
                  <a:lnTo>
                    <a:pt x="122" y="28"/>
                  </a:lnTo>
                  <a:lnTo>
                    <a:pt x="122" y="26"/>
                  </a:lnTo>
                  <a:lnTo>
                    <a:pt x="120" y="20"/>
                  </a:lnTo>
                  <a:lnTo>
                    <a:pt x="118" y="16"/>
                  </a:lnTo>
                  <a:lnTo>
                    <a:pt x="120" y="16"/>
                  </a:lnTo>
                  <a:lnTo>
                    <a:pt x="116" y="14"/>
                  </a:lnTo>
                  <a:lnTo>
                    <a:pt x="108" y="12"/>
                  </a:lnTo>
                  <a:lnTo>
                    <a:pt x="102" y="12"/>
                  </a:lnTo>
                  <a:lnTo>
                    <a:pt x="96" y="14"/>
                  </a:lnTo>
                  <a:lnTo>
                    <a:pt x="90" y="14"/>
                  </a:lnTo>
                  <a:lnTo>
                    <a:pt x="84" y="12"/>
                  </a:lnTo>
                  <a:lnTo>
                    <a:pt x="76" y="12"/>
                  </a:lnTo>
                  <a:lnTo>
                    <a:pt x="66" y="8"/>
                  </a:lnTo>
                  <a:lnTo>
                    <a:pt x="62" y="4"/>
                  </a:lnTo>
                  <a:lnTo>
                    <a:pt x="62" y="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7" name="Freeform 697">
              <a:extLst>
                <a:ext uri="{FF2B5EF4-FFF2-40B4-BE49-F238E27FC236}">
                  <a16:creationId xmlns:a16="http://schemas.microsoft.com/office/drawing/2014/main" id="{2B6AACCB-1700-4C2F-867E-67EEB7B86AA5}"/>
                </a:ext>
              </a:extLst>
            </p:cNvPr>
            <p:cNvSpPr>
              <a:spLocks/>
            </p:cNvSpPr>
            <p:nvPr/>
          </p:nvSpPr>
          <p:spPr bwMode="gray">
            <a:xfrm>
              <a:off x="3072522" y="4795028"/>
              <a:ext cx="167147" cy="221302"/>
            </a:xfrm>
            <a:custGeom>
              <a:avLst/>
              <a:gdLst>
                <a:gd name="T0" fmla="*/ 2147483647 w 90"/>
                <a:gd name="T1" fmla="*/ 2147483647 h 120"/>
                <a:gd name="T2" fmla="*/ 2147483647 w 90"/>
                <a:gd name="T3" fmla="*/ 2147483647 h 120"/>
                <a:gd name="T4" fmla="*/ 2147483647 w 90"/>
                <a:gd name="T5" fmla="*/ 2147483647 h 120"/>
                <a:gd name="T6" fmla="*/ 2147483647 w 90"/>
                <a:gd name="T7" fmla="*/ 2147483647 h 120"/>
                <a:gd name="T8" fmla="*/ 2147483647 w 90"/>
                <a:gd name="T9" fmla="*/ 2147483647 h 120"/>
                <a:gd name="T10" fmla="*/ 0 w 90"/>
                <a:gd name="T11" fmla="*/ 2147483647 h 120"/>
                <a:gd name="T12" fmla="*/ 2147483647 w 90"/>
                <a:gd name="T13" fmla="*/ 2147483647 h 120"/>
                <a:gd name="T14" fmla="*/ 2147483647 w 90"/>
                <a:gd name="T15" fmla="*/ 2147483647 h 120"/>
                <a:gd name="T16" fmla="*/ 2147483647 w 90"/>
                <a:gd name="T17" fmla="*/ 2147483647 h 120"/>
                <a:gd name="T18" fmla="*/ 2147483647 w 90"/>
                <a:gd name="T19" fmla="*/ 2147483647 h 120"/>
                <a:gd name="T20" fmla="*/ 2147483647 w 90"/>
                <a:gd name="T21" fmla="*/ 2147483647 h 120"/>
                <a:gd name="T22" fmla="*/ 2147483647 w 90"/>
                <a:gd name="T23" fmla="*/ 2147483647 h 120"/>
                <a:gd name="T24" fmla="*/ 2147483647 w 90"/>
                <a:gd name="T25" fmla="*/ 2147483647 h 120"/>
                <a:gd name="T26" fmla="*/ 2147483647 w 90"/>
                <a:gd name="T27" fmla="*/ 2147483647 h 120"/>
                <a:gd name="T28" fmla="*/ 2147483647 w 90"/>
                <a:gd name="T29" fmla="*/ 2147483647 h 120"/>
                <a:gd name="T30" fmla="*/ 2147483647 w 90"/>
                <a:gd name="T31" fmla="*/ 2147483647 h 120"/>
                <a:gd name="T32" fmla="*/ 2147483647 w 90"/>
                <a:gd name="T33" fmla="*/ 2147483647 h 120"/>
                <a:gd name="T34" fmla="*/ 2147483647 w 90"/>
                <a:gd name="T35" fmla="*/ 2147483647 h 120"/>
                <a:gd name="T36" fmla="*/ 2147483647 w 90"/>
                <a:gd name="T37" fmla="*/ 2147483647 h 120"/>
                <a:gd name="T38" fmla="*/ 2147483647 w 90"/>
                <a:gd name="T39" fmla="*/ 2147483647 h 120"/>
                <a:gd name="T40" fmla="*/ 2147483647 w 90"/>
                <a:gd name="T41" fmla="*/ 2147483647 h 120"/>
                <a:gd name="T42" fmla="*/ 2147483647 w 90"/>
                <a:gd name="T43" fmla="*/ 2147483647 h 120"/>
                <a:gd name="T44" fmla="*/ 2147483647 w 90"/>
                <a:gd name="T45" fmla="*/ 2147483647 h 120"/>
                <a:gd name="T46" fmla="*/ 2147483647 w 90"/>
                <a:gd name="T47" fmla="*/ 2147483647 h 120"/>
                <a:gd name="T48" fmla="*/ 2147483647 w 90"/>
                <a:gd name="T49" fmla="*/ 2147483647 h 120"/>
                <a:gd name="T50" fmla="*/ 2147483647 w 90"/>
                <a:gd name="T51" fmla="*/ 2147483647 h 120"/>
                <a:gd name="T52" fmla="*/ 2147483647 w 90"/>
                <a:gd name="T53" fmla="*/ 2147483647 h 120"/>
                <a:gd name="T54" fmla="*/ 2147483647 w 90"/>
                <a:gd name="T55" fmla="*/ 2147483647 h 120"/>
                <a:gd name="T56" fmla="*/ 2147483647 w 90"/>
                <a:gd name="T57" fmla="*/ 2147483647 h 120"/>
                <a:gd name="T58" fmla="*/ 2147483647 w 90"/>
                <a:gd name="T59" fmla="*/ 2147483647 h 120"/>
                <a:gd name="T60" fmla="*/ 2147483647 w 90"/>
                <a:gd name="T61" fmla="*/ 2147483647 h 120"/>
                <a:gd name="T62" fmla="*/ 2147483647 w 90"/>
                <a:gd name="T63" fmla="*/ 2147483647 h 120"/>
                <a:gd name="T64" fmla="*/ 2147483647 w 90"/>
                <a:gd name="T65" fmla="*/ 2147483647 h 120"/>
                <a:gd name="T66" fmla="*/ 2147483647 w 90"/>
                <a:gd name="T67" fmla="*/ 2147483647 h 120"/>
                <a:gd name="T68" fmla="*/ 2147483647 w 90"/>
                <a:gd name="T69" fmla="*/ 2147483647 h 120"/>
                <a:gd name="T70" fmla="*/ 2147483647 w 90"/>
                <a:gd name="T71" fmla="*/ 2147483647 h 120"/>
                <a:gd name="T72" fmla="*/ 2147483647 w 90"/>
                <a:gd name="T73" fmla="*/ 2147483647 h 120"/>
                <a:gd name="T74" fmla="*/ 2147483647 w 90"/>
                <a:gd name="T75" fmla="*/ 2147483647 h 120"/>
                <a:gd name="T76" fmla="*/ 2147483647 w 90"/>
                <a:gd name="T77" fmla="*/ 2147483647 h 120"/>
                <a:gd name="T78" fmla="*/ 2147483647 w 90"/>
                <a:gd name="T79" fmla="*/ 2147483647 h 120"/>
                <a:gd name="T80" fmla="*/ 2147483647 w 90"/>
                <a:gd name="T81" fmla="*/ 2147483647 h 120"/>
                <a:gd name="T82" fmla="*/ 2147483647 w 90"/>
                <a:gd name="T83" fmla="*/ 2147483647 h 120"/>
                <a:gd name="T84" fmla="*/ 2147483647 w 90"/>
                <a:gd name="T85" fmla="*/ 2147483647 h 120"/>
                <a:gd name="T86" fmla="*/ 2147483647 w 90"/>
                <a:gd name="T87" fmla="*/ 2147483647 h 120"/>
                <a:gd name="T88" fmla="*/ 2147483647 w 90"/>
                <a:gd name="T89" fmla="*/ 2147483647 h 120"/>
                <a:gd name="T90" fmla="*/ 2147483647 w 90"/>
                <a:gd name="T91" fmla="*/ 2147483647 h 120"/>
                <a:gd name="T92" fmla="*/ 2147483647 w 90"/>
                <a:gd name="T93" fmla="*/ 2147483647 h 120"/>
                <a:gd name="T94" fmla="*/ 2147483647 w 90"/>
                <a:gd name="T95" fmla="*/ 2147483647 h 120"/>
                <a:gd name="T96" fmla="*/ 2147483647 w 90"/>
                <a:gd name="T97" fmla="*/ 2147483647 h 120"/>
                <a:gd name="T98" fmla="*/ 2147483647 w 90"/>
                <a:gd name="T99" fmla="*/ 2147483647 h 120"/>
                <a:gd name="T100" fmla="*/ 2147483647 w 90"/>
                <a:gd name="T101" fmla="*/ 2147483647 h 120"/>
                <a:gd name="T102" fmla="*/ 2147483647 w 90"/>
                <a:gd name="T103" fmla="*/ 2147483647 h 120"/>
                <a:gd name="T104" fmla="*/ 2147483647 w 90"/>
                <a:gd name="T105" fmla="*/ 2147483647 h 120"/>
                <a:gd name="T106" fmla="*/ 2147483647 w 90"/>
                <a:gd name="T107" fmla="*/ 2147483647 h 120"/>
                <a:gd name="T108" fmla="*/ 2147483647 w 90"/>
                <a:gd name="T109" fmla="*/ 2147483647 h 1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
                <a:gd name="T166" fmla="*/ 0 h 120"/>
                <a:gd name="T167" fmla="*/ 90 w 90"/>
                <a:gd name="T168" fmla="*/ 120 h 1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 h="120">
                  <a:moveTo>
                    <a:pt x="46" y="8"/>
                  </a:moveTo>
                  <a:lnTo>
                    <a:pt x="42" y="2"/>
                  </a:lnTo>
                  <a:lnTo>
                    <a:pt x="32" y="0"/>
                  </a:lnTo>
                  <a:lnTo>
                    <a:pt x="18" y="2"/>
                  </a:lnTo>
                  <a:lnTo>
                    <a:pt x="14" y="6"/>
                  </a:lnTo>
                  <a:lnTo>
                    <a:pt x="12" y="12"/>
                  </a:lnTo>
                  <a:lnTo>
                    <a:pt x="10" y="16"/>
                  </a:lnTo>
                  <a:lnTo>
                    <a:pt x="8" y="20"/>
                  </a:lnTo>
                  <a:lnTo>
                    <a:pt x="8" y="24"/>
                  </a:lnTo>
                  <a:lnTo>
                    <a:pt x="0" y="40"/>
                  </a:lnTo>
                  <a:lnTo>
                    <a:pt x="8" y="44"/>
                  </a:lnTo>
                  <a:lnTo>
                    <a:pt x="10" y="50"/>
                  </a:lnTo>
                  <a:lnTo>
                    <a:pt x="12" y="52"/>
                  </a:lnTo>
                  <a:lnTo>
                    <a:pt x="14" y="54"/>
                  </a:lnTo>
                  <a:lnTo>
                    <a:pt x="18" y="56"/>
                  </a:lnTo>
                  <a:lnTo>
                    <a:pt x="20" y="60"/>
                  </a:lnTo>
                  <a:lnTo>
                    <a:pt x="22" y="64"/>
                  </a:lnTo>
                  <a:lnTo>
                    <a:pt x="22" y="66"/>
                  </a:lnTo>
                  <a:lnTo>
                    <a:pt x="24" y="68"/>
                  </a:lnTo>
                  <a:lnTo>
                    <a:pt x="28" y="70"/>
                  </a:lnTo>
                  <a:lnTo>
                    <a:pt x="32" y="74"/>
                  </a:lnTo>
                  <a:lnTo>
                    <a:pt x="34" y="76"/>
                  </a:lnTo>
                  <a:lnTo>
                    <a:pt x="36" y="76"/>
                  </a:lnTo>
                  <a:lnTo>
                    <a:pt x="38" y="76"/>
                  </a:lnTo>
                  <a:lnTo>
                    <a:pt x="44" y="80"/>
                  </a:lnTo>
                  <a:lnTo>
                    <a:pt x="46" y="84"/>
                  </a:lnTo>
                  <a:lnTo>
                    <a:pt x="50" y="88"/>
                  </a:lnTo>
                  <a:lnTo>
                    <a:pt x="52" y="90"/>
                  </a:lnTo>
                  <a:lnTo>
                    <a:pt x="52" y="92"/>
                  </a:lnTo>
                  <a:lnTo>
                    <a:pt x="52" y="98"/>
                  </a:lnTo>
                  <a:lnTo>
                    <a:pt x="50" y="104"/>
                  </a:lnTo>
                  <a:lnTo>
                    <a:pt x="46" y="108"/>
                  </a:lnTo>
                  <a:lnTo>
                    <a:pt x="42" y="116"/>
                  </a:lnTo>
                  <a:lnTo>
                    <a:pt x="42" y="118"/>
                  </a:lnTo>
                  <a:lnTo>
                    <a:pt x="46" y="118"/>
                  </a:lnTo>
                  <a:lnTo>
                    <a:pt x="50" y="118"/>
                  </a:lnTo>
                  <a:lnTo>
                    <a:pt x="54" y="118"/>
                  </a:lnTo>
                  <a:lnTo>
                    <a:pt x="58" y="120"/>
                  </a:lnTo>
                  <a:lnTo>
                    <a:pt x="62" y="120"/>
                  </a:lnTo>
                  <a:lnTo>
                    <a:pt x="72" y="120"/>
                  </a:lnTo>
                  <a:lnTo>
                    <a:pt x="76" y="120"/>
                  </a:lnTo>
                  <a:lnTo>
                    <a:pt x="78" y="120"/>
                  </a:lnTo>
                  <a:lnTo>
                    <a:pt x="80" y="118"/>
                  </a:lnTo>
                  <a:lnTo>
                    <a:pt x="82" y="114"/>
                  </a:lnTo>
                  <a:lnTo>
                    <a:pt x="84" y="110"/>
                  </a:lnTo>
                  <a:lnTo>
                    <a:pt x="86" y="106"/>
                  </a:lnTo>
                  <a:lnTo>
                    <a:pt x="86" y="100"/>
                  </a:lnTo>
                  <a:lnTo>
                    <a:pt x="86" y="96"/>
                  </a:lnTo>
                  <a:lnTo>
                    <a:pt x="88" y="94"/>
                  </a:lnTo>
                  <a:lnTo>
                    <a:pt x="88" y="88"/>
                  </a:lnTo>
                  <a:lnTo>
                    <a:pt x="88" y="80"/>
                  </a:lnTo>
                  <a:lnTo>
                    <a:pt x="90" y="74"/>
                  </a:lnTo>
                  <a:lnTo>
                    <a:pt x="90" y="68"/>
                  </a:lnTo>
                  <a:lnTo>
                    <a:pt x="88" y="68"/>
                  </a:lnTo>
                  <a:lnTo>
                    <a:pt x="84" y="70"/>
                  </a:lnTo>
                  <a:lnTo>
                    <a:pt x="82" y="70"/>
                  </a:lnTo>
                  <a:lnTo>
                    <a:pt x="82" y="68"/>
                  </a:lnTo>
                  <a:lnTo>
                    <a:pt x="82" y="64"/>
                  </a:lnTo>
                  <a:lnTo>
                    <a:pt x="82" y="50"/>
                  </a:lnTo>
                  <a:lnTo>
                    <a:pt x="80" y="46"/>
                  </a:lnTo>
                  <a:lnTo>
                    <a:pt x="76" y="44"/>
                  </a:lnTo>
                  <a:lnTo>
                    <a:pt x="74" y="44"/>
                  </a:lnTo>
                  <a:lnTo>
                    <a:pt x="72" y="42"/>
                  </a:lnTo>
                  <a:lnTo>
                    <a:pt x="72" y="40"/>
                  </a:lnTo>
                  <a:lnTo>
                    <a:pt x="70" y="38"/>
                  </a:lnTo>
                  <a:lnTo>
                    <a:pt x="68" y="40"/>
                  </a:lnTo>
                  <a:lnTo>
                    <a:pt x="60" y="40"/>
                  </a:lnTo>
                  <a:lnTo>
                    <a:pt x="56" y="38"/>
                  </a:lnTo>
                  <a:lnTo>
                    <a:pt x="54" y="36"/>
                  </a:lnTo>
                  <a:lnTo>
                    <a:pt x="54" y="32"/>
                  </a:lnTo>
                  <a:lnTo>
                    <a:pt x="52" y="26"/>
                  </a:lnTo>
                  <a:lnTo>
                    <a:pt x="54" y="20"/>
                  </a:lnTo>
                  <a:lnTo>
                    <a:pt x="52" y="16"/>
                  </a:lnTo>
                  <a:lnTo>
                    <a:pt x="50" y="12"/>
                  </a:lnTo>
                  <a:lnTo>
                    <a:pt x="46"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8" name="Freeform 698">
              <a:extLst>
                <a:ext uri="{FF2B5EF4-FFF2-40B4-BE49-F238E27FC236}">
                  <a16:creationId xmlns:a16="http://schemas.microsoft.com/office/drawing/2014/main" id="{D747B2AD-0A8A-4274-91F0-4DCDAAB126FE}"/>
                </a:ext>
              </a:extLst>
            </p:cNvPr>
            <p:cNvSpPr>
              <a:spLocks noEditPoints="1"/>
            </p:cNvSpPr>
            <p:nvPr/>
          </p:nvSpPr>
          <p:spPr bwMode="gray">
            <a:xfrm>
              <a:off x="2559309" y="3902754"/>
              <a:ext cx="84751" cy="98881"/>
            </a:xfrm>
            <a:custGeom>
              <a:avLst/>
              <a:gdLst>
                <a:gd name="T0" fmla="*/ 2147483647 w 46"/>
                <a:gd name="T1" fmla="*/ 2147483647 h 54"/>
                <a:gd name="T2" fmla="*/ 2147483647 w 46"/>
                <a:gd name="T3" fmla="*/ 2147483647 h 54"/>
                <a:gd name="T4" fmla="*/ 2147483647 w 46"/>
                <a:gd name="T5" fmla="*/ 2147483647 h 54"/>
                <a:gd name="T6" fmla="*/ 2147483647 w 46"/>
                <a:gd name="T7" fmla="*/ 2147483647 h 54"/>
                <a:gd name="T8" fmla="*/ 2147483647 w 46"/>
                <a:gd name="T9" fmla="*/ 2147483647 h 54"/>
                <a:gd name="T10" fmla="*/ 2147483647 w 46"/>
                <a:gd name="T11" fmla="*/ 2147483647 h 54"/>
                <a:gd name="T12" fmla="*/ 2147483647 w 46"/>
                <a:gd name="T13" fmla="*/ 2147483647 h 54"/>
                <a:gd name="T14" fmla="*/ 2147483647 w 46"/>
                <a:gd name="T15" fmla="*/ 2147483647 h 54"/>
                <a:gd name="T16" fmla="*/ 2147483647 w 46"/>
                <a:gd name="T17" fmla="*/ 2147483647 h 54"/>
                <a:gd name="T18" fmla="*/ 2147483647 w 46"/>
                <a:gd name="T19" fmla="*/ 2147483647 h 54"/>
                <a:gd name="T20" fmla="*/ 2147483647 w 46"/>
                <a:gd name="T21" fmla="*/ 2147483647 h 54"/>
                <a:gd name="T22" fmla="*/ 2147483647 w 46"/>
                <a:gd name="T23" fmla="*/ 2147483647 h 54"/>
                <a:gd name="T24" fmla="*/ 2147483647 w 46"/>
                <a:gd name="T25" fmla="*/ 2147483647 h 54"/>
                <a:gd name="T26" fmla="*/ 2147483647 w 46"/>
                <a:gd name="T27" fmla="*/ 2147483647 h 54"/>
                <a:gd name="T28" fmla="*/ 2147483647 w 46"/>
                <a:gd name="T29" fmla="*/ 2147483647 h 54"/>
                <a:gd name="T30" fmla="*/ 2147483647 w 46"/>
                <a:gd name="T31" fmla="*/ 2147483647 h 54"/>
                <a:gd name="T32" fmla="*/ 2147483647 w 46"/>
                <a:gd name="T33" fmla="*/ 2147483647 h 54"/>
                <a:gd name="T34" fmla="*/ 2147483647 w 46"/>
                <a:gd name="T35" fmla="*/ 2147483647 h 54"/>
                <a:gd name="T36" fmla="*/ 2147483647 w 46"/>
                <a:gd name="T37" fmla="*/ 2147483647 h 54"/>
                <a:gd name="T38" fmla="*/ 0 w 46"/>
                <a:gd name="T39" fmla="*/ 2147483647 h 54"/>
                <a:gd name="T40" fmla="*/ 0 w 46"/>
                <a:gd name="T41" fmla="*/ 2147483647 h 54"/>
                <a:gd name="T42" fmla="*/ 0 w 46"/>
                <a:gd name="T43" fmla="*/ 2147483647 h 54"/>
                <a:gd name="T44" fmla="*/ 2147483647 w 46"/>
                <a:gd name="T45" fmla="*/ 2147483647 h 54"/>
                <a:gd name="T46" fmla="*/ 2147483647 w 46"/>
                <a:gd name="T47" fmla="*/ 2147483647 h 54"/>
                <a:gd name="T48" fmla="*/ 2147483647 w 46"/>
                <a:gd name="T49" fmla="*/ 2147483647 h 54"/>
                <a:gd name="T50" fmla="*/ 2147483647 w 46"/>
                <a:gd name="T51" fmla="*/ 2147483647 h 54"/>
                <a:gd name="T52" fmla="*/ 2147483647 w 46"/>
                <a:gd name="T53" fmla="*/ 2147483647 h 54"/>
                <a:gd name="T54" fmla="*/ 2147483647 w 46"/>
                <a:gd name="T55" fmla="*/ 2147483647 h 54"/>
                <a:gd name="T56" fmla="*/ 2147483647 w 46"/>
                <a:gd name="T57" fmla="*/ 2147483647 h 54"/>
                <a:gd name="T58" fmla="*/ 2147483647 w 46"/>
                <a:gd name="T59" fmla="*/ 2147483647 h 54"/>
                <a:gd name="T60" fmla="*/ 2147483647 w 46"/>
                <a:gd name="T61" fmla="*/ 2147483647 h 54"/>
                <a:gd name="T62" fmla="*/ 2147483647 w 46"/>
                <a:gd name="T63" fmla="*/ 2147483647 h 54"/>
                <a:gd name="T64" fmla="*/ 2147483647 w 46"/>
                <a:gd name="T65" fmla="*/ 2147483647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54"/>
                <a:gd name="T101" fmla="*/ 46 w 46"/>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54">
                  <a:moveTo>
                    <a:pt x="18" y="48"/>
                  </a:moveTo>
                  <a:lnTo>
                    <a:pt x="18" y="48"/>
                  </a:lnTo>
                  <a:lnTo>
                    <a:pt x="16" y="42"/>
                  </a:lnTo>
                  <a:lnTo>
                    <a:pt x="16" y="40"/>
                  </a:lnTo>
                  <a:lnTo>
                    <a:pt x="18" y="40"/>
                  </a:lnTo>
                  <a:lnTo>
                    <a:pt x="22" y="42"/>
                  </a:lnTo>
                  <a:lnTo>
                    <a:pt x="24" y="44"/>
                  </a:lnTo>
                  <a:lnTo>
                    <a:pt x="28" y="52"/>
                  </a:lnTo>
                  <a:lnTo>
                    <a:pt x="32" y="52"/>
                  </a:lnTo>
                  <a:lnTo>
                    <a:pt x="34" y="54"/>
                  </a:lnTo>
                  <a:lnTo>
                    <a:pt x="36" y="54"/>
                  </a:lnTo>
                  <a:lnTo>
                    <a:pt x="38" y="54"/>
                  </a:lnTo>
                  <a:lnTo>
                    <a:pt x="38" y="52"/>
                  </a:lnTo>
                  <a:lnTo>
                    <a:pt x="46" y="0"/>
                  </a:lnTo>
                  <a:lnTo>
                    <a:pt x="38" y="2"/>
                  </a:lnTo>
                  <a:lnTo>
                    <a:pt x="34" y="4"/>
                  </a:lnTo>
                  <a:lnTo>
                    <a:pt x="32" y="6"/>
                  </a:lnTo>
                  <a:lnTo>
                    <a:pt x="30" y="8"/>
                  </a:lnTo>
                  <a:lnTo>
                    <a:pt x="24" y="10"/>
                  </a:lnTo>
                  <a:lnTo>
                    <a:pt x="22" y="10"/>
                  </a:lnTo>
                  <a:lnTo>
                    <a:pt x="18" y="10"/>
                  </a:lnTo>
                  <a:lnTo>
                    <a:pt x="16" y="8"/>
                  </a:lnTo>
                  <a:lnTo>
                    <a:pt x="12" y="8"/>
                  </a:lnTo>
                  <a:lnTo>
                    <a:pt x="4" y="12"/>
                  </a:lnTo>
                  <a:lnTo>
                    <a:pt x="4" y="16"/>
                  </a:lnTo>
                  <a:lnTo>
                    <a:pt x="4" y="22"/>
                  </a:lnTo>
                  <a:lnTo>
                    <a:pt x="2" y="24"/>
                  </a:lnTo>
                  <a:lnTo>
                    <a:pt x="0" y="24"/>
                  </a:lnTo>
                  <a:lnTo>
                    <a:pt x="0" y="26"/>
                  </a:lnTo>
                  <a:lnTo>
                    <a:pt x="0" y="30"/>
                  </a:lnTo>
                  <a:lnTo>
                    <a:pt x="2" y="32"/>
                  </a:lnTo>
                  <a:lnTo>
                    <a:pt x="6" y="34"/>
                  </a:lnTo>
                  <a:lnTo>
                    <a:pt x="8" y="40"/>
                  </a:lnTo>
                  <a:lnTo>
                    <a:pt x="10" y="44"/>
                  </a:lnTo>
                  <a:lnTo>
                    <a:pt x="12" y="46"/>
                  </a:lnTo>
                  <a:lnTo>
                    <a:pt x="14" y="48"/>
                  </a:lnTo>
                  <a:lnTo>
                    <a:pt x="18" y="48"/>
                  </a:lnTo>
                  <a:close/>
                  <a:moveTo>
                    <a:pt x="10" y="32"/>
                  </a:moveTo>
                  <a:lnTo>
                    <a:pt x="10" y="32"/>
                  </a:lnTo>
                  <a:lnTo>
                    <a:pt x="12" y="34"/>
                  </a:lnTo>
                  <a:lnTo>
                    <a:pt x="14" y="34"/>
                  </a:lnTo>
                  <a:lnTo>
                    <a:pt x="12" y="36"/>
                  </a:lnTo>
                  <a:lnTo>
                    <a:pt x="10" y="36"/>
                  </a:lnTo>
                  <a:lnTo>
                    <a:pt x="8" y="34"/>
                  </a:lnTo>
                  <a:lnTo>
                    <a:pt x="10" y="3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49" name="Freeform 699">
              <a:extLst>
                <a:ext uri="{FF2B5EF4-FFF2-40B4-BE49-F238E27FC236}">
                  <a16:creationId xmlns:a16="http://schemas.microsoft.com/office/drawing/2014/main" id="{C158FB7C-7F03-4B38-A003-9AFB74C3492F}"/>
                </a:ext>
              </a:extLst>
            </p:cNvPr>
            <p:cNvSpPr>
              <a:spLocks/>
            </p:cNvSpPr>
            <p:nvPr/>
          </p:nvSpPr>
          <p:spPr bwMode="gray">
            <a:xfrm>
              <a:off x="4508573" y="2906892"/>
              <a:ext cx="11771" cy="25897"/>
            </a:xfrm>
            <a:custGeom>
              <a:avLst/>
              <a:gdLst>
                <a:gd name="T0" fmla="*/ 0 w 6"/>
                <a:gd name="T1" fmla="*/ 2147483647 h 14"/>
                <a:gd name="T2" fmla="*/ 0 w 6"/>
                <a:gd name="T3" fmla="*/ 2147483647 h 14"/>
                <a:gd name="T4" fmla="*/ 0 w 6"/>
                <a:gd name="T5" fmla="*/ 2147483647 h 14"/>
                <a:gd name="T6" fmla="*/ 0 w 6"/>
                <a:gd name="T7" fmla="*/ 2147483647 h 14"/>
                <a:gd name="T8" fmla="*/ 0 w 6"/>
                <a:gd name="T9" fmla="*/ 2147483647 h 14"/>
                <a:gd name="T10" fmla="*/ 0 w 6"/>
                <a:gd name="T11" fmla="*/ 2147483647 h 14"/>
                <a:gd name="T12" fmla="*/ 0 w 6"/>
                <a:gd name="T13" fmla="*/ 2147483647 h 14"/>
                <a:gd name="T14" fmla="*/ 0 w 6"/>
                <a:gd name="T15" fmla="*/ 0 h 14"/>
                <a:gd name="T16" fmla="*/ 2147483647 w 6"/>
                <a:gd name="T17" fmla="*/ 0 h 14"/>
                <a:gd name="T18" fmla="*/ 2147483647 w 6"/>
                <a:gd name="T19" fmla="*/ 0 h 14"/>
                <a:gd name="T20" fmla="*/ 2147483647 w 6"/>
                <a:gd name="T21" fmla="*/ 0 h 14"/>
                <a:gd name="T22" fmla="*/ 2147483647 w 6"/>
                <a:gd name="T23" fmla="*/ 2147483647 h 14"/>
                <a:gd name="T24" fmla="*/ 2147483647 w 6"/>
                <a:gd name="T25" fmla="*/ 2147483647 h 14"/>
                <a:gd name="T26" fmla="*/ 2147483647 w 6"/>
                <a:gd name="T27" fmla="*/ 2147483647 h 14"/>
                <a:gd name="T28" fmla="*/ 2147483647 w 6"/>
                <a:gd name="T29" fmla="*/ 2147483647 h 14"/>
                <a:gd name="T30" fmla="*/ 2147483647 w 6"/>
                <a:gd name="T31" fmla="*/ 2147483647 h 14"/>
                <a:gd name="T32" fmla="*/ 2147483647 w 6"/>
                <a:gd name="T33" fmla="*/ 2147483647 h 14"/>
                <a:gd name="T34" fmla="*/ 2147483647 w 6"/>
                <a:gd name="T35" fmla="*/ 2147483647 h 14"/>
                <a:gd name="T36" fmla="*/ 2147483647 w 6"/>
                <a:gd name="T37" fmla="*/ 2147483647 h 14"/>
                <a:gd name="T38" fmla="*/ 2147483647 w 6"/>
                <a:gd name="T39" fmla="*/ 2147483647 h 14"/>
                <a:gd name="T40" fmla="*/ 2147483647 w 6"/>
                <a:gd name="T41" fmla="*/ 2147483647 h 14"/>
                <a:gd name="T42" fmla="*/ 2147483647 w 6"/>
                <a:gd name="T43" fmla="*/ 2147483647 h 14"/>
                <a:gd name="T44" fmla="*/ 0 w 6"/>
                <a:gd name="T45" fmla="*/ 2147483647 h 14"/>
                <a:gd name="T46" fmla="*/ 0 w 6"/>
                <a:gd name="T47" fmla="*/ 2147483647 h 14"/>
                <a:gd name="T48" fmla="*/ 0 w 6"/>
                <a:gd name="T49" fmla="*/ 2147483647 h 14"/>
                <a:gd name="T50" fmla="*/ 0 w 6"/>
                <a:gd name="T51" fmla="*/ 2147483647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
                <a:gd name="T79" fmla="*/ 0 h 14"/>
                <a:gd name="T80" fmla="*/ 6 w 6"/>
                <a:gd name="T81" fmla="*/ 14 h 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 h="14">
                  <a:moveTo>
                    <a:pt x="0" y="8"/>
                  </a:moveTo>
                  <a:lnTo>
                    <a:pt x="0" y="8"/>
                  </a:lnTo>
                  <a:lnTo>
                    <a:pt x="0" y="6"/>
                  </a:lnTo>
                  <a:lnTo>
                    <a:pt x="0" y="4"/>
                  </a:lnTo>
                  <a:lnTo>
                    <a:pt x="0" y="2"/>
                  </a:lnTo>
                  <a:lnTo>
                    <a:pt x="0" y="0"/>
                  </a:lnTo>
                  <a:lnTo>
                    <a:pt x="2" y="0"/>
                  </a:lnTo>
                  <a:lnTo>
                    <a:pt x="4" y="4"/>
                  </a:lnTo>
                  <a:lnTo>
                    <a:pt x="6" y="4"/>
                  </a:lnTo>
                  <a:lnTo>
                    <a:pt x="6" y="6"/>
                  </a:lnTo>
                  <a:lnTo>
                    <a:pt x="6" y="8"/>
                  </a:lnTo>
                  <a:lnTo>
                    <a:pt x="4" y="12"/>
                  </a:lnTo>
                  <a:lnTo>
                    <a:pt x="6" y="14"/>
                  </a:lnTo>
                  <a:lnTo>
                    <a:pt x="2" y="12"/>
                  </a:lnTo>
                  <a:lnTo>
                    <a:pt x="0" y="12"/>
                  </a:lnTo>
                  <a:lnTo>
                    <a:pt x="0" y="10"/>
                  </a:lnTo>
                  <a:lnTo>
                    <a:pt x="0"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0" name="Freeform 700">
              <a:extLst>
                <a:ext uri="{FF2B5EF4-FFF2-40B4-BE49-F238E27FC236}">
                  <a16:creationId xmlns:a16="http://schemas.microsoft.com/office/drawing/2014/main" id="{55FA8593-B0C3-4937-91BE-97D678C64299}"/>
                </a:ext>
              </a:extLst>
            </p:cNvPr>
            <p:cNvSpPr>
              <a:spLocks/>
            </p:cNvSpPr>
            <p:nvPr/>
          </p:nvSpPr>
          <p:spPr bwMode="gray">
            <a:xfrm>
              <a:off x="5349015" y="3483692"/>
              <a:ext cx="51793" cy="44731"/>
            </a:xfrm>
            <a:custGeom>
              <a:avLst/>
              <a:gdLst>
                <a:gd name="T0" fmla="*/ 2147483647 w 28"/>
                <a:gd name="T1" fmla="*/ 2147483647 h 24"/>
                <a:gd name="T2" fmla="*/ 2147483647 w 28"/>
                <a:gd name="T3" fmla="*/ 2147483647 h 24"/>
                <a:gd name="T4" fmla="*/ 2147483647 w 28"/>
                <a:gd name="T5" fmla="*/ 2147483647 h 24"/>
                <a:gd name="T6" fmla="*/ 2147483647 w 28"/>
                <a:gd name="T7" fmla="*/ 2147483647 h 24"/>
                <a:gd name="T8" fmla="*/ 2147483647 w 28"/>
                <a:gd name="T9" fmla="*/ 2147483647 h 24"/>
                <a:gd name="T10" fmla="*/ 2147483647 w 28"/>
                <a:gd name="T11" fmla="*/ 2147483647 h 24"/>
                <a:gd name="T12" fmla="*/ 2147483647 w 28"/>
                <a:gd name="T13" fmla="*/ 2147483647 h 24"/>
                <a:gd name="T14" fmla="*/ 2147483647 w 28"/>
                <a:gd name="T15" fmla="*/ 2147483647 h 24"/>
                <a:gd name="T16" fmla="*/ 2147483647 w 28"/>
                <a:gd name="T17" fmla="*/ 2147483647 h 24"/>
                <a:gd name="T18" fmla="*/ 2147483647 w 28"/>
                <a:gd name="T19" fmla="*/ 2147483647 h 24"/>
                <a:gd name="T20" fmla="*/ 2147483647 w 28"/>
                <a:gd name="T21" fmla="*/ 0 h 24"/>
                <a:gd name="T22" fmla="*/ 2147483647 w 28"/>
                <a:gd name="T23" fmla="*/ 0 h 24"/>
                <a:gd name="T24" fmla="*/ 2147483647 w 28"/>
                <a:gd name="T25" fmla="*/ 0 h 24"/>
                <a:gd name="T26" fmla="*/ 2147483647 w 28"/>
                <a:gd name="T27" fmla="*/ 0 h 24"/>
                <a:gd name="T28" fmla="*/ 2147483647 w 28"/>
                <a:gd name="T29" fmla="*/ 0 h 24"/>
                <a:gd name="T30" fmla="*/ 2147483647 w 28"/>
                <a:gd name="T31" fmla="*/ 0 h 24"/>
                <a:gd name="T32" fmla="*/ 2147483647 w 28"/>
                <a:gd name="T33" fmla="*/ 2147483647 h 24"/>
                <a:gd name="T34" fmla="*/ 2147483647 w 28"/>
                <a:gd name="T35" fmla="*/ 2147483647 h 24"/>
                <a:gd name="T36" fmla="*/ 2147483647 w 28"/>
                <a:gd name="T37" fmla="*/ 2147483647 h 24"/>
                <a:gd name="T38" fmla="*/ 2147483647 w 28"/>
                <a:gd name="T39" fmla="*/ 2147483647 h 24"/>
                <a:gd name="T40" fmla="*/ 0 w 28"/>
                <a:gd name="T41" fmla="*/ 2147483647 h 24"/>
                <a:gd name="T42" fmla="*/ 2147483647 w 28"/>
                <a:gd name="T43" fmla="*/ 2147483647 h 24"/>
                <a:gd name="T44" fmla="*/ 2147483647 w 28"/>
                <a:gd name="T45" fmla="*/ 2147483647 h 24"/>
                <a:gd name="T46" fmla="*/ 2147483647 w 28"/>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4"/>
                <a:gd name="T74" fmla="*/ 28 w 28"/>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4">
                  <a:moveTo>
                    <a:pt x="28" y="22"/>
                  </a:moveTo>
                  <a:lnTo>
                    <a:pt x="28" y="22"/>
                  </a:lnTo>
                  <a:lnTo>
                    <a:pt x="24" y="18"/>
                  </a:lnTo>
                  <a:lnTo>
                    <a:pt x="20" y="14"/>
                  </a:lnTo>
                  <a:lnTo>
                    <a:pt x="22" y="10"/>
                  </a:lnTo>
                  <a:lnTo>
                    <a:pt x="22" y="6"/>
                  </a:lnTo>
                  <a:lnTo>
                    <a:pt x="28" y="6"/>
                  </a:lnTo>
                  <a:lnTo>
                    <a:pt x="24" y="0"/>
                  </a:lnTo>
                  <a:lnTo>
                    <a:pt x="22" y="0"/>
                  </a:lnTo>
                  <a:lnTo>
                    <a:pt x="18" y="0"/>
                  </a:lnTo>
                  <a:lnTo>
                    <a:pt x="16" y="0"/>
                  </a:lnTo>
                  <a:lnTo>
                    <a:pt x="14" y="2"/>
                  </a:lnTo>
                  <a:lnTo>
                    <a:pt x="10" y="8"/>
                  </a:lnTo>
                  <a:lnTo>
                    <a:pt x="4" y="14"/>
                  </a:lnTo>
                  <a:lnTo>
                    <a:pt x="0" y="16"/>
                  </a:lnTo>
                  <a:lnTo>
                    <a:pt x="14" y="20"/>
                  </a:lnTo>
                  <a:lnTo>
                    <a:pt x="16" y="24"/>
                  </a:lnTo>
                  <a:lnTo>
                    <a:pt x="28" y="2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1" name="Freeform 701">
              <a:extLst>
                <a:ext uri="{FF2B5EF4-FFF2-40B4-BE49-F238E27FC236}">
                  <a16:creationId xmlns:a16="http://schemas.microsoft.com/office/drawing/2014/main" id="{E543B300-8A3F-4305-883D-E64CFAE1EE12}"/>
                </a:ext>
              </a:extLst>
            </p:cNvPr>
            <p:cNvSpPr>
              <a:spLocks noEditPoints="1"/>
            </p:cNvSpPr>
            <p:nvPr/>
          </p:nvSpPr>
          <p:spPr bwMode="gray">
            <a:xfrm>
              <a:off x="5097118" y="4168788"/>
              <a:ext cx="181271" cy="244847"/>
            </a:xfrm>
            <a:custGeom>
              <a:avLst/>
              <a:gdLst>
                <a:gd name="T0" fmla="*/ 2147483647 w 98"/>
                <a:gd name="T1" fmla="*/ 2147483647 h 132"/>
                <a:gd name="T2" fmla="*/ 2147483647 w 98"/>
                <a:gd name="T3" fmla="*/ 2147483647 h 132"/>
                <a:gd name="T4" fmla="*/ 2147483647 w 98"/>
                <a:gd name="T5" fmla="*/ 2147483647 h 132"/>
                <a:gd name="T6" fmla="*/ 2147483647 w 98"/>
                <a:gd name="T7" fmla="*/ 2147483647 h 132"/>
                <a:gd name="T8" fmla="*/ 2147483647 w 98"/>
                <a:gd name="T9" fmla="*/ 2147483647 h 132"/>
                <a:gd name="T10" fmla="*/ 2147483647 w 98"/>
                <a:gd name="T11" fmla="*/ 2147483647 h 132"/>
                <a:gd name="T12" fmla="*/ 2147483647 w 98"/>
                <a:gd name="T13" fmla="*/ 2147483647 h 132"/>
                <a:gd name="T14" fmla="*/ 2147483647 w 98"/>
                <a:gd name="T15" fmla="*/ 2147483647 h 132"/>
                <a:gd name="T16" fmla="*/ 2147483647 w 98"/>
                <a:gd name="T17" fmla="*/ 2147483647 h 132"/>
                <a:gd name="T18" fmla="*/ 2147483647 w 98"/>
                <a:gd name="T19" fmla="*/ 2147483647 h 132"/>
                <a:gd name="T20" fmla="*/ 2147483647 w 98"/>
                <a:gd name="T21" fmla="*/ 2147483647 h 132"/>
                <a:gd name="T22" fmla="*/ 2147483647 w 98"/>
                <a:gd name="T23" fmla="*/ 2147483647 h 132"/>
                <a:gd name="T24" fmla="*/ 2147483647 w 98"/>
                <a:gd name="T25" fmla="*/ 2147483647 h 132"/>
                <a:gd name="T26" fmla="*/ 2147483647 w 98"/>
                <a:gd name="T27" fmla="*/ 2147483647 h 132"/>
                <a:gd name="T28" fmla="*/ 2147483647 w 98"/>
                <a:gd name="T29" fmla="*/ 2147483647 h 132"/>
                <a:gd name="T30" fmla="*/ 2147483647 w 98"/>
                <a:gd name="T31" fmla="*/ 2147483647 h 132"/>
                <a:gd name="T32" fmla="*/ 2147483647 w 98"/>
                <a:gd name="T33" fmla="*/ 2147483647 h 132"/>
                <a:gd name="T34" fmla="*/ 2147483647 w 98"/>
                <a:gd name="T35" fmla="*/ 0 h 132"/>
                <a:gd name="T36" fmla="*/ 2147483647 w 98"/>
                <a:gd name="T37" fmla="*/ 2147483647 h 132"/>
                <a:gd name="T38" fmla="*/ 2147483647 w 98"/>
                <a:gd name="T39" fmla="*/ 2147483647 h 132"/>
                <a:gd name="T40" fmla="*/ 2147483647 w 98"/>
                <a:gd name="T41" fmla="*/ 2147483647 h 132"/>
                <a:gd name="T42" fmla="*/ 2147483647 w 98"/>
                <a:gd name="T43" fmla="*/ 2147483647 h 132"/>
                <a:gd name="T44" fmla="*/ 2147483647 w 98"/>
                <a:gd name="T45" fmla="*/ 2147483647 h 132"/>
                <a:gd name="T46" fmla="*/ 2147483647 w 98"/>
                <a:gd name="T47" fmla="*/ 2147483647 h 132"/>
                <a:gd name="T48" fmla="*/ 2147483647 w 98"/>
                <a:gd name="T49" fmla="*/ 2147483647 h 132"/>
                <a:gd name="T50" fmla="*/ 2147483647 w 98"/>
                <a:gd name="T51" fmla="*/ 2147483647 h 132"/>
                <a:gd name="T52" fmla="*/ 2147483647 w 98"/>
                <a:gd name="T53" fmla="*/ 2147483647 h 132"/>
                <a:gd name="T54" fmla="*/ 2147483647 w 98"/>
                <a:gd name="T55" fmla="*/ 2147483647 h 132"/>
                <a:gd name="T56" fmla="*/ 0 w 98"/>
                <a:gd name="T57" fmla="*/ 2147483647 h 132"/>
                <a:gd name="T58" fmla="*/ 2147483647 w 98"/>
                <a:gd name="T59" fmla="*/ 2147483647 h 132"/>
                <a:gd name="T60" fmla="*/ 2147483647 w 98"/>
                <a:gd name="T61" fmla="*/ 2147483647 h 132"/>
                <a:gd name="T62" fmla="*/ 2147483647 w 98"/>
                <a:gd name="T63" fmla="*/ 2147483647 h 132"/>
                <a:gd name="T64" fmla="*/ 2147483647 w 98"/>
                <a:gd name="T65" fmla="*/ 2147483647 h 132"/>
                <a:gd name="T66" fmla="*/ 2147483647 w 98"/>
                <a:gd name="T67" fmla="*/ 2147483647 h 132"/>
                <a:gd name="T68" fmla="*/ 2147483647 w 98"/>
                <a:gd name="T69" fmla="*/ 2147483647 h 132"/>
                <a:gd name="T70" fmla="*/ 2147483647 w 98"/>
                <a:gd name="T71" fmla="*/ 2147483647 h 132"/>
                <a:gd name="T72" fmla="*/ 2147483647 w 98"/>
                <a:gd name="T73" fmla="*/ 2147483647 h 132"/>
                <a:gd name="T74" fmla="*/ 2147483647 w 98"/>
                <a:gd name="T75" fmla="*/ 2147483647 h 132"/>
                <a:gd name="T76" fmla="*/ 2147483647 w 98"/>
                <a:gd name="T77" fmla="*/ 2147483647 h 132"/>
                <a:gd name="T78" fmla="*/ 2147483647 w 98"/>
                <a:gd name="T79" fmla="*/ 2147483647 h 132"/>
                <a:gd name="T80" fmla="*/ 2147483647 w 98"/>
                <a:gd name="T81" fmla="*/ 2147483647 h 132"/>
                <a:gd name="T82" fmla="*/ 2147483647 w 98"/>
                <a:gd name="T83" fmla="*/ 2147483647 h 132"/>
                <a:gd name="T84" fmla="*/ 2147483647 w 98"/>
                <a:gd name="T85" fmla="*/ 2147483647 h 132"/>
                <a:gd name="T86" fmla="*/ 2147483647 w 98"/>
                <a:gd name="T87" fmla="*/ 2147483647 h 132"/>
                <a:gd name="T88" fmla="*/ 2147483647 w 98"/>
                <a:gd name="T89" fmla="*/ 2147483647 h 1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8"/>
                <a:gd name="T136" fmla="*/ 0 h 132"/>
                <a:gd name="T137" fmla="*/ 98 w 98"/>
                <a:gd name="T138" fmla="*/ 132 h 1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8" h="132">
                  <a:moveTo>
                    <a:pt x="2" y="78"/>
                  </a:moveTo>
                  <a:lnTo>
                    <a:pt x="2" y="78"/>
                  </a:lnTo>
                  <a:lnTo>
                    <a:pt x="4" y="78"/>
                  </a:lnTo>
                  <a:lnTo>
                    <a:pt x="6" y="76"/>
                  </a:lnTo>
                  <a:lnTo>
                    <a:pt x="8" y="78"/>
                  </a:lnTo>
                  <a:lnTo>
                    <a:pt x="6" y="84"/>
                  </a:lnTo>
                  <a:lnTo>
                    <a:pt x="4" y="92"/>
                  </a:lnTo>
                  <a:lnTo>
                    <a:pt x="42" y="110"/>
                  </a:lnTo>
                  <a:lnTo>
                    <a:pt x="42" y="112"/>
                  </a:lnTo>
                  <a:lnTo>
                    <a:pt x="42" y="116"/>
                  </a:lnTo>
                  <a:lnTo>
                    <a:pt x="42" y="120"/>
                  </a:lnTo>
                  <a:lnTo>
                    <a:pt x="46" y="122"/>
                  </a:lnTo>
                  <a:lnTo>
                    <a:pt x="48" y="122"/>
                  </a:lnTo>
                  <a:lnTo>
                    <a:pt x="48" y="124"/>
                  </a:lnTo>
                  <a:lnTo>
                    <a:pt x="60" y="132"/>
                  </a:lnTo>
                  <a:lnTo>
                    <a:pt x="60" y="124"/>
                  </a:lnTo>
                  <a:lnTo>
                    <a:pt x="60" y="118"/>
                  </a:lnTo>
                  <a:lnTo>
                    <a:pt x="64" y="118"/>
                  </a:lnTo>
                  <a:lnTo>
                    <a:pt x="66" y="112"/>
                  </a:lnTo>
                  <a:lnTo>
                    <a:pt x="70" y="108"/>
                  </a:lnTo>
                  <a:lnTo>
                    <a:pt x="74" y="108"/>
                  </a:lnTo>
                  <a:lnTo>
                    <a:pt x="76" y="104"/>
                  </a:lnTo>
                  <a:lnTo>
                    <a:pt x="78" y="100"/>
                  </a:lnTo>
                  <a:lnTo>
                    <a:pt x="82" y="100"/>
                  </a:lnTo>
                  <a:lnTo>
                    <a:pt x="84" y="98"/>
                  </a:lnTo>
                  <a:lnTo>
                    <a:pt x="86" y="94"/>
                  </a:lnTo>
                  <a:lnTo>
                    <a:pt x="84" y="90"/>
                  </a:lnTo>
                  <a:lnTo>
                    <a:pt x="90" y="86"/>
                  </a:lnTo>
                  <a:lnTo>
                    <a:pt x="92" y="80"/>
                  </a:lnTo>
                  <a:lnTo>
                    <a:pt x="92" y="78"/>
                  </a:lnTo>
                  <a:lnTo>
                    <a:pt x="86" y="70"/>
                  </a:lnTo>
                  <a:lnTo>
                    <a:pt x="86" y="24"/>
                  </a:lnTo>
                  <a:lnTo>
                    <a:pt x="92" y="20"/>
                  </a:lnTo>
                  <a:lnTo>
                    <a:pt x="98" y="4"/>
                  </a:lnTo>
                  <a:lnTo>
                    <a:pt x="92" y="6"/>
                  </a:lnTo>
                  <a:lnTo>
                    <a:pt x="86" y="6"/>
                  </a:lnTo>
                  <a:lnTo>
                    <a:pt x="82" y="2"/>
                  </a:lnTo>
                  <a:lnTo>
                    <a:pt x="82" y="0"/>
                  </a:lnTo>
                  <a:lnTo>
                    <a:pt x="80" y="4"/>
                  </a:lnTo>
                  <a:lnTo>
                    <a:pt x="78" y="4"/>
                  </a:lnTo>
                  <a:lnTo>
                    <a:pt x="74" y="4"/>
                  </a:lnTo>
                  <a:lnTo>
                    <a:pt x="72" y="4"/>
                  </a:lnTo>
                  <a:lnTo>
                    <a:pt x="72" y="6"/>
                  </a:lnTo>
                  <a:lnTo>
                    <a:pt x="70" y="8"/>
                  </a:lnTo>
                  <a:lnTo>
                    <a:pt x="64" y="8"/>
                  </a:lnTo>
                  <a:lnTo>
                    <a:pt x="60" y="8"/>
                  </a:lnTo>
                  <a:lnTo>
                    <a:pt x="58" y="8"/>
                  </a:lnTo>
                  <a:lnTo>
                    <a:pt x="52" y="6"/>
                  </a:lnTo>
                  <a:lnTo>
                    <a:pt x="48" y="6"/>
                  </a:lnTo>
                  <a:lnTo>
                    <a:pt x="46" y="8"/>
                  </a:lnTo>
                  <a:lnTo>
                    <a:pt x="42" y="8"/>
                  </a:lnTo>
                  <a:lnTo>
                    <a:pt x="40" y="6"/>
                  </a:lnTo>
                  <a:lnTo>
                    <a:pt x="38" y="6"/>
                  </a:lnTo>
                  <a:lnTo>
                    <a:pt x="36" y="6"/>
                  </a:lnTo>
                  <a:lnTo>
                    <a:pt x="32" y="8"/>
                  </a:lnTo>
                  <a:lnTo>
                    <a:pt x="24" y="6"/>
                  </a:lnTo>
                  <a:lnTo>
                    <a:pt x="18" y="2"/>
                  </a:lnTo>
                  <a:lnTo>
                    <a:pt x="12" y="2"/>
                  </a:lnTo>
                  <a:lnTo>
                    <a:pt x="8" y="2"/>
                  </a:lnTo>
                  <a:lnTo>
                    <a:pt x="4" y="6"/>
                  </a:lnTo>
                  <a:lnTo>
                    <a:pt x="0" y="6"/>
                  </a:lnTo>
                  <a:lnTo>
                    <a:pt x="0" y="10"/>
                  </a:lnTo>
                  <a:lnTo>
                    <a:pt x="2" y="12"/>
                  </a:lnTo>
                  <a:lnTo>
                    <a:pt x="4" y="14"/>
                  </a:lnTo>
                  <a:lnTo>
                    <a:pt x="4" y="16"/>
                  </a:lnTo>
                  <a:lnTo>
                    <a:pt x="6" y="18"/>
                  </a:lnTo>
                  <a:lnTo>
                    <a:pt x="4" y="22"/>
                  </a:lnTo>
                  <a:lnTo>
                    <a:pt x="4" y="28"/>
                  </a:lnTo>
                  <a:lnTo>
                    <a:pt x="6" y="30"/>
                  </a:lnTo>
                  <a:lnTo>
                    <a:pt x="8" y="34"/>
                  </a:lnTo>
                  <a:lnTo>
                    <a:pt x="8" y="38"/>
                  </a:lnTo>
                  <a:lnTo>
                    <a:pt x="6" y="44"/>
                  </a:lnTo>
                  <a:lnTo>
                    <a:pt x="4" y="46"/>
                  </a:lnTo>
                  <a:lnTo>
                    <a:pt x="2" y="50"/>
                  </a:lnTo>
                  <a:lnTo>
                    <a:pt x="2" y="54"/>
                  </a:lnTo>
                  <a:lnTo>
                    <a:pt x="2" y="58"/>
                  </a:lnTo>
                  <a:lnTo>
                    <a:pt x="0" y="60"/>
                  </a:lnTo>
                  <a:lnTo>
                    <a:pt x="2" y="64"/>
                  </a:lnTo>
                  <a:lnTo>
                    <a:pt x="2" y="68"/>
                  </a:lnTo>
                  <a:lnTo>
                    <a:pt x="2" y="72"/>
                  </a:lnTo>
                  <a:lnTo>
                    <a:pt x="2" y="78"/>
                  </a:lnTo>
                  <a:close/>
                  <a:moveTo>
                    <a:pt x="24" y="8"/>
                  </a:moveTo>
                  <a:lnTo>
                    <a:pt x="24" y="8"/>
                  </a:lnTo>
                  <a:lnTo>
                    <a:pt x="24" y="16"/>
                  </a:lnTo>
                  <a:lnTo>
                    <a:pt x="26" y="24"/>
                  </a:lnTo>
                  <a:lnTo>
                    <a:pt x="30" y="30"/>
                  </a:lnTo>
                  <a:lnTo>
                    <a:pt x="32" y="34"/>
                  </a:lnTo>
                  <a:lnTo>
                    <a:pt x="30" y="36"/>
                  </a:lnTo>
                  <a:lnTo>
                    <a:pt x="28" y="32"/>
                  </a:lnTo>
                  <a:lnTo>
                    <a:pt x="20" y="22"/>
                  </a:lnTo>
                  <a:lnTo>
                    <a:pt x="20" y="18"/>
                  </a:lnTo>
                  <a:lnTo>
                    <a:pt x="22" y="14"/>
                  </a:lnTo>
                  <a:lnTo>
                    <a:pt x="24" y="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2" name="Freeform 702">
              <a:extLst>
                <a:ext uri="{FF2B5EF4-FFF2-40B4-BE49-F238E27FC236}">
                  <a16:creationId xmlns:a16="http://schemas.microsoft.com/office/drawing/2014/main" id="{4652BB3D-51CD-4A7E-87DF-B55660407196}"/>
                </a:ext>
              </a:extLst>
            </p:cNvPr>
            <p:cNvSpPr>
              <a:spLocks noEditPoints="1"/>
            </p:cNvSpPr>
            <p:nvPr/>
          </p:nvSpPr>
          <p:spPr bwMode="gray">
            <a:xfrm>
              <a:off x="5440827" y="3594341"/>
              <a:ext cx="4708" cy="11771"/>
            </a:xfrm>
            <a:custGeom>
              <a:avLst/>
              <a:gdLst>
                <a:gd name="T0" fmla="*/ 0 w 2"/>
                <a:gd name="T1" fmla="*/ 0 h 6"/>
                <a:gd name="T2" fmla="*/ 0 w 2"/>
                <a:gd name="T3" fmla="*/ 0 h 6"/>
                <a:gd name="T4" fmla="*/ 0 w 2"/>
                <a:gd name="T5" fmla="*/ 0 h 6"/>
                <a:gd name="T6" fmla="*/ 0 w 2"/>
                <a:gd name="T7" fmla="*/ 0 h 6"/>
                <a:gd name="T8" fmla="*/ 0 w 2"/>
                <a:gd name="T9" fmla="*/ 0 h 6"/>
                <a:gd name="T10" fmla="*/ 0 w 2"/>
                <a:gd name="T11" fmla="*/ 0 h 6"/>
                <a:gd name="T12" fmla="*/ 2147483647 w 2"/>
                <a:gd name="T13" fmla="*/ 0 h 6"/>
                <a:gd name="T14" fmla="*/ 2147483647 w 2"/>
                <a:gd name="T15" fmla="*/ 0 h 6"/>
                <a:gd name="T16" fmla="*/ 0 w 2"/>
                <a:gd name="T17" fmla="*/ 0 h 6"/>
                <a:gd name="T18" fmla="*/ 0 w 2"/>
                <a:gd name="T19" fmla="*/ 0 h 6"/>
                <a:gd name="T20" fmla="*/ 0 w 2"/>
                <a:gd name="T21" fmla="*/ 2147483647 h 6"/>
                <a:gd name="T22" fmla="*/ 0 w 2"/>
                <a:gd name="T23" fmla="*/ 2147483647 h 6"/>
                <a:gd name="T24" fmla="*/ 0 w 2"/>
                <a:gd name="T25" fmla="*/ 2147483647 h 6"/>
                <a:gd name="T26" fmla="*/ 0 w 2"/>
                <a:gd name="T27" fmla="*/ 2147483647 h 6"/>
                <a:gd name="T28" fmla="*/ 0 w 2"/>
                <a:gd name="T29" fmla="*/ 2147483647 h 6"/>
                <a:gd name="T30" fmla="*/ 0 w 2"/>
                <a:gd name="T31" fmla="*/ 2147483647 h 6"/>
                <a:gd name="T32" fmla="*/ 2147483647 w 2"/>
                <a:gd name="T33" fmla="*/ 2147483647 h 6"/>
                <a:gd name="T34" fmla="*/ 2147483647 w 2"/>
                <a:gd name="T35" fmla="*/ 2147483647 h 6"/>
                <a:gd name="T36" fmla="*/ 2147483647 w 2"/>
                <a:gd name="T37" fmla="*/ 2147483647 h 6"/>
                <a:gd name="T38" fmla="*/ 2147483647 w 2"/>
                <a:gd name="T39" fmla="*/ 2147483647 h 6"/>
                <a:gd name="T40" fmla="*/ 2147483647 w 2"/>
                <a:gd name="T41" fmla="*/ 0 h 6"/>
                <a:gd name="T42" fmla="*/ 2147483647 w 2"/>
                <a:gd name="T43" fmla="*/ 0 h 6"/>
                <a:gd name="T44" fmla="*/ 2147483647 w 2"/>
                <a:gd name="T45" fmla="*/ 0 h 6"/>
                <a:gd name="T46" fmla="*/ 2147483647 w 2"/>
                <a:gd name="T47" fmla="*/ 0 h 6"/>
                <a:gd name="T48" fmla="*/ 2147483647 w 2"/>
                <a:gd name="T49" fmla="*/ 0 h 6"/>
                <a:gd name="T50" fmla="*/ 2147483647 w 2"/>
                <a:gd name="T51" fmla="*/ 0 h 6"/>
                <a:gd name="T52" fmla="*/ 2147483647 w 2"/>
                <a:gd name="T53" fmla="*/ 0 h 6"/>
                <a:gd name="T54" fmla="*/ 2147483647 w 2"/>
                <a:gd name="T55" fmla="*/ 0 h 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
                <a:gd name="T85" fmla="*/ 0 h 6"/>
                <a:gd name="T86" fmla="*/ 2 w 2"/>
                <a:gd name="T87" fmla="*/ 6 h 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 h="6">
                  <a:moveTo>
                    <a:pt x="0" y="0"/>
                  </a:moveTo>
                  <a:lnTo>
                    <a:pt x="0" y="0"/>
                  </a:lnTo>
                  <a:close/>
                  <a:moveTo>
                    <a:pt x="2" y="0"/>
                  </a:moveTo>
                  <a:lnTo>
                    <a:pt x="2" y="0"/>
                  </a:lnTo>
                  <a:lnTo>
                    <a:pt x="0" y="0"/>
                  </a:lnTo>
                  <a:lnTo>
                    <a:pt x="0" y="2"/>
                  </a:lnTo>
                  <a:lnTo>
                    <a:pt x="0" y="4"/>
                  </a:lnTo>
                  <a:lnTo>
                    <a:pt x="2" y="6"/>
                  </a:lnTo>
                  <a:lnTo>
                    <a:pt x="2" y="4"/>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3" name="Freeform 703">
              <a:extLst>
                <a:ext uri="{FF2B5EF4-FFF2-40B4-BE49-F238E27FC236}">
                  <a16:creationId xmlns:a16="http://schemas.microsoft.com/office/drawing/2014/main" id="{745F9080-458E-4644-9080-34AF4C67B02B}"/>
                </a:ext>
              </a:extLst>
            </p:cNvPr>
            <p:cNvSpPr>
              <a:spLocks noEditPoints="1"/>
            </p:cNvSpPr>
            <p:nvPr/>
          </p:nvSpPr>
          <p:spPr bwMode="gray">
            <a:xfrm>
              <a:off x="3882360" y="2332444"/>
              <a:ext cx="218939" cy="110652"/>
            </a:xfrm>
            <a:custGeom>
              <a:avLst/>
              <a:gdLst>
                <a:gd name="T0" fmla="*/ 2147483647 w 118"/>
                <a:gd name="T1" fmla="*/ 2147483647 h 60"/>
                <a:gd name="T2" fmla="*/ 2147483647 w 118"/>
                <a:gd name="T3" fmla="*/ 2147483647 h 60"/>
                <a:gd name="T4" fmla="*/ 2147483647 w 118"/>
                <a:gd name="T5" fmla="*/ 2147483647 h 60"/>
                <a:gd name="T6" fmla="*/ 2147483647 w 118"/>
                <a:gd name="T7" fmla="*/ 2147483647 h 60"/>
                <a:gd name="T8" fmla="*/ 2147483647 w 118"/>
                <a:gd name="T9" fmla="*/ 2147483647 h 60"/>
                <a:gd name="T10" fmla="*/ 2147483647 w 118"/>
                <a:gd name="T11" fmla="*/ 2147483647 h 60"/>
                <a:gd name="T12" fmla="*/ 2147483647 w 118"/>
                <a:gd name="T13" fmla="*/ 2147483647 h 60"/>
                <a:gd name="T14" fmla="*/ 2147483647 w 118"/>
                <a:gd name="T15" fmla="*/ 2147483647 h 60"/>
                <a:gd name="T16" fmla="*/ 2147483647 w 118"/>
                <a:gd name="T17" fmla="*/ 2147483647 h 60"/>
                <a:gd name="T18" fmla="*/ 2147483647 w 118"/>
                <a:gd name="T19" fmla="*/ 2147483647 h 60"/>
                <a:gd name="T20" fmla="*/ 2147483647 w 118"/>
                <a:gd name="T21" fmla="*/ 2147483647 h 60"/>
                <a:gd name="T22" fmla="*/ 2147483647 w 118"/>
                <a:gd name="T23" fmla="*/ 2147483647 h 60"/>
                <a:gd name="T24" fmla="*/ 2147483647 w 118"/>
                <a:gd name="T25" fmla="*/ 2147483647 h 60"/>
                <a:gd name="T26" fmla="*/ 2147483647 w 118"/>
                <a:gd name="T27" fmla="*/ 2147483647 h 60"/>
                <a:gd name="T28" fmla="*/ 2147483647 w 118"/>
                <a:gd name="T29" fmla="*/ 2147483647 h 60"/>
                <a:gd name="T30" fmla="*/ 2147483647 w 118"/>
                <a:gd name="T31" fmla="*/ 2147483647 h 60"/>
                <a:gd name="T32" fmla="*/ 2147483647 w 118"/>
                <a:gd name="T33" fmla="*/ 2147483647 h 60"/>
                <a:gd name="T34" fmla="*/ 2147483647 w 118"/>
                <a:gd name="T35" fmla="*/ 2147483647 h 60"/>
                <a:gd name="T36" fmla="*/ 2147483647 w 118"/>
                <a:gd name="T37" fmla="*/ 2147483647 h 60"/>
                <a:gd name="T38" fmla="*/ 2147483647 w 118"/>
                <a:gd name="T39" fmla="*/ 2147483647 h 60"/>
                <a:gd name="T40" fmla="*/ 2147483647 w 118"/>
                <a:gd name="T41" fmla="*/ 2147483647 h 60"/>
                <a:gd name="T42" fmla="*/ 2147483647 w 118"/>
                <a:gd name="T43" fmla="*/ 2147483647 h 60"/>
                <a:gd name="T44" fmla="*/ 2147483647 w 118"/>
                <a:gd name="T45" fmla="*/ 2147483647 h 60"/>
                <a:gd name="T46" fmla="*/ 0 w 118"/>
                <a:gd name="T47" fmla="*/ 2147483647 h 60"/>
                <a:gd name="T48" fmla="*/ 2147483647 w 118"/>
                <a:gd name="T49" fmla="*/ 2147483647 h 60"/>
                <a:gd name="T50" fmla="*/ 2147483647 w 118"/>
                <a:gd name="T51" fmla="*/ 2147483647 h 60"/>
                <a:gd name="T52" fmla="*/ 2147483647 w 118"/>
                <a:gd name="T53" fmla="*/ 2147483647 h 60"/>
                <a:gd name="T54" fmla="*/ 2147483647 w 118"/>
                <a:gd name="T55" fmla="*/ 2147483647 h 60"/>
                <a:gd name="T56" fmla="*/ 2147483647 w 118"/>
                <a:gd name="T57" fmla="*/ 2147483647 h 60"/>
                <a:gd name="T58" fmla="*/ 2147483647 w 118"/>
                <a:gd name="T59" fmla="*/ 2147483647 h 60"/>
                <a:gd name="T60" fmla="*/ 2147483647 w 118"/>
                <a:gd name="T61" fmla="*/ 2147483647 h 60"/>
                <a:gd name="T62" fmla="*/ 2147483647 w 118"/>
                <a:gd name="T63" fmla="*/ 2147483647 h 60"/>
                <a:gd name="T64" fmla="*/ 2147483647 w 118"/>
                <a:gd name="T65" fmla="*/ 2147483647 h 60"/>
                <a:gd name="T66" fmla="*/ 2147483647 w 118"/>
                <a:gd name="T67" fmla="*/ 2147483647 h 60"/>
                <a:gd name="T68" fmla="*/ 2147483647 w 118"/>
                <a:gd name="T69" fmla="*/ 2147483647 h 60"/>
                <a:gd name="T70" fmla="*/ 2147483647 w 118"/>
                <a:gd name="T71" fmla="*/ 2147483647 h 60"/>
                <a:gd name="T72" fmla="*/ 2147483647 w 118"/>
                <a:gd name="T73" fmla="*/ 2147483647 h 60"/>
                <a:gd name="T74" fmla="*/ 2147483647 w 118"/>
                <a:gd name="T75" fmla="*/ 2147483647 h 60"/>
                <a:gd name="T76" fmla="*/ 2147483647 w 118"/>
                <a:gd name="T77" fmla="*/ 2147483647 h 60"/>
                <a:gd name="T78" fmla="*/ 2147483647 w 118"/>
                <a:gd name="T79" fmla="*/ 2147483647 h 60"/>
                <a:gd name="T80" fmla="*/ 2147483647 w 118"/>
                <a:gd name="T81" fmla="*/ 2147483647 h 60"/>
                <a:gd name="T82" fmla="*/ 2147483647 w 118"/>
                <a:gd name="T83" fmla="*/ 2147483647 h 60"/>
                <a:gd name="T84" fmla="*/ 2147483647 w 118"/>
                <a:gd name="T85" fmla="*/ 2147483647 h 60"/>
                <a:gd name="T86" fmla="*/ 2147483647 w 118"/>
                <a:gd name="T87" fmla="*/ 2147483647 h 60"/>
                <a:gd name="T88" fmla="*/ 2147483647 w 118"/>
                <a:gd name="T89" fmla="*/ 2147483647 h 60"/>
                <a:gd name="T90" fmla="*/ 2147483647 w 118"/>
                <a:gd name="T91" fmla="*/ 2147483647 h 60"/>
                <a:gd name="T92" fmla="*/ 2147483647 w 118"/>
                <a:gd name="T93" fmla="*/ 2147483647 h 60"/>
                <a:gd name="T94" fmla="*/ 2147483647 w 118"/>
                <a:gd name="T95" fmla="*/ 2147483647 h 60"/>
                <a:gd name="T96" fmla="*/ 2147483647 w 118"/>
                <a:gd name="T97" fmla="*/ 2147483647 h 60"/>
                <a:gd name="T98" fmla="*/ 2147483647 w 118"/>
                <a:gd name="T99" fmla="*/ 2147483647 h 60"/>
                <a:gd name="T100" fmla="*/ 2147483647 w 118"/>
                <a:gd name="T101" fmla="*/ 2147483647 h 60"/>
                <a:gd name="T102" fmla="*/ 2147483647 w 118"/>
                <a:gd name="T103" fmla="*/ 2147483647 h 60"/>
                <a:gd name="T104" fmla="*/ 2147483647 w 118"/>
                <a:gd name="T105" fmla="*/ 2147483647 h 60"/>
                <a:gd name="T106" fmla="*/ 2147483647 w 118"/>
                <a:gd name="T107" fmla="*/ 2147483647 h 60"/>
                <a:gd name="T108" fmla="*/ 2147483647 w 118"/>
                <a:gd name="T109" fmla="*/ 2147483647 h 60"/>
                <a:gd name="T110" fmla="*/ 2147483647 w 118"/>
                <a:gd name="T111" fmla="*/ 2147483647 h 60"/>
                <a:gd name="T112" fmla="*/ 2147483647 w 118"/>
                <a:gd name="T113" fmla="*/ 2147483647 h 60"/>
                <a:gd name="T114" fmla="*/ 2147483647 w 118"/>
                <a:gd name="T115" fmla="*/ 2147483647 h 60"/>
                <a:gd name="T116" fmla="*/ 2147483647 w 118"/>
                <a:gd name="T117" fmla="*/ 2147483647 h 60"/>
                <a:gd name="T118" fmla="*/ 2147483647 w 118"/>
                <a:gd name="T119" fmla="*/ 0 h 60"/>
                <a:gd name="T120" fmla="*/ 2147483647 w 118"/>
                <a:gd name="T121" fmla="*/ 2147483647 h 60"/>
                <a:gd name="T122" fmla="*/ 2147483647 w 118"/>
                <a:gd name="T123" fmla="*/ 0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8"/>
                <a:gd name="T187" fmla="*/ 0 h 60"/>
                <a:gd name="T188" fmla="*/ 118 w 118"/>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8" h="60">
                  <a:moveTo>
                    <a:pt x="88" y="2"/>
                  </a:moveTo>
                  <a:lnTo>
                    <a:pt x="88" y="2"/>
                  </a:lnTo>
                  <a:lnTo>
                    <a:pt x="88" y="8"/>
                  </a:lnTo>
                  <a:lnTo>
                    <a:pt x="82" y="8"/>
                  </a:lnTo>
                  <a:lnTo>
                    <a:pt x="78" y="6"/>
                  </a:lnTo>
                  <a:lnTo>
                    <a:pt x="78" y="10"/>
                  </a:lnTo>
                  <a:lnTo>
                    <a:pt x="72" y="12"/>
                  </a:lnTo>
                  <a:lnTo>
                    <a:pt x="70" y="10"/>
                  </a:lnTo>
                  <a:lnTo>
                    <a:pt x="66" y="8"/>
                  </a:lnTo>
                  <a:lnTo>
                    <a:pt x="68" y="16"/>
                  </a:lnTo>
                  <a:lnTo>
                    <a:pt x="62" y="14"/>
                  </a:lnTo>
                  <a:lnTo>
                    <a:pt x="60" y="6"/>
                  </a:lnTo>
                  <a:lnTo>
                    <a:pt x="60" y="8"/>
                  </a:lnTo>
                  <a:lnTo>
                    <a:pt x="56" y="8"/>
                  </a:lnTo>
                  <a:lnTo>
                    <a:pt x="54" y="8"/>
                  </a:lnTo>
                  <a:lnTo>
                    <a:pt x="54" y="10"/>
                  </a:lnTo>
                  <a:lnTo>
                    <a:pt x="52" y="12"/>
                  </a:lnTo>
                  <a:lnTo>
                    <a:pt x="52" y="16"/>
                  </a:lnTo>
                  <a:lnTo>
                    <a:pt x="48" y="16"/>
                  </a:lnTo>
                  <a:lnTo>
                    <a:pt x="48" y="12"/>
                  </a:lnTo>
                  <a:lnTo>
                    <a:pt x="46" y="8"/>
                  </a:lnTo>
                  <a:lnTo>
                    <a:pt x="44" y="8"/>
                  </a:lnTo>
                  <a:lnTo>
                    <a:pt x="44" y="14"/>
                  </a:lnTo>
                  <a:lnTo>
                    <a:pt x="44" y="20"/>
                  </a:lnTo>
                  <a:lnTo>
                    <a:pt x="36" y="20"/>
                  </a:lnTo>
                  <a:lnTo>
                    <a:pt x="38" y="22"/>
                  </a:lnTo>
                  <a:lnTo>
                    <a:pt x="36" y="24"/>
                  </a:lnTo>
                  <a:lnTo>
                    <a:pt x="32" y="26"/>
                  </a:lnTo>
                  <a:lnTo>
                    <a:pt x="32" y="22"/>
                  </a:lnTo>
                  <a:lnTo>
                    <a:pt x="32" y="20"/>
                  </a:lnTo>
                  <a:lnTo>
                    <a:pt x="32" y="18"/>
                  </a:lnTo>
                  <a:lnTo>
                    <a:pt x="32" y="12"/>
                  </a:lnTo>
                  <a:lnTo>
                    <a:pt x="30" y="12"/>
                  </a:lnTo>
                  <a:lnTo>
                    <a:pt x="26" y="6"/>
                  </a:lnTo>
                  <a:lnTo>
                    <a:pt x="18" y="6"/>
                  </a:lnTo>
                  <a:lnTo>
                    <a:pt x="24" y="12"/>
                  </a:lnTo>
                  <a:lnTo>
                    <a:pt x="24" y="14"/>
                  </a:lnTo>
                  <a:lnTo>
                    <a:pt x="24" y="16"/>
                  </a:lnTo>
                  <a:lnTo>
                    <a:pt x="22" y="16"/>
                  </a:lnTo>
                  <a:lnTo>
                    <a:pt x="18" y="12"/>
                  </a:lnTo>
                  <a:lnTo>
                    <a:pt x="14" y="12"/>
                  </a:lnTo>
                  <a:lnTo>
                    <a:pt x="12" y="14"/>
                  </a:lnTo>
                  <a:lnTo>
                    <a:pt x="10" y="14"/>
                  </a:lnTo>
                  <a:lnTo>
                    <a:pt x="12" y="18"/>
                  </a:lnTo>
                  <a:lnTo>
                    <a:pt x="8" y="20"/>
                  </a:lnTo>
                  <a:lnTo>
                    <a:pt x="4" y="20"/>
                  </a:lnTo>
                  <a:lnTo>
                    <a:pt x="2" y="22"/>
                  </a:lnTo>
                  <a:lnTo>
                    <a:pt x="0" y="24"/>
                  </a:lnTo>
                  <a:lnTo>
                    <a:pt x="4" y="26"/>
                  </a:lnTo>
                  <a:lnTo>
                    <a:pt x="8" y="26"/>
                  </a:lnTo>
                  <a:lnTo>
                    <a:pt x="14" y="22"/>
                  </a:lnTo>
                  <a:lnTo>
                    <a:pt x="18" y="18"/>
                  </a:lnTo>
                  <a:lnTo>
                    <a:pt x="22" y="20"/>
                  </a:lnTo>
                  <a:lnTo>
                    <a:pt x="20" y="22"/>
                  </a:lnTo>
                  <a:lnTo>
                    <a:pt x="20" y="26"/>
                  </a:lnTo>
                  <a:lnTo>
                    <a:pt x="20" y="28"/>
                  </a:lnTo>
                  <a:lnTo>
                    <a:pt x="24" y="30"/>
                  </a:lnTo>
                  <a:lnTo>
                    <a:pt x="14" y="30"/>
                  </a:lnTo>
                  <a:lnTo>
                    <a:pt x="12" y="32"/>
                  </a:lnTo>
                  <a:lnTo>
                    <a:pt x="4" y="34"/>
                  </a:lnTo>
                  <a:lnTo>
                    <a:pt x="4" y="38"/>
                  </a:lnTo>
                  <a:lnTo>
                    <a:pt x="12" y="36"/>
                  </a:lnTo>
                  <a:lnTo>
                    <a:pt x="16" y="36"/>
                  </a:lnTo>
                  <a:lnTo>
                    <a:pt x="20" y="36"/>
                  </a:lnTo>
                  <a:lnTo>
                    <a:pt x="26" y="40"/>
                  </a:lnTo>
                  <a:lnTo>
                    <a:pt x="30" y="46"/>
                  </a:lnTo>
                  <a:lnTo>
                    <a:pt x="18" y="48"/>
                  </a:lnTo>
                  <a:lnTo>
                    <a:pt x="20" y="54"/>
                  </a:lnTo>
                  <a:lnTo>
                    <a:pt x="24" y="52"/>
                  </a:lnTo>
                  <a:lnTo>
                    <a:pt x="28" y="52"/>
                  </a:lnTo>
                  <a:lnTo>
                    <a:pt x="30" y="50"/>
                  </a:lnTo>
                  <a:lnTo>
                    <a:pt x="34" y="50"/>
                  </a:lnTo>
                  <a:lnTo>
                    <a:pt x="46" y="54"/>
                  </a:lnTo>
                  <a:lnTo>
                    <a:pt x="46" y="56"/>
                  </a:lnTo>
                  <a:lnTo>
                    <a:pt x="46" y="58"/>
                  </a:lnTo>
                  <a:lnTo>
                    <a:pt x="44" y="60"/>
                  </a:lnTo>
                  <a:lnTo>
                    <a:pt x="68" y="60"/>
                  </a:lnTo>
                  <a:lnTo>
                    <a:pt x="70" y="58"/>
                  </a:lnTo>
                  <a:lnTo>
                    <a:pt x="72" y="56"/>
                  </a:lnTo>
                  <a:lnTo>
                    <a:pt x="70" y="56"/>
                  </a:lnTo>
                  <a:lnTo>
                    <a:pt x="68" y="50"/>
                  </a:lnTo>
                  <a:lnTo>
                    <a:pt x="72" y="52"/>
                  </a:lnTo>
                  <a:lnTo>
                    <a:pt x="78" y="54"/>
                  </a:lnTo>
                  <a:lnTo>
                    <a:pt x="80" y="52"/>
                  </a:lnTo>
                  <a:lnTo>
                    <a:pt x="84" y="50"/>
                  </a:lnTo>
                  <a:lnTo>
                    <a:pt x="84" y="52"/>
                  </a:lnTo>
                  <a:lnTo>
                    <a:pt x="86" y="52"/>
                  </a:lnTo>
                  <a:lnTo>
                    <a:pt x="92" y="48"/>
                  </a:lnTo>
                  <a:lnTo>
                    <a:pt x="96" y="46"/>
                  </a:lnTo>
                  <a:lnTo>
                    <a:pt x="100" y="46"/>
                  </a:lnTo>
                  <a:lnTo>
                    <a:pt x="108" y="38"/>
                  </a:lnTo>
                  <a:lnTo>
                    <a:pt x="114" y="32"/>
                  </a:lnTo>
                  <a:lnTo>
                    <a:pt x="112" y="32"/>
                  </a:lnTo>
                  <a:lnTo>
                    <a:pt x="114" y="32"/>
                  </a:lnTo>
                  <a:lnTo>
                    <a:pt x="114" y="34"/>
                  </a:lnTo>
                  <a:lnTo>
                    <a:pt x="116" y="34"/>
                  </a:lnTo>
                  <a:lnTo>
                    <a:pt x="118" y="32"/>
                  </a:lnTo>
                  <a:lnTo>
                    <a:pt x="116" y="20"/>
                  </a:lnTo>
                  <a:lnTo>
                    <a:pt x="112" y="18"/>
                  </a:lnTo>
                  <a:lnTo>
                    <a:pt x="110" y="18"/>
                  </a:lnTo>
                  <a:lnTo>
                    <a:pt x="106" y="20"/>
                  </a:lnTo>
                  <a:lnTo>
                    <a:pt x="104" y="20"/>
                  </a:lnTo>
                  <a:lnTo>
                    <a:pt x="104" y="18"/>
                  </a:lnTo>
                  <a:lnTo>
                    <a:pt x="106" y="16"/>
                  </a:lnTo>
                  <a:lnTo>
                    <a:pt x="106" y="14"/>
                  </a:lnTo>
                  <a:lnTo>
                    <a:pt x="106" y="12"/>
                  </a:lnTo>
                  <a:lnTo>
                    <a:pt x="102" y="10"/>
                  </a:lnTo>
                  <a:lnTo>
                    <a:pt x="108" y="6"/>
                  </a:lnTo>
                  <a:lnTo>
                    <a:pt x="108" y="4"/>
                  </a:lnTo>
                  <a:lnTo>
                    <a:pt x="100" y="6"/>
                  </a:lnTo>
                  <a:lnTo>
                    <a:pt x="102" y="8"/>
                  </a:lnTo>
                  <a:lnTo>
                    <a:pt x="100" y="8"/>
                  </a:lnTo>
                  <a:lnTo>
                    <a:pt x="96" y="6"/>
                  </a:lnTo>
                  <a:lnTo>
                    <a:pt x="96" y="4"/>
                  </a:lnTo>
                  <a:lnTo>
                    <a:pt x="94" y="2"/>
                  </a:lnTo>
                  <a:lnTo>
                    <a:pt x="88" y="2"/>
                  </a:lnTo>
                  <a:close/>
                  <a:moveTo>
                    <a:pt x="14" y="0"/>
                  </a:moveTo>
                  <a:lnTo>
                    <a:pt x="14" y="4"/>
                  </a:lnTo>
                  <a:lnTo>
                    <a:pt x="24" y="4"/>
                  </a:lnTo>
                  <a:lnTo>
                    <a:pt x="22" y="0"/>
                  </a:lnTo>
                  <a:lnTo>
                    <a:pt x="1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4" name="Freeform 704">
              <a:extLst>
                <a:ext uri="{FF2B5EF4-FFF2-40B4-BE49-F238E27FC236}">
                  <a16:creationId xmlns:a16="http://schemas.microsoft.com/office/drawing/2014/main" id="{46F63642-8D4E-4E20-AE6D-81CEA443E76B}"/>
                </a:ext>
              </a:extLst>
            </p:cNvPr>
            <p:cNvSpPr>
              <a:spLocks noEditPoints="1"/>
            </p:cNvSpPr>
            <p:nvPr/>
          </p:nvSpPr>
          <p:spPr bwMode="gray">
            <a:xfrm>
              <a:off x="8091640" y="4736171"/>
              <a:ext cx="51793" cy="54149"/>
            </a:xfrm>
            <a:custGeom>
              <a:avLst/>
              <a:gdLst>
                <a:gd name="T0" fmla="*/ 2147483647 w 28"/>
                <a:gd name="T1" fmla="*/ 2147483647 h 30"/>
                <a:gd name="T2" fmla="*/ 2147483647 w 28"/>
                <a:gd name="T3" fmla="*/ 2147483647 h 30"/>
                <a:gd name="T4" fmla="*/ 2147483647 w 28"/>
                <a:gd name="T5" fmla="*/ 2147483647 h 30"/>
                <a:gd name="T6" fmla="*/ 2147483647 w 28"/>
                <a:gd name="T7" fmla="*/ 2147483647 h 30"/>
                <a:gd name="T8" fmla="*/ 0 w 28"/>
                <a:gd name="T9" fmla="*/ 2147483647 h 30"/>
                <a:gd name="T10" fmla="*/ 0 w 28"/>
                <a:gd name="T11" fmla="*/ 2147483647 h 30"/>
                <a:gd name="T12" fmla="*/ 2147483647 w 28"/>
                <a:gd name="T13" fmla="*/ 2147483647 h 30"/>
                <a:gd name="T14" fmla="*/ 2147483647 w 28"/>
                <a:gd name="T15" fmla="*/ 2147483647 h 30"/>
                <a:gd name="T16" fmla="*/ 2147483647 w 28"/>
                <a:gd name="T17" fmla="*/ 2147483647 h 30"/>
                <a:gd name="T18" fmla="*/ 2147483647 w 28"/>
                <a:gd name="T19" fmla="*/ 2147483647 h 30"/>
                <a:gd name="T20" fmla="*/ 2147483647 w 28"/>
                <a:gd name="T21" fmla="*/ 2147483647 h 30"/>
                <a:gd name="T22" fmla="*/ 2147483647 w 28"/>
                <a:gd name="T23" fmla="*/ 2147483647 h 30"/>
                <a:gd name="T24" fmla="*/ 2147483647 w 28"/>
                <a:gd name="T25" fmla="*/ 2147483647 h 30"/>
                <a:gd name="T26" fmla="*/ 2147483647 w 28"/>
                <a:gd name="T27" fmla="*/ 2147483647 h 30"/>
                <a:gd name="T28" fmla="*/ 2147483647 w 28"/>
                <a:gd name="T29" fmla="*/ 2147483647 h 30"/>
                <a:gd name="T30" fmla="*/ 2147483647 w 28"/>
                <a:gd name="T31" fmla="*/ 2147483647 h 30"/>
                <a:gd name="T32" fmla="*/ 2147483647 w 28"/>
                <a:gd name="T33" fmla="*/ 2147483647 h 30"/>
                <a:gd name="T34" fmla="*/ 2147483647 w 28"/>
                <a:gd name="T35" fmla="*/ 2147483647 h 30"/>
                <a:gd name="T36" fmla="*/ 2147483647 w 28"/>
                <a:gd name="T37" fmla="*/ 2147483647 h 30"/>
                <a:gd name="T38" fmla="*/ 2147483647 w 28"/>
                <a:gd name="T39" fmla="*/ 2147483647 h 30"/>
                <a:gd name="T40" fmla="*/ 2147483647 w 28"/>
                <a:gd name="T41" fmla="*/ 2147483647 h 30"/>
                <a:gd name="T42" fmla="*/ 2147483647 w 28"/>
                <a:gd name="T43" fmla="*/ 2147483647 h 30"/>
                <a:gd name="T44" fmla="*/ 2147483647 w 28"/>
                <a:gd name="T45" fmla="*/ 0 h 30"/>
                <a:gd name="T46" fmla="*/ 2147483647 w 28"/>
                <a:gd name="T47" fmla="*/ 2147483647 h 30"/>
                <a:gd name="T48" fmla="*/ 2147483647 w 28"/>
                <a:gd name="T49" fmla="*/ 2147483647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30"/>
                <a:gd name="T77" fmla="*/ 28 w 28"/>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30">
                  <a:moveTo>
                    <a:pt x="8" y="20"/>
                  </a:moveTo>
                  <a:lnTo>
                    <a:pt x="8" y="20"/>
                  </a:lnTo>
                  <a:lnTo>
                    <a:pt x="2" y="24"/>
                  </a:lnTo>
                  <a:lnTo>
                    <a:pt x="0" y="26"/>
                  </a:lnTo>
                  <a:lnTo>
                    <a:pt x="0" y="28"/>
                  </a:lnTo>
                  <a:lnTo>
                    <a:pt x="4" y="28"/>
                  </a:lnTo>
                  <a:lnTo>
                    <a:pt x="14" y="30"/>
                  </a:lnTo>
                  <a:lnTo>
                    <a:pt x="14" y="22"/>
                  </a:lnTo>
                  <a:lnTo>
                    <a:pt x="8" y="20"/>
                  </a:lnTo>
                  <a:close/>
                  <a:moveTo>
                    <a:pt x="22" y="2"/>
                  </a:moveTo>
                  <a:lnTo>
                    <a:pt x="22" y="2"/>
                  </a:lnTo>
                  <a:lnTo>
                    <a:pt x="14" y="8"/>
                  </a:lnTo>
                  <a:lnTo>
                    <a:pt x="12" y="12"/>
                  </a:lnTo>
                  <a:lnTo>
                    <a:pt x="16" y="12"/>
                  </a:lnTo>
                  <a:lnTo>
                    <a:pt x="26" y="4"/>
                  </a:lnTo>
                  <a:lnTo>
                    <a:pt x="28" y="2"/>
                  </a:lnTo>
                  <a:lnTo>
                    <a:pt x="26" y="0"/>
                  </a:lnTo>
                  <a:lnTo>
                    <a:pt x="2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5" name="Freeform 705">
              <a:extLst>
                <a:ext uri="{FF2B5EF4-FFF2-40B4-BE49-F238E27FC236}">
                  <a16:creationId xmlns:a16="http://schemas.microsoft.com/office/drawing/2014/main" id="{0315476D-68C5-4847-A86F-5BEFE37BE049}"/>
                </a:ext>
              </a:extLst>
            </p:cNvPr>
            <p:cNvSpPr>
              <a:spLocks/>
            </p:cNvSpPr>
            <p:nvPr/>
          </p:nvSpPr>
          <p:spPr bwMode="gray">
            <a:xfrm>
              <a:off x="4852282" y="2598479"/>
              <a:ext cx="16481" cy="18834"/>
            </a:xfrm>
            <a:custGeom>
              <a:avLst/>
              <a:gdLst>
                <a:gd name="T0" fmla="*/ 2147483647 w 8"/>
                <a:gd name="T1" fmla="*/ 0 h 10"/>
                <a:gd name="T2" fmla="*/ 2147483647 w 8"/>
                <a:gd name="T3" fmla="*/ 0 h 10"/>
                <a:gd name="T4" fmla="*/ 2147483647 w 8"/>
                <a:gd name="T5" fmla="*/ 2147483647 h 10"/>
                <a:gd name="T6" fmla="*/ 2147483647 w 8"/>
                <a:gd name="T7" fmla="*/ 2147483647 h 10"/>
                <a:gd name="T8" fmla="*/ 0 w 8"/>
                <a:gd name="T9" fmla="*/ 2147483647 h 10"/>
                <a:gd name="T10" fmla="*/ 0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2147483647 w 8"/>
                <a:gd name="T25" fmla="*/ 0 h 10"/>
                <a:gd name="T26" fmla="*/ 2147483647 w 8"/>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0"/>
                <a:gd name="T44" fmla="*/ 8 w 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0">
                  <a:moveTo>
                    <a:pt x="4" y="0"/>
                  </a:moveTo>
                  <a:lnTo>
                    <a:pt x="4" y="0"/>
                  </a:lnTo>
                  <a:lnTo>
                    <a:pt x="4" y="2"/>
                  </a:lnTo>
                  <a:lnTo>
                    <a:pt x="0" y="2"/>
                  </a:lnTo>
                  <a:lnTo>
                    <a:pt x="2" y="6"/>
                  </a:lnTo>
                  <a:lnTo>
                    <a:pt x="4" y="10"/>
                  </a:lnTo>
                  <a:lnTo>
                    <a:pt x="6" y="8"/>
                  </a:lnTo>
                  <a:lnTo>
                    <a:pt x="8" y="8"/>
                  </a:lnTo>
                  <a:lnTo>
                    <a:pt x="8" y="0"/>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6" name="Freeform 706">
              <a:extLst>
                <a:ext uri="{FF2B5EF4-FFF2-40B4-BE49-F238E27FC236}">
                  <a16:creationId xmlns:a16="http://schemas.microsoft.com/office/drawing/2014/main" id="{2FE67918-C09C-446A-9257-8C8084CD74C7}"/>
                </a:ext>
              </a:extLst>
            </p:cNvPr>
            <p:cNvSpPr>
              <a:spLocks/>
            </p:cNvSpPr>
            <p:nvPr/>
          </p:nvSpPr>
          <p:spPr bwMode="gray">
            <a:xfrm>
              <a:off x="4849928" y="2622020"/>
              <a:ext cx="25896" cy="16480"/>
            </a:xfrm>
            <a:custGeom>
              <a:avLst/>
              <a:gdLst>
                <a:gd name="T0" fmla="*/ 2147483647 w 14"/>
                <a:gd name="T1" fmla="*/ 0 h 10"/>
                <a:gd name="T2" fmla="*/ 2147483647 w 14"/>
                <a:gd name="T3" fmla="*/ 0 h 10"/>
                <a:gd name="T4" fmla="*/ 2147483647 w 14"/>
                <a:gd name="T5" fmla="*/ 2147483647 h 10"/>
                <a:gd name="T6" fmla="*/ 0 w 14"/>
                <a:gd name="T7" fmla="*/ 2147483647 h 10"/>
                <a:gd name="T8" fmla="*/ 0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0 h 10"/>
                <a:gd name="T34" fmla="*/ 2147483647 w 14"/>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0"/>
                <a:gd name="T56" fmla="*/ 14 w 1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0">
                  <a:moveTo>
                    <a:pt x="4" y="0"/>
                  </a:moveTo>
                  <a:lnTo>
                    <a:pt x="4" y="0"/>
                  </a:lnTo>
                  <a:lnTo>
                    <a:pt x="2" y="2"/>
                  </a:lnTo>
                  <a:lnTo>
                    <a:pt x="0" y="4"/>
                  </a:lnTo>
                  <a:lnTo>
                    <a:pt x="0" y="8"/>
                  </a:lnTo>
                  <a:lnTo>
                    <a:pt x="4" y="10"/>
                  </a:lnTo>
                  <a:lnTo>
                    <a:pt x="8" y="10"/>
                  </a:lnTo>
                  <a:lnTo>
                    <a:pt x="12" y="10"/>
                  </a:lnTo>
                  <a:lnTo>
                    <a:pt x="12" y="6"/>
                  </a:lnTo>
                  <a:lnTo>
                    <a:pt x="14" y="6"/>
                  </a:lnTo>
                  <a:lnTo>
                    <a:pt x="14" y="2"/>
                  </a:lnTo>
                  <a:lnTo>
                    <a:pt x="12" y="2"/>
                  </a:lnTo>
                  <a:lnTo>
                    <a:pt x="4"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7" name="Freeform 708">
              <a:extLst>
                <a:ext uri="{FF2B5EF4-FFF2-40B4-BE49-F238E27FC236}">
                  <a16:creationId xmlns:a16="http://schemas.microsoft.com/office/drawing/2014/main" id="{95A8DACE-1811-4D1F-BE69-D162673635A9}"/>
                </a:ext>
              </a:extLst>
            </p:cNvPr>
            <p:cNvSpPr>
              <a:spLocks noEditPoints="1"/>
            </p:cNvSpPr>
            <p:nvPr/>
          </p:nvSpPr>
          <p:spPr bwMode="gray">
            <a:xfrm>
              <a:off x="2443953" y="4258250"/>
              <a:ext cx="355482" cy="169510"/>
            </a:xfrm>
            <a:custGeom>
              <a:avLst/>
              <a:gdLst>
                <a:gd name="T0" fmla="*/ 2147483647 w 192"/>
                <a:gd name="T1" fmla="*/ 2147483647 h 92"/>
                <a:gd name="T2" fmla="*/ 2147483647 w 192"/>
                <a:gd name="T3" fmla="*/ 2147483647 h 92"/>
                <a:gd name="T4" fmla="*/ 2147483647 w 192"/>
                <a:gd name="T5" fmla="*/ 2147483647 h 92"/>
                <a:gd name="T6" fmla="*/ 2147483647 w 192"/>
                <a:gd name="T7" fmla="*/ 2147483647 h 92"/>
                <a:gd name="T8" fmla="*/ 2147483647 w 192"/>
                <a:gd name="T9" fmla="*/ 2147483647 h 92"/>
                <a:gd name="T10" fmla="*/ 2147483647 w 192"/>
                <a:gd name="T11" fmla="*/ 2147483647 h 92"/>
                <a:gd name="T12" fmla="*/ 2147483647 w 192"/>
                <a:gd name="T13" fmla="*/ 2147483647 h 92"/>
                <a:gd name="T14" fmla="*/ 2147483647 w 192"/>
                <a:gd name="T15" fmla="*/ 2147483647 h 92"/>
                <a:gd name="T16" fmla="*/ 2147483647 w 192"/>
                <a:gd name="T17" fmla="*/ 2147483647 h 92"/>
                <a:gd name="T18" fmla="*/ 2147483647 w 192"/>
                <a:gd name="T19" fmla="*/ 2147483647 h 92"/>
                <a:gd name="T20" fmla="*/ 2147483647 w 192"/>
                <a:gd name="T21" fmla="*/ 2147483647 h 92"/>
                <a:gd name="T22" fmla="*/ 2147483647 w 192"/>
                <a:gd name="T23" fmla="*/ 2147483647 h 92"/>
                <a:gd name="T24" fmla="*/ 2147483647 w 192"/>
                <a:gd name="T25" fmla="*/ 2147483647 h 92"/>
                <a:gd name="T26" fmla="*/ 2147483647 w 192"/>
                <a:gd name="T27" fmla="*/ 2147483647 h 92"/>
                <a:gd name="T28" fmla="*/ 2147483647 w 192"/>
                <a:gd name="T29" fmla="*/ 2147483647 h 92"/>
                <a:gd name="T30" fmla="*/ 2147483647 w 192"/>
                <a:gd name="T31" fmla="*/ 2147483647 h 92"/>
                <a:gd name="T32" fmla="*/ 2147483647 w 192"/>
                <a:gd name="T33" fmla="*/ 2147483647 h 92"/>
                <a:gd name="T34" fmla="*/ 2147483647 w 192"/>
                <a:gd name="T35" fmla="*/ 2147483647 h 92"/>
                <a:gd name="T36" fmla="*/ 2147483647 w 192"/>
                <a:gd name="T37" fmla="*/ 2147483647 h 92"/>
                <a:gd name="T38" fmla="*/ 2147483647 w 192"/>
                <a:gd name="T39" fmla="*/ 2147483647 h 92"/>
                <a:gd name="T40" fmla="*/ 2147483647 w 192"/>
                <a:gd name="T41" fmla="*/ 2147483647 h 92"/>
                <a:gd name="T42" fmla="*/ 2147483647 w 192"/>
                <a:gd name="T43" fmla="*/ 2147483647 h 92"/>
                <a:gd name="T44" fmla="*/ 2147483647 w 192"/>
                <a:gd name="T45" fmla="*/ 2147483647 h 92"/>
                <a:gd name="T46" fmla="*/ 2147483647 w 192"/>
                <a:gd name="T47" fmla="*/ 2147483647 h 92"/>
                <a:gd name="T48" fmla="*/ 2147483647 w 192"/>
                <a:gd name="T49" fmla="*/ 2147483647 h 92"/>
                <a:gd name="T50" fmla="*/ 2147483647 w 192"/>
                <a:gd name="T51" fmla="*/ 2147483647 h 92"/>
                <a:gd name="T52" fmla="*/ 2147483647 w 192"/>
                <a:gd name="T53" fmla="*/ 2147483647 h 92"/>
                <a:gd name="T54" fmla="*/ 2147483647 w 192"/>
                <a:gd name="T55" fmla="*/ 0 h 92"/>
                <a:gd name="T56" fmla="*/ 2147483647 w 192"/>
                <a:gd name="T57" fmla="*/ 2147483647 h 92"/>
                <a:gd name="T58" fmla="*/ 2147483647 w 192"/>
                <a:gd name="T59" fmla="*/ 2147483647 h 92"/>
                <a:gd name="T60" fmla="*/ 2147483647 w 192"/>
                <a:gd name="T61" fmla="*/ 2147483647 h 92"/>
                <a:gd name="T62" fmla="*/ 2147483647 w 192"/>
                <a:gd name="T63" fmla="*/ 2147483647 h 92"/>
                <a:gd name="T64" fmla="*/ 2147483647 w 192"/>
                <a:gd name="T65" fmla="*/ 2147483647 h 92"/>
                <a:gd name="T66" fmla="*/ 2147483647 w 192"/>
                <a:gd name="T67" fmla="*/ 2147483647 h 92"/>
                <a:gd name="T68" fmla="*/ 2147483647 w 192"/>
                <a:gd name="T69" fmla="*/ 2147483647 h 92"/>
                <a:gd name="T70" fmla="*/ 2147483647 w 192"/>
                <a:gd name="T71" fmla="*/ 2147483647 h 92"/>
                <a:gd name="T72" fmla="*/ 2147483647 w 192"/>
                <a:gd name="T73" fmla="*/ 2147483647 h 92"/>
                <a:gd name="T74" fmla="*/ 2147483647 w 192"/>
                <a:gd name="T75" fmla="*/ 2147483647 h 92"/>
                <a:gd name="T76" fmla="*/ 2147483647 w 192"/>
                <a:gd name="T77" fmla="*/ 2147483647 h 92"/>
                <a:gd name="T78" fmla="*/ 2147483647 w 192"/>
                <a:gd name="T79" fmla="*/ 2147483647 h 92"/>
                <a:gd name="T80" fmla="*/ 2147483647 w 192"/>
                <a:gd name="T81" fmla="*/ 2147483647 h 92"/>
                <a:gd name="T82" fmla="*/ 2147483647 w 192"/>
                <a:gd name="T83" fmla="*/ 2147483647 h 92"/>
                <a:gd name="T84" fmla="*/ 2147483647 w 192"/>
                <a:gd name="T85" fmla="*/ 2147483647 h 92"/>
                <a:gd name="T86" fmla="*/ 2147483647 w 192"/>
                <a:gd name="T87" fmla="*/ 2147483647 h 92"/>
                <a:gd name="T88" fmla="*/ 2147483647 w 192"/>
                <a:gd name="T89" fmla="*/ 2147483647 h 92"/>
                <a:gd name="T90" fmla="*/ 2147483647 w 192"/>
                <a:gd name="T91" fmla="*/ 2147483647 h 92"/>
                <a:gd name="T92" fmla="*/ 2147483647 w 192"/>
                <a:gd name="T93" fmla="*/ 2147483647 h 92"/>
                <a:gd name="T94" fmla="*/ 2147483647 w 192"/>
                <a:gd name="T95" fmla="*/ 2147483647 h 92"/>
                <a:gd name="T96" fmla="*/ 0 w 192"/>
                <a:gd name="T97" fmla="*/ 2147483647 h 92"/>
                <a:gd name="T98" fmla="*/ 2147483647 w 192"/>
                <a:gd name="T99" fmla="*/ 2147483647 h 92"/>
                <a:gd name="T100" fmla="*/ 2147483647 w 192"/>
                <a:gd name="T101" fmla="*/ 2147483647 h 92"/>
                <a:gd name="T102" fmla="*/ 0 w 192"/>
                <a:gd name="T103" fmla="*/ 2147483647 h 92"/>
                <a:gd name="T104" fmla="*/ 0 w 192"/>
                <a:gd name="T105" fmla="*/ 2147483647 h 92"/>
                <a:gd name="T106" fmla="*/ 2147483647 w 192"/>
                <a:gd name="T107" fmla="*/ 2147483647 h 92"/>
                <a:gd name="T108" fmla="*/ 2147483647 w 192"/>
                <a:gd name="T109" fmla="*/ 2147483647 h 92"/>
                <a:gd name="T110" fmla="*/ 0 w 192"/>
                <a:gd name="T111" fmla="*/ 214748364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2"/>
                <a:gd name="T169" fmla="*/ 0 h 92"/>
                <a:gd name="T170" fmla="*/ 192 w 192"/>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2" h="92">
                  <a:moveTo>
                    <a:pt x="136" y="74"/>
                  </a:moveTo>
                  <a:lnTo>
                    <a:pt x="136" y="78"/>
                  </a:lnTo>
                  <a:lnTo>
                    <a:pt x="138" y="80"/>
                  </a:lnTo>
                  <a:lnTo>
                    <a:pt x="134" y="82"/>
                  </a:lnTo>
                  <a:lnTo>
                    <a:pt x="134" y="84"/>
                  </a:lnTo>
                  <a:lnTo>
                    <a:pt x="138" y="86"/>
                  </a:lnTo>
                  <a:lnTo>
                    <a:pt x="142" y="84"/>
                  </a:lnTo>
                  <a:lnTo>
                    <a:pt x="146" y="90"/>
                  </a:lnTo>
                  <a:lnTo>
                    <a:pt x="148" y="92"/>
                  </a:lnTo>
                  <a:lnTo>
                    <a:pt x="150" y="92"/>
                  </a:lnTo>
                  <a:lnTo>
                    <a:pt x="152" y="90"/>
                  </a:lnTo>
                  <a:lnTo>
                    <a:pt x="156" y="86"/>
                  </a:lnTo>
                  <a:lnTo>
                    <a:pt x="158" y="78"/>
                  </a:lnTo>
                  <a:lnTo>
                    <a:pt x="162" y="74"/>
                  </a:lnTo>
                  <a:lnTo>
                    <a:pt x="168" y="68"/>
                  </a:lnTo>
                  <a:lnTo>
                    <a:pt x="172" y="64"/>
                  </a:lnTo>
                  <a:lnTo>
                    <a:pt x="182" y="58"/>
                  </a:lnTo>
                  <a:lnTo>
                    <a:pt x="186" y="54"/>
                  </a:lnTo>
                  <a:lnTo>
                    <a:pt x="190" y="48"/>
                  </a:lnTo>
                  <a:lnTo>
                    <a:pt x="190" y="44"/>
                  </a:lnTo>
                  <a:lnTo>
                    <a:pt x="192" y="44"/>
                  </a:lnTo>
                  <a:lnTo>
                    <a:pt x="192" y="36"/>
                  </a:lnTo>
                  <a:lnTo>
                    <a:pt x="190" y="28"/>
                  </a:lnTo>
                  <a:lnTo>
                    <a:pt x="186" y="26"/>
                  </a:lnTo>
                  <a:lnTo>
                    <a:pt x="192" y="22"/>
                  </a:lnTo>
                  <a:lnTo>
                    <a:pt x="188" y="22"/>
                  </a:lnTo>
                  <a:lnTo>
                    <a:pt x="184" y="18"/>
                  </a:lnTo>
                  <a:lnTo>
                    <a:pt x="182" y="16"/>
                  </a:lnTo>
                  <a:lnTo>
                    <a:pt x="180" y="18"/>
                  </a:lnTo>
                  <a:lnTo>
                    <a:pt x="170" y="16"/>
                  </a:lnTo>
                  <a:lnTo>
                    <a:pt x="168" y="16"/>
                  </a:lnTo>
                  <a:lnTo>
                    <a:pt x="166" y="12"/>
                  </a:lnTo>
                  <a:lnTo>
                    <a:pt x="164" y="8"/>
                  </a:lnTo>
                  <a:lnTo>
                    <a:pt x="156" y="4"/>
                  </a:lnTo>
                  <a:lnTo>
                    <a:pt x="154" y="2"/>
                  </a:lnTo>
                  <a:lnTo>
                    <a:pt x="154" y="0"/>
                  </a:lnTo>
                  <a:lnTo>
                    <a:pt x="142" y="8"/>
                  </a:lnTo>
                  <a:lnTo>
                    <a:pt x="144" y="10"/>
                  </a:lnTo>
                  <a:lnTo>
                    <a:pt x="144" y="14"/>
                  </a:lnTo>
                  <a:lnTo>
                    <a:pt x="142" y="18"/>
                  </a:lnTo>
                  <a:lnTo>
                    <a:pt x="138" y="24"/>
                  </a:lnTo>
                  <a:lnTo>
                    <a:pt x="138" y="28"/>
                  </a:lnTo>
                  <a:lnTo>
                    <a:pt x="138" y="30"/>
                  </a:lnTo>
                  <a:lnTo>
                    <a:pt x="140" y="32"/>
                  </a:lnTo>
                  <a:lnTo>
                    <a:pt x="140" y="34"/>
                  </a:lnTo>
                  <a:lnTo>
                    <a:pt x="136" y="36"/>
                  </a:lnTo>
                  <a:lnTo>
                    <a:pt x="132" y="40"/>
                  </a:lnTo>
                  <a:lnTo>
                    <a:pt x="134" y="42"/>
                  </a:lnTo>
                  <a:lnTo>
                    <a:pt x="136" y="42"/>
                  </a:lnTo>
                  <a:lnTo>
                    <a:pt x="134" y="46"/>
                  </a:lnTo>
                  <a:lnTo>
                    <a:pt x="134" y="50"/>
                  </a:lnTo>
                  <a:lnTo>
                    <a:pt x="134" y="52"/>
                  </a:lnTo>
                  <a:lnTo>
                    <a:pt x="136" y="54"/>
                  </a:lnTo>
                  <a:lnTo>
                    <a:pt x="132" y="60"/>
                  </a:lnTo>
                  <a:lnTo>
                    <a:pt x="138" y="62"/>
                  </a:lnTo>
                  <a:lnTo>
                    <a:pt x="142" y="64"/>
                  </a:lnTo>
                  <a:lnTo>
                    <a:pt x="140" y="66"/>
                  </a:lnTo>
                  <a:lnTo>
                    <a:pt x="142" y="70"/>
                  </a:lnTo>
                  <a:lnTo>
                    <a:pt x="136" y="74"/>
                  </a:lnTo>
                  <a:close/>
                  <a:moveTo>
                    <a:pt x="144" y="60"/>
                  </a:moveTo>
                  <a:lnTo>
                    <a:pt x="144" y="64"/>
                  </a:lnTo>
                  <a:lnTo>
                    <a:pt x="142" y="64"/>
                  </a:lnTo>
                  <a:lnTo>
                    <a:pt x="142" y="62"/>
                  </a:lnTo>
                  <a:lnTo>
                    <a:pt x="144" y="60"/>
                  </a:lnTo>
                  <a:close/>
                  <a:moveTo>
                    <a:pt x="0" y="18"/>
                  </a:moveTo>
                  <a:lnTo>
                    <a:pt x="0" y="18"/>
                  </a:lnTo>
                  <a:lnTo>
                    <a:pt x="2" y="30"/>
                  </a:lnTo>
                  <a:lnTo>
                    <a:pt x="2" y="32"/>
                  </a:lnTo>
                  <a:lnTo>
                    <a:pt x="2" y="34"/>
                  </a:lnTo>
                  <a:lnTo>
                    <a:pt x="0" y="32"/>
                  </a:lnTo>
                  <a:lnTo>
                    <a:pt x="0" y="34"/>
                  </a:lnTo>
                  <a:lnTo>
                    <a:pt x="2" y="36"/>
                  </a:lnTo>
                  <a:lnTo>
                    <a:pt x="6" y="32"/>
                  </a:lnTo>
                  <a:lnTo>
                    <a:pt x="6" y="28"/>
                  </a:lnTo>
                  <a:lnTo>
                    <a:pt x="0" y="1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8" name="Freeform 709">
              <a:extLst>
                <a:ext uri="{FF2B5EF4-FFF2-40B4-BE49-F238E27FC236}">
                  <a16:creationId xmlns:a16="http://schemas.microsoft.com/office/drawing/2014/main" id="{78876FD2-9FBC-45C9-9580-96D9CCED8E87}"/>
                </a:ext>
              </a:extLst>
            </p:cNvPr>
            <p:cNvSpPr>
              <a:spLocks noEditPoints="1"/>
            </p:cNvSpPr>
            <p:nvPr/>
          </p:nvSpPr>
          <p:spPr bwMode="gray">
            <a:xfrm>
              <a:off x="4553303" y="2647918"/>
              <a:ext cx="96521" cy="120069"/>
            </a:xfrm>
            <a:custGeom>
              <a:avLst/>
              <a:gdLst>
                <a:gd name="T0" fmla="*/ 2147483647 w 52"/>
                <a:gd name="T1" fmla="*/ 2147483647 h 66"/>
                <a:gd name="T2" fmla="*/ 2147483647 w 52"/>
                <a:gd name="T3" fmla="*/ 2147483647 h 66"/>
                <a:gd name="T4" fmla="*/ 2147483647 w 52"/>
                <a:gd name="T5" fmla="*/ 2147483647 h 66"/>
                <a:gd name="T6" fmla="*/ 2147483647 w 52"/>
                <a:gd name="T7" fmla="*/ 2147483647 h 66"/>
                <a:gd name="T8" fmla="*/ 2147483647 w 52"/>
                <a:gd name="T9" fmla="*/ 2147483647 h 66"/>
                <a:gd name="T10" fmla="*/ 2147483647 w 52"/>
                <a:gd name="T11" fmla="*/ 2147483647 h 66"/>
                <a:gd name="T12" fmla="*/ 2147483647 w 52"/>
                <a:gd name="T13" fmla="*/ 2147483647 h 66"/>
                <a:gd name="T14" fmla="*/ 2147483647 w 52"/>
                <a:gd name="T15" fmla="*/ 2147483647 h 66"/>
                <a:gd name="T16" fmla="*/ 2147483647 w 52"/>
                <a:gd name="T17" fmla="*/ 2147483647 h 66"/>
                <a:gd name="T18" fmla="*/ 2147483647 w 52"/>
                <a:gd name="T19" fmla="*/ 2147483647 h 66"/>
                <a:gd name="T20" fmla="*/ 2147483647 w 52"/>
                <a:gd name="T21" fmla="*/ 2147483647 h 66"/>
                <a:gd name="T22" fmla="*/ 2147483647 w 52"/>
                <a:gd name="T23" fmla="*/ 2147483647 h 66"/>
                <a:gd name="T24" fmla="*/ 2147483647 w 52"/>
                <a:gd name="T25" fmla="*/ 0 h 66"/>
                <a:gd name="T26" fmla="*/ 2147483647 w 52"/>
                <a:gd name="T27" fmla="*/ 2147483647 h 66"/>
                <a:gd name="T28" fmla="*/ 2147483647 w 52"/>
                <a:gd name="T29" fmla="*/ 2147483647 h 66"/>
                <a:gd name="T30" fmla="*/ 2147483647 w 52"/>
                <a:gd name="T31" fmla="*/ 2147483647 h 66"/>
                <a:gd name="T32" fmla="*/ 2147483647 w 52"/>
                <a:gd name="T33" fmla="*/ 2147483647 h 66"/>
                <a:gd name="T34" fmla="*/ 2147483647 w 52"/>
                <a:gd name="T35" fmla="*/ 2147483647 h 66"/>
                <a:gd name="T36" fmla="*/ 2147483647 w 52"/>
                <a:gd name="T37" fmla="*/ 2147483647 h 66"/>
                <a:gd name="T38" fmla="*/ 2147483647 w 52"/>
                <a:gd name="T39" fmla="*/ 2147483647 h 66"/>
                <a:gd name="T40" fmla="*/ 2147483647 w 52"/>
                <a:gd name="T41" fmla="*/ 2147483647 h 66"/>
                <a:gd name="T42" fmla="*/ 2147483647 w 52"/>
                <a:gd name="T43" fmla="*/ 2147483647 h 66"/>
                <a:gd name="T44" fmla="*/ 2147483647 w 52"/>
                <a:gd name="T45" fmla="*/ 2147483647 h 66"/>
                <a:gd name="T46" fmla="*/ 2147483647 w 52"/>
                <a:gd name="T47" fmla="*/ 2147483647 h 66"/>
                <a:gd name="T48" fmla="*/ 2147483647 w 52"/>
                <a:gd name="T49" fmla="*/ 2147483647 h 66"/>
                <a:gd name="T50" fmla="*/ 0 w 52"/>
                <a:gd name="T51" fmla="*/ 2147483647 h 66"/>
                <a:gd name="T52" fmla="*/ 0 w 52"/>
                <a:gd name="T53" fmla="*/ 2147483647 h 66"/>
                <a:gd name="T54" fmla="*/ 2147483647 w 52"/>
                <a:gd name="T55" fmla="*/ 2147483647 h 66"/>
                <a:gd name="T56" fmla="*/ 2147483647 w 52"/>
                <a:gd name="T57" fmla="*/ 2147483647 h 66"/>
                <a:gd name="T58" fmla="*/ 2147483647 w 52"/>
                <a:gd name="T59" fmla="*/ 2147483647 h 66"/>
                <a:gd name="T60" fmla="*/ 2147483647 w 52"/>
                <a:gd name="T61" fmla="*/ 2147483647 h 66"/>
                <a:gd name="T62" fmla="*/ 2147483647 w 52"/>
                <a:gd name="T63" fmla="*/ 2147483647 h 66"/>
                <a:gd name="T64" fmla="*/ 2147483647 w 52"/>
                <a:gd name="T65" fmla="*/ 2147483647 h 66"/>
                <a:gd name="T66" fmla="*/ 2147483647 w 52"/>
                <a:gd name="T67" fmla="*/ 2147483647 h 66"/>
                <a:gd name="T68" fmla="*/ 2147483647 w 52"/>
                <a:gd name="T69" fmla="*/ 2147483647 h 66"/>
                <a:gd name="T70" fmla="*/ 2147483647 w 52"/>
                <a:gd name="T71" fmla="*/ 2147483647 h 66"/>
                <a:gd name="T72" fmla="*/ 2147483647 w 52"/>
                <a:gd name="T73" fmla="*/ 2147483647 h 66"/>
                <a:gd name="T74" fmla="*/ 2147483647 w 52"/>
                <a:gd name="T75" fmla="*/ 2147483647 h 66"/>
                <a:gd name="T76" fmla="*/ 2147483647 w 52"/>
                <a:gd name="T77" fmla="*/ 2147483647 h 66"/>
                <a:gd name="T78" fmla="*/ 2147483647 w 52"/>
                <a:gd name="T79" fmla="*/ 2147483647 h 66"/>
                <a:gd name="T80" fmla="*/ 2147483647 w 52"/>
                <a:gd name="T81" fmla="*/ 2147483647 h 66"/>
                <a:gd name="T82" fmla="*/ 2147483647 w 52"/>
                <a:gd name="T83" fmla="*/ 2147483647 h 66"/>
                <a:gd name="T84" fmla="*/ 2147483647 w 52"/>
                <a:gd name="T85" fmla="*/ 2147483647 h 66"/>
                <a:gd name="T86" fmla="*/ 2147483647 w 52"/>
                <a:gd name="T87" fmla="*/ 2147483647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
                <a:gd name="T133" fmla="*/ 0 h 66"/>
                <a:gd name="T134" fmla="*/ 52 w 52"/>
                <a:gd name="T135" fmla="*/ 66 h 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 h="66">
                  <a:moveTo>
                    <a:pt x="10" y="54"/>
                  </a:moveTo>
                  <a:lnTo>
                    <a:pt x="20" y="54"/>
                  </a:lnTo>
                  <a:lnTo>
                    <a:pt x="22" y="50"/>
                  </a:lnTo>
                  <a:lnTo>
                    <a:pt x="24" y="48"/>
                  </a:lnTo>
                  <a:lnTo>
                    <a:pt x="24" y="52"/>
                  </a:lnTo>
                  <a:lnTo>
                    <a:pt x="26" y="54"/>
                  </a:lnTo>
                  <a:lnTo>
                    <a:pt x="30" y="54"/>
                  </a:lnTo>
                  <a:lnTo>
                    <a:pt x="34" y="64"/>
                  </a:lnTo>
                  <a:lnTo>
                    <a:pt x="30" y="46"/>
                  </a:lnTo>
                  <a:lnTo>
                    <a:pt x="28" y="46"/>
                  </a:lnTo>
                  <a:lnTo>
                    <a:pt x="24" y="46"/>
                  </a:lnTo>
                  <a:lnTo>
                    <a:pt x="28" y="32"/>
                  </a:lnTo>
                  <a:lnTo>
                    <a:pt x="30" y="34"/>
                  </a:lnTo>
                  <a:lnTo>
                    <a:pt x="32" y="34"/>
                  </a:lnTo>
                  <a:lnTo>
                    <a:pt x="34" y="34"/>
                  </a:lnTo>
                  <a:lnTo>
                    <a:pt x="34" y="28"/>
                  </a:lnTo>
                  <a:lnTo>
                    <a:pt x="28" y="28"/>
                  </a:lnTo>
                  <a:lnTo>
                    <a:pt x="28" y="22"/>
                  </a:lnTo>
                  <a:lnTo>
                    <a:pt x="28" y="16"/>
                  </a:lnTo>
                  <a:lnTo>
                    <a:pt x="24" y="16"/>
                  </a:lnTo>
                  <a:lnTo>
                    <a:pt x="22" y="14"/>
                  </a:lnTo>
                  <a:lnTo>
                    <a:pt x="26" y="14"/>
                  </a:lnTo>
                  <a:lnTo>
                    <a:pt x="28" y="14"/>
                  </a:lnTo>
                  <a:lnTo>
                    <a:pt x="30" y="12"/>
                  </a:lnTo>
                  <a:lnTo>
                    <a:pt x="32" y="6"/>
                  </a:lnTo>
                  <a:lnTo>
                    <a:pt x="30" y="0"/>
                  </a:lnTo>
                  <a:lnTo>
                    <a:pt x="22" y="6"/>
                  </a:lnTo>
                  <a:lnTo>
                    <a:pt x="20" y="10"/>
                  </a:lnTo>
                  <a:lnTo>
                    <a:pt x="18" y="12"/>
                  </a:lnTo>
                  <a:lnTo>
                    <a:pt x="14" y="14"/>
                  </a:lnTo>
                  <a:lnTo>
                    <a:pt x="10" y="12"/>
                  </a:lnTo>
                  <a:lnTo>
                    <a:pt x="6" y="16"/>
                  </a:lnTo>
                  <a:lnTo>
                    <a:pt x="2" y="20"/>
                  </a:lnTo>
                  <a:lnTo>
                    <a:pt x="4" y="22"/>
                  </a:lnTo>
                  <a:lnTo>
                    <a:pt x="4" y="24"/>
                  </a:lnTo>
                  <a:lnTo>
                    <a:pt x="6" y="24"/>
                  </a:lnTo>
                  <a:lnTo>
                    <a:pt x="8" y="18"/>
                  </a:lnTo>
                  <a:lnTo>
                    <a:pt x="10" y="18"/>
                  </a:lnTo>
                  <a:lnTo>
                    <a:pt x="10" y="22"/>
                  </a:lnTo>
                  <a:lnTo>
                    <a:pt x="10" y="24"/>
                  </a:lnTo>
                  <a:lnTo>
                    <a:pt x="12" y="20"/>
                  </a:lnTo>
                  <a:lnTo>
                    <a:pt x="12" y="18"/>
                  </a:lnTo>
                  <a:lnTo>
                    <a:pt x="10" y="16"/>
                  </a:lnTo>
                  <a:lnTo>
                    <a:pt x="18" y="16"/>
                  </a:lnTo>
                  <a:lnTo>
                    <a:pt x="18" y="20"/>
                  </a:lnTo>
                  <a:lnTo>
                    <a:pt x="18" y="24"/>
                  </a:lnTo>
                  <a:lnTo>
                    <a:pt x="16" y="24"/>
                  </a:lnTo>
                  <a:lnTo>
                    <a:pt x="16" y="22"/>
                  </a:lnTo>
                  <a:lnTo>
                    <a:pt x="14" y="22"/>
                  </a:lnTo>
                  <a:lnTo>
                    <a:pt x="10" y="28"/>
                  </a:lnTo>
                  <a:lnTo>
                    <a:pt x="0" y="28"/>
                  </a:lnTo>
                  <a:lnTo>
                    <a:pt x="2" y="30"/>
                  </a:lnTo>
                  <a:lnTo>
                    <a:pt x="2" y="32"/>
                  </a:lnTo>
                  <a:lnTo>
                    <a:pt x="0" y="36"/>
                  </a:lnTo>
                  <a:lnTo>
                    <a:pt x="4" y="36"/>
                  </a:lnTo>
                  <a:lnTo>
                    <a:pt x="6" y="38"/>
                  </a:lnTo>
                  <a:lnTo>
                    <a:pt x="6" y="40"/>
                  </a:lnTo>
                  <a:lnTo>
                    <a:pt x="4" y="50"/>
                  </a:lnTo>
                  <a:lnTo>
                    <a:pt x="10" y="52"/>
                  </a:lnTo>
                  <a:lnTo>
                    <a:pt x="10" y="54"/>
                  </a:lnTo>
                  <a:close/>
                  <a:moveTo>
                    <a:pt x="46" y="58"/>
                  </a:moveTo>
                  <a:lnTo>
                    <a:pt x="46" y="58"/>
                  </a:lnTo>
                  <a:lnTo>
                    <a:pt x="38" y="60"/>
                  </a:lnTo>
                  <a:lnTo>
                    <a:pt x="38" y="62"/>
                  </a:lnTo>
                  <a:lnTo>
                    <a:pt x="38" y="64"/>
                  </a:lnTo>
                  <a:lnTo>
                    <a:pt x="38" y="66"/>
                  </a:lnTo>
                  <a:lnTo>
                    <a:pt x="42" y="66"/>
                  </a:lnTo>
                  <a:lnTo>
                    <a:pt x="50" y="62"/>
                  </a:lnTo>
                  <a:lnTo>
                    <a:pt x="52" y="58"/>
                  </a:lnTo>
                  <a:lnTo>
                    <a:pt x="46" y="58"/>
                  </a:lnTo>
                  <a:close/>
                  <a:moveTo>
                    <a:pt x="46" y="34"/>
                  </a:moveTo>
                  <a:lnTo>
                    <a:pt x="42" y="40"/>
                  </a:lnTo>
                  <a:lnTo>
                    <a:pt x="44" y="40"/>
                  </a:lnTo>
                  <a:lnTo>
                    <a:pt x="44" y="42"/>
                  </a:lnTo>
                  <a:lnTo>
                    <a:pt x="38" y="40"/>
                  </a:lnTo>
                  <a:lnTo>
                    <a:pt x="36" y="42"/>
                  </a:lnTo>
                  <a:lnTo>
                    <a:pt x="34" y="44"/>
                  </a:lnTo>
                  <a:lnTo>
                    <a:pt x="38" y="50"/>
                  </a:lnTo>
                  <a:lnTo>
                    <a:pt x="38" y="54"/>
                  </a:lnTo>
                  <a:lnTo>
                    <a:pt x="40" y="52"/>
                  </a:lnTo>
                  <a:lnTo>
                    <a:pt x="42" y="52"/>
                  </a:lnTo>
                  <a:lnTo>
                    <a:pt x="44" y="54"/>
                  </a:lnTo>
                  <a:lnTo>
                    <a:pt x="42" y="54"/>
                  </a:lnTo>
                  <a:lnTo>
                    <a:pt x="44" y="54"/>
                  </a:lnTo>
                  <a:lnTo>
                    <a:pt x="48" y="54"/>
                  </a:lnTo>
                  <a:lnTo>
                    <a:pt x="46" y="54"/>
                  </a:lnTo>
                  <a:lnTo>
                    <a:pt x="52" y="52"/>
                  </a:lnTo>
                  <a:lnTo>
                    <a:pt x="52" y="34"/>
                  </a:lnTo>
                  <a:lnTo>
                    <a:pt x="46" y="3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59" name="Freeform 710">
              <a:extLst>
                <a:ext uri="{FF2B5EF4-FFF2-40B4-BE49-F238E27FC236}">
                  <a16:creationId xmlns:a16="http://schemas.microsoft.com/office/drawing/2014/main" id="{5A1EE7D3-A6EC-4DBD-AE2D-371B67FA824D}"/>
                </a:ext>
              </a:extLst>
            </p:cNvPr>
            <p:cNvSpPr>
              <a:spLocks noEditPoints="1"/>
            </p:cNvSpPr>
            <p:nvPr/>
          </p:nvSpPr>
          <p:spPr bwMode="gray">
            <a:xfrm>
              <a:off x="5059453" y="3342435"/>
              <a:ext cx="49438" cy="30605"/>
            </a:xfrm>
            <a:custGeom>
              <a:avLst/>
              <a:gdLst>
                <a:gd name="T0" fmla="*/ 2147483647 w 26"/>
                <a:gd name="T1" fmla="*/ 2147483647 h 16"/>
                <a:gd name="T2" fmla="*/ 2147483647 w 26"/>
                <a:gd name="T3" fmla="*/ 2147483647 h 16"/>
                <a:gd name="T4" fmla="*/ 2147483647 w 26"/>
                <a:gd name="T5" fmla="*/ 2147483647 h 16"/>
                <a:gd name="T6" fmla="*/ 2147483647 w 26"/>
                <a:gd name="T7" fmla="*/ 2147483647 h 16"/>
                <a:gd name="T8" fmla="*/ 2147483647 w 26"/>
                <a:gd name="T9" fmla="*/ 2147483647 h 16"/>
                <a:gd name="T10" fmla="*/ 2147483647 w 26"/>
                <a:gd name="T11" fmla="*/ 2147483647 h 16"/>
                <a:gd name="T12" fmla="*/ 2147483647 w 26"/>
                <a:gd name="T13" fmla="*/ 2147483647 h 16"/>
                <a:gd name="T14" fmla="*/ 2147483647 w 26"/>
                <a:gd name="T15" fmla="*/ 2147483647 h 16"/>
                <a:gd name="T16" fmla="*/ 0 w 26"/>
                <a:gd name="T17" fmla="*/ 2147483647 h 16"/>
                <a:gd name="T18" fmla="*/ 0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2147483647 w 26"/>
                <a:gd name="T29" fmla="*/ 2147483647 h 16"/>
                <a:gd name="T30" fmla="*/ 2147483647 w 26"/>
                <a:gd name="T31" fmla="*/ 2147483647 h 16"/>
                <a:gd name="T32" fmla="*/ 2147483647 w 26"/>
                <a:gd name="T33" fmla="*/ 2147483647 h 16"/>
                <a:gd name="T34" fmla="*/ 2147483647 w 26"/>
                <a:gd name="T35" fmla="*/ 2147483647 h 16"/>
                <a:gd name="T36" fmla="*/ 2147483647 w 26"/>
                <a:gd name="T37" fmla="*/ 2147483647 h 16"/>
                <a:gd name="T38" fmla="*/ 2147483647 w 26"/>
                <a:gd name="T39" fmla="*/ 2147483647 h 16"/>
                <a:gd name="T40" fmla="*/ 2147483647 w 26"/>
                <a:gd name="T41" fmla="*/ 2147483647 h 16"/>
                <a:gd name="T42" fmla="*/ 2147483647 w 26"/>
                <a:gd name="T43" fmla="*/ 2147483647 h 16"/>
                <a:gd name="T44" fmla="*/ 2147483647 w 26"/>
                <a:gd name="T45" fmla="*/ 2147483647 h 16"/>
                <a:gd name="T46" fmla="*/ 2147483647 w 26"/>
                <a:gd name="T47" fmla="*/ 0 h 16"/>
                <a:gd name="T48" fmla="*/ 2147483647 w 26"/>
                <a:gd name="T49" fmla="*/ 0 h 16"/>
                <a:gd name="T50" fmla="*/ 2147483647 w 26"/>
                <a:gd name="T51" fmla="*/ 2147483647 h 16"/>
                <a:gd name="T52" fmla="*/ 2147483647 w 26"/>
                <a:gd name="T53" fmla="*/ 2147483647 h 16"/>
                <a:gd name="T54" fmla="*/ 2147483647 w 26"/>
                <a:gd name="T55" fmla="*/ 2147483647 h 16"/>
                <a:gd name="T56" fmla="*/ 2147483647 w 26"/>
                <a:gd name="T57" fmla="*/ 2147483647 h 16"/>
                <a:gd name="T58" fmla="*/ 2147483647 w 26"/>
                <a:gd name="T59" fmla="*/ 2147483647 h 16"/>
                <a:gd name="T60" fmla="*/ 2147483647 w 26"/>
                <a:gd name="T61" fmla="*/ 2147483647 h 16"/>
                <a:gd name="T62" fmla="*/ 2147483647 w 26"/>
                <a:gd name="T63" fmla="*/ 2147483647 h 16"/>
                <a:gd name="T64" fmla="*/ 2147483647 w 26"/>
                <a:gd name="T65" fmla="*/ 2147483647 h 16"/>
                <a:gd name="T66" fmla="*/ 2147483647 w 26"/>
                <a:gd name="T67" fmla="*/ 2147483647 h 16"/>
                <a:gd name="T68" fmla="*/ 2147483647 w 26"/>
                <a:gd name="T69" fmla="*/ 2147483647 h 16"/>
                <a:gd name="T70" fmla="*/ 2147483647 w 26"/>
                <a:gd name="T71" fmla="*/ 2147483647 h 16"/>
                <a:gd name="T72" fmla="*/ 2147483647 w 26"/>
                <a:gd name="T73" fmla="*/ 2147483647 h 16"/>
                <a:gd name="T74" fmla="*/ 2147483647 w 26"/>
                <a:gd name="T75" fmla="*/ 2147483647 h 16"/>
                <a:gd name="T76" fmla="*/ 2147483647 w 26"/>
                <a:gd name="T77" fmla="*/ 2147483647 h 16"/>
                <a:gd name="T78" fmla="*/ 2147483647 w 26"/>
                <a:gd name="T79" fmla="*/ 2147483647 h 16"/>
                <a:gd name="T80" fmla="*/ 2147483647 w 26"/>
                <a:gd name="T81" fmla="*/ 2147483647 h 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
                <a:gd name="T124" fmla="*/ 0 h 16"/>
                <a:gd name="T125" fmla="*/ 26 w 26"/>
                <a:gd name="T126" fmla="*/ 16 h 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 h="16">
                  <a:moveTo>
                    <a:pt x="18" y="12"/>
                  </a:moveTo>
                  <a:lnTo>
                    <a:pt x="18" y="12"/>
                  </a:lnTo>
                  <a:lnTo>
                    <a:pt x="14" y="16"/>
                  </a:lnTo>
                  <a:lnTo>
                    <a:pt x="4" y="16"/>
                  </a:lnTo>
                  <a:lnTo>
                    <a:pt x="4" y="14"/>
                  </a:lnTo>
                  <a:lnTo>
                    <a:pt x="2" y="14"/>
                  </a:lnTo>
                  <a:lnTo>
                    <a:pt x="0" y="12"/>
                  </a:lnTo>
                  <a:lnTo>
                    <a:pt x="2" y="10"/>
                  </a:lnTo>
                  <a:lnTo>
                    <a:pt x="4" y="12"/>
                  </a:lnTo>
                  <a:lnTo>
                    <a:pt x="8" y="12"/>
                  </a:lnTo>
                  <a:lnTo>
                    <a:pt x="10" y="10"/>
                  </a:lnTo>
                  <a:lnTo>
                    <a:pt x="14" y="10"/>
                  </a:lnTo>
                  <a:lnTo>
                    <a:pt x="18" y="12"/>
                  </a:lnTo>
                  <a:close/>
                  <a:moveTo>
                    <a:pt x="18" y="12"/>
                  </a:moveTo>
                  <a:lnTo>
                    <a:pt x="18" y="12"/>
                  </a:lnTo>
                  <a:lnTo>
                    <a:pt x="26" y="0"/>
                  </a:lnTo>
                  <a:lnTo>
                    <a:pt x="20" y="4"/>
                  </a:lnTo>
                  <a:lnTo>
                    <a:pt x="10" y="6"/>
                  </a:lnTo>
                  <a:lnTo>
                    <a:pt x="2" y="8"/>
                  </a:lnTo>
                  <a:lnTo>
                    <a:pt x="2" y="10"/>
                  </a:lnTo>
                  <a:lnTo>
                    <a:pt x="4" y="12"/>
                  </a:lnTo>
                  <a:lnTo>
                    <a:pt x="8" y="12"/>
                  </a:lnTo>
                  <a:lnTo>
                    <a:pt x="10" y="10"/>
                  </a:lnTo>
                  <a:lnTo>
                    <a:pt x="14" y="10"/>
                  </a:lnTo>
                  <a:lnTo>
                    <a:pt x="18" y="1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0" name="Freeform 711">
              <a:extLst>
                <a:ext uri="{FF2B5EF4-FFF2-40B4-BE49-F238E27FC236}">
                  <a16:creationId xmlns:a16="http://schemas.microsoft.com/office/drawing/2014/main" id="{A47EE95E-BBAF-4AC9-8F25-1AEF1A13A1C3}"/>
                </a:ext>
              </a:extLst>
            </p:cNvPr>
            <p:cNvSpPr>
              <a:spLocks/>
            </p:cNvSpPr>
            <p:nvPr/>
          </p:nvSpPr>
          <p:spPr bwMode="gray">
            <a:xfrm>
              <a:off x="4668657" y="3010477"/>
              <a:ext cx="129480" cy="138902"/>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2147483647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2147483647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0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w 70"/>
                <a:gd name="T65" fmla="*/ 2147483647 h 76"/>
                <a:gd name="T66" fmla="*/ 0 w 70"/>
                <a:gd name="T67" fmla="*/ 2147483647 h 76"/>
                <a:gd name="T68" fmla="*/ 2147483647 w 70"/>
                <a:gd name="T69" fmla="*/ 2147483647 h 76"/>
                <a:gd name="T70" fmla="*/ 2147483647 w 70"/>
                <a:gd name="T71" fmla="*/ 2147483647 h 76"/>
                <a:gd name="T72" fmla="*/ 2147483647 w 70"/>
                <a:gd name="T73" fmla="*/ 2147483647 h 76"/>
                <a:gd name="T74" fmla="*/ 2147483647 w 70"/>
                <a:gd name="T75" fmla="*/ 2147483647 h 76"/>
                <a:gd name="T76" fmla="*/ 2147483647 w 70"/>
                <a:gd name="T77" fmla="*/ 2147483647 h 76"/>
                <a:gd name="T78" fmla="*/ 2147483647 w 70"/>
                <a:gd name="T79" fmla="*/ 2147483647 h 76"/>
                <a:gd name="T80" fmla="*/ 2147483647 w 70"/>
                <a:gd name="T81" fmla="*/ 2147483647 h 76"/>
                <a:gd name="T82" fmla="*/ 2147483647 w 70"/>
                <a:gd name="T83" fmla="*/ 2147483647 h 76"/>
                <a:gd name="T84" fmla="*/ 2147483647 w 70"/>
                <a:gd name="T85" fmla="*/ 2147483647 h 76"/>
                <a:gd name="T86" fmla="*/ 2147483647 w 70"/>
                <a:gd name="T87" fmla="*/ 2147483647 h 76"/>
                <a:gd name="T88" fmla="*/ 2147483647 w 70"/>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0"/>
                <a:gd name="T136" fmla="*/ 0 h 76"/>
                <a:gd name="T137" fmla="*/ 70 w 70"/>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0" h="76">
                  <a:moveTo>
                    <a:pt x="56" y="76"/>
                  </a:moveTo>
                  <a:lnTo>
                    <a:pt x="58" y="76"/>
                  </a:lnTo>
                  <a:lnTo>
                    <a:pt x="58" y="74"/>
                  </a:lnTo>
                  <a:lnTo>
                    <a:pt x="56" y="70"/>
                  </a:lnTo>
                  <a:lnTo>
                    <a:pt x="52" y="66"/>
                  </a:lnTo>
                  <a:lnTo>
                    <a:pt x="50" y="66"/>
                  </a:lnTo>
                  <a:lnTo>
                    <a:pt x="48" y="66"/>
                  </a:lnTo>
                  <a:lnTo>
                    <a:pt x="48" y="64"/>
                  </a:lnTo>
                  <a:lnTo>
                    <a:pt x="46" y="62"/>
                  </a:lnTo>
                  <a:lnTo>
                    <a:pt x="44" y="58"/>
                  </a:lnTo>
                  <a:lnTo>
                    <a:pt x="38" y="54"/>
                  </a:lnTo>
                  <a:lnTo>
                    <a:pt x="32" y="46"/>
                  </a:lnTo>
                  <a:lnTo>
                    <a:pt x="32" y="44"/>
                  </a:lnTo>
                  <a:lnTo>
                    <a:pt x="30" y="36"/>
                  </a:lnTo>
                  <a:lnTo>
                    <a:pt x="26" y="34"/>
                  </a:lnTo>
                  <a:lnTo>
                    <a:pt x="26" y="30"/>
                  </a:lnTo>
                  <a:lnTo>
                    <a:pt x="28" y="28"/>
                  </a:lnTo>
                  <a:lnTo>
                    <a:pt x="30" y="28"/>
                  </a:lnTo>
                  <a:lnTo>
                    <a:pt x="32" y="30"/>
                  </a:lnTo>
                  <a:lnTo>
                    <a:pt x="34" y="32"/>
                  </a:lnTo>
                  <a:lnTo>
                    <a:pt x="34" y="30"/>
                  </a:lnTo>
                  <a:lnTo>
                    <a:pt x="36" y="30"/>
                  </a:lnTo>
                  <a:lnTo>
                    <a:pt x="38" y="30"/>
                  </a:lnTo>
                  <a:lnTo>
                    <a:pt x="40" y="32"/>
                  </a:lnTo>
                  <a:lnTo>
                    <a:pt x="42" y="34"/>
                  </a:lnTo>
                  <a:lnTo>
                    <a:pt x="44" y="32"/>
                  </a:lnTo>
                  <a:lnTo>
                    <a:pt x="48" y="30"/>
                  </a:lnTo>
                  <a:lnTo>
                    <a:pt x="50" y="30"/>
                  </a:lnTo>
                  <a:lnTo>
                    <a:pt x="56" y="34"/>
                  </a:lnTo>
                  <a:lnTo>
                    <a:pt x="58" y="36"/>
                  </a:lnTo>
                  <a:lnTo>
                    <a:pt x="60" y="36"/>
                  </a:lnTo>
                  <a:lnTo>
                    <a:pt x="62" y="36"/>
                  </a:lnTo>
                  <a:lnTo>
                    <a:pt x="68" y="36"/>
                  </a:lnTo>
                  <a:lnTo>
                    <a:pt x="70" y="34"/>
                  </a:lnTo>
                  <a:lnTo>
                    <a:pt x="70" y="32"/>
                  </a:lnTo>
                  <a:lnTo>
                    <a:pt x="68" y="30"/>
                  </a:lnTo>
                  <a:lnTo>
                    <a:pt x="68" y="28"/>
                  </a:lnTo>
                  <a:lnTo>
                    <a:pt x="68" y="26"/>
                  </a:lnTo>
                  <a:lnTo>
                    <a:pt x="68" y="24"/>
                  </a:lnTo>
                  <a:lnTo>
                    <a:pt x="64" y="26"/>
                  </a:lnTo>
                  <a:lnTo>
                    <a:pt x="60" y="24"/>
                  </a:lnTo>
                  <a:lnTo>
                    <a:pt x="50" y="18"/>
                  </a:lnTo>
                  <a:lnTo>
                    <a:pt x="44" y="12"/>
                  </a:lnTo>
                  <a:lnTo>
                    <a:pt x="42" y="8"/>
                  </a:lnTo>
                  <a:lnTo>
                    <a:pt x="40" y="4"/>
                  </a:lnTo>
                  <a:lnTo>
                    <a:pt x="38" y="2"/>
                  </a:lnTo>
                  <a:lnTo>
                    <a:pt x="34" y="0"/>
                  </a:lnTo>
                  <a:lnTo>
                    <a:pt x="32" y="0"/>
                  </a:lnTo>
                  <a:lnTo>
                    <a:pt x="32" y="4"/>
                  </a:lnTo>
                  <a:lnTo>
                    <a:pt x="30" y="6"/>
                  </a:lnTo>
                  <a:lnTo>
                    <a:pt x="26" y="6"/>
                  </a:lnTo>
                  <a:lnTo>
                    <a:pt x="24" y="6"/>
                  </a:lnTo>
                  <a:lnTo>
                    <a:pt x="24" y="8"/>
                  </a:lnTo>
                  <a:lnTo>
                    <a:pt x="22" y="14"/>
                  </a:lnTo>
                  <a:lnTo>
                    <a:pt x="20" y="18"/>
                  </a:lnTo>
                  <a:lnTo>
                    <a:pt x="18" y="18"/>
                  </a:lnTo>
                  <a:lnTo>
                    <a:pt x="16" y="18"/>
                  </a:lnTo>
                  <a:lnTo>
                    <a:pt x="14" y="16"/>
                  </a:lnTo>
                  <a:lnTo>
                    <a:pt x="14" y="14"/>
                  </a:lnTo>
                  <a:lnTo>
                    <a:pt x="14" y="16"/>
                  </a:lnTo>
                  <a:lnTo>
                    <a:pt x="14" y="20"/>
                  </a:lnTo>
                  <a:lnTo>
                    <a:pt x="14" y="24"/>
                  </a:lnTo>
                  <a:lnTo>
                    <a:pt x="10" y="24"/>
                  </a:lnTo>
                  <a:lnTo>
                    <a:pt x="6" y="26"/>
                  </a:lnTo>
                  <a:lnTo>
                    <a:pt x="0" y="28"/>
                  </a:lnTo>
                  <a:lnTo>
                    <a:pt x="0" y="30"/>
                  </a:lnTo>
                  <a:lnTo>
                    <a:pt x="0" y="32"/>
                  </a:lnTo>
                  <a:lnTo>
                    <a:pt x="0" y="36"/>
                  </a:lnTo>
                  <a:lnTo>
                    <a:pt x="2" y="38"/>
                  </a:lnTo>
                  <a:lnTo>
                    <a:pt x="4" y="38"/>
                  </a:lnTo>
                  <a:lnTo>
                    <a:pt x="6" y="36"/>
                  </a:lnTo>
                  <a:lnTo>
                    <a:pt x="4" y="34"/>
                  </a:lnTo>
                  <a:lnTo>
                    <a:pt x="6" y="34"/>
                  </a:lnTo>
                  <a:lnTo>
                    <a:pt x="10" y="34"/>
                  </a:lnTo>
                  <a:lnTo>
                    <a:pt x="12" y="26"/>
                  </a:lnTo>
                  <a:lnTo>
                    <a:pt x="14" y="28"/>
                  </a:lnTo>
                  <a:lnTo>
                    <a:pt x="16" y="30"/>
                  </a:lnTo>
                  <a:lnTo>
                    <a:pt x="14" y="34"/>
                  </a:lnTo>
                  <a:lnTo>
                    <a:pt x="14" y="40"/>
                  </a:lnTo>
                  <a:lnTo>
                    <a:pt x="20" y="46"/>
                  </a:lnTo>
                  <a:lnTo>
                    <a:pt x="20" y="48"/>
                  </a:lnTo>
                  <a:lnTo>
                    <a:pt x="18" y="50"/>
                  </a:lnTo>
                  <a:lnTo>
                    <a:pt x="30" y="58"/>
                  </a:lnTo>
                  <a:lnTo>
                    <a:pt x="32" y="58"/>
                  </a:lnTo>
                  <a:lnTo>
                    <a:pt x="36" y="58"/>
                  </a:lnTo>
                  <a:lnTo>
                    <a:pt x="40" y="62"/>
                  </a:lnTo>
                  <a:lnTo>
                    <a:pt x="44" y="66"/>
                  </a:lnTo>
                  <a:lnTo>
                    <a:pt x="48" y="68"/>
                  </a:lnTo>
                  <a:lnTo>
                    <a:pt x="54" y="70"/>
                  </a:lnTo>
                  <a:lnTo>
                    <a:pt x="56" y="7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1" name="Freeform 712">
              <a:extLst>
                <a:ext uri="{FF2B5EF4-FFF2-40B4-BE49-F238E27FC236}">
                  <a16:creationId xmlns:a16="http://schemas.microsoft.com/office/drawing/2014/main" id="{C1891728-E8CF-40A0-9864-97434E692684}"/>
                </a:ext>
              </a:extLst>
            </p:cNvPr>
            <p:cNvSpPr>
              <a:spLocks noEditPoints="1"/>
            </p:cNvSpPr>
            <p:nvPr/>
          </p:nvSpPr>
          <p:spPr bwMode="gray">
            <a:xfrm>
              <a:off x="6770945" y="3709702"/>
              <a:ext cx="9417" cy="7064"/>
            </a:xfrm>
            <a:custGeom>
              <a:avLst/>
              <a:gdLst>
                <a:gd name="T0" fmla="*/ 2147483647 w 6"/>
                <a:gd name="T1" fmla="*/ 0 h 4"/>
                <a:gd name="T2" fmla="*/ 2147483647 w 6"/>
                <a:gd name="T3" fmla="*/ 0 h 4"/>
                <a:gd name="T4" fmla="*/ 2147483647 w 6"/>
                <a:gd name="T5" fmla="*/ 0 h 4"/>
                <a:gd name="T6" fmla="*/ 2147483647 w 6"/>
                <a:gd name="T7" fmla="*/ 0 h 4"/>
                <a:gd name="T8" fmla="*/ 2147483647 w 6"/>
                <a:gd name="T9" fmla="*/ 0 h 4"/>
                <a:gd name="T10" fmla="*/ 2147483647 w 6"/>
                <a:gd name="T11" fmla="*/ 0 h 4"/>
                <a:gd name="T12" fmla="*/ 2147483647 w 6"/>
                <a:gd name="T13" fmla="*/ 2147483647 h 4"/>
                <a:gd name="T14" fmla="*/ 2147483647 w 6"/>
                <a:gd name="T15" fmla="*/ 2147483647 h 4"/>
                <a:gd name="T16" fmla="*/ 2147483647 w 6"/>
                <a:gd name="T17" fmla="*/ 2147483647 h 4"/>
                <a:gd name="T18" fmla="*/ 2147483647 w 6"/>
                <a:gd name="T19" fmla="*/ 2147483647 h 4"/>
                <a:gd name="T20" fmla="*/ 2147483647 w 6"/>
                <a:gd name="T21" fmla="*/ 2147483647 h 4"/>
                <a:gd name="T22" fmla="*/ 2147483647 w 6"/>
                <a:gd name="T23" fmla="*/ 2147483647 h 4"/>
                <a:gd name="T24" fmla="*/ 2147483647 w 6"/>
                <a:gd name="T25" fmla="*/ 2147483647 h 4"/>
                <a:gd name="T26" fmla="*/ 2147483647 w 6"/>
                <a:gd name="T27" fmla="*/ 0 h 4"/>
                <a:gd name="T28" fmla="*/ 2147483647 w 6"/>
                <a:gd name="T29" fmla="*/ 0 h 4"/>
                <a:gd name="T30" fmla="*/ 2147483647 w 6"/>
                <a:gd name="T31" fmla="*/ 0 h 4"/>
                <a:gd name="T32" fmla="*/ 2147483647 w 6"/>
                <a:gd name="T33" fmla="*/ 0 h 4"/>
                <a:gd name="T34" fmla="*/ 2147483647 w 6"/>
                <a:gd name="T35" fmla="*/ 0 h 4"/>
                <a:gd name="T36" fmla="*/ 2147483647 w 6"/>
                <a:gd name="T37" fmla="*/ 0 h 4"/>
                <a:gd name="T38" fmla="*/ 2147483647 w 6"/>
                <a:gd name="T39" fmla="*/ 2147483647 h 4"/>
                <a:gd name="T40" fmla="*/ 2147483647 w 6"/>
                <a:gd name="T41" fmla="*/ 2147483647 h 4"/>
                <a:gd name="T42" fmla="*/ 2147483647 w 6"/>
                <a:gd name="T43" fmla="*/ 2147483647 h 4"/>
                <a:gd name="T44" fmla="*/ 2147483647 w 6"/>
                <a:gd name="T45" fmla="*/ 2147483647 h 4"/>
                <a:gd name="T46" fmla="*/ 2147483647 w 6"/>
                <a:gd name="T47" fmla="*/ 2147483647 h 4"/>
                <a:gd name="T48" fmla="*/ 2147483647 w 6"/>
                <a:gd name="T49" fmla="*/ 2147483647 h 4"/>
                <a:gd name="T50" fmla="*/ 2147483647 w 6"/>
                <a:gd name="T51" fmla="*/ 2147483647 h 4"/>
                <a:gd name="T52" fmla="*/ 2147483647 w 6"/>
                <a:gd name="T53" fmla="*/ 2147483647 h 4"/>
                <a:gd name="T54" fmla="*/ 2147483647 w 6"/>
                <a:gd name="T55" fmla="*/ 2147483647 h 4"/>
                <a:gd name="T56" fmla="*/ 2147483647 w 6"/>
                <a:gd name="T57" fmla="*/ 2147483647 h 4"/>
                <a:gd name="T58" fmla="*/ 2147483647 w 6"/>
                <a:gd name="T59" fmla="*/ 2147483647 h 4"/>
                <a:gd name="T60" fmla="*/ 2147483647 w 6"/>
                <a:gd name="T61" fmla="*/ 2147483647 h 4"/>
                <a:gd name="T62" fmla="*/ 0 w 6"/>
                <a:gd name="T63" fmla="*/ 2147483647 h 4"/>
                <a:gd name="T64" fmla="*/ 0 w 6"/>
                <a:gd name="T65" fmla="*/ 2147483647 h 4"/>
                <a:gd name="T66" fmla="*/ 0 w 6"/>
                <a:gd name="T67" fmla="*/ 2147483647 h 4"/>
                <a:gd name="T68" fmla="*/ 0 w 6"/>
                <a:gd name="T69" fmla="*/ 2147483647 h 4"/>
                <a:gd name="T70" fmla="*/ 2147483647 w 6"/>
                <a:gd name="T71" fmla="*/ 2147483647 h 4"/>
                <a:gd name="T72" fmla="*/ 2147483647 w 6"/>
                <a:gd name="T73" fmla="*/ 2147483647 h 4"/>
                <a:gd name="T74" fmla="*/ 2147483647 w 6"/>
                <a:gd name="T75" fmla="*/ 2147483647 h 4"/>
                <a:gd name="T76" fmla="*/ 2147483647 w 6"/>
                <a:gd name="T77" fmla="*/ 2147483647 h 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
                <a:gd name="T118" fmla="*/ 0 h 4"/>
                <a:gd name="T119" fmla="*/ 6 w 6"/>
                <a:gd name="T120" fmla="*/ 4 h 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 h="4">
                  <a:moveTo>
                    <a:pt x="6" y="0"/>
                  </a:moveTo>
                  <a:lnTo>
                    <a:pt x="6" y="0"/>
                  </a:lnTo>
                  <a:lnTo>
                    <a:pt x="4" y="0"/>
                  </a:lnTo>
                  <a:lnTo>
                    <a:pt x="2" y="0"/>
                  </a:lnTo>
                  <a:lnTo>
                    <a:pt x="4" y="2"/>
                  </a:lnTo>
                  <a:lnTo>
                    <a:pt x="6" y="2"/>
                  </a:lnTo>
                  <a:lnTo>
                    <a:pt x="6" y="0"/>
                  </a:lnTo>
                  <a:close/>
                  <a:moveTo>
                    <a:pt x="6" y="4"/>
                  </a:moveTo>
                  <a:lnTo>
                    <a:pt x="6" y="4"/>
                  </a:lnTo>
                  <a:lnTo>
                    <a:pt x="4" y="4"/>
                  </a:lnTo>
                  <a:lnTo>
                    <a:pt x="6" y="4"/>
                  </a:lnTo>
                  <a:close/>
                  <a:moveTo>
                    <a:pt x="2" y="2"/>
                  </a:moveTo>
                  <a:lnTo>
                    <a:pt x="2" y="2"/>
                  </a:lnTo>
                  <a:lnTo>
                    <a:pt x="2" y="4"/>
                  </a:lnTo>
                  <a:lnTo>
                    <a:pt x="0" y="4"/>
                  </a:lnTo>
                  <a:lnTo>
                    <a:pt x="2" y="4"/>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2" name="Freeform 713">
              <a:extLst>
                <a:ext uri="{FF2B5EF4-FFF2-40B4-BE49-F238E27FC236}">
                  <a16:creationId xmlns:a16="http://schemas.microsoft.com/office/drawing/2014/main" id="{B1359562-9C32-49F9-BC78-62A9D3D29731}"/>
                </a:ext>
              </a:extLst>
            </p:cNvPr>
            <p:cNvSpPr>
              <a:spLocks/>
            </p:cNvSpPr>
            <p:nvPr/>
          </p:nvSpPr>
          <p:spPr bwMode="gray">
            <a:xfrm>
              <a:off x="4430885" y="2864513"/>
              <a:ext cx="84751" cy="56504"/>
            </a:xfrm>
            <a:custGeom>
              <a:avLst/>
              <a:gdLst>
                <a:gd name="T0" fmla="*/ 2147483647 w 46"/>
                <a:gd name="T1" fmla="*/ 2147483647 h 30"/>
                <a:gd name="T2" fmla="*/ 2147483647 w 46"/>
                <a:gd name="T3" fmla="*/ 2147483647 h 30"/>
                <a:gd name="T4" fmla="*/ 2147483647 w 46"/>
                <a:gd name="T5" fmla="*/ 2147483647 h 30"/>
                <a:gd name="T6" fmla="*/ 2147483647 w 46"/>
                <a:gd name="T7" fmla="*/ 2147483647 h 30"/>
                <a:gd name="T8" fmla="*/ 2147483647 w 46"/>
                <a:gd name="T9" fmla="*/ 2147483647 h 30"/>
                <a:gd name="T10" fmla="*/ 2147483647 w 46"/>
                <a:gd name="T11" fmla="*/ 2147483647 h 30"/>
                <a:gd name="T12" fmla="*/ 2147483647 w 46"/>
                <a:gd name="T13" fmla="*/ 2147483647 h 30"/>
                <a:gd name="T14" fmla="*/ 2147483647 w 46"/>
                <a:gd name="T15" fmla="*/ 2147483647 h 30"/>
                <a:gd name="T16" fmla="*/ 2147483647 w 46"/>
                <a:gd name="T17" fmla="*/ 2147483647 h 30"/>
                <a:gd name="T18" fmla="*/ 2147483647 w 46"/>
                <a:gd name="T19" fmla="*/ 2147483647 h 30"/>
                <a:gd name="T20" fmla="*/ 2147483647 w 46"/>
                <a:gd name="T21" fmla="*/ 2147483647 h 30"/>
                <a:gd name="T22" fmla="*/ 2147483647 w 46"/>
                <a:gd name="T23" fmla="*/ 2147483647 h 30"/>
                <a:gd name="T24" fmla="*/ 2147483647 w 46"/>
                <a:gd name="T25" fmla="*/ 2147483647 h 30"/>
                <a:gd name="T26" fmla="*/ 2147483647 w 46"/>
                <a:gd name="T27" fmla="*/ 2147483647 h 30"/>
                <a:gd name="T28" fmla="*/ 2147483647 w 46"/>
                <a:gd name="T29" fmla="*/ 2147483647 h 30"/>
                <a:gd name="T30" fmla="*/ 2147483647 w 46"/>
                <a:gd name="T31" fmla="*/ 2147483647 h 30"/>
                <a:gd name="T32" fmla="*/ 2147483647 w 46"/>
                <a:gd name="T33" fmla="*/ 2147483647 h 30"/>
                <a:gd name="T34" fmla="*/ 2147483647 w 46"/>
                <a:gd name="T35" fmla="*/ 2147483647 h 30"/>
                <a:gd name="T36" fmla="*/ 2147483647 w 46"/>
                <a:gd name="T37" fmla="*/ 2147483647 h 30"/>
                <a:gd name="T38" fmla="*/ 2147483647 w 46"/>
                <a:gd name="T39" fmla="*/ 2147483647 h 30"/>
                <a:gd name="T40" fmla="*/ 2147483647 w 46"/>
                <a:gd name="T41" fmla="*/ 2147483647 h 30"/>
                <a:gd name="T42" fmla="*/ 2147483647 w 46"/>
                <a:gd name="T43" fmla="*/ 2147483647 h 30"/>
                <a:gd name="T44" fmla="*/ 2147483647 w 46"/>
                <a:gd name="T45" fmla="*/ 2147483647 h 30"/>
                <a:gd name="T46" fmla="*/ 2147483647 w 46"/>
                <a:gd name="T47" fmla="*/ 2147483647 h 30"/>
                <a:gd name="T48" fmla="*/ 2147483647 w 46"/>
                <a:gd name="T49" fmla="*/ 2147483647 h 30"/>
                <a:gd name="T50" fmla="*/ 2147483647 w 46"/>
                <a:gd name="T51" fmla="*/ 2147483647 h 30"/>
                <a:gd name="T52" fmla="*/ 2147483647 w 46"/>
                <a:gd name="T53" fmla="*/ 2147483647 h 30"/>
                <a:gd name="T54" fmla="*/ 2147483647 w 46"/>
                <a:gd name="T55" fmla="*/ 2147483647 h 30"/>
                <a:gd name="T56" fmla="*/ 2147483647 w 46"/>
                <a:gd name="T57" fmla="*/ 2147483647 h 30"/>
                <a:gd name="T58" fmla="*/ 2147483647 w 46"/>
                <a:gd name="T59" fmla="*/ 2147483647 h 30"/>
                <a:gd name="T60" fmla="*/ 2147483647 w 46"/>
                <a:gd name="T61" fmla="*/ 2147483647 h 30"/>
                <a:gd name="T62" fmla="*/ 2147483647 w 46"/>
                <a:gd name="T63" fmla="*/ 0 h 30"/>
                <a:gd name="T64" fmla="*/ 0 w 46"/>
                <a:gd name="T65" fmla="*/ 2147483647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30"/>
                <a:gd name="T101" fmla="*/ 46 w 46"/>
                <a:gd name="T102" fmla="*/ 30 h 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30">
                  <a:moveTo>
                    <a:pt x="0" y="4"/>
                  </a:moveTo>
                  <a:lnTo>
                    <a:pt x="4" y="6"/>
                  </a:lnTo>
                  <a:lnTo>
                    <a:pt x="6" y="8"/>
                  </a:lnTo>
                  <a:lnTo>
                    <a:pt x="8" y="12"/>
                  </a:lnTo>
                  <a:lnTo>
                    <a:pt x="12" y="16"/>
                  </a:lnTo>
                  <a:lnTo>
                    <a:pt x="14" y="18"/>
                  </a:lnTo>
                  <a:lnTo>
                    <a:pt x="16" y="18"/>
                  </a:lnTo>
                  <a:lnTo>
                    <a:pt x="18" y="16"/>
                  </a:lnTo>
                  <a:lnTo>
                    <a:pt x="18" y="18"/>
                  </a:lnTo>
                  <a:lnTo>
                    <a:pt x="20" y="22"/>
                  </a:lnTo>
                  <a:lnTo>
                    <a:pt x="24" y="24"/>
                  </a:lnTo>
                  <a:lnTo>
                    <a:pt x="26" y="24"/>
                  </a:lnTo>
                  <a:lnTo>
                    <a:pt x="28" y="24"/>
                  </a:lnTo>
                  <a:lnTo>
                    <a:pt x="30" y="24"/>
                  </a:lnTo>
                  <a:lnTo>
                    <a:pt x="30" y="28"/>
                  </a:lnTo>
                  <a:lnTo>
                    <a:pt x="34" y="30"/>
                  </a:lnTo>
                  <a:lnTo>
                    <a:pt x="36" y="30"/>
                  </a:lnTo>
                  <a:lnTo>
                    <a:pt x="42" y="28"/>
                  </a:lnTo>
                  <a:lnTo>
                    <a:pt x="42" y="26"/>
                  </a:lnTo>
                  <a:lnTo>
                    <a:pt x="42" y="24"/>
                  </a:lnTo>
                  <a:lnTo>
                    <a:pt x="42" y="22"/>
                  </a:lnTo>
                  <a:lnTo>
                    <a:pt x="44" y="22"/>
                  </a:lnTo>
                  <a:lnTo>
                    <a:pt x="46" y="18"/>
                  </a:lnTo>
                  <a:lnTo>
                    <a:pt x="46" y="16"/>
                  </a:lnTo>
                  <a:lnTo>
                    <a:pt x="44" y="14"/>
                  </a:lnTo>
                  <a:lnTo>
                    <a:pt x="42" y="12"/>
                  </a:lnTo>
                  <a:lnTo>
                    <a:pt x="44" y="12"/>
                  </a:lnTo>
                  <a:lnTo>
                    <a:pt x="44" y="10"/>
                  </a:lnTo>
                  <a:lnTo>
                    <a:pt x="42" y="8"/>
                  </a:lnTo>
                  <a:lnTo>
                    <a:pt x="40" y="8"/>
                  </a:lnTo>
                  <a:lnTo>
                    <a:pt x="38" y="8"/>
                  </a:lnTo>
                  <a:lnTo>
                    <a:pt x="36" y="6"/>
                  </a:lnTo>
                  <a:lnTo>
                    <a:pt x="34" y="4"/>
                  </a:lnTo>
                  <a:lnTo>
                    <a:pt x="30" y="4"/>
                  </a:lnTo>
                  <a:lnTo>
                    <a:pt x="26" y="4"/>
                  </a:lnTo>
                  <a:lnTo>
                    <a:pt x="22" y="6"/>
                  </a:lnTo>
                  <a:lnTo>
                    <a:pt x="18" y="4"/>
                  </a:lnTo>
                  <a:lnTo>
                    <a:pt x="16" y="2"/>
                  </a:lnTo>
                  <a:lnTo>
                    <a:pt x="16" y="0"/>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3" name="Freeform 714">
              <a:extLst>
                <a:ext uri="{FF2B5EF4-FFF2-40B4-BE49-F238E27FC236}">
                  <a16:creationId xmlns:a16="http://schemas.microsoft.com/office/drawing/2014/main" id="{4D635655-594E-4955-A239-6913BA1E4FE8}"/>
                </a:ext>
              </a:extLst>
            </p:cNvPr>
            <p:cNvSpPr>
              <a:spLocks/>
            </p:cNvSpPr>
            <p:nvPr/>
          </p:nvSpPr>
          <p:spPr bwMode="gray">
            <a:xfrm>
              <a:off x="4598032" y="2935141"/>
              <a:ext cx="148313" cy="77691"/>
            </a:xfrm>
            <a:custGeom>
              <a:avLst/>
              <a:gdLst>
                <a:gd name="T0" fmla="*/ 2147483647 w 80"/>
                <a:gd name="T1" fmla="*/ 2147483647 h 42"/>
                <a:gd name="T2" fmla="*/ 2147483647 w 80"/>
                <a:gd name="T3" fmla="*/ 2147483647 h 42"/>
                <a:gd name="T4" fmla="*/ 0 w 80"/>
                <a:gd name="T5" fmla="*/ 2147483647 h 42"/>
                <a:gd name="T6" fmla="*/ 2147483647 w 80"/>
                <a:gd name="T7" fmla="*/ 2147483647 h 42"/>
                <a:gd name="T8" fmla="*/ 2147483647 w 80"/>
                <a:gd name="T9" fmla="*/ 2147483647 h 42"/>
                <a:gd name="T10" fmla="*/ 2147483647 w 80"/>
                <a:gd name="T11" fmla="*/ 2147483647 h 42"/>
                <a:gd name="T12" fmla="*/ 2147483647 w 80"/>
                <a:gd name="T13" fmla="*/ 2147483647 h 42"/>
                <a:gd name="T14" fmla="*/ 2147483647 w 80"/>
                <a:gd name="T15" fmla="*/ 2147483647 h 42"/>
                <a:gd name="T16" fmla="*/ 2147483647 w 80"/>
                <a:gd name="T17" fmla="*/ 2147483647 h 42"/>
                <a:gd name="T18" fmla="*/ 2147483647 w 80"/>
                <a:gd name="T19" fmla="*/ 2147483647 h 42"/>
                <a:gd name="T20" fmla="*/ 2147483647 w 80"/>
                <a:gd name="T21" fmla="*/ 2147483647 h 42"/>
                <a:gd name="T22" fmla="*/ 2147483647 w 80"/>
                <a:gd name="T23" fmla="*/ 2147483647 h 42"/>
                <a:gd name="T24" fmla="*/ 2147483647 w 80"/>
                <a:gd name="T25" fmla="*/ 2147483647 h 42"/>
                <a:gd name="T26" fmla="*/ 2147483647 w 80"/>
                <a:gd name="T27" fmla="*/ 2147483647 h 42"/>
                <a:gd name="T28" fmla="*/ 2147483647 w 80"/>
                <a:gd name="T29" fmla="*/ 2147483647 h 42"/>
                <a:gd name="T30" fmla="*/ 2147483647 w 80"/>
                <a:gd name="T31" fmla="*/ 2147483647 h 42"/>
                <a:gd name="T32" fmla="*/ 2147483647 w 80"/>
                <a:gd name="T33" fmla="*/ 2147483647 h 42"/>
                <a:gd name="T34" fmla="*/ 2147483647 w 80"/>
                <a:gd name="T35" fmla="*/ 2147483647 h 42"/>
                <a:gd name="T36" fmla="*/ 2147483647 w 80"/>
                <a:gd name="T37" fmla="*/ 2147483647 h 42"/>
                <a:gd name="T38" fmla="*/ 2147483647 w 80"/>
                <a:gd name="T39" fmla="*/ 2147483647 h 42"/>
                <a:gd name="T40" fmla="*/ 2147483647 w 80"/>
                <a:gd name="T41" fmla="*/ 2147483647 h 42"/>
                <a:gd name="T42" fmla="*/ 2147483647 w 80"/>
                <a:gd name="T43" fmla="*/ 0 h 42"/>
                <a:gd name="T44" fmla="*/ 2147483647 w 80"/>
                <a:gd name="T45" fmla="*/ 0 h 42"/>
                <a:gd name="T46" fmla="*/ 2147483647 w 80"/>
                <a:gd name="T47" fmla="*/ 2147483647 h 42"/>
                <a:gd name="T48" fmla="*/ 2147483647 w 80"/>
                <a:gd name="T49" fmla="*/ 2147483647 h 42"/>
                <a:gd name="T50" fmla="*/ 2147483647 w 80"/>
                <a:gd name="T51" fmla="*/ 2147483647 h 42"/>
                <a:gd name="T52" fmla="*/ 2147483647 w 80"/>
                <a:gd name="T53" fmla="*/ 2147483647 h 42"/>
                <a:gd name="T54" fmla="*/ 2147483647 w 80"/>
                <a:gd name="T55" fmla="*/ 2147483647 h 42"/>
                <a:gd name="T56" fmla="*/ 2147483647 w 80"/>
                <a:gd name="T57" fmla="*/ 2147483647 h 42"/>
                <a:gd name="T58" fmla="*/ 2147483647 w 80"/>
                <a:gd name="T59" fmla="*/ 2147483647 h 42"/>
                <a:gd name="T60" fmla="*/ 2147483647 w 80"/>
                <a:gd name="T61" fmla="*/ 2147483647 h 42"/>
                <a:gd name="T62" fmla="*/ 2147483647 w 80"/>
                <a:gd name="T63" fmla="*/ 2147483647 h 42"/>
                <a:gd name="T64" fmla="*/ 2147483647 w 80"/>
                <a:gd name="T65" fmla="*/ 2147483647 h 42"/>
                <a:gd name="T66" fmla="*/ 2147483647 w 80"/>
                <a:gd name="T67" fmla="*/ 2147483647 h 42"/>
                <a:gd name="T68" fmla="*/ 2147483647 w 80"/>
                <a:gd name="T69" fmla="*/ 2147483647 h 42"/>
                <a:gd name="T70" fmla="*/ 2147483647 w 80"/>
                <a:gd name="T71" fmla="*/ 2147483647 h 42"/>
                <a:gd name="T72" fmla="*/ 2147483647 w 80"/>
                <a:gd name="T73" fmla="*/ 2147483647 h 42"/>
                <a:gd name="T74" fmla="*/ 2147483647 w 80"/>
                <a:gd name="T75" fmla="*/ 2147483647 h 42"/>
                <a:gd name="T76" fmla="*/ 2147483647 w 80"/>
                <a:gd name="T77" fmla="*/ 2147483647 h 42"/>
                <a:gd name="T78" fmla="*/ 2147483647 w 80"/>
                <a:gd name="T79" fmla="*/ 2147483647 h 42"/>
                <a:gd name="T80" fmla="*/ 2147483647 w 80"/>
                <a:gd name="T81" fmla="*/ 2147483647 h 42"/>
                <a:gd name="T82" fmla="*/ 2147483647 w 80"/>
                <a:gd name="T83" fmla="*/ 2147483647 h 42"/>
                <a:gd name="T84" fmla="*/ 2147483647 w 80"/>
                <a:gd name="T85" fmla="*/ 2147483647 h 42"/>
                <a:gd name="T86" fmla="*/ 2147483647 w 80"/>
                <a:gd name="T87" fmla="*/ 2147483647 h 42"/>
                <a:gd name="T88" fmla="*/ 2147483647 w 80"/>
                <a:gd name="T89" fmla="*/ 2147483647 h 42"/>
                <a:gd name="T90" fmla="*/ 2147483647 w 80"/>
                <a:gd name="T91" fmla="*/ 2147483647 h 42"/>
                <a:gd name="T92" fmla="*/ 2147483647 w 80"/>
                <a:gd name="T93" fmla="*/ 2147483647 h 42"/>
                <a:gd name="T94" fmla="*/ 2147483647 w 80"/>
                <a:gd name="T95" fmla="*/ 2147483647 h 42"/>
                <a:gd name="T96" fmla="*/ 2147483647 w 80"/>
                <a:gd name="T97" fmla="*/ 2147483647 h 42"/>
                <a:gd name="T98" fmla="*/ 2147483647 w 80"/>
                <a:gd name="T99" fmla="*/ 2147483647 h 42"/>
                <a:gd name="T100" fmla="*/ 2147483647 w 80"/>
                <a:gd name="T101" fmla="*/ 2147483647 h 42"/>
                <a:gd name="T102" fmla="*/ 2147483647 w 80"/>
                <a:gd name="T103" fmla="*/ 2147483647 h 42"/>
                <a:gd name="T104" fmla="*/ 2147483647 w 80"/>
                <a:gd name="T105" fmla="*/ 2147483647 h 42"/>
                <a:gd name="T106" fmla="*/ 2147483647 w 80"/>
                <a:gd name="T107" fmla="*/ 2147483647 h 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0"/>
                <a:gd name="T163" fmla="*/ 0 h 42"/>
                <a:gd name="T164" fmla="*/ 80 w 80"/>
                <a:gd name="T165" fmla="*/ 42 h 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0" h="42">
                  <a:moveTo>
                    <a:pt x="4" y="38"/>
                  </a:moveTo>
                  <a:lnTo>
                    <a:pt x="4" y="38"/>
                  </a:lnTo>
                  <a:lnTo>
                    <a:pt x="2" y="36"/>
                  </a:lnTo>
                  <a:lnTo>
                    <a:pt x="0" y="34"/>
                  </a:lnTo>
                  <a:lnTo>
                    <a:pt x="0" y="32"/>
                  </a:lnTo>
                  <a:lnTo>
                    <a:pt x="2" y="30"/>
                  </a:lnTo>
                  <a:lnTo>
                    <a:pt x="4" y="28"/>
                  </a:lnTo>
                  <a:lnTo>
                    <a:pt x="6" y="26"/>
                  </a:lnTo>
                  <a:lnTo>
                    <a:pt x="12" y="24"/>
                  </a:lnTo>
                  <a:lnTo>
                    <a:pt x="14" y="24"/>
                  </a:lnTo>
                  <a:lnTo>
                    <a:pt x="16" y="22"/>
                  </a:lnTo>
                  <a:lnTo>
                    <a:pt x="20" y="22"/>
                  </a:lnTo>
                  <a:lnTo>
                    <a:pt x="24" y="22"/>
                  </a:lnTo>
                  <a:lnTo>
                    <a:pt x="26" y="22"/>
                  </a:lnTo>
                  <a:lnTo>
                    <a:pt x="30" y="24"/>
                  </a:lnTo>
                  <a:lnTo>
                    <a:pt x="32" y="24"/>
                  </a:lnTo>
                  <a:lnTo>
                    <a:pt x="32" y="22"/>
                  </a:lnTo>
                  <a:lnTo>
                    <a:pt x="30" y="18"/>
                  </a:lnTo>
                  <a:lnTo>
                    <a:pt x="28" y="16"/>
                  </a:lnTo>
                  <a:lnTo>
                    <a:pt x="30" y="16"/>
                  </a:lnTo>
                  <a:lnTo>
                    <a:pt x="32" y="14"/>
                  </a:lnTo>
                  <a:lnTo>
                    <a:pt x="36" y="12"/>
                  </a:lnTo>
                  <a:lnTo>
                    <a:pt x="36" y="10"/>
                  </a:lnTo>
                  <a:lnTo>
                    <a:pt x="38" y="6"/>
                  </a:lnTo>
                  <a:lnTo>
                    <a:pt x="38" y="4"/>
                  </a:lnTo>
                  <a:lnTo>
                    <a:pt x="42" y="4"/>
                  </a:lnTo>
                  <a:lnTo>
                    <a:pt x="46" y="6"/>
                  </a:lnTo>
                  <a:lnTo>
                    <a:pt x="48" y="8"/>
                  </a:lnTo>
                  <a:lnTo>
                    <a:pt x="50" y="6"/>
                  </a:lnTo>
                  <a:lnTo>
                    <a:pt x="52" y="2"/>
                  </a:lnTo>
                  <a:lnTo>
                    <a:pt x="54" y="0"/>
                  </a:lnTo>
                  <a:lnTo>
                    <a:pt x="56" y="0"/>
                  </a:lnTo>
                  <a:lnTo>
                    <a:pt x="58" y="0"/>
                  </a:lnTo>
                  <a:lnTo>
                    <a:pt x="62" y="2"/>
                  </a:lnTo>
                  <a:lnTo>
                    <a:pt x="66" y="4"/>
                  </a:lnTo>
                  <a:lnTo>
                    <a:pt x="70" y="4"/>
                  </a:lnTo>
                  <a:lnTo>
                    <a:pt x="78" y="4"/>
                  </a:lnTo>
                  <a:lnTo>
                    <a:pt x="76" y="6"/>
                  </a:lnTo>
                  <a:lnTo>
                    <a:pt x="76" y="10"/>
                  </a:lnTo>
                  <a:lnTo>
                    <a:pt x="78" y="10"/>
                  </a:lnTo>
                  <a:lnTo>
                    <a:pt x="80" y="16"/>
                  </a:lnTo>
                  <a:lnTo>
                    <a:pt x="78" y="16"/>
                  </a:lnTo>
                  <a:lnTo>
                    <a:pt x="78" y="18"/>
                  </a:lnTo>
                  <a:lnTo>
                    <a:pt x="78" y="20"/>
                  </a:lnTo>
                  <a:lnTo>
                    <a:pt x="78" y="24"/>
                  </a:lnTo>
                  <a:lnTo>
                    <a:pt x="76" y="28"/>
                  </a:lnTo>
                  <a:lnTo>
                    <a:pt x="74" y="28"/>
                  </a:lnTo>
                  <a:lnTo>
                    <a:pt x="72" y="28"/>
                  </a:lnTo>
                  <a:lnTo>
                    <a:pt x="70" y="32"/>
                  </a:lnTo>
                  <a:lnTo>
                    <a:pt x="66" y="34"/>
                  </a:lnTo>
                  <a:lnTo>
                    <a:pt x="62" y="34"/>
                  </a:lnTo>
                  <a:lnTo>
                    <a:pt x="58" y="34"/>
                  </a:lnTo>
                  <a:lnTo>
                    <a:pt x="56" y="34"/>
                  </a:lnTo>
                  <a:lnTo>
                    <a:pt x="54" y="36"/>
                  </a:lnTo>
                  <a:lnTo>
                    <a:pt x="50" y="38"/>
                  </a:lnTo>
                  <a:lnTo>
                    <a:pt x="46" y="38"/>
                  </a:lnTo>
                  <a:lnTo>
                    <a:pt x="42" y="38"/>
                  </a:lnTo>
                  <a:lnTo>
                    <a:pt x="40" y="40"/>
                  </a:lnTo>
                  <a:lnTo>
                    <a:pt x="38" y="42"/>
                  </a:lnTo>
                  <a:lnTo>
                    <a:pt x="36" y="42"/>
                  </a:lnTo>
                  <a:lnTo>
                    <a:pt x="28" y="42"/>
                  </a:lnTo>
                  <a:lnTo>
                    <a:pt x="26" y="42"/>
                  </a:lnTo>
                  <a:lnTo>
                    <a:pt x="24" y="42"/>
                  </a:lnTo>
                  <a:lnTo>
                    <a:pt x="22" y="40"/>
                  </a:lnTo>
                  <a:lnTo>
                    <a:pt x="18" y="40"/>
                  </a:lnTo>
                  <a:lnTo>
                    <a:pt x="16" y="40"/>
                  </a:lnTo>
                  <a:lnTo>
                    <a:pt x="14" y="38"/>
                  </a:lnTo>
                  <a:lnTo>
                    <a:pt x="12" y="36"/>
                  </a:lnTo>
                  <a:lnTo>
                    <a:pt x="12" y="38"/>
                  </a:lnTo>
                  <a:lnTo>
                    <a:pt x="10" y="40"/>
                  </a:lnTo>
                  <a:lnTo>
                    <a:pt x="8" y="38"/>
                  </a:lnTo>
                  <a:lnTo>
                    <a:pt x="6" y="38"/>
                  </a:lnTo>
                  <a:lnTo>
                    <a:pt x="4" y="38"/>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4" name="Freeform 715">
              <a:extLst>
                <a:ext uri="{FF2B5EF4-FFF2-40B4-BE49-F238E27FC236}">
                  <a16:creationId xmlns:a16="http://schemas.microsoft.com/office/drawing/2014/main" id="{7DAFA813-0980-4E56-BE58-DC731A462089}"/>
                </a:ext>
              </a:extLst>
            </p:cNvPr>
            <p:cNvSpPr>
              <a:spLocks/>
            </p:cNvSpPr>
            <p:nvPr/>
          </p:nvSpPr>
          <p:spPr bwMode="gray">
            <a:xfrm>
              <a:off x="4339072" y="2925724"/>
              <a:ext cx="2354" cy="0"/>
            </a:xfrm>
            <a:custGeom>
              <a:avLst/>
              <a:gdLst>
                <a:gd name="T0" fmla="*/ 2147483647 w 2"/>
                <a:gd name="T1" fmla="*/ 2147483647 w 2"/>
                <a:gd name="T2" fmla="*/ 2147483647 w 2"/>
                <a:gd name="T3" fmla="*/ 0 w 2"/>
                <a:gd name="T4" fmla="*/ 0 w 2"/>
                <a:gd name="T5" fmla="*/ 2147483647 w 2"/>
                <a:gd name="T6" fmla="*/ 2147483647 w 2"/>
                <a:gd name="T7" fmla="*/ 2147483647 w 2"/>
                <a:gd name="T8" fmla="*/ 2147483647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 name="T18" fmla="*/ 0 w 2"/>
                <a:gd name="T19" fmla="*/ 2 w 2"/>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T18" t="0" r="T19" b="0"/>
              <a:pathLst>
                <a:path w="2">
                  <a:moveTo>
                    <a:pt x="2" y="0"/>
                  </a:moveTo>
                  <a:lnTo>
                    <a:pt x="2" y="0"/>
                  </a:lnTo>
                  <a:lnTo>
                    <a:pt x="0"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5" name="Freeform 716">
              <a:extLst>
                <a:ext uri="{FF2B5EF4-FFF2-40B4-BE49-F238E27FC236}">
                  <a16:creationId xmlns:a16="http://schemas.microsoft.com/office/drawing/2014/main" id="{84D46B5A-BA69-480F-A220-541417807778}"/>
                </a:ext>
              </a:extLst>
            </p:cNvPr>
            <p:cNvSpPr>
              <a:spLocks/>
            </p:cNvSpPr>
            <p:nvPr/>
          </p:nvSpPr>
          <p:spPr bwMode="gray">
            <a:xfrm>
              <a:off x="4339074" y="2925724"/>
              <a:ext cx="2354" cy="0"/>
            </a:xfrm>
            <a:custGeom>
              <a:avLst/>
              <a:gdLst>
                <a:gd name="T0" fmla="*/ 2147483647 w 2"/>
                <a:gd name="T1" fmla="*/ 2147483647 w 2"/>
                <a:gd name="T2" fmla="*/ 2147483647 w 2"/>
                <a:gd name="T3" fmla="*/ 0 w 2"/>
                <a:gd name="T4" fmla="*/ 0 w 2"/>
                <a:gd name="T5" fmla="*/ 2147483647 w 2"/>
                <a:gd name="T6" fmla="*/ 2147483647 w 2"/>
                <a:gd name="T7" fmla="*/ 2147483647 w 2"/>
                <a:gd name="T8" fmla="*/ 2147483647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 name="T18" fmla="*/ 0 w 2"/>
                <a:gd name="T19" fmla="*/ 2 w 2"/>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T18" t="0" r="T19" b="0"/>
              <a:pathLst>
                <a:path w="2">
                  <a:moveTo>
                    <a:pt x="2" y="0"/>
                  </a:moveTo>
                  <a:lnTo>
                    <a:pt x="2" y="0"/>
                  </a:lnTo>
                  <a:lnTo>
                    <a:pt x="0" y="0"/>
                  </a:lnTo>
                  <a:lnTo>
                    <a:pt x="2"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6" name="Freeform 717">
              <a:extLst>
                <a:ext uri="{FF2B5EF4-FFF2-40B4-BE49-F238E27FC236}">
                  <a16:creationId xmlns:a16="http://schemas.microsoft.com/office/drawing/2014/main" id="{D4F59E60-AAFA-4C59-8382-A541727113DA}"/>
                </a:ext>
              </a:extLst>
            </p:cNvPr>
            <p:cNvSpPr>
              <a:spLocks/>
            </p:cNvSpPr>
            <p:nvPr/>
          </p:nvSpPr>
          <p:spPr bwMode="gray">
            <a:xfrm>
              <a:off x="3060752" y="3817999"/>
              <a:ext cx="4708" cy="2354"/>
            </a:xfrm>
            <a:custGeom>
              <a:avLst/>
              <a:gdLst>
                <a:gd name="T0" fmla="*/ 0 w 2"/>
                <a:gd name="T1" fmla="*/ 2147483647 h 2"/>
                <a:gd name="T2" fmla="*/ 0 w 2"/>
                <a:gd name="T3" fmla="*/ 0 h 2"/>
                <a:gd name="T4" fmla="*/ 2147483647 w 2"/>
                <a:gd name="T5" fmla="*/ 2147483647 h 2"/>
                <a:gd name="T6" fmla="*/ 0 w 2"/>
                <a:gd name="T7" fmla="*/ 2147483647 h 2"/>
                <a:gd name="T8" fmla="*/ 0 w 2"/>
                <a:gd name="T9" fmla="*/ 2147483647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0"/>
                  </a:lnTo>
                  <a:lnTo>
                    <a:pt x="2" y="2"/>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7" name="Freeform 718">
              <a:extLst>
                <a:ext uri="{FF2B5EF4-FFF2-40B4-BE49-F238E27FC236}">
                  <a16:creationId xmlns:a16="http://schemas.microsoft.com/office/drawing/2014/main" id="{61DC7B24-610B-407A-BE67-0C0A15BF5572}"/>
                </a:ext>
              </a:extLst>
            </p:cNvPr>
            <p:cNvSpPr>
              <a:spLocks/>
            </p:cNvSpPr>
            <p:nvPr/>
          </p:nvSpPr>
          <p:spPr bwMode="gray">
            <a:xfrm>
              <a:off x="3060752" y="3817999"/>
              <a:ext cx="4708" cy="2354"/>
            </a:xfrm>
            <a:custGeom>
              <a:avLst/>
              <a:gdLst>
                <a:gd name="T0" fmla="*/ 0 w 2"/>
                <a:gd name="T1" fmla="*/ 2147483647 h 2"/>
                <a:gd name="T2" fmla="*/ 0 w 2"/>
                <a:gd name="T3" fmla="*/ 0 h 2"/>
                <a:gd name="T4" fmla="*/ 2147483647 w 2"/>
                <a:gd name="T5" fmla="*/ 2147483647 h 2"/>
                <a:gd name="T6" fmla="*/ 0 w 2"/>
                <a:gd name="T7" fmla="*/ 2147483647 h 2"/>
                <a:gd name="T8" fmla="*/ 0 w 2"/>
                <a:gd name="T9" fmla="*/ 2147483647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0"/>
                  </a:lnTo>
                  <a:lnTo>
                    <a:pt x="2" y="2"/>
                  </a:lnTo>
                  <a:lnTo>
                    <a:pt x="0"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68" name="Rectangle 719">
              <a:extLst>
                <a:ext uri="{FF2B5EF4-FFF2-40B4-BE49-F238E27FC236}">
                  <a16:creationId xmlns:a16="http://schemas.microsoft.com/office/drawing/2014/main" id="{B77808E8-979D-4F3E-8C88-E1D6DC6C78D3}"/>
                </a:ext>
              </a:extLst>
            </p:cNvPr>
            <p:cNvSpPr>
              <a:spLocks noChangeArrowheads="1"/>
            </p:cNvSpPr>
            <p:nvPr/>
          </p:nvSpPr>
          <p:spPr bwMode="gray">
            <a:xfrm>
              <a:off x="3065459" y="3820354"/>
              <a:ext cx="2354" cy="4708"/>
            </a:xfrm>
            <a:prstGeom prst="rect">
              <a:avLst/>
            </a:prstGeom>
            <a:grpFill/>
            <a:ln w="6350">
              <a:solidFill>
                <a:schemeClr val="bg1"/>
              </a:solidFill>
              <a:miter lim="800000"/>
              <a:headEnd/>
              <a:tailEnd/>
            </a:ln>
          </p:spPr>
          <p:txBody>
            <a:bodyPr/>
            <a:lstStyle/>
            <a:p>
              <a:pPr algn="ctr" defTabSz="912813" fontAlgn="base">
                <a:spcBef>
                  <a:spcPct val="0"/>
                </a:spcBef>
                <a:spcAft>
                  <a:spcPct val="0"/>
                </a:spcAft>
                <a:defRPr/>
              </a:pPr>
              <a:endParaRPr lang="en-GB" b="1" dirty="0">
                <a:solidFill>
                  <a:srgbClr val="000000"/>
                </a:solidFill>
                <a:ea typeface="ＭＳ Ｐゴシック" charset="0"/>
              </a:endParaRPr>
            </a:p>
          </p:txBody>
        </p:sp>
        <p:sp>
          <p:nvSpPr>
            <p:cNvPr id="1069" name="Freeform 720">
              <a:extLst>
                <a:ext uri="{FF2B5EF4-FFF2-40B4-BE49-F238E27FC236}">
                  <a16:creationId xmlns:a16="http://schemas.microsoft.com/office/drawing/2014/main" id="{254A9AD4-6067-4BCC-B94C-1B4C0DE114B6}"/>
                </a:ext>
              </a:extLst>
            </p:cNvPr>
            <p:cNvSpPr>
              <a:spLocks/>
            </p:cNvSpPr>
            <p:nvPr/>
          </p:nvSpPr>
          <p:spPr bwMode="gray">
            <a:xfrm>
              <a:off x="3065459" y="3820354"/>
              <a:ext cx="0" cy="4708"/>
            </a:xfrm>
            <a:custGeom>
              <a:avLst/>
              <a:gdLst>
                <a:gd name="T0" fmla="*/ 0 h 2"/>
                <a:gd name="T1" fmla="*/ 2147483647 h 2"/>
                <a:gd name="T2" fmla="*/ 2147483647 h 2"/>
                <a:gd name="T3" fmla="*/ 0 h 2"/>
                <a:gd name="T4" fmla="*/ 0 60000 65536"/>
                <a:gd name="T5" fmla="*/ 0 60000 65536"/>
                <a:gd name="T6" fmla="*/ 0 60000 65536"/>
                <a:gd name="T7" fmla="*/ 0 60000 65536"/>
                <a:gd name="T8" fmla="*/ 0 h 2"/>
                <a:gd name="T9" fmla="*/ 2 h 2"/>
              </a:gdLst>
              <a:ahLst/>
              <a:cxnLst>
                <a:cxn ang="T4">
                  <a:pos x="0" y="T0"/>
                </a:cxn>
                <a:cxn ang="T5">
                  <a:pos x="0" y="T1"/>
                </a:cxn>
                <a:cxn ang="T6">
                  <a:pos x="0" y="T2"/>
                </a:cxn>
                <a:cxn ang="T7">
                  <a:pos x="0" y="T3"/>
                </a:cxn>
              </a:cxnLst>
              <a:rect l="0" t="T8" r="0" b="T9"/>
              <a:pathLst>
                <a:path h="2">
                  <a:moveTo>
                    <a:pt x="0" y="0"/>
                  </a:moveTo>
                  <a:lnTo>
                    <a:pt x="0" y="2"/>
                  </a:lnTo>
                  <a:lnTo>
                    <a:pt x="0"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0" name="Freeform 721">
              <a:extLst>
                <a:ext uri="{FF2B5EF4-FFF2-40B4-BE49-F238E27FC236}">
                  <a16:creationId xmlns:a16="http://schemas.microsoft.com/office/drawing/2014/main" id="{EC359DB0-6746-4F2F-831E-F18716B16701}"/>
                </a:ext>
              </a:extLst>
            </p:cNvPr>
            <p:cNvSpPr>
              <a:spLocks/>
            </p:cNvSpPr>
            <p:nvPr/>
          </p:nvSpPr>
          <p:spPr bwMode="gray">
            <a:xfrm>
              <a:off x="3136085" y="3940423"/>
              <a:ext cx="2354" cy="9417"/>
            </a:xfrm>
            <a:custGeom>
              <a:avLst/>
              <a:gdLst>
                <a:gd name="T0" fmla="*/ 0 w 2"/>
                <a:gd name="T1" fmla="*/ 2147483647 h 6"/>
                <a:gd name="T2" fmla="*/ 0 w 2"/>
                <a:gd name="T3" fmla="*/ 2147483647 h 6"/>
                <a:gd name="T4" fmla="*/ 0 w 2"/>
                <a:gd name="T5" fmla="*/ 0 h 6"/>
                <a:gd name="T6" fmla="*/ 0 w 2"/>
                <a:gd name="T7" fmla="*/ 2147483647 h 6"/>
                <a:gd name="T8" fmla="*/ 2147483647 w 2"/>
                <a:gd name="T9" fmla="*/ 2147483647 h 6"/>
                <a:gd name="T10" fmla="*/ 2147483647 w 2"/>
                <a:gd name="T11" fmla="*/ 2147483647 h 6"/>
                <a:gd name="T12" fmla="*/ 2147483647 w 2"/>
                <a:gd name="T13" fmla="*/ 2147483647 h 6"/>
                <a:gd name="T14" fmla="*/ 0 w 2"/>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6"/>
                  </a:moveTo>
                  <a:lnTo>
                    <a:pt x="0" y="2"/>
                  </a:lnTo>
                  <a:lnTo>
                    <a:pt x="0" y="0"/>
                  </a:lnTo>
                  <a:lnTo>
                    <a:pt x="0" y="2"/>
                  </a:lnTo>
                  <a:lnTo>
                    <a:pt x="2" y="2"/>
                  </a:lnTo>
                  <a:lnTo>
                    <a:pt x="2" y="4"/>
                  </a:lnTo>
                  <a:lnTo>
                    <a:pt x="2" y="6"/>
                  </a:lnTo>
                  <a:lnTo>
                    <a:pt x="0" y="6"/>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1" name="Freeform 722">
              <a:extLst>
                <a:ext uri="{FF2B5EF4-FFF2-40B4-BE49-F238E27FC236}">
                  <a16:creationId xmlns:a16="http://schemas.microsoft.com/office/drawing/2014/main" id="{282832F0-D7DA-47EA-8E05-223AE84BFB03}"/>
                </a:ext>
              </a:extLst>
            </p:cNvPr>
            <p:cNvSpPr>
              <a:spLocks/>
            </p:cNvSpPr>
            <p:nvPr/>
          </p:nvSpPr>
          <p:spPr bwMode="gray">
            <a:xfrm>
              <a:off x="3136085" y="3940423"/>
              <a:ext cx="2354" cy="9417"/>
            </a:xfrm>
            <a:custGeom>
              <a:avLst/>
              <a:gdLst>
                <a:gd name="T0" fmla="*/ 0 w 2"/>
                <a:gd name="T1" fmla="*/ 2147483647 h 6"/>
                <a:gd name="T2" fmla="*/ 0 w 2"/>
                <a:gd name="T3" fmla="*/ 2147483647 h 6"/>
                <a:gd name="T4" fmla="*/ 0 w 2"/>
                <a:gd name="T5" fmla="*/ 0 h 6"/>
                <a:gd name="T6" fmla="*/ 0 w 2"/>
                <a:gd name="T7" fmla="*/ 2147483647 h 6"/>
                <a:gd name="T8" fmla="*/ 2147483647 w 2"/>
                <a:gd name="T9" fmla="*/ 2147483647 h 6"/>
                <a:gd name="T10" fmla="*/ 2147483647 w 2"/>
                <a:gd name="T11" fmla="*/ 2147483647 h 6"/>
                <a:gd name="T12" fmla="*/ 2147483647 w 2"/>
                <a:gd name="T13" fmla="*/ 2147483647 h 6"/>
                <a:gd name="T14" fmla="*/ 0 w 2"/>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6"/>
                  </a:moveTo>
                  <a:lnTo>
                    <a:pt x="0" y="2"/>
                  </a:lnTo>
                  <a:lnTo>
                    <a:pt x="0" y="0"/>
                  </a:lnTo>
                  <a:lnTo>
                    <a:pt x="0" y="2"/>
                  </a:lnTo>
                  <a:lnTo>
                    <a:pt x="2" y="2"/>
                  </a:lnTo>
                  <a:lnTo>
                    <a:pt x="2" y="4"/>
                  </a:lnTo>
                  <a:lnTo>
                    <a:pt x="2" y="6"/>
                  </a:lnTo>
                  <a:lnTo>
                    <a:pt x="0" y="6"/>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2" name="Freeform 723">
              <a:extLst>
                <a:ext uri="{FF2B5EF4-FFF2-40B4-BE49-F238E27FC236}">
                  <a16:creationId xmlns:a16="http://schemas.microsoft.com/office/drawing/2014/main" id="{A7483E81-D541-4F13-B338-4AEF37CC47EE}"/>
                </a:ext>
              </a:extLst>
            </p:cNvPr>
            <p:cNvSpPr>
              <a:spLocks/>
            </p:cNvSpPr>
            <p:nvPr/>
          </p:nvSpPr>
          <p:spPr bwMode="gray">
            <a:xfrm>
              <a:off x="3105481" y="3923941"/>
              <a:ext cx="4708" cy="7064"/>
            </a:xfrm>
            <a:custGeom>
              <a:avLst/>
              <a:gdLst>
                <a:gd name="T0" fmla="*/ 0 w 2"/>
                <a:gd name="T1" fmla="*/ 2147483647 h 4"/>
                <a:gd name="T2" fmla="*/ 0 w 2"/>
                <a:gd name="T3" fmla="*/ 0 h 4"/>
                <a:gd name="T4" fmla="*/ 0 w 2"/>
                <a:gd name="T5" fmla="*/ 0 h 4"/>
                <a:gd name="T6" fmla="*/ 2147483647 w 2"/>
                <a:gd name="T7" fmla="*/ 0 h 4"/>
                <a:gd name="T8" fmla="*/ 2147483647 w 2"/>
                <a:gd name="T9" fmla="*/ 0 h 4"/>
                <a:gd name="T10" fmla="*/ 2147483647 w 2"/>
                <a:gd name="T11" fmla="*/ 2147483647 h 4"/>
                <a:gd name="T12" fmla="*/ 2147483647 w 2"/>
                <a:gd name="T13" fmla="*/ 2147483647 h 4"/>
                <a:gd name="T14" fmla="*/ 2147483647 w 2"/>
                <a:gd name="T15" fmla="*/ 2147483647 h 4"/>
                <a:gd name="T16" fmla="*/ 2147483647 w 2"/>
                <a:gd name="T17" fmla="*/ 2147483647 h 4"/>
                <a:gd name="T18" fmla="*/ 2147483647 w 2"/>
                <a:gd name="T19" fmla="*/ 2147483647 h 4"/>
                <a:gd name="T20" fmla="*/ 0 w 2"/>
                <a:gd name="T21" fmla="*/ 2147483647 h 4"/>
                <a:gd name="T22" fmla="*/ 0 w 2"/>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4"/>
                <a:gd name="T38" fmla="*/ 2 w 2"/>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4">
                  <a:moveTo>
                    <a:pt x="0" y="4"/>
                  </a:moveTo>
                  <a:lnTo>
                    <a:pt x="0" y="0"/>
                  </a:lnTo>
                  <a:lnTo>
                    <a:pt x="2" y="0"/>
                  </a:lnTo>
                  <a:lnTo>
                    <a:pt x="2" y="2"/>
                  </a:lnTo>
                  <a:lnTo>
                    <a:pt x="2" y="4"/>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3" name="Freeform 724">
              <a:extLst>
                <a:ext uri="{FF2B5EF4-FFF2-40B4-BE49-F238E27FC236}">
                  <a16:creationId xmlns:a16="http://schemas.microsoft.com/office/drawing/2014/main" id="{DD8BC3E0-B363-401C-AAA5-B86D8A79D834}"/>
                </a:ext>
              </a:extLst>
            </p:cNvPr>
            <p:cNvSpPr>
              <a:spLocks/>
            </p:cNvSpPr>
            <p:nvPr/>
          </p:nvSpPr>
          <p:spPr bwMode="gray">
            <a:xfrm>
              <a:off x="3105481" y="3923941"/>
              <a:ext cx="4708" cy="7064"/>
            </a:xfrm>
            <a:custGeom>
              <a:avLst/>
              <a:gdLst>
                <a:gd name="T0" fmla="*/ 0 w 2"/>
                <a:gd name="T1" fmla="*/ 2147483647 h 4"/>
                <a:gd name="T2" fmla="*/ 0 w 2"/>
                <a:gd name="T3" fmla="*/ 0 h 4"/>
                <a:gd name="T4" fmla="*/ 0 w 2"/>
                <a:gd name="T5" fmla="*/ 0 h 4"/>
                <a:gd name="T6" fmla="*/ 2147483647 w 2"/>
                <a:gd name="T7" fmla="*/ 0 h 4"/>
                <a:gd name="T8" fmla="*/ 2147483647 w 2"/>
                <a:gd name="T9" fmla="*/ 0 h 4"/>
                <a:gd name="T10" fmla="*/ 2147483647 w 2"/>
                <a:gd name="T11" fmla="*/ 2147483647 h 4"/>
                <a:gd name="T12" fmla="*/ 2147483647 w 2"/>
                <a:gd name="T13" fmla="*/ 2147483647 h 4"/>
                <a:gd name="T14" fmla="*/ 2147483647 w 2"/>
                <a:gd name="T15" fmla="*/ 2147483647 h 4"/>
                <a:gd name="T16" fmla="*/ 2147483647 w 2"/>
                <a:gd name="T17" fmla="*/ 2147483647 h 4"/>
                <a:gd name="T18" fmla="*/ 2147483647 w 2"/>
                <a:gd name="T19" fmla="*/ 2147483647 h 4"/>
                <a:gd name="T20" fmla="*/ 0 w 2"/>
                <a:gd name="T21" fmla="*/ 2147483647 h 4"/>
                <a:gd name="T22" fmla="*/ 0 w 2"/>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4"/>
                <a:gd name="T38" fmla="*/ 2 w 2"/>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4">
                  <a:moveTo>
                    <a:pt x="0" y="4"/>
                  </a:moveTo>
                  <a:lnTo>
                    <a:pt x="0" y="0"/>
                  </a:lnTo>
                  <a:lnTo>
                    <a:pt x="2" y="0"/>
                  </a:lnTo>
                  <a:lnTo>
                    <a:pt x="2" y="2"/>
                  </a:lnTo>
                  <a:lnTo>
                    <a:pt x="2" y="4"/>
                  </a:lnTo>
                  <a:lnTo>
                    <a:pt x="0" y="4"/>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4" name="Freeform 725">
              <a:extLst>
                <a:ext uri="{FF2B5EF4-FFF2-40B4-BE49-F238E27FC236}">
                  <a16:creationId xmlns:a16="http://schemas.microsoft.com/office/drawing/2014/main" id="{270114CE-34DC-4470-AD40-DBE982B00AA8}"/>
                </a:ext>
              </a:extLst>
            </p:cNvPr>
            <p:cNvSpPr>
              <a:spLocks/>
            </p:cNvSpPr>
            <p:nvPr/>
          </p:nvSpPr>
          <p:spPr bwMode="gray">
            <a:xfrm>
              <a:off x="3091356" y="3973382"/>
              <a:ext cx="7063" cy="7064"/>
            </a:xfrm>
            <a:custGeom>
              <a:avLst/>
              <a:gdLst>
                <a:gd name="T0" fmla="*/ 0 w 4"/>
                <a:gd name="T1" fmla="*/ 2147483647 h 4"/>
                <a:gd name="T2" fmla="*/ 0 w 4"/>
                <a:gd name="T3" fmla="*/ 0 h 4"/>
                <a:gd name="T4" fmla="*/ 0 w 4"/>
                <a:gd name="T5" fmla="*/ 0 h 4"/>
                <a:gd name="T6" fmla="*/ 2147483647 w 4"/>
                <a:gd name="T7" fmla="*/ 0 h 4"/>
                <a:gd name="T8" fmla="*/ 2147483647 w 4"/>
                <a:gd name="T9" fmla="*/ 0 h 4"/>
                <a:gd name="T10" fmla="*/ 2147483647 w 4"/>
                <a:gd name="T11" fmla="*/ 0 h 4"/>
                <a:gd name="T12" fmla="*/ 2147483647 w 4"/>
                <a:gd name="T13" fmla="*/ 2147483647 h 4"/>
                <a:gd name="T14" fmla="*/ 2147483647 w 4"/>
                <a:gd name="T15" fmla="*/ 2147483647 h 4"/>
                <a:gd name="T16" fmla="*/ 2147483647 w 4"/>
                <a:gd name="T17" fmla="*/ 2147483647 h 4"/>
                <a:gd name="T18" fmla="*/ 2147483647 w 4"/>
                <a:gd name="T19" fmla="*/ 2147483647 h 4"/>
                <a:gd name="T20" fmla="*/ 2147483647 w 4"/>
                <a:gd name="T21" fmla="*/ 2147483647 h 4"/>
                <a:gd name="T22" fmla="*/ 0 w 4"/>
                <a:gd name="T23" fmla="*/ 2147483647 h 4"/>
                <a:gd name="T24" fmla="*/ 0 w 4"/>
                <a:gd name="T25" fmla="*/ 2147483647 h 4"/>
                <a:gd name="T26" fmla="*/ 0 w 4"/>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2"/>
                  </a:moveTo>
                  <a:lnTo>
                    <a:pt x="0" y="0"/>
                  </a:lnTo>
                  <a:lnTo>
                    <a:pt x="2" y="0"/>
                  </a:lnTo>
                  <a:lnTo>
                    <a:pt x="4" y="0"/>
                  </a:lnTo>
                  <a:lnTo>
                    <a:pt x="4" y="2"/>
                  </a:lnTo>
                  <a:lnTo>
                    <a:pt x="2" y="2"/>
                  </a:lnTo>
                  <a:lnTo>
                    <a:pt x="2" y="4"/>
                  </a:lnTo>
                  <a:lnTo>
                    <a:pt x="0" y="4"/>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5" name="Freeform 726">
              <a:extLst>
                <a:ext uri="{FF2B5EF4-FFF2-40B4-BE49-F238E27FC236}">
                  <a16:creationId xmlns:a16="http://schemas.microsoft.com/office/drawing/2014/main" id="{6AD8EE25-548E-47DD-AF2C-F4F044DCCA9A}"/>
                </a:ext>
              </a:extLst>
            </p:cNvPr>
            <p:cNvSpPr>
              <a:spLocks/>
            </p:cNvSpPr>
            <p:nvPr/>
          </p:nvSpPr>
          <p:spPr bwMode="gray">
            <a:xfrm>
              <a:off x="3091356" y="3973382"/>
              <a:ext cx="7063" cy="7064"/>
            </a:xfrm>
            <a:custGeom>
              <a:avLst/>
              <a:gdLst>
                <a:gd name="T0" fmla="*/ 0 w 4"/>
                <a:gd name="T1" fmla="*/ 2147483647 h 4"/>
                <a:gd name="T2" fmla="*/ 0 w 4"/>
                <a:gd name="T3" fmla="*/ 0 h 4"/>
                <a:gd name="T4" fmla="*/ 0 w 4"/>
                <a:gd name="T5" fmla="*/ 0 h 4"/>
                <a:gd name="T6" fmla="*/ 2147483647 w 4"/>
                <a:gd name="T7" fmla="*/ 0 h 4"/>
                <a:gd name="T8" fmla="*/ 2147483647 w 4"/>
                <a:gd name="T9" fmla="*/ 0 h 4"/>
                <a:gd name="T10" fmla="*/ 2147483647 w 4"/>
                <a:gd name="T11" fmla="*/ 0 h 4"/>
                <a:gd name="T12" fmla="*/ 2147483647 w 4"/>
                <a:gd name="T13" fmla="*/ 2147483647 h 4"/>
                <a:gd name="T14" fmla="*/ 2147483647 w 4"/>
                <a:gd name="T15" fmla="*/ 2147483647 h 4"/>
                <a:gd name="T16" fmla="*/ 2147483647 w 4"/>
                <a:gd name="T17" fmla="*/ 2147483647 h 4"/>
                <a:gd name="T18" fmla="*/ 2147483647 w 4"/>
                <a:gd name="T19" fmla="*/ 2147483647 h 4"/>
                <a:gd name="T20" fmla="*/ 2147483647 w 4"/>
                <a:gd name="T21" fmla="*/ 2147483647 h 4"/>
                <a:gd name="T22" fmla="*/ 0 w 4"/>
                <a:gd name="T23" fmla="*/ 2147483647 h 4"/>
                <a:gd name="T24" fmla="*/ 0 w 4"/>
                <a:gd name="T25" fmla="*/ 2147483647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0" y="2"/>
                  </a:moveTo>
                  <a:lnTo>
                    <a:pt x="0" y="0"/>
                  </a:lnTo>
                  <a:lnTo>
                    <a:pt x="2" y="0"/>
                  </a:lnTo>
                  <a:lnTo>
                    <a:pt x="4" y="0"/>
                  </a:lnTo>
                  <a:lnTo>
                    <a:pt x="4" y="2"/>
                  </a:lnTo>
                  <a:lnTo>
                    <a:pt x="2" y="2"/>
                  </a:lnTo>
                  <a:lnTo>
                    <a:pt x="2" y="4"/>
                  </a:lnTo>
                  <a:lnTo>
                    <a:pt x="0" y="4"/>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6" name="Freeform 727">
              <a:extLst>
                <a:ext uri="{FF2B5EF4-FFF2-40B4-BE49-F238E27FC236}">
                  <a16:creationId xmlns:a16="http://schemas.microsoft.com/office/drawing/2014/main" id="{2C369F01-5504-477B-8911-9EBD48A2AA84}"/>
                </a:ext>
              </a:extLst>
            </p:cNvPr>
            <p:cNvSpPr>
              <a:spLocks/>
            </p:cNvSpPr>
            <p:nvPr/>
          </p:nvSpPr>
          <p:spPr bwMode="gray">
            <a:xfrm>
              <a:off x="3065459" y="3834480"/>
              <a:ext cx="4708" cy="9417"/>
            </a:xfrm>
            <a:custGeom>
              <a:avLst/>
              <a:gdLst>
                <a:gd name="T0" fmla="*/ 0 w 2"/>
                <a:gd name="T1" fmla="*/ 0 h 4"/>
                <a:gd name="T2" fmla="*/ 2147483647 w 2"/>
                <a:gd name="T3" fmla="*/ 0 h 4"/>
                <a:gd name="T4" fmla="*/ 2147483647 w 2"/>
                <a:gd name="T5" fmla="*/ 2147483647 h 4"/>
                <a:gd name="T6" fmla="*/ 2147483647 w 2"/>
                <a:gd name="T7" fmla="*/ 2147483647 h 4"/>
                <a:gd name="T8" fmla="*/ 2147483647 w 2"/>
                <a:gd name="T9" fmla="*/ 2147483647 h 4"/>
                <a:gd name="T10" fmla="*/ 0 w 2"/>
                <a:gd name="T11" fmla="*/ 2147483647 h 4"/>
                <a:gd name="T12" fmla="*/ 0 w 2"/>
                <a:gd name="T13" fmla="*/ 2147483647 h 4"/>
                <a:gd name="T14" fmla="*/ 0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0"/>
                  </a:moveTo>
                  <a:lnTo>
                    <a:pt x="2" y="0"/>
                  </a:lnTo>
                  <a:lnTo>
                    <a:pt x="2" y="2"/>
                  </a:lnTo>
                  <a:lnTo>
                    <a:pt x="2" y="4"/>
                  </a:lnTo>
                  <a:lnTo>
                    <a:pt x="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7" name="Freeform 728">
              <a:extLst>
                <a:ext uri="{FF2B5EF4-FFF2-40B4-BE49-F238E27FC236}">
                  <a16:creationId xmlns:a16="http://schemas.microsoft.com/office/drawing/2014/main" id="{3320E9C4-E953-40CC-921D-646BD5AB1A60}"/>
                </a:ext>
              </a:extLst>
            </p:cNvPr>
            <p:cNvSpPr>
              <a:spLocks/>
            </p:cNvSpPr>
            <p:nvPr/>
          </p:nvSpPr>
          <p:spPr bwMode="gray">
            <a:xfrm>
              <a:off x="3065459" y="3834480"/>
              <a:ext cx="4708" cy="9417"/>
            </a:xfrm>
            <a:custGeom>
              <a:avLst/>
              <a:gdLst>
                <a:gd name="T0" fmla="*/ 0 w 2"/>
                <a:gd name="T1" fmla="*/ 0 h 4"/>
                <a:gd name="T2" fmla="*/ 2147483647 w 2"/>
                <a:gd name="T3" fmla="*/ 0 h 4"/>
                <a:gd name="T4" fmla="*/ 2147483647 w 2"/>
                <a:gd name="T5" fmla="*/ 2147483647 h 4"/>
                <a:gd name="T6" fmla="*/ 2147483647 w 2"/>
                <a:gd name="T7" fmla="*/ 2147483647 h 4"/>
                <a:gd name="T8" fmla="*/ 2147483647 w 2"/>
                <a:gd name="T9" fmla="*/ 2147483647 h 4"/>
                <a:gd name="T10" fmla="*/ 0 w 2"/>
                <a:gd name="T11" fmla="*/ 2147483647 h 4"/>
                <a:gd name="T12" fmla="*/ 0 w 2"/>
                <a:gd name="T13" fmla="*/ 2147483647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0"/>
                  </a:moveTo>
                  <a:lnTo>
                    <a:pt x="2" y="0"/>
                  </a:lnTo>
                  <a:lnTo>
                    <a:pt x="2" y="2"/>
                  </a:lnTo>
                  <a:lnTo>
                    <a:pt x="2" y="4"/>
                  </a:lnTo>
                  <a:lnTo>
                    <a:pt x="0"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8" name="Freeform 729">
              <a:extLst>
                <a:ext uri="{FF2B5EF4-FFF2-40B4-BE49-F238E27FC236}">
                  <a16:creationId xmlns:a16="http://schemas.microsoft.com/office/drawing/2014/main" id="{9C34A3D9-DB0B-4287-87DE-260D082E4F40}"/>
                </a:ext>
              </a:extLst>
            </p:cNvPr>
            <p:cNvSpPr>
              <a:spLocks/>
            </p:cNvSpPr>
            <p:nvPr/>
          </p:nvSpPr>
          <p:spPr bwMode="gray">
            <a:xfrm>
              <a:off x="3070168" y="3843897"/>
              <a:ext cx="2354" cy="2354"/>
            </a:xfrm>
            <a:custGeom>
              <a:avLst/>
              <a:gdLst>
                <a:gd name="T0" fmla="*/ 2147483647 w 2"/>
                <a:gd name="T1" fmla="*/ 0 h 2"/>
                <a:gd name="T2" fmla="*/ 2147483647 w 2"/>
                <a:gd name="T3" fmla="*/ 0 h 2"/>
                <a:gd name="T4" fmla="*/ 2147483647 w 2"/>
                <a:gd name="T5" fmla="*/ 0 h 2"/>
                <a:gd name="T6" fmla="*/ 2147483647 w 2"/>
                <a:gd name="T7" fmla="*/ 2147483647 h 2"/>
                <a:gd name="T8" fmla="*/ 2147483647 w 2"/>
                <a:gd name="T9" fmla="*/ 2147483647 h 2"/>
                <a:gd name="T10" fmla="*/ 0 w 2"/>
                <a:gd name="T11" fmla="*/ 0 h 2"/>
                <a:gd name="T12" fmla="*/ 2147483647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2" y="0"/>
                  </a:lnTo>
                  <a:lnTo>
                    <a:pt x="2" y="2"/>
                  </a:lnTo>
                  <a:lnTo>
                    <a:pt x="0" y="0"/>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79" name="Freeform 730">
              <a:extLst>
                <a:ext uri="{FF2B5EF4-FFF2-40B4-BE49-F238E27FC236}">
                  <a16:creationId xmlns:a16="http://schemas.microsoft.com/office/drawing/2014/main" id="{6183FC63-A625-4313-BA0D-8D45FE128928}"/>
                </a:ext>
              </a:extLst>
            </p:cNvPr>
            <p:cNvSpPr>
              <a:spLocks/>
            </p:cNvSpPr>
            <p:nvPr/>
          </p:nvSpPr>
          <p:spPr bwMode="gray">
            <a:xfrm>
              <a:off x="3070168" y="3843897"/>
              <a:ext cx="2354" cy="2354"/>
            </a:xfrm>
            <a:custGeom>
              <a:avLst/>
              <a:gdLst>
                <a:gd name="T0" fmla="*/ 2147483647 w 2"/>
                <a:gd name="T1" fmla="*/ 0 h 2"/>
                <a:gd name="T2" fmla="*/ 2147483647 w 2"/>
                <a:gd name="T3" fmla="*/ 0 h 2"/>
                <a:gd name="T4" fmla="*/ 2147483647 w 2"/>
                <a:gd name="T5" fmla="*/ 0 h 2"/>
                <a:gd name="T6" fmla="*/ 2147483647 w 2"/>
                <a:gd name="T7" fmla="*/ 2147483647 h 2"/>
                <a:gd name="T8" fmla="*/ 2147483647 w 2"/>
                <a:gd name="T9" fmla="*/ 2147483647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2" y="0"/>
                  </a:lnTo>
                  <a:lnTo>
                    <a:pt x="2" y="2"/>
                  </a:lnTo>
                  <a:lnTo>
                    <a:pt x="0"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0" name="Freeform 731">
              <a:extLst>
                <a:ext uri="{FF2B5EF4-FFF2-40B4-BE49-F238E27FC236}">
                  <a16:creationId xmlns:a16="http://schemas.microsoft.com/office/drawing/2014/main" id="{5EEEC700-E289-43FB-ACD3-895CD0892D50}"/>
                </a:ext>
              </a:extLst>
            </p:cNvPr>
            <p:cNvSpPr>
              <a:spLocks/>
            </p:cNvSpPr>
            <p:nvPr/>
          </p:nvSpPr>
          <p:spPr bwMode="gray">
            <a:xfrm>
              <a:off x="3096064" y="3883919"/>
              <a:ext cx="7063" cy="11771"/>
            </a:xfrm>
            <a:custGeom>
              <a:avLst/>
              <a:gdLst>
                <a:gd name="T0" fmla="*/ 0 w 4"/>
                <a:gd name="T1" fmla="*/ 2147483647 h 6"/>
                <a:gd name="T2" fmla="*/ 0 w 4"/>
                <a:gd name="T3" fmla="*/ 2147483647 h 6"/>
                <a:gd name="T4" fmla="*/ 0 w 4"/>
                <a:gd name="T5" fmla="*/ 2147483647 h 6"/>
                <a:gd name="T6" fmla="*/ 0 w 4"/>
                <a:gd name="T7" fmla="*/ 2147483647 h 6"/>
                <a:gd name="T8" fmla="*/ 0 w 4"/>
                <a:gd name="T9" fmla="*/ 0 h 6"/>
                <a:gd name="T10" fmla="*/ 0 w 4"/>
                <a:gd name="T11" fmla="*/ 0 h 6"/>
                <a:gd name="T12" fmla="*/ 2147483647 w 4"/>
                <a:gd name="T13" fmla="*/ 0 h 6"/>
                <a:gd name="T14" fmla="*/ 2147483647 w 4"/>
                <a:gd name="T15" fmla="*/ 0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0 w 4"/>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6"/>
                <a:gd name="T44" fmla="*/ 4 w 4"/>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6">
                  <a:moveTo>
                    <a:pt x="0" y="4"/>
                  </a:moveTo>
                  <a:lnTo>
                    <a:pt x="0" y="2"/>
                  </a:lnTo>
                  <a:lnTo>
                    <a:pt x="0" y="0"/>
                  </a:lnTo>
                  <a:lnTo>
                    <a:pt x="2" y="0"/>
                  </a:lnTo>
                  <a:lnTo>
                    <a:pt x="4" y="2"/>
                  </a:lnTo>
                  <a:lnTo>
                    <a:pt x="2" y="4"/>
                  </a:lnTo>
                  <a:lnTo>
                    <a:pt x="2" y="6"/>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1" name="Freeform 732">
              <a:extLst>
                <a:ext uri="{FF2B5EF4-FFF2-40B4-BE49-F238E27FC236}">
                  <a16:creationId xmlns:a16="http://schemas.microsoft.com/office/drawing/2014/main" id="{E08ADFA5-E9FA-4437-BDDD-F5150DB4CD7B}"/>
                </a:ext>
              </a:extLst>
            </p:cNvPr>
            <p:cNvSpPr>
              <a:spLocks/>
            </p:cNvSpPr>
            <p:nvPr/>
          </p:nvSpPr>
          <p:spPr bwMode="gray">
            <a:xfrm>
              <a:off x="3096064" y="3883919"/>
              <a:ext cx="7063" cy="11771"/>
            </a:xfrm>
            <a:custGeom>
              <a:avLst/>
              <a:gdLst>
                <a:gd name="T0" fmla="*/ 0 w 4"/>
                <a:gd name="T1" fmla="*/ 2147483647 h 6"/>
                <a:gd name="T2" fmla="*/ 0 w 4"/>
                <a:gd name="T3" fmla="*/ 2147483647 h 6"/>
                <a:gd name="T4" fmla="*/ 0 w 4"/>
                <a:gd name="T5" fmla="*/ 2147483647 h 6"/>
                <a:gd name="T6" fmla="*/ 0 w 4"/>
                <a:gd name="T7" fmla="*/ 2147483647 h 6"/>
                <a:gd name="T8" fmla="*/ 0 w 4"/>
                <a:gd name="T9" fmla="*/ 0 h 6"/>
                <a:gd name="T10" fmla="*/ 0 w 4"/>
                <a:gd name="T11" fmla="*/ 0 h 6"/>
                <a:gd name="T12" fmla="*/ 2147483647 w 4"/>
                <a:gd name="T13" fmla="*/ 0 h 6"/>
                <a:gd name="T14" fmla="*/ 2147483647 w 4"/>
                <a:gd name="T15" fmla="*/ 0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0" y="4"/>
                  </a:moveTo>
                  <a:lnTo>
                    <a:pt x="0" y="2"/>
                  </a:lnTo>
                  <a:lnTo>
                    <a:pt x="0" y="0"/>
                  </a:lnTo>
                  <a:lnTo>
                    <a:pt x="2" y="0"/>
                  </a:lnTo>
                  <a:lnTo>
                    <a:pt x="4" y="2"/>
                  </a:lnTo>
                  <a:lnTo>
                    <a:pt x="2" y="4"/>
                  </a:lnTo>
                  <a:lnTo>
                    <a:pt x="2" y="6"/>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2" name="Freeform 733">
              <a:extLst>
                <a:ext uri="{FF2B5EF4-FFF2-40B4-BE49-F238E27FC236}">
                  <a16:creationId xmlns:a16="http://schemas.microsoft.com/office/drawing/2014/main" id="{D6C53DF9-61E9-4722-84EA-FA81B7316EB2}"/>
                </a:ext>
              </a:extLst>
            </p:cNvPr>
            <p:cNvSpPr>
              <a:spLocks/>
            </p:cNvSpPr>
            <p:nvPr/>
          </p:nvSpPr>
          <p:spPr bwMode="gray">
            <a:xfrm>
              <a:off x="3103127" y="3940423"/>
              <a:ext cx="2354" cy="9417"/>
            </a:xfrm>
            <a:custGeom>
              <a:avLst/>
              <a:gdLst>
                <a:gd name="T0" fmla="*/ 0 w 2"/>
                <a:gd name="T1" fmla="*/ 2147483647 h 6"/>
                <a:gd name="T2" fmla="*/ 0 w 2"/>
                <a:gd name="T3" fmla="*/ 2147483647 h 6"/>
                <a:gd name="T4" fmla="*/ 0 w 2"/>
                <a:gd name="T5" fmla="*/ 2147483647 h 6"/>
                <a:gd name="T6" fmla="*/ 0 w 2"/>
                <a:gd name="T7" fmla="*/ 2147483647 h 6"/>
                <a:gd name="T8" fmla="*/ 0 w 2"/>
                <a:gd name="T9" fmla="*/ 2147483647 h 6"/>
                <a:gd name="T10" fmla="*/ 0 w 2"/>
                <a:gd name="T11" fmla="*/ 2147483647 h 6"/>
                <a:gd name="T12" fmla="*/ 0 w 2"/>
                <a:gd name="T13" fmla="*/ 2147483647 h 6"/>
                <a:gd name="T14" fmla="*/ 2147483647 w 2"/>
                <a:gd name="T15" fmla="*/ 2147483647 h 6"/>
                <a:gd name="T16" fmla="*/ 2147483647 w 2"/>
                <a:gd name="T17" fmla="*/ 2147483647 h 6"/>
                <a:gd name="T18" fmla="*/ 2147483647 w 2"/>
                <a:gd name="T19" fmla="*/ 2147483647 h 6"/>
                <a:gd name="T20" fmla="*/ 2147483647 w 2"/>
                <a:gd name="T21" fmla="*/ 0 h 6"/>
                <a:gd name="T22" fmla="*/ 0 w 2"/>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6"/>
                <a:gd name="T38" fmla="*/ 2 w 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6">
                  <a:moveTo>
                    <a:pt x="0" y="2"/>
                  </a:moveTo>
                  <a:lnTo>
                    <a:pt x="0" y="2"/>
                  </a:lnTo>
                  <a:lnTo>
                    <a:pt x="0" y="4"/>
                  </a:lnTo>
                  <a:lnTo>
                    <a:pt x="0" y="6"/>
                  </a:lnTo>
                  <a:lnTo>
                    <a:pt x="2" y="4"/>
                  </a:lnTo>
                  <a:lnTo>
                    <a:pt x="2" y="2"/>
                  </a:lnTo>
                  <a:lnTo>
                    <a:pt x="2" y="0"/>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3" name="Freeform 734">
              <a:extLst>
                <a:ext uri="{FF2B5EF4-FFF2-40B4-BE49-F238E27FC236}">
                  <a16:creationId xmlns:a16="http://schemas.microsoft.com/office/drawing/2014/main" id="{E842D2AF-4BD8-4071-A025-C656E83DC52A}"/>
                </a:ext>
              </a:extLst>
            </p:cNvPr>
            <p:cNvSpPr>
              <a:spLocks/>
            </p:cNvSpPr>
            <p:nvPr/>
          </p:nvSpPr>
          <p:spPr bwMode="gray">
            <a:xfrm>
              <a:off x="3103127" y="3940423"/>
              <a:ext cx="2354" cy="9417"/>
            </a:xfrm>
            <a:custGeom>
              <a:avLst/>
              <a:gdLst>
                <a:gd name="T0" fmla="*/ 0 w 2"/>
                <a:gd name="T1" fmla="*/ 2147483647 h 6"/>
                <a:gd name="T2" fmla="*/ 0 w 2"/>
                <a:gd name="T3" fmla="*/ 2147483647 h 6"/>
                <a:gd name="T4" fmla="*/ 0 w 2"/>
                <a:gd name="T5" fmla="*/ 2147483647 h 6"/>
                <a:gd name="T6" fmla="*/ 0 w 2"/>
                <a:gd name="T7" fmla="*/ 2147483647 h 6"/>
                <a:gd name="T8" fmla="*/ 0 w 2"/>
                <a:gd name="T9" fmla="*/ 2147483647 h 6"/>
                <a:gd name="T10" fmla="*/ 0 w 2"/>
                <a:gd name="T11" fmla="*/ 2147483647 h 6"/>
                <a:gd name="T12" fmla="*/ 0 w 2"/>
                <a:gd name="T13" fmla="*/ 2147483647 h 6"/>
                <a:gd name="T14" fmla="*/ 2147483647 w 2"/>
                <a:gd name="T15" fmla="*/ 2147483647 h 6"/>
                <a:gd name="T16" fmla="*/ 2147483647 w 2"/>
                <a:gd name="T17" fmla="*/ 2147483647 h 6"/>
                <a:gd name="T18" fmla="*/ 2147483647 w 2"/>
                <a:gd name="T19" fmla="*/ 2147483647 h 6"/>
                <a:gd name="T20" fmla="*/ 2147483647 w 2"/>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
                <a:gd name="T34" fmla="*/ 0 h 6"/>
                <a:gd name="T35" fmla="*/ 2 w 2"/>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 h="6">
                  <a:moveTo>
                    <a:pt x="0" y="2"/>
                  </a:moveTo>
                  <a:lnTo>
                    <a:pt x="0" y="2"/>
                  </a:lnTo>
                  <a:lnTo>
                    <a:pt x="0" y="4"/>
                  </a:lnTo>
                  <a:lnTo>
                    <a:pt x="0" y="6"/>
                  </a:lnTo>
                  <a:lnTo>
                    <a:pt x="2" y="4"/>
                  </a:lnTo>
                  <a:lnTo>
                    <a:pt x="2" y="2"/>
                  </a:lnTo>
                  <a:lnTo>
                    <a:pt x="2"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4" name="Freeform 735">
              <a:extLst>
                <a:ext uri="{FF2B5EF4-FFF2-40B4-BE49-F238E27FC236}">
                  <a16:creationId xmlns:a16="http://schemas.microsoft.com/office/drawing/2014/main" id="{A7ADAEBA-B985-4534-BB75-33E93C9A950B}"/>
                </a:ext>
              </a:extLst>
            </p:cNvPr>
            <p:cNvSpPr>
              <a:spLocks/>
            </p:cNvSpPr>
            <p:nvPr/>
          </p:nvSpPr>
          <p:spPr bwMode="gray">
            <a:xfrm>
              <a:off x="3084293" y="3827417"/>
              <a:ext cx="2354" cy="4708"/>
            </a:xfrm>
            <a:custGeom>
              <a:avLst/>
              <a:gdLst>
                <a:gd name="T0" fmla="*/ 2147483647 w 2"/>
                <a:gd name="T1" fmla="*/ 2147483647 h 2"/>
                <a:gd name="T2" fmla="*/ 2147483647 w 2"/>
                <a:gd name="T3" fmla="*/ 2147483647 h 2"/>
                <a:gd name="T4" fmla="*/ 0 w 2"/>
                <a:gd name="T5" fmla="*/ 2147483647 h 2"/>
                <a:gd name="T6" fmla="*/ 0 w 2"/>
                <a:gd name="T7" fmla="*/ 0 h 2"/>
                <a:gd name="T8" fmla="*/ 2147483647 w 2"/>
                <a:gd name="T9" fmla="*/ 0 h 2"/>
                <a:gd name="T10" fmla="*/ 2147483647 w 2"/>
                <a:gd name="T11" fmla="*/ 0 h 2"/>
                <a:gd name="T12" fmla="*/ 2147483647 w 2"/>
                <a:gd name="T13" fmla="*/ 2147483647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2"/>
                  </a:lnTo>
                  <a:lnTo>
                    <a:pt x="0" y="2"/>
                  </a:lnTo>
                  <a:lnTo>
                    <a:pt x="0" y="0"/>
                  </a:lnTo>
                  <a:lnTo>
                    <a:pt x="2" y="0"/>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5" name="Freeform 736">
              <a:extLst>
                <a:ext uri="{FF2B5EF4-FFF2-40B4-BE49-F238E27FC236}">
                  <a16:creationId xmlns:a16="http://schemas.microsoft.com/office/drawing/2014/main" id="{CEC7DBC1-2C8D-40D2-9CD2-759966A2A343}"/>
                </a:ext>
              </a:extLst>
            </p:cNvPr>
            <p:cNvSpPr>
              <a:spLocks/>
            </p:cNvSpPr>
            <p:nvPr/>
          </p:nvSpPr>
          <p:spPr bwMode="gray">
            <a:xfrm>
              <a:off x="3084293" y="3827417"/>
              <a:ext cx="2354" cy="4708"/>
            </a:xfrm>
            <a:custGeom>
              <a:avLst/>
              <a:gdLst>
                <a:gd name="T0" fmla="*/ 2147483647 w 2"/>
                <a:gd name="T1" fmla="*/ 2147483647 h 2"/>
                <a:gd name="T2" fmla="*/ 2147483647 w 2"/>
                <a:gd name="T3" fmla="*/ 2147483647 h 2"/>
                <a:gd name="T4" fmla="*/ 0 w 2"/>
                <a:gd name="T5" fmla="*/ 2147483647 h 2"/>
                <a:gd name="T6" fmla="*/ 0 w 2"/>
                <a:gd name="T7" fmla="*/ 0 h 2"/>
                <a:gd name="T8" fmla="*/ 2147483647 w 2"/>
                <a:gd name="T9" fmla="*/ 0 h 2"/>
                <a:gd name="T10" fmla="*/ 2147483647 w 2"/>
                <a:gd name="T11" fmla="*/ 0 h 2"/>
                <a:gd name="T12" fmla="*/ 2147483647 w 2"/>
                <a:gd name="T13" fmla="*/ 2147483647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2"/>
                  </a:lnTo>
                  <a:lnTo>
                    <a:pt x="0" y="2"/>
                  </a:lnTo>
                  <a:lnTo>
                    <a:pt x="0" y="0"/>
                  </a:lnTo>
                  <a:lnTo>
                    <a:pt x="2" y="0"/>
                  </a:lnTo>
                  <a:lnTo>
                    <a:pt x="2"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6" name="Freeform 737">
              <a:extLst>
                <a:ext uri="{FF2B5EF4-FFF2-40B4-BE49-F238E27FC236}">
                  <a16:creationId xmlns:a16="http://schemas.microsoft.com/office/drawing/2014/main" id="{FA13708F-E398-4ED1-9883-C7C52FB2668E}"/>
                </a:ext>
              </a:extLst>
            </p:cNvPr>
            <p:cNvSpPr>
              <a:spLocks/>
            </p:cNvSpPr>
            <p:nvPr/>
          </p:nvSpPr>
          <p:spPr bwMode="gray">
            <a:xfrm>
              <a:off x="3058398" y="3813290"/>
              <a:ext cx="7063" cy="4708"/>
            </a:xfrm>
            <a:custGeom>
              <a:avLst/>
              <a:gdLst>
                <a:gd name="T0" fmla="*/ 2147483647 w 4"/>
                <a:gd name="T1" fmla="*/ 0 h 2"/>
                <a:gd name="T2" fmla="*/ 2147483647 w 4"/>
                <a:gd name="T3" fmla="*/ 0 h 2"/>
                <a:gd name="T4" fmla="*/ 0 w 4"/>
                <a:gd name="T5" fmla="*/ 2147483647 h 2"/>
                <a:gd name="T6" fmla="*/ 2147483647 w 4"/>
                <a:gd name="T7" fmla="*/ 2147483647 h 2"/>
                <a:gd name="T8" fmla="*/ 2147483647 w 4"/>
                <a:gd name="T9" fmla="*/ 2147483647 h 2"/>
                <a:gd name="T10" fmla="*/ 2147483647 w 4"/>
                <a:gd name="T11" fmla="*/ 2147483647 h 2"/>
                <a:gd name="T12" fmla="*/ 2147483647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0"/>
                  </a:moveTo>
                  <a:lnTo>
                    <a:pt x="2" y="0"/>
                  </a:lnTo>
                  <a:lnTo>
                    <a:pt x="0" y="2"/>
                  </a:lnTo>
                  <a:lnTo>
                    <a:pt x="2" y="2"/>
                  </a:lnTo>
                  <a:lnTo>
                    <a:pt x="4" y="2"/>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7" name="Freeform 738">
              <a:extLst>
                <a:ext uri="{FF2B5EF4-FFF2-40B4-BE49-F238E27FC236}">
                  <a16:creationId xmlns:a16="http://schemas.microsoft.com/office/drawing/2014/main" id="{05BD64EB-85A7-43BF-A080-F0A84CEB28AD}"/>
                </a:ext>
              </a:extLst>
            </p:cNvPr>
            <p:cNvSpPr>
              <a:spLocks/>
            </p:cNvSpPr>
            <p:nvPr/>
          </p:nvSpPr>
          <p:spPr bwMode="gray">
            <a:xfrm>
              <a:off x="3058398" y="3813290"/>
              <a:ext cx="7063" cy="4708"/>
            </a:xfrm>
            <a:custGeom>
              <a:avLst/>
              <a:gdLst>
                <a:gd name="T0" fmla="*/ 2147483647 w 4"/>
                <a:gd name="T1" fmla="*/ 0 h 2"/>
                <a:gd name="T2" fmla="*/ 2147483647 w 4"/>
                <a:gd name="T3" fmla="*/ 0 h 2"/>
                <a:gd name="T4" fmla="*/ 0 w 4"/>
                <a:gd name="T5" fmla="*/ 2147483647 h 2"/>
                <a:gd name="T6" fmla="*/ 2147483647 w 4"/>
                <a:gd name="T7" fmla="*/ 2147483647 h 2"/>
                <a:gd name="T8" fmla="*/ 2147483647 w 4"/>
                <a:gd name="T9" fmla="*/ 2147483647 h 2"/>
                <a:gd name="T10" fmla="*/ 2147483647 w 4"/>
                <a:gd name="T11" fmla="*/ 2147483647 h 2"/>
                <a:gd name="T12" fmla="*/ 2147483647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0"/>
                  </a:moveTo>
                  <a:lnTo>
                    <a:pt x="2" y="0"/>
                  </a:lnTo>
                  <a:lnTo>
                    <a:pt x="0" y="2"/>
                  </a:lnTo>
                  <a:lnTo>
                    <a:pt x="2" y="2"/>
                  </a:lnTo>
                  <a:lnTo>
                    <a:pt x="4" y="2"/>
                  </a:lnTo>
                  <a:lnTo>
                    <a:pt x="2"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8" name="Freeform 739">
              <a:extLst>
                <a:ext uri="{FF2B5EF4-FFF2-40B4-BE49-F238E27FC236}">
                  <a16:creationId xmlns:a16="http://schemas.microsoft.com/office/drawing/2014/main" id="{79F562B6-0368-4FE3-81FD-CDA7A199FD90}"/>
                </a:ext>
              </a:extLst>
            </p:cNvPr>
            <p:cNvSpPr>
              <a:spLocks/>
            </p:cNvSpPr>
            <p:nvPr/>
          </p:nvSpPr>
          <p:spPr bwMode="gray">
            <a:xfrm>
              <a:off x="3051334" y="3436606"/>
              <a:ext cx="9417" cy="7064"/>
            </a:xfrm>
            <a:custGeom>
              <a:avLst/>
              <a:gdLst>
                <a:gd name="T0" fmla="*/ 0 w 6"/>
                <a:gd name="T1" fmla="*/ 2147483647 h 4"/>
                <a:gd name="T2" fmla="*/ 0 w 6"/>
                <a:gd name="T3" fmla="*/ 2147483647 h 4"/>
                <a:gd name="T4" fmla="*/ 2147483647 w 6"/>
                <a:gd name="T5" fmla="*/ 2147483647 h 4"/>
                <a:gd name="T6" fmla="*/ 2147483647 w 6"/>
                <a:gd name="T7" fmla="*/ 2147483647 h 4"/>
                <a:gd name="T8" fmla="*/ 2147483647 w 6"/>
                <a:gd name="T9" fmla="*/ 2147483647 h 4"/>
                <a:gd name="T10" fmla="*/ 2147483647 w 6"/>
                <a:gd name="T11" fmla="*/ 0 h 4"/>
                <a:gd name="T12" fmla="*/ 2147483647 w 6"/>
                <a:gd name="T13" fmla="*/ 2147483647 h 4"/>
                <a:gd name="T14" fmla="*/ 0 w 6"/>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0" y="4"/>
                  </a:moveTo>
                  <a:lnTo>
                    <a:pt x="0" y="4"/>
                  </a:lnTo>
                  <a:lnTo>
                    <a:pt x="2" y="4"/>
                  </a:lnTo>
                  <a:lnTo>
                    <a:pt x="4" y="2"/>
                  </a:lnTo>
                  <a:lnTo>
                    <a:pt x="6" y="2"/>
                  </a:lnTo>
                  <a:lnTo>
                    <a:pt x="4" y="0"/>
                  </a:lnTo>
                  <a:lnTo>
                    <a:pt x="2" y="2"/>
                  </a:lnTo>
                  <a:lnTo>
                    <a:pt x="0"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89" name="Freeform 740">
              <a:extLst>
                <a:ext uri="{FF2B5EF4-FFF2-40B4-BE49-F238E27FC236}">
                  <a16:creationId xmlns:a16="http://schemas.microsoft.com/office/drawing/2014/main" id="{D8816229-84E1-4962-B2D7-28FF1CFC3DEC}"/>
                </a:ext>
              </a:extLst>
            </p:cNvPr>
            <p:cNvSpPr>
              <a:spLocks/>
            </p:cNvSpPr>
            <p:nvPr/>
          </p:nvSpPr>
          <p:spPr bwMode="gray">
            <a:xfrm>
              <a:off x="3051334" y="3436606"/>
              <a:ext cx="9417" cy="7064"/>
            </a:xfrm>
            <a:custGeom>
              <a:avLst/>
              <a:gdLst>
                <a:gd name="T0" fmla="*/ 0 w 6"/>
                <a:gd name="T1" fmla="*/ 2147483647 h 4"/>
                <a:gd name="T2" fmla="*/ 0 w 6"/>
                <a:gd name="T3" fmla="*/ 2147483647 h 4"/>
                <a:gd name="T4" fmla="*/ 2147483647 w 6"/>
                <a:gd name="T5" fmla="*/ 2147483647 h 4"/>
                <a:gd name="T6" fmla="*/ 2147483647 w 6"/>
                <a:gd name="T7" fmla="*/ 2147483647 h 4"/>
                <a:gd name="T8" fmla="*/ 2147483647 w 6"/>
                <a:gd name="T9" fmla="*/ 2147483647 h 4"/>
                <a:gd name="T10" fmla="*/ 2147483647 w 6"/>
                <a:gd name="T11" fmla="*/ 0 h 4"/>
                <a:gd name="T12" fmla="*/ 2147483647 w 6"/>
                <a:gd name="T13" fmla="*/ 2147483647 h 4"/>
                <a:gd name="T14" fmla="*/ 0 w 6"/>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0" y="4"/>
                  </a:moveTo>
                  <a:lnTo>
                    <a:pt x="0" y="4"/>
                  </a:lnTo>
                  <a:lnTo>
                    <a:pt x="2" y="4"/>
                  </a:lnTo>
                  <a:lnTo>
                    <a:pt x="4" y="2"/>
                  </a:lnTo>
                  <a:lnTo>
                    <a:pt x="6" y="2"/>
                  </a:lnTo>
                  <a:lnTo>
                    <a:pt x="4" y="0"/>
                  </a:lnTo>
                  <a:lnTo>
                    <a:pt x="2" y="2"/>
                  </a:lnTo>
                  <a:lnTo>
                    <a:pt x="0" y="4"/>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0" name="Freeform 741">
              <a:extLst>
                <a:ext uri="{FF2B5EF4-FFF2-40B4-BE49-F238E27FC236}">
                  <a16:creationId xmlns:a16="http://schemas.microsoft.com/office/drawing/2014/main" id="{6A0A8BAF-7EF6-4C68-B631-A4C1B08ABE4F}"/>
                </a:ext>
              </a:extLst>
            </p:cNvPr>
            <p:cNvSpPr>
              <a:spLocks/>
            </p:cNvSpPr>
            <p:nvPr/>
          </p:nvSpPr>
          <p:spPr bwMode="gray">
            <a:xfrm>
              <a:off x="2865354" y="3709702"/>
              <a:ext cx="18833" cy="11771"/>
            </a:xfrm>
            <a:custGeom>
              <a:avLst/>
              <a:gdLst>
                <a:gd name="T0" fmla="*/ 0 w 10"/>
                <a:gd name="T1" fmla="*/ 2147483647 h 6"/>
                <a:gd name="T2" fmla="*/ 0 w 10"/>
                <a:gd name="T3" fmla="*/ 0 h 6"/>
                <a:gd name="T4" fmla="*/ 2147483647 w 10"/>
                <a:gd name="T5" fmla="*/ 2147483647 h 6"/>
                <a:gd name="T6" fmla="*/ 2147483647 w 10"/>
                <a:gd name="T7" fmla="*/ 0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2147483647 w 10"/>
                <a:gd name="T19" fmla="*/ 2147483647 h 6"/>
                <a:gd name="T20" fmla="*/ 2147483647 w 10"/>
                <a:gd name="T21" fmla="*/ 2147483647 h 6"/>
                <a:gd name="T22" fmla="*/ 2147483647 w 10"/>
                <a:gd name="T23" fmla="*/ 2147483647 h 6"/>
                <a:gd name="T24" fmla="*/ 2147483647 w 10"/>
                <a:gd name="T25" fmla="*/ 2147483647 h 6"/>
                <a:gd name="T26" fmla="*/ 2147483647 w 10"/>
                <a:gd name="T27" fmla="*/ 2147483647 h 6"/>
                <a:gd name="T28" fmla="*/ 0 w 10"/>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6"/>
                <a:gd name="T47" fmla="*/ 10 w 10"/>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6">
                  <a:moveTo>
                    <a:pt x="0" y="2"/>
                  </a:moveTo>
                  <a:lnTo>
                    <a:pt x="0" y="0"/>
                  </a:lnTo>
                  <a:lnTo>
                    <a:pt x="2" y="2"/>
                  </a:lnTo>
                  <a:lnTo>
                    <a:pt x="4" y="0"/>
                  </a:lnTo>
                  <a:lnTo>
                    <a:pt x="6" y="2"/>
                  </a:lnTo>
                  <a:lnTo>
                    <a:pt x="8" y="2"/>
                  </a:lnTo>
                  <a:lnTo>
                    <a:pt x="10" y="2"/>
                  </a:lnTo>
                  <a:lnTo>
                    <a:pt x="10" y="4"/>
                  </a:lnTo>
                  <a:lnTo>
                    <a:pt x="10" y="6"/>
                  </a:lnTo>
                  <a:lnTo>
                    <a:pt x="8" y="4"/>
                  </a:lnTo>
                  <a:lnTo>
                    <a:pt x="8" y="2"/>
                  </a:lnTo>
                  <a:lnTo>
                    <a:pt x="4" y="2"/>
                  </a:lnTo>
                  <a:lnTo>
                    <a:pt x="2" y="2"/>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1" name="Freeform 742">
              <a:extLst>
                <a:ext uri="{FF2B5EF4-FFF2-40B4-BE49-F238E27FC236}">
                  <a16:creationId xmlns:a16="http://schemas.microsoft.com/office/drawing/2014/main" id="{EFE4C4E4-AA2C-4996-8365-4A1CAFF5722A}"/>
                </a:ext>
              </a:extLst>
            </p:cNvPr>
            <p:cNvSpPr>
              <a:spLocks/>
            </p:cNvSpPr>
            <p:nvPr/>
          </p:nvSpPr>
          <p:spPr bwMode="gray">
            <a:xfrm>
              <a:off x="2865354" y="3709702"/>
              <a:ext cx="18833" cy="11771"/>
            </a:xfrm>
            <a:custGeom>
              <a:avLst/>
              <a:gdLst>
                <a:gd name="T0" fmla="*/ 0 w 10"/>
                <a:gd name="T1" fmla="*/ 2147483647 h 6"/>
                <a:gd name="T2" fmla="*/ 0 w 10"/>
                <a:gd name="T3" fmla="*/ 0 h 6"/>
                <a:gd name="T4" fmla="*/ 2147483647 w 10"/>
                <a:gd name="T5" fmla="*/ 2147483647 h 6"/>
                <a:gd name="T6" fmla="*/ 2147483647 w 10"/>
                <a:gd name="T7" fmla="*/ 0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2147483647 w 10"/>
                <a:gd name="T19" fmla="*/ 2147483647 h 6"/>
                <a:gd name="T20" fmla="*/ 2147483647 w 10"/>
                <a:gd name="T21" fmla="*/ 2147483647 h 6"/>
                <a:gd name="T22" fmla="*/ 2147483647 w 10"/>
                <a:gd name="T23" fmla="*/ 2147483647 h 6"/>
                <a:gd name="T24" fmla="*/ 2147483647 w 10"/>
                <a:gd name="T25" fmla="*/ 2147483647 h 6"/>
                <a:gd name="T26" fmla="*/ 2147483647 w 10"/>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6"/>
                <a:gd name="T44" fmla="*/ 10 w 10"/>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6">
                  <a:moveTo>
                    <a:pt x="0" y="2"/>
                  </a:moveTo>
                  <a:lnTo>
                    <a:pt x="0" y="0"/>
                  </a:lnTo>
                  <a:lnTo>
                    <a:pt x="2" y="2"/>
                  </a:lnTo>
                  <a:lnTo>
                    <a:pt x="4" y="0"/>
                  </a:lnTo>
                  <a:lnTo>
                    <a:pt x="6" y="2"/>
                  </a:lnTo>
                  <a:lnTo>
                    <a:pt x="8" y="2"/>
                  </a:lnTo>
                  <a:lnTo>
                    <a:pt x="10" y="2"/>
                  </a:lnTo>
                  <a:lnTo>
                    <a:pt x="10" y="4"/>
                  </a:lnTo>
                  <a:lnTo>
                    <a:pt x="10" y="6"/>
                  </a:lnTo>
                  <a:lnTo>
                    <a:pt x="8" y="4"/>
                  </a:lnTo>
                  <a:lnTo>
                    <a:pt x="8" y="2"/>
                  </a:lnTo>
                  <a:lnTo>
                    <a:pt x="4" y="2"/>
                  </a:lnTo>
                  <a:lnTo>
                    <a:pt x="2"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2" name="Freeform 743">
              <a:extLst>
                <a:ext uri="{FF2B5EF4-FFF2-40B4-BE49-F238E27FC236}">
                  <a16:creationId xmlns:a16="http://schemas.microsoft.com/office/drawing/2014/main" id="{9976F24C-82AF-4076-B2C0-39E3EA64EBC8}"/>
                </a:ext>
              </a:extLst>
            </p:cNvPr>
            <p:cNvSpPr>
              <a:spLocks/>
            </p:cNvSpPr>
            <p:nvPr/>
          </p:nvSpPr>
          <p:spPr bwMode="gray">
            <a:xfrm>
              <a:off x="2940687" y="3987507"/>
              <a:ext cx="7063" cy="7064"/>
            </a:xfrm>
            <a:custGeom>
              <a:avLst/>
              <a:gdLst>
                <a:gd name="T0" fmla="*/ 2147483647 w 4"/>
                <a:gd name="T1" fmla="*/ 0 h 4"/>
                <a:gd name="T2" fmla="*/ 2147483647 w 4"/>
                <a:gd name="T3" fmla="*/ 2147483647 h 4"/>
                <a:gd name="T4" fmla="*/ 2147483647 w 4"/>
                <a:gd name="T5" fmla="*/ 0 h 4"/>
                <a:gd name="T6" fmla="*/ 2147483647 w 4"/>
                <a:gd name="T7" fmla="*/ 2147483647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2147483647 h 4"/>
                <a:gd name="T18" fmla="*/ 2147483647 w 4"/>
                <a:gd name="T19" fmla="*/ 2147483647 h 4"/>
                <a:gd name="T20" fmla="*/ 0 w 4"/>
                <a:gd name="T21" fmla="*/ 2147483647 h 4"/>
                <a:gd name="T22" fmla="*/ 2147483647 w 4"/>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2" y="0"/>
                  </a:moveTo>
                  <a:lnTo>
                    <a:pt x="2" y="2"/>
                  </a:lnTo>
                  <a:lnTo>
                    <a:pt x="4" y="0"/>
                  </a:lnTo>
                  <a:lnTo>
                    <a:pt x="4" y="2"/>
                  </a:lnTo>
                  <a:lnTo>
                    <a:pt x="4" y="4"/>
                  </a:lnTo>
                  <a:lnTo>
                    <a:pt x="2" y="4"/>
                  </a:lnTo>
                  <a:lnTo>
                    <a:pt x="2" y="2"/>
                  </a:lnTo>
                  <a:lnTo>
                    <a:pt x="0" y="2"/>
                  </a:lnTo>
                  <a:lnTo>
                    <a:pt x="2"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3" name="Freeform 744">
              <a:extLst>
                <a:ext uri="{FF2B5EF4-FFF2-40B4-BE49-F238E27FC236}">
                  <a16:creationId xmlns:a16="http://schemas.microsoft.com/office/drawing/2014/main" id="{B002692A-5F02-4505-944F-8C6DB51858BF}"/>
                </a:ext>
              </a:extLst>
            </p:cNvPr>
            <p:cNvSpPr>
              <a:spLocks/>
            </p:cNvSpPr>
            <p:nvPr/>
          </p:nvSpPr>
          <p:spPr bwMode="gray">
            <a:xfrm>
              <a:off x="2940687" y="3987507"/>
              <a:ext cx="7063" cy="7064"/>
            </a:xfrm>
            <a:custGeom>
              <a:avLst/>
              <a:gdLst>
                <a:gd name="T0" fmla="*/ 2147483647 w 4"/>
                <a:gd name="T1" fmla="*/ 0 h 4"/>
                <a:gd name="T2" fmla="*/ 2147483647 w 4"/>
                <a:gd name="T3" fmla="*/ 2147483647 h 4"/>
                <a:gd name="T4" fmla="*/ 2147483647 w 4"/>
                <a:gd name="T5" fmla="*/ 0 h 4"/>
                <a:gd name="T6" fmla="*/ 2147483647 w 4"/>
                <a:gd name="T7" fmla="*/ 2147483647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2147483647 h 4"/>
                <a:gd name="T18" fmla="*/ 2147483647 w 4"/>
                <a:gd name="T19" fmla="*/ 2147483647 h 4"/>
                <a:gd name="T20" fmla="*/ 0 w 4"/>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4"/>
                <a:gd name="T35" fmla="*/ 4 w 4"/>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4">
                  <a:moveTo>
                    <a:pt x="2" y="0"/>
                  </a:moveTo>
                  <a:lnTo>
                    <a:pt x="2" y="2"/>
                  </a:lnTo>
                  <a:lnTo>
                    <a:pt x="4" y="0"/>
                  </a:lnTo>
                  <a:lnTo>
                    <a:pt x="4" y="2"/>
                  </a:lnTo>
                  <a:lnTo>
                    <a:pt x="4" y="4"/>
                  </a:lnTo>
                  <a:lnTo>
                    <a:pt x="2" y="4"/>
                  </a:lnTo>
                  <a:lnTo>
                    <a:pt x="2" y="2"/>
                  </a:lnTo>
                  <a:lnTo>
                    <a:pt x="0"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4" name="Freeform 745">
              <a:extLst>
                <a:ext uri="{FF2B5EF4-FFF2-40B4-BE49-F238E27FC236}">
                  <a16:creationId xmlns:a16="http://schemas.microsoft.com/office/drawing/2014/main" id="{EE5A9441-CC5C-4858-81AD-CFA4D2A7AA4D}"/>
                </a:ext>
              </a:extLst>
            </p:cNvPr>
            <p:cNvSpPr>
              <a:spLocks/>
            </p:cNvSpPr>
            <p:nvPr/>
          </p:nvSpPr>
          <p:spPr bwMode="gray">
            <a:xfrm>
              <a:off x="3112544" y="4006343"/>
              <a:ext cx="4708" cy="2354"/>
            </a:xfrm>
            <a:custGeom>
              <a:avLst/>
              <a:gdLst>
                <a:gd name="T0" fmla="*/ 0 w 2"/>
                <a:gd name="T1" fmla="*/ 2147483647 h 2"/>
                <a:gd name="T2" fmla="*/ 0 w 2"/>
                <a:gd name="T3" fmla="*/ 0 h 2"/>
                <a:gd name="T4" fmla="*/ 0 w 2"/>
                <a:gd name="T5" fmla="*/ 0 h 2"/>
                <a:gd name="T6" fmla="*/ 2147483647 w 2"/>
                <a:gd name="T7" fmla="*/ 0 h 2"/>
                <a:gd name="T8" fmla="*/ 2147483647 w 2"/>
                <a:gd name="T9" fmla="*/ 0 h 2"/>
                <a:gd name="T10" fmla="*/ 2147483647 w 2"/>
                <a:gd name="T11" fmla="*/ 0 h 2"/>
                <a:gd name="T12" fmla="*/ 0 w 2"/>
                <a:gd name="T13" fmla="*/ 0 h 2"/>
                <a:gd name="T14" fmla="*/ 0 w 2"/>
                <a:gd name="T15" fmla="*/ 2147483647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0"/>
                  </a:lnTo>
                  <a:lnTo>
                    <a:pt x="2" y="0"/>
                  </a:lnTo>
                  <a:lnTo>
                    <a:pt x="0" y="0"/>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5" name="Freeform 746">
              <a:extLst>
                <a:ext uri="{FF2B5EF4-FFF2-40B4-BE49-F238E27FC236}">
                  <a16:creationId xmlns:a16="http://schemas.microsoft.com/office/drawing/2014/main" id="{E018F471-185A-413C-A068-E80A2DC877BF}"/>
                </a:ext>
              </a:extLst>
            </p:cNvPr>
            <p:cNvSpPr>
              <a:spLocks/>
            </p:cNvSpPr>
            <p:nvPr/>
          </p:nvSpPr>
          <p:spPr bwMode="gray">
            <a:xfrm>
              <a:off x="3112544" y="4006345"/>
              <a:ext cx="4708" cy="2354"/>
            </a:xfrm>
            <a:custGeom>
              <a:avLst/>
              <a:gdLst>
                <a:gd name="T0" fmla="*/ 0 w 2"/>
                <a:gd name="T1" fmla="*/ 2147483647 h 2"/>
                <a:gd name="T2" fmla="*/ 0 w 2"/>
                <a:gd name="T3" fmla="*/ 0 h 2"/>
                <a:gd name="T4" fmla="*/ 0 w 2"/>
                <a:gd name="T5" fmla="*/ 0 h 2"/>
                <a:gd name="T6" fmla="*/ 2147483647 w 2"/>
                <a:gd name="T7" fmla="*/ 0 h 2"/>
                <a:gd name="T8" fmla="*/ 2147483647 w 2"/>
                <a:gd name="T9" fmla="*/ 0 h 2"/>
                <a:gd name="T10" fmla="*/ 2147483647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2"/>
                  </a:moveTo>
                  <a:lnTo>
                    <a:pt x="0" y="0"/>
                  </a:lnTo>
                  <a:lnTo>
                    <a:pt x="2" y="0"/>
                  </a:lnTo>
                  <a:lnTo>
                    <a:pt x="0"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6" name="Freeform 747">
              <a:extLst>
                <a:ext uri="{FF2B5EF4-FFF2-40B4-BE49-F238E27FC236}">
                  <a16:creationId xmlns:a16="http://schemas.microsoft.com/office/drawing/2014/main" id="{B4866213-55F4-4F1B-9E1E-2B309DA83728}"/>
                </a:ext>
              </a:extLst>
            </p:cNvPr>
            <p:cNvSpPr>
              <a:spLocks/>
            </p:cNvSpPr>
            <p:nvPr/>
          </p:nvSpPr>
          <p:spPr bwMode="gray">
            <a:xfrm>
              <a:off x="2910083" y="3980446"/>
              <a:ext cx="4708" cy="2354"/>
            </a:xfrm>
            <a:custGeom>
              <a:avLst/>
              <a:gdLst>
                <a:gd name="T0" fmla="*/ 2147483647 w 2"/>
                <a:gd name="T1" fmla="*/ 2147483647 h 2"/>
                <a:gd name="T2" fmla="*/ 0 w 2"/>
                <a:gd name="T3" fmla="*/ 0 h 2"/>
                <a:gd name="T4" fmla="*/ 0 w 2"/>
                <a:gd name="T5" fmla="*/ 0 h 2"/>
                <a:gd name="T6" fmla="*/ 0 w 2"/>
                <a:gd name="T7" fmla="*/ 0 h 2"/>
                <a:gd name="T8" fmla="*/ 0 w 2"/>
                <a:gd name="T9" fmla="*/ 0 h 2"/>
                <a:gd name="T10" fmla="*/ 2147483647 w 2"/>
                <a:gd name="T11" fmla="*/ 0 h 2"/>
                <a:gd name="T12" fmla="*/ 2147483647 w 2"/>
                <a:gd name="T13" fmla="*/ 0 h 2"/>
                <a:gd name="T14" fmla="*/ 2147483647 w 2"/>
                <a:gd name="T15" fmla="*/ 2147483647 h 2"/>
                <a:gd name="T16" fmla="*/ 2147483647 w 2"/>
                <a:gd name="T17" fmla="*/ 2147483647 h 2"/>
                <a:gd name="T18" fmla="*/ 2147483647 w 2"/>
                <a:gd name="T19" fmla="*/ 2147483647 h 2"/>
                <a:gd name="T20" fmla="*/ 2147483647 w 2"/>
                <a:gd name="T21" fmla="*/ 2147483647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
                <a:gd name="T34" fmla="*/ 0 h 2"/>
                <a:gd name="T35" fmla="*/ 2 w 2"/>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 h="2">
                  <a:moveTo>
                    <a:pt x="2" y="2"/>
                  </a:moveTo>
                  <a:lnTo>
                    <a:pt x="0" y="0"/>
                  </a:lnTo>
                  <a:lnTo>
                    <a:pt x="2" y="0"/>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7" name="Freeform 748">
              <a:extLst>
                <a:ext uri="{FF2B5EF4-FFF2-40B4-BE49-F238E27FC236}">
                  <a16:creationId xmlns:a16="http://schemas.microsoft.com/office/drawing/2014/main" id="{45A076F2-4FAF-4668-911B-928A873189E0}"/>
                </a:ext>
              </a:extLst>
            </p:cNvPr>
            <p:cNvSpPr>
              <a:spLocks/>
            </p:cNvSpPr>
            <p:nvPr/>
          </p:nvSpPr>
          <p:spPr bwMode="gray">
            <a:xfrm>
              <a:off x="2928916" y="3987509"/>
              <a:ext cx="2354" cy="4708"/>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2147483647 w 2"/>
                <a:gd name="T21" fmla="*/ 2147483647 h 2"/>
                <a:gd name="T22" fmla="*/ 2147483647 w 2"/>
                <a:gd name="T23" fmla="*/ 2147483647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2"/>
                <a:gd name="T38" fmla="*/ 2 w 2"/>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2">
                  <a:moveTo>
                    <a:pt x="2" y="2"/>
                  </a:moveTo>
                  <a:lnTo>
                    <a:pt x="2" y="2"/>
                  </a:lnTo>
                  <a:lnTo>
                    <a:pt x="0" y="0"/>
                  </a:lnTo>
                  <a:lnTo>
                    <a:pt x="2"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8" name="Freeform 749">
              <a:extLst>
                <a:ext uri="{FF2B5EF4-FFF2-40B4-BE49-F238E27FC236}">
                  <a16:creationId xmlns:a16="http://schemas.microsoft.com/office/drawing/2014/main" id="{8C69C44D-41EE-4B30-9FB1-08C2A63114D7}"/>
                </a:ext>
              </a:extLst>
            </p:cNvPr>
            <p:cNvSpPr>
              <a:spLocks/>
            </p:cNvSpPr>
            <p:nvPr/>
          </p:nvSpPr>
          <p:spPr bwMode="gray">
            <a:xfrm>
              <a:off x="2928916" y="3987507"/>
              <a:ext cx="2354" cy="4708"/>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2147483647 w 2"/>
                <a:gd name="T21" fmla="*/ 2147483647 h 2"/>
                <a:gd name="T22" fmla="*/ 2147483647 w 2"/>
                <a:gd name="T23" fmla="*/ 2147483647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2"/>
                <a:gd name="T38" fmla="*/ 2 w 2"/>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2">
                  <a:moveTo>
                    <a:pt x="2" y="2"/>
                  </a:moveTo>
                  <a:lnTo>
                    <a:pt x="2" y="2"/>
                  </a:lnTo>
                  <a:lnTo>
                    <a:pt x="0" y="0"/>
                  </a:lnTo>
                  <a:lnTo>
                    <a:pt x="2"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099" name="Freeform 750">
              <a:extLst>
                <a:ext uri="{FF2B5EF4-FFF2-40B4-BE49-F238E27FC236}">
                  <a16:creationId xmlns:a16="http://schemas.microsoft.com/office/drawing/2014/main" id="{65355DB3-B9A8-4315-9B49-3CF697B5D2F6}"/>
                </a:ext>
              </a:extLst>
            </p:cNvPr>
            <p:cNvSpPr>
              <a:spLocks/>
            </p:cNvSpPr>
            <p:nvPr/>
          </p:nvSpPr>
          <p:spPr bwMode="gray">
            <a:xfrm>
              <a:off x="2717040" y="3775622"/>
              <a:ext cx="4708" cy="4708"/>
            </a:xfrm>
            <a:custGeom>
              <a:avLst/>
              <a:gdLst>
                <a:gd name="T0" fmla="*/ 0 w 2"/>
                <a:gd name="T1" fmla="*/ 0 h 2"/>
                <a:gd name="T2" fmla="*/ 2147483647 w 2"/>
                <a:gd name="T3" fmla="*/ 0 h 2"/>
                <a:gd name="T4" fmla="*/ 2147483647 w 2"/>
                <a:gd name="T5" fmla="*/ 0 h 2"/>
                <a:gd name="T6" fmla="*/ 2147483647 w 2"/>
                <a:gd name="T7" fmla="*/ 0 h 2"/>
                <a:gd name="T8" fmla="*/ 2147483647 w 2"/>
                <a:gd name="T9" fmla="*/ 0 h 2"/>
                <a:gd name="T10" fmla="*/ 0 w 2"/>
                <a:gd name="T11" fmla="*/ 2147483647 h 2"/>
                <a:gd name="T12" fmla="*/ 0 w 2"/>
                <a:gd name="T13" fmla="*/ 2147483647 h 2"/>
                <a:gd name="T14" fmla="*/ 0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2" y="0"/>
                  </a:lnTo>
                  <a:lnTo>
                    <a:pt x="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0" name="Freeform 751">
              <a:extLst>
                <a:ext uri="{FF2B5EF4-FFF2-40B4-BE49-F238E27FC236}">
                  <a16:creationId xmlns:a16="http://schemas.microsoft.com/office/drawing/2014/main" id="{171527A4-BB31-400B-83DB-156B7A724B6C}"/>
                </a:ext>
              </a:extLst>
            </p:cNvPr>
            <p:cNvSpPr>
              <a:spLocks/>
            </p:cNvSpPr>
            <p:nvPr/>
          </p:nvSpPr>
          <p:spPr bwMode="gray">
            <a:xfrm>
              <a:off x="2721748" y="3780330"/>
              <a:ext cx="2354" cy="2354"/>
            </a:xfrm>
            <a:custGeom>
              <a:avLst/>
              <a:gdLst>
                <a:gd name="T0" fmla="*/ 0 w 2"/>
                <a:gd name="T1" fmla="*/ 0 h 2"/>
                <a:gd name="T2" fmla="*/ 0 w 2"/>
                <a:gd name="T3" fmla="*/ 0 h 2"/>
                <a:gd name="T4" fmla="*/ 2147483647 w 2"/>
                <a:gd name="T5" fmla="*/ 0 h 2"/>
                <a:gd name="T6" fmla="*/ 2147483647 w 2"/>
                <a:gd name="T7" fmla="*/ 0 h 2"/>
                <a:gd name="T8" fmla="*/ 2147483647 w 2"/>
                <a:gd name="T9" fmla="*/ 0 h 2"/>
                <a:gd name="T10" fmla="*/ 2147483647 w 2"/>
                <a:gd name="T11" fmla="*/ 0 h 2"/>
                <a:gd name="T12" fmla="*/ 2147483647 w 2"/>
                <a:gd name="T13" fmla="*/ 2147483647 h 2"/>
                <a:gd name="T14" fmla="*/ 0 w 2"/>
                <a:gd name="T15" fmla="*/ 2147483647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0" y="0"/>
                  </a:lnTo>
                  <a:lnTo>
                    <a:pt x="2" y="0"/>
                  </a:lnTo>
                  <a:lnTo>
                    <a:pt x="2" y="2"/>
                  </a:lnTo>
                  <a:lnTo>
                    <a:pt x="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1" name="Freeform 752">
              <a:extLst>
                <a:ext uri="{FF2B5EF4-FFF2-40B4-BE49-F238E27FC236}">
                  <a16:creationId xmlns:a16="http://schemas.microsoft.com/office/drawing/2014/main" id="{02DCB6EF-10E7-445A-A14D-FFDF906B569B}"/>
                </a:ext>
              </a:extLst>
            </p:cNvPr>
            <p:cNvSpPr>
              <a:spLocks/>
            </p:cNvSpPr>
            <p:nvPr/>
          </p:nvSpPr>
          <p:spPr bwMode="gray">
            <a:xfrm>
              <a:off x="2721748" y="3780330"/>
              <a:ext cx="2354" cy="2354"/>
            </a:xfrm>
            <a:custGeom>
              <a:avLst/>
              <a:gdLst>
                <a:gd name="T0" fmla="*/ 0 w 2"/>
                <a:gd name="T1" fmla="*/ 0 h 2"/>
                <a:gd name="T2" fmla="*/ 0 w 2"/>
                <a:gd name="T3" fmla="*/ 0 h 2"/>
                <a:gd name="T4" fmla="*/ 2147483647 w 2"/>
                <a:gd name="T5" fmla="*/ 0 h 2"/>
                <a:gd name="T6" fmla="*/ 2147483647 w 2"/>
                <a:gd name="T7" fmla="*/ 0 h 2"/>
                <a:gd name="T8" fmla="*/ 2147483647 w 2"/>
                <a:gd name="T9" fmla="*/ 0 h 2"/>
                <a:gd name="T10" fmla="*/ 2147483647 w 2"/>
                <a:gd name="T11" fmla="*/ 0 h 2"/>
                <a:gd name="T12" fmla="*/ 2147483647 w 2"/>
                <a:gd name="T13" fmla="*/ 2147483647 h 2"/>
                <a:gd name="T14" fmla="*/ 0 w 2"/>
                <a:gd name="T15" fmla="*/ 2147483647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0"/>
                  </a:lnTo>
                  <a:lnTo>
                    <a:pt x="2" y="0"/>
                  </a:lnTo>
                  <a:lnTo>
                    <a:pt x="2" y="2"/>
                  </a:lnTo>
                  <a:lnTo>
                    <a:pt x="0"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2" name="Freeform 753">
              <a:extLst>
                <a:ext uri="{FF2B5EF4-FFF2-40B4-BE49-F238E27FC236}">
                  <a16:creationId xmlns:a16="http://schemas.microsoft.com/office/drawing/2014/main" id="{CB605B96-6C53-4756-86B2-AA75611B0642}"/>
                </a:ext>
              </a:extLst>
            </p:cNvPr>
            <p:cNvSpPr>
              <a:spLocks/>
            </p:cNvSpPr>
            <p:nvPr/>
          </p:nvSpPr>
          <p:spPr bwMode="gray">
            <a:xfrm>
              <a:off x="2679374" y="3780330"/>
              <a:ext cx="11771" cy="7064"/>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2147483647 w 6"/>
                <a:gd name="T9" fmla="*/ 0 h 4"/>
                <a:gd name="T10" fmla="*/ 2147483647 w 6"/>
                <a:gd name="T11" fmla="*/ 0 h 4"/>
                <a:gd name="T12" fmla="*/ 2147483647 w 6"/>
                <a:gd name="T13" fmla="*/ 2147483647 h 4"/>
                <a:gd name="T14" fmla="*/ 0 w 6"/>
                <a:gd name="T15" fmla="*/ 2147483647 h 4"/>
                <a:gd name="T16" fmla="*/ 2147483647 w 6"/>
                <a:gd name="T17" fmla="*/ 2147483647 h 4"/>
                <a:gd name="T18" fmla="*/ 2147483647 w 6"/>
                <a:gd name="T19" fmla="*/ 2147483647 h 4"/>
                <a:gd name="T20" fmla="*/ 2147483647 w 6"/>
                <a:gd name="T21" fmla="*/ 2147483647 h 4"/>
                <a:gd name="T22" fmla="*/ 2147483647 w 6"/>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4"/>
                <a:gd name="T38" fmla="*/ 6 w 6"/>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4">
                  <a:moveTo>
                    <a:pt x="6" y="2"/>
                  </a:moveTo>
                  <a:lnTo>
                    <a:pt x="6" y="2"/>
                  </a:lnTo>
                  <a:lnTo>
                    <a:pt x="4" y="0"/>
                  </a:lnTo>
                  <a:lnTo>
                    <a:pt x="2" y="2"/>
                  </a:lnTo>
                  <a:lnTo>
                    <a:pt x="0" y="2"/>
                  </a:lnTo>
                  <a:lnTo>
                    <a:pt x="2" y="2"/>
                  </a:lnTo>
                  <a:lnTo>
                    <a:pt x="4" y="4"/>
                  </a:lnTo>
                  <a:lnTo>
                    <a:pt x="6"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3" name="Freeform 754">
              <a:extLst>
                <a:ext uri="{FF2B5EF4-FFF2-40B4-BE49-F238E27FC236}">
                  <a16:creationId xmlns:a16="http://schemas.microsoft.com/office/drawing/2014/main" id="{1ADFDC38-D310-452D-8C7A-C98794D80E7C}"/>
                </a:ext>
              </a:extLst>
            </p:cNvPr>
            <p:cNvSpPr>
              <a:spLocks/>
            </p:cNvSpPr>
            <p:nvPr/>
          </p:nvSpPr>
          <p:spPr bwMode="gray">
            <a:xfrm>
              <a:off x="2679373" y="3780330"/>
              <a:ext cx="11771" cy="7064"/>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2147483647 w 6"/>
                <a:gd name="T9" fmla="*/ 0 h 4"/>
                <a:gd name="T10" fmla="*/ 2147483647 w 6"/>
                <a:gd name="T11" fmla="*/ 0 h 4"/>
                <a:gd name="T12" fmla="*/ 2147483647 w 6"/>
                <a:gd name="T13" fmla="*/ 2147483647 h 4"/>
                <a:gd name="T14" fmla="*/ 0 w 6"/>
                <a:gd name="T15" fmla="*/ 2147483647 h 4"/>
                <a:gd name="T16" fmla="*/ 2147483647 w 6"/>
                <a:gd name="T17" fmla="*/ 2147483647 h 4"/>
                <a:gd name="T18" fmla="*/ 2147483647 w 6"/>
                <a:gd name="T19" fmla="*/ 2147483647 h 4"/>
                <a:gd name="T20" fmla="*/ 2147483647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6" y="2"/>
                  </a:moveTo>
                  <a:lnTo>
                    <a:pt x="6" y="2"/>
                  </a:lnTo>
                  <a:lnTo>
                    <a:pt x="4" y="0"/>
                  </a:lnTo>
                  <a:lnTo>
                    <a:pt x="2" y="2"/>
                  </a:lnTo>
                  <a:lnTo>
                    <a:pt x="0" y="2"/>
                  </a:lnTo>
                  <a:lnTo>
                    <a:pt x="2" y="2"/>
                  </a:lnTo>
                  <a:lnTo>
                    <a:pt x="4" y="4"/>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4" name="Freeform 755">
              <a:extLst>
                <a:ext uri="{FF2B5EF4-FFF2-40B4-BE49-F238E27FC236}">
                  <a16:creationId xmlns:a16="http://schemas.microsoft.com/office/drawing/2014/main" id="{25123969-E972-4A72-A4BF-2D8303E58A33}"/>
                </a:ext>
              </a:extLst>
            </p:cNvPr>
            <p:cNvSpPr>
              <a:spLocks/>
            </p:cNvSpPr>
            <p:nvPr/>
          </p:nvSpPr>
          <p:spPr bwMode="gray">
            <a:xfrm>
              <a:off x="3086647" y="3858022"/>
              <a:ext cx="16481" cy="14126"/>
            </a:xfrm>
            <a:custGeom>
              <a:avLst/>
              <a:gdLst>
                <a:gd name="T0" fmla="*/ 2147483647 w 8"/>
                <a:gd name="T1" fmla="*/ 2147483647 h 8"/>
                <a:gd name="T2" fmla="*/ 2147483647 w 8"/>
                <a:gd name="T3" fmla="*/ 2147483647 h 8"/>
                <a:gd name="T4" fmla="*/ 2147483647 w 8"/>
                <a:gd name="T5" fmla="*/ 2147483647 h 8"/>
                <a:gd name="T6" fmla="*/ 2147483647 w 8"/>
                <a:gd name="T7" fmla="*/ 0 h 8"/>
                <a:gd name="T8" fmla="*/ 2147483647 w 8"/>
                <a:gd name="T9" fmla="*/ 0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2147483647 w 8"/>
                <a:gd name="T23" fmla="*/ 2147483647 h 8"/>
                <a:gd name="T24" fmla="*/ 2147483647 w 8"/>
                <a:gd name="T25" fmla="*/ 2147483647 h 8"/>
                <a:gd name="T26" fmla="*/ 2147483647 w 8"/>
                <a:gd name="T27" fmla="*/ 2147483647 h 8"/>
                <a:gd name="T28" fmla="*/ 2147483647 w 8"/>
                <a:gd name="T29" fmla="*/ 2147483647 h 8"/>
                <a:gd name="T30" fmla="*/ 2147483647 w 8"/>
                <a:gd name="T31" fmla="*/ 2147483647 h 8"/>
                <a:gd name="T32" fmla="*/ 2147483647 w 8"/>
                <a:gd name="T33" fmla="*/ 2147483647 h 8"/>
                <a:gd name="T34" fmla="*/ 2147483647 w 8"/>
                <a:gd name="T35" fmla="*/ 2147483647 h 8"/>
                <a:gd name="T36" fmla="*/ 2147483647 w 8"/>
                <a:gd name="T37" fmla="*/ 2147483647 h 8"/>
                <a:gd name="T38" fmla="*/ 0 w 8"/>
                <a:gd name="T39" fmla="*/ 2147483647 h 8"/>
                <a:gd name="T40" fmla="*/ 0 w 8"/>
                <a:gd name="T41" fmla="*/ 2147483647 h 8"/>
                <a:gd name="T42" fmla="*/ 2147483647 w 8"/>
                <a:gd name="T43" fmla="*/ 2147483647 h 8"/>
                <a:gd name="T44" fmla="*/ 2147483647 w 8"/>
                <a:gd name="T45" fmla="*/ 2147483647 h 8"/>
                <a:gd name="T46" fmla="*/ 2147483647 w 8"/>
                <a:gd name="T47" fmla="*/ 2147483647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
                <a:gd name="T73" fmla="*/ 0 h 8"/>
                <a:gd name="T74" fmla="*/ 8 w 8"/>
                <a:gd name="T75" fmla="*/ 8 h 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 h="8">
                  <a:moveTo>
                    <a:pt x="4" y="4"/>
                  </a:moveTo>
                  <a:lnTo>
                    <a:pt x="4" y="2"/>
                  </a:lnTo>
                  <a:lnTo>
                    <a:pt x="4" y="0"/>
                  </a:lnTo>
                  <a:lnTo>
                    <a:pt x="6" y="2"/>
                  </a:lnTo>
                  <a:lnTo>
                    <a:pt x="8" y="4"/>
                  </a:lnTo>
                  <a:lnTo>
                    <a:pt x="6" y="4"/>
                  </a:lnTo>
                  <a:lnTo>
                    <a:pt x="4" y="4"/>
                  </a:lnTo>
                  <a:lnTo>
                    <a:pt x="2" y="6"/>
                  </a:lnTo>
                  <a:lnTo>
                    <a:pt x="4" y="6"/>
                  </a:lnTo>
                  <a:lnTo>
                    <a:pt x="4" y="8"/>
                  </a:lnTo>
                  <a:lnTo>
                    <a:pt x="2" y="8"/>
                  </a:lnTo>
                  <a:lnTo>
                    <a:pt x="2" y="6"/>
                  </a:lnTo>
                  <a:lnTo>
                    <a:pt x="2" y="4"/>
                  </a:lnTo>
                  <a:lnTo>
                    <a:pt x="0" y="4"/>
                  </a:lnTo>
                  <a:lnTo>
                    <a:pt x="0" y="2"/>
                  </a:lnTo>
                  <a:lnTo>
                    <a:pt x="2" y="2"/>
                  </a:lnTo>
                  <a:lnTo>
                    <a:pt x="2" y="4"/>
                  </a:lnTo>
                  <a:lnTo>
                    <a:pt x="4" y="4"/>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5" name="Freeform 756">
              <a:extLst>
                <a:ext uri="{FF2B5EF4-FFF2-40B4-BE49-F238E27FC236}">
                  <a16:creationId xmlns:a16="http://schemas.microsoft.com/office/drawing/2014/main" id="{019C7FB6-6441-4DA4-B191-BC7D3FBF85CC}"/>
                </a:ext>
              </a:extLst>
            </p:cNvPr>
            <p:cNvSpPr>
              <a:spLocks/>
            </p:cNvSpPr>
            <p:nvPr/>
          </p:nvSpPr>
          <p:spPr bwMode="gray">
            <a:xfrm>
              <a:off x="3086644" y="3858022"/>
              <a:ext cx="16481" cy="14126"/>
            </a:xfrm>
            <a:custGeom>
              <a:avLst/>
              <a:gdLst>
                <a:gd name="T0" fmla="*/ 2147483647 w 8"/>
                <a:gd name="T1" fmla="*/ 2147483647 h 8"/>
                <a:gd name="T2" fmla="*/ 2147483647 w 8"/>
                <a:gd name="T3" fmla="*/ 2147483647 h 8"/>
                <a:gd name="T4" fmla="*/ 2147483647 w 8"/>
                <a:gd name="T5" fmla="*/ 2147483647 h 8"/>
                <a:gd name="T6" fmla="*/ 2147483647 w 8"/>
                <a:gd name="T7" fmla="*/ 0 h 8"/>
                <a:gd name="T8" fmla="*/ 2147483647 w 8"/>
                <a:gd name="T9" fmla="*/ 0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2147483647 w 8"/>
                <a:gd name="T23" fmla="*/ 2147483647 h 8"/>
                <a:gd name="T24" fmla="*/ 2147483647 w 8"/>
                <a:gd name="T25" fmla="*/ 2147483647 h 8"/>
                <a:gd name="T26" fmla="*/ 2147483647 w 8"/>
                <a:gd name="T27" fmla="*/ 2147483647 h 8"/>
                <a:gd name="T28" fmla="*/ 2147483647 w 8"/>
                <a:gd name="T29" fmla="*/ 2147483647 h 8"/>
                <a:gd name="T30" fmla="*/ 2147483647 w 8"/>
                <a:gd name="T31" fmla="*/ 2147483647 h 8"/>
                <a:gd name="T32" fmla="*/ 2147483647 w 8"/>
                <a:gd name="T33" fmla="*/ 2147483647 h 8"/>
                <a:gd name="T34" fmla="*/ 2147483647 w 8"/>
                <a:gd name="T35" fmla="*/ 2147483647 h 8"/>
                <a:gd name="T36" fmla="*/ 2147483647 w 8"/>
                <a:gd name="T37" fmla="*/ 2147483647 h 8"/>
                <a:gd name="T38" fmla="*/ 0 w 8"/>
                <a:gd name="T39" fmla="*/ 2147483647 h 8"/>
                <a:gd name="T40" fmla="*/ 0 w 8"/>
                <a:gd name="T41" fmla="*/ 2147483647 h 8"/>
                <a:gd name="T42" fmla="*/ 2147483647 w 8"/>
                <a:gd name="T43" fmla="*/ 2147483647 h 8"/>
                <a:gd name="T44" fmla="*/ 2147483647 w 8"/>
                <a:gd name="T45" fmla="*/ 2147483647 h 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
                <a:gd name="T70" fmla="*/ 0 h 8"/>
                <a:gd name="T71" fmla="*/ 8 w 8"/>
                <a:gd name="T72" fmla="*/ 8 h 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 h="8">
                  <a:moveTo>
                    <a:pt x="4" y="4"/>
                  </a:moveTo>
                  <a:lnTo>
                    <a:pt x="4" y="2"/>
                  </a:lnTo>
                  <a:lnTo>
                    <a:pt x="4" y="0"/>
                  </a:lnTo>
                  <a:lnTo>
                    <a:pt x="6" y="2"/>
                  </a:lnTo>
                  <a:lnTo>
                    <a:pt x="8" y="4"/>
                  </a:lnTo>
                  <a:lnTo>
                    <a:pt x="6" y="4"/>
                  </a:lnTo>
                  <a:lnTo>
                    <a:pt x="4" y="4"/>
                  </a:lnTo>
                  <a:lnTo>
                    <a:pt x="2" y="6"/>
                  </a:lnTo>
                  <a:lnTo>
                    <a:pt x="4" y="6"/>
                  </a:lnTo>
                  <a:lnTo>
                    <a:pt x="4" y="8"/>
                  </a:lnTo>
                  <a:lnTo>
                    <a:pt x="2" y="8"/>
                  </a:lnTo>
                  <a:lnTo>
                    <a:pt x="2" y="6"/>
                  </a:lnTo>
                  <a:lnTo>
                    <a:pt x="2" y="4"/>
                  </a:lnTo>
                  <a:lnTo>
                    <a:pt x="0" y="4"/>
                  </a:lnTo>
                  <a:lnTo>
                    <a:pt x="0" y="2"/>
                  </a:lnTo>
                  <a:lnTo>
                    <a:pt x="2" y="2"/>
                  </a:lnTo>
                  <a:lnTo>
                    <a:pt x="2" y="4"/>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6" name="Freeform 757">
              <a:extLst>
                <a:ext uri="{FF2B5EF4-FFF2-40B4-BE49-F238E27FC236}">
                  <a16:creationId xmlns:a16="http://schemas.microsoft.com/office/drawing/2014/main" id="{8330A7EC-F81E-44A7-A07E-711E5528F9F1}"/>
                </a:ext>
              </a:extLst>
            </p:cNvPr>
            <p:cNvSpPr>
              <a:spLocks/>
            </p:cNvSpPr>
            <p:nvPr/>
          </p:nvSpPr>
          <p:spPr bwMode="gray">
            <a:xfrm>
              <a:off x="3103126" y="3902753"/>
              <a:ext cx="7063" cy="11771"/>
            </a:xfrm>
            <a:custGeom>
              <a:avLst/>
              <a:gdLst>
                <a:gd name="T0" fmla="*/ 0 w 4"/>
                <a:gd name="T1" fmla="*/ 0 h 6"/>
                <a:gd name="T2" fmla="*/ 0 w 4"/>
                <a:gd name="T3" fmla="*/ 0 h 6"/>
                <a:gd name="T4" fmla="*/ 0 w 4"/>
                <a:gd name="T5" fmla="*/ 0 h 6"/>
                <a:gd name="T6" fmla="*/ 0 w 4"/>
                <a:gd name="T7" fmla="*/ 0 h 6"/>
                <a:gd name="T8" fmla="*/ 2147483647 w 4"/>
                <a:gd name="T9" fmla="*/ 0 h 6"/>
                <a:gd name="T10" fmla="*/ 2147483647 w 4"/>
                <a:gd name="T11" fmla="*/ 2147483647 h 6"/>
                <a:gd name="T12" fmla="*/ 2147483647 w 4"/>
                <a:gd name="T13" fmla="*/ 2147483647 h 6"/>
                <a:gd name="T14" fmla="*/ 2147483647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0 w 4"/>
                <a:gd name="T25" fmla="*/ 2147483647 h 6"/>
                <a:gd name="T26" fmla="*/ 2147483647 w 4"/>
                <a:gd name="T27" fmla="*/ 2147483647 h 6"/>
                <a:gd name="T28" fmla="*/ 2147483647 w 4"/>
                <a:gd name="T29" fmla="*/ 2147483647 h 6"/>
                <a:gd name="T30" fmla="*/ 0 w 4"/>
                <a:gd name="T31" fmla="*/ 2147483647 h 6"/>
                <a:gd name="T32" fmla="*/ 0 w 4"/>
                <a:gd name="T33" fmla="*/ 2147483647 h 6"/>
                <a:gd name="T34" fmla="*/ 0 w 4"/>
                <a:gd name="T35" fmla="*/ 2147483647 h 6"/>
                <a:gd name="T36" fmla="*/ 0 w 4"/>
                <a:gd name="T37" fmla="*/ 0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
                <a:gd name="T58" fmla="*/ 0 h 6"/>
                <a:gd name="T59" fmla="*/ 4 w 4"/>
                <a:gd name="T60" fmla="*/ 6 h 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 h="6">
                  <a:moveTo>
                    <a:pt x="0" y="0"/>
                  </a:moveTo>
                  <a:lnTo>
                    <a:pt x="0" y="0"/>
                  </a:lnTo>
                  <a:lnTo>
                    <a:pt x="2" y="0"/>
                  </a:lnTo>
                  <a:lnTo>
                    <a:pt x="4" y="2"/>
                  </a:lnTo>
                  <a:lnTo>
                    <a:pt x="4" y="4"/>
                  </a:lnTo>
                  <a:lnTo>
                    <a:pt x="4" y="6"/>
                  </a:lnTo>
                  <a:lnTo>
                    <a:pt x="2" y="6"/>
                  </a:lnTo>
                  <a:lnTo>
                    <a:pt x="0" y="4"/>
                  </a:lnTo>
                  <a:lnTo>
                    <a:pt x="2" y="4"/>
                  </a:lnTo>
                  <a:lnTo>
                    <a:pt x="0" y="4"/>
                  </a:lnTo>
                  <a:lnTo>
                    <a:pt x="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7" name="Freeform 758">
              <a:extLst>
                <a:ext uri="{FF2B5EF4-FFF2-40B4-BE49-F238E27FC236}">
                  <a16:creationId xmlns:a16="http://schemas.microsoft.com/office/drawing/2014/main" id="{1365412E-31D6-40F6-86B9-257F36F85004}"/>
                </a:ext>
              </a:extLst>
            </p:cNvPr>
            <p:cNvSpPr>
              <a:spLocks/>
            </p:cNvSpPr>
            <p:nvPr/>
          </p:nvSpPr>
          <p:spPr bwMode="gray">
            <a:xfrm>
              <a:off x="3103126" y="3902756"/>
              <a:ext cx="7063" cy="11771"/>
            </a:xfrm>
            <a:custGeom>
              <a:avLst/>
              <a:gdLst>
                <a:gd name="T0" fmla="*/ 0 w 4"/>
                <a:gd name="T1" fmla="*/ 0 h 6"/>
                <a:gd name="T2" fmla="*/ 0 w 4"/>
                <a:gd name="T3" fmla="*/ 0 h 6"/>
                <a:gd name="T4" fmla="*/ 0 w 4"/>
                <a:gd name="T5" fmla="*/ 0 h 6"/>
                <a:gd name="T6" fmla="*/ 0 w 4"/>
                <a:gd name="T7" fmla="*/ 0 h 6"/>
                <a:gd name="T8" fmla="*/ 2147483647 w 4"/>
                <a:gd name="T9" fmla="*/ 0 h 6"/>
                <a:gd name="T10" fmla="*/ 2147483647 w 4"/>
                <a:gd name="T11" fmla="*/ 2147483647 h 6"/>
                <a:gd name="T12" fmla="*/ 2147483647 w 4"/>
                <a:gd name="T13" fmla="*/ 2147483647 h 6"/>
                <a:gd name="T14" fmla="*/ 2147483647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0 w 4"/>
                <a:gd name="T25" fmla="*/ 2147483647 h 6"/>
                <a:gd name="T26" fmla="*/ 2147483647 w 4"/>
                <a:gd name="T27" fmla="*/ 2147483647 h 6"/>
                <a:gd name="T28" fmla="*/ 2147483647 w 4"/>
                <a:gd name="T29" fmla="*/ 2147483647 h 6"/>
                <a:gd name="T30" fmla="*/ 0 w 4"/>
                <a:gd name="T31" fmla="*/ 2147483647 h 6"/>
                <a:gd name="T32" fmla="*/ 0 w 4"/>
                <a:gd name="T33" fmla="*/ 2147483647 h 6"/>
                <a:gd name="T34" fmla="*/ 0 w 4"/>
                <a:gd name="T35" fmla="*/ 2147483647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
                <a:gd name="T55" fmla="*/ 0 h 6"/>
                <a:gd name="T56" fmla="*/ 4 w 4"/>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 h="6">
                  <a:moveTo>
                    <a:pt x="0" y="0"/>
                  </a:moveTo>
                  <a:lnTo>
                    <a:pt x="0" y="0"/>
                  </a:lnTo>
                  <a:lnTo>
                    <a:pt x="2" y="0"/>
                  </a:lnTo>
                  <a:lnTo>
                    <a:pt x="4" y="2"/>
                  </a:lnTo>
                  <a:lnTo>
                    <a:pt x="4" y="4"/>
                  </a:lnTo>
                  <a:lnTo>
                    <a:pt x="4" y="6"/>
                  </a:lnTo>
                  <a:lnTo>
                    <a:pt x="2" y="6"/>
                  </a:lnTo>
                  <a:lnTo>
                    <a:pt x="0" y="4"/>
                  </a:lnTo>
                  <a:lnTo>
                    <a:pt x="2" y="4"/>
                  </a:lnTo>
                  <a:lnTo>
                    <a:pt x="0" y="4"/>
                  </a:lnTo>
                  <a:lnTo>
                    <a:pt x="0"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8" name="Freeform 759">
              <a:extLst>
                <a:ext uri="{FF2B5EF4-FFF2-40B4-BE49-F238E27FC236}">
                  <a16:creationId xmlns:a16="http://schemas.microsoft.com/office/drawing/2014/main" id="{7EA6E884-A758-4CF5-92C6-FC3413EF1AE2}"/>
                </a:ext>
              </a:extLst>
            </p:cNvPr>
            <p:cNvSpPr>
              <a:spLocks/>
            </p:cNvSpPr>
            <p:nvPr/>
          </p:nvSpPr>
          <p:spPr bwMode="gray">
            <a:xfrm>
              <a:off x="3098415" y="3872150"/>
              <a:ext cx="4708" cy="4708"/>
            </a:xfrm>
            <a:custGeom>
              <a:avLst/>
              <a:gdLst>
                <a:gd name="T0" fmla="*/ 0 w 2"/>
                <a:gd name="T1" fmla="*/ 0 h 2"/>
                <a:gd name="T2" fmla="*/ 0 w 2"/>
                <a:gd name="T3" fmla="*/ 0 h 2"/>
                <a:gd name="T4" fmla="*/ 0 w 2"/>
                <a:gd name="T5" fmla="*/ 0 h 2"/>
                <a:gd name="T6" fmla="*/ 2147483647 w 2"/>
                <a:gd name="T7" fmla="*/ 0 h 2"/>
                <a:gd name="T8" fmla="*/ 0 w 2"/>
                <a:gd name="T9" fmla="*/ 2147483647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0"/>
                  </a:lnTo>
                  <a:lnTo>
                    <a:pt x="2" y="0"/>
                  </a:lnTo>
                  <a:lnTo>
                    <a:pt x="0" y="2"/>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09" name="Freeform 760">
              <a:extLst>
                <a:ext uri="{FF2B5EF4-FFF2-40B4-BE49-F238E27FC236}">
                  <a16:creationId xmlns:a16="http://schemas.microsoft.com/office/drawing/2014/main" id="{326733F4-648F-41D5-B8C2-A2DF81C9810A}"/>
                </a:ext>
              </a:extLst>
            </p:cNvPr>
            <p:cNvSpPr>
              <a:spLocks/>
            </p:cNvSpPr>
            <p:nvPr/>
          </p:nvSpPr>
          <p:spPr bwMode="gray">
            <a:xfrm>
              <a:off x="3098415" y="3872150"/>
              <a:ext cx="4708" cy="4708"/>
            </a:xfrm>
            <a:custGeom>
              <a:avLst/>
              <a:gdLst>
                <a:gd name="T0" fmla="*/ 0 w 2"/>
                <a:gd name="T1" fmla="*/ 0 h 2"/>
                <a:gd name="T2" fmla="*/ 0 w 2"/>
                <a:gd name="T3" fmla="*/ 0 h 2"/>
                <a:gd name="T4" fmla="*/ 0 w 2"/>
                <a:gd name="T5" fmla="*/ 0 h 2"/>
                <a:gd name="T6" fmla="*/ 2147483647 w 2"/>
                <a:gd name="T7" fmla="*/ 0 h 2"/>
                <a:gd name="T8" fmla="*/ 0 w 2"/>
                <a:gd name="T9" fmla="*/ 2147483647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0"/>
                  </a:lnTo>
                  <a:lnTo>
                    <a:pt x="2" y="0"/>
                  </a:lnTo>
                  <a:lnTo>
                    <a:pt x="0" y="2"/>
                  </a:lnTo>
                  <a:lnTo>
                    <a:pt x="0"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10" name="Freeform 761">
              <a:extLst>
                <a:ext uri="{FF2B5EF4-FFF2-40B4-BE49-F238E27FC236}">
                  <a16:creationId xmlns:a16="http://schemas.microsoft.com/office/drawing/2014/main" id="{F04A3BEF-635B-41A0-8AFA-6CC56A32B96B}"/>
                </a:ext>
              </a:extLst>
            </p:cNvPr>
            <p:cNvSpPr>
              <a:spLocks/>
            </p:cNvSpPr>
            <p:nvPr/>
          </p:nvSpPr>
          <p:spPr bwMode="gray">
            <a:xfrm>
              <a:off x="3091354" y="3872150"/>
              <a:ext cx="4708" cy="4708"/>
            </a:xfrm>
            <a:custGeom>
              <a:avLst/>
              <a:gdLst>
                <a:gd name="T0" fmla="*/ 0 w 2"/>
                <a:gd name="T1" fmla="*/ 2147483647 h 2"/>
                <a:gd name="T2" fmla="*/ 2147483647 w 2"/>
                <a:gd name="T3" fmla="*/ 0 h 2"/>
                <a:gd name="T4" fmla="*/ 2147483647 w 2"/>
                <a:gd name="T5" fmla="*/ 0 h 2"/>
                <a:gd name="T6" fmla="*/ 2147483647 w 2"/>
                <a:gd name="T7" fmla="*/ 2147483647 h 2"/>
                <a:gd name="T8" fmla="*/ 0 w 2"/>
                <a:gd name="T9" fmla="*/ 2147483647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2" y="0"/>
                  </a:lnTo>
                  <a:lnTo>
                    <a:pt x="2" y="2"/>
                  </a:lnTo>
                  <a:lnTo>
                    <a:pt x="0" y="2"/>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11" name="Freeform 762">
              <a:extLst>
                <a:ext uri="{FF2B5EF4-FFF2-40B4-BE49-F238E27FC236}">
                  <a16:creationId xmlns:a16="http://schemas.microsoft.com/office/drawing/2014/main" id="{3925F047-66DC-4BD1-98AE-ABA211E57FDE}"/>
                </a:ext>
              </a:extLst>
            </p:cNvPr>
            <p:cNvSpPr>
              <a:spLocks/>
            </p:cNvSpPr>
            <p:nvPr/>
          </p:nvSpPr>
          <p:spPr bwMode="gray">
            <a:xfrm>
              <a:off x="3091354" y="3872148"/>
              <a:ext cx="4708" cy="4708"/>
            </a:xfrm>
            <a:custGeom>
              <a:avLst/>
              <a:gdLst>
                <a:gd name="T0" fmla="*/ 0 w 2"/>
                <a:gd name="T1" fmla="*/ 2147483647 h 2"/>
                <a:gd name="T2" fmla="*/ 2147483647 w 2"/>
                <a:gd name="T3" fmla="*/ 0 h 2"/>
                <a:gd name="T4" fmla="*/ 2147483647 w 2"/>
                <a:gd name="T5" fmla="*/ 0 h 2"/>
                <a:gd name="T6" fmla="*/ 2147483647 w 2"/>
                <a:gd name="T7" fmla="*/ 2147483647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2"/>
                  </a:moveTo>
                  <a:lnTo>
                    <a:pt x="2" y="0"/>
                  </a:lnTo>
                  <a:lnTo>
                    <a:pt x="2" y="2"/>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12" name="Freeform 763">
              <a:extLst>
                <a:ext uri="{FF2B5EF4-FFF2-40B4-BE49-F238E27FC236}">
                  <a16:creationId xmlns:a16="http://schemas.microsoft.com/office/drawing/2014/main" id="{54D7E5D9-0938-4A02-869B-51E59D81690F}"/>
                </a:ext>
              </a:extLst>
            </p:cNvPr>
            <p:cNvSpPr>
              <a:spLocks/>
            </p:cNvSpPr>
            <p:nvPr/>
          </p:nvSpPr>
          <p:spPr bwMode="gray">
            <a:xfrm>
              <a:off x="3103124" y="3860379"/>
              <a:ext cx="2354" cy="0"/>
            </a:xfrm>
            <a:custGeom>
              <a:avLst/>
              <a:gdLst>
                <a:gd name="T0" fmla="*/ 0 w 2"/>
                <a:gd name="T1" fmla="*/ 2147483647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0" y="0"/>
                  </a:moveTo>
                  <a:lnTo>
                    <a:pt x="2" y="0"/>
                  </a:lnTo>
                  <a:lnTo>
                    <a:pt x="0" y="0"/>
                  </a:lnTo>
                  <a:close/>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13" name="Freeform 764">
              <a:extLst>
                <a:ext uri="{FF2B5EF4-FFF2-40B4-BE49-F238E27FC236}">
                  <a16:creationId xmlns:a16="http://schemas.microsoft.com/office/drawing/2014/main" id="{3242CB7F-D2A4-4E26-95FF-E34F706151E4}"/>
                </a:ext>
              </a:extLst>
            </p:cNvPr>
            <p:cNvSpPr>
              <a:spLocks/>
            </p:cNvSpPr>
            <p:nvPr/>
          </p:nvSpPr>
          <p:spPr bwMode="gray">
            <a:xfrm>
              <a:off x="3103126" y="3860380"/>
              <a:ext cx="2354" cy="0"/>
            </a:xfrm>
            <a:custGeom>
              <a:avLst/>
              <a:gdLst>
                <a:gd name="T0" fmla="*/ 0 w 2"/>
                <a:gd name="T1" fmla="*/ 2147483647 w 2"/>
                <a:gd name="T2" fmla="*/ 0 w 2"/>
                <a:gd name="T3" fmla="*/ 0 60000 65536"/>
                <a:gd name="T4" fmla="*/ 0 60000 65536"/>
                <a:gd name="T5" fmla="*/ 0 60000 65536"/>
                <a:gd name="T6" fmla="*/ 0 w 2"/>
                <a:gd name="T7" fmla="*/ 2 w 2"/>
              </a:gdLst>
              <a:ahLst/>
              <a:cxnLst>
                <a:cxn ang="T3">
                  <a:pos x="T0" y="0"/>
                </a:cxn>
                <a:cxn ang="T4">
                  <a:pos x="T1" y="0"/>
                </a:cxn>
                <a:cxn ang="T5">
                  <a:pos x="T2" y="0"/>
                </a:cxn>
              </a:cxnLst>
              <a:rect l="T6" t="0" r="T7" b="0"/>
              <a:pathLst>
                <a:path w="2">
                  <a:moveTo>
                    <a:pt x="0" y="0"/>
                  </a:moveTo>
                  <a:lnTo>
                    <a:pt x="2" y="0"/>
                  </a:lnTo>
                  <a:lnTo>
                    <a:pt x="0" y="0"/>
                  </a:lnTo>
                </a:path>
              </a:pathLst>
            </a:custGeom>
            <a:grpFill/>
            <a:ln w="6350">
              <a:solidFill>
                <a:schemeClr val="bg1"/>
              </a:solidFill>
              <a:round/>
              <a:headEnd/>
              <a:tailEnd/>
            </a:ln>
          </p:spPr>
          <p:txBody>
            <a:bodyPr/>
            <a:lstStyle/>
            <a:p>
              <a:pPr algn="ctr" defTabSz="912813" fontAlgn="base">
                <a:spcBef>
                  <a:spcPct val="0"/>
                </a:spcBef>
                <a:spcAft>
                  <a:spcPct val="0"/>
                </a:spcAft>
                <a:defRPr/>
              </a:pPr>
              <a:endParaRPr lang="en-US" b="1" dirty="0">
                <a:solidFill>
                  <a:srgbClr val="000000"/>
                </a:solidFill>
                <a:ea typeface="ＭＳ Ｐゴシック" charset="0"/>
              </a:endParaRPr>
            </a:p>
          </p:txBody>
        </p:sp>
        <p:sp>
          <p:nvSpPr>
            <p:cNvPr id="1114" name="AutoShape 1058">
              <a:extLst>
                <a:ext uri="{FF2B5EF4-FFF2-40B4-BE49-F238E27FC236}">
                  <a16:creationId xmlns:a16="http://schemas.microsoft.com/office/drawing/2014/main" id="{742703BF-79DD-4D29-9A23-B0D026939C08}"/>
                </a:ext>
              </a:extLst>
            </p:cNvPr>
            <p:cNvSpPr>
              <a:spLocks noChangeAspect="1" noChangeArrowheads="1"/>
            </p:cNvSpPr>
            <p:nvPr/>
          </p:nvSpPr>
          <p:spPr bwMode="gray">
            <a:xfrm flipV="1">
              <a:off x="4252064" y="2501900"/>
              <a:ext cx="11771" cy="25897"/>
            </a:xfrm>
            <a:prstGeom prst="triangle">
              <a:avLst>
                <a:gd name="adj" fmla="val 50000"/>
              </a:avLst>
            </a:prstGeom>
            <a:grpFill/>
            <a:ln w="6350" algn="ctr">
              <a:solidFill>
                <a:schemeClr val="bg1"/>
              </a:solidFill>
              <a:miter lim="800000"/>
              <a:headEnd/>
              <a:tailEnd/>
            </a:ln>
          </p:spPr>
          <p:txBody>
            <a:bodyPr rot="10800000" wrap="none" lIns="67500" tIns="35100" rIns="67500" bIns="35100" anchor="ctr"/>
            <a:lstStyle/>
            <a:p>
              <a:pPr algn="ctr" defTabSz="912813" fontAlgn="base">
                <a:spcBef>
                  <a:spcPct val="0"/>
                </a:spcBef>
                <a:spcAft>
                  <a:spcPct val="0"/>
                </a:spcAft>
                <a:defRPr/>
              </a:pPr>
              <a:endParaRPr lang="en-GB" b="1" dirty="0">
                <a:solidFill>
                  <a:srgbClr val="000000"/>
                </a:solidFill>
                <a:ea typeface="ＭＳ Ｐゴシック" charset="0"/>
              </a:endParaRPr>
            </a:p>
          </p:txBody>
        </p:sp>
      </p:grpSp>
      <p:sp>
        <p:nvSpPr>
          <p:cNvPr id="5" name="Text Placeholder 4">
            <a:extLst>
              <a:ext uri="{FF2B5EF4-FFF2-40B4-BE49-F238E27FC236}">
                <a16:creationId xmlns:a16="http://schemas.microsoft.com/office/drawing/2014/main" id="{025FFB67-45C6-40C9-BA33-31480930AF6B}"/>
              </a:ext>
            </a:extLst>
          </p:cNvPr>
          <p:cNvSpPr>
            <a:spLocks noGrp="1"/>
          </p:cNvSpPr>
          <p:nvPr>
            <p:ph type="body" sz="quarter" idx="17"/>
          </p:nvPr>
        </p:nvSpPr>
        <p:spPr>
          <a:xfrm>
            <a:off x="359905" y="5051980"/>
            <a:ext cx="8423864" cy="443198"/>
          </a:xfrm>
        </p:spPr>
        <p:txBody>
          <a:bodyPr vert="horz" lIns="0" tIns="0" rIns="0" bIns="0" rtlCol="0" anchor="b">
            <a:spAutoFit/>
          </a:bodyPr>
          <a:lstStyle/>
          <a:p>
            <a:pPr>
              <a:lnSpc>
                <a:spcPct val="90000"/>
              </a:lnSpc>
              <a:spcBef>
                <a:spcPts val="0"/>
              </a:spcBef>
              <a:buNone/>
            </a:pPr>
            <a:r>
              <a:rPr lang="en-GB" dirty="0">
                <a:latin typeface="Arial" panose="020B0604020202020204" pitchFamily="34" charset="0"/>
              </a:rPr>
              <a:t>Source: Fidelity International as at 31</a:t>
            </a:r>
            <a:r>
              <a:rPr lang="en-GB" baseline="30000" dirty="0">
                <a:latin typeface="Arial" panose="020B0604020202020204" pitchFamily="34" charset="0"/>
              </a:rPr>
              <a:t>st</a:t>
            </a:r>
            <a:r>
              <a:rPr lang="en-GB" dirty="0">
                <a:latin typeface="Arial" panose="020B0604020202020204" pitchFamily="34" charset="0"/>
              </a:rPr>
              <a:t> March 2022. Each region defines the sector teams slightly differently to reflect local dynamics, the table overall is the best global fit to describe all of the roles. For Asia Pac ex- Japan, Industrials is included under Cyclicals, Telecoms is included under Utilities. Where analysts cover more than one sector they may appear in more than one box. TMT stands for Telecommunications, Media and Technology. Fidelity Canada analysts cover both US and Canadian markets. *Total team size regional breakdown includes shorting. Data is unaudited. </a:t>
            </a:r>
          </a:p>
        </p:txBody>
      </p:sp>
      <p:sp>
        <p:nvSpPr>
          <p:cNvPr id="620" name="Rectangle 13">
            <a:extLst>
              <a:ext uri="{FF2B5EF4-FFF2-40B4-BE49-F238E27FC236}">
                <a16:creationId xmlns:a16="http://schemas.microsoft.com/office/drawing/2014/main" id="{A13D618A-E928-4FD2-993E-87DE2B7F1338}"/>
              </a:ext>
            </a:extLst>
          </p:cNvPr>
          <p:cNvSpPr>
            <a:spLocks noChangeArrowheads="1"/>
          </p:cNvSpPr>
          <p:nvPr/>
        </p:nvSpPr>
        <p:spPr bwMode="auto">
          <a:xfrm>
            <a:off x="357191" y="3065981"/>
            <a:ext cx="8419297" cy="163316"/>
          </a:xfrm>
          <a:prstGeom prst="rect">
            <a:avLst/>
          </a:prstGeom>
          <a:solidFill>
            <a:schemeClr val="bg1">
              <a:alpha val="65000"/>
            </a:schemeClr>
          </a:solidFill>
          <a:ln w="9525">
            <a:solidFill>
              <a:srgbClr val="A6A6A6"/>
            </a:solid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Japan</a:t>
            </a:r>
          </a:p>
        </p:txBody>
      </p:sp>
      <p:sp>
        <p:nvSpPr>
          <p:cNvPr id="621" name="Rectangle 13">
            <a:extLst>
              <a:ext uri="{FF2B5EF4-FFF2-40B4-BE49-F238E27FC236}">
                <a16:creationId xmlns:a16="http://schemas.microsoft.com/office/drawing/2014/main" id="{1BA7A902-8430-46C2-9F94-1E5CD90732F5}"/>
              </a:ext>
            </a:extLst>
          </p:cNvPr>
          <p:cNvSpPr>
            <a:spLocks noChangeArrowheads="1"/>
          </p:cNvSpPr>
          <p:nvPr/>
        </p:nvSpPr>
        <p:spPr bwMode="auto">
          <a:xfrm>
            <a:off x="357191" y="2854762"/>
            <a:ext cx="8419297" cy="163316"/>
          </a:xfrm>
          <a:prstGeom prst="rect">
            <a:avLst/>
          </a:prstGeom>
          <a:solidFill>
            <a:schemeClr val="bg1">
              <a:alpha val="65000"/>
            </a:schemeClr>
          </a:solidFill>
          <a:ln w="9525">
            <a:solidFill>
              <a:srgbClr val="A6A6A6"/>
            </a:solid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Asia Pac ex-Japan</a:t>
            </a:r>
          </a:p>
        </p:txBody>
      </p:sp>
      <p:sp>
        <p:nvSpPr>
          <p:cNvPr id="622" name="Rectangle 13">
            <a:extLst>
              <a:ext uri="{FF2B5EF4-FFF2-40B4-BE49-F238E27FC236}">
                <a16:creationId xmlns:a16="http://schemas.microsoft.com/office/drawing/2014/main" id="{0F203F24-1DF8-43BF-A49C-9355A07521CE}"/>
              </a:ext>
            </a:extLst>
          </p:cNvPr>
          <p:cNvSpPr>
            <a:spLocks noChangeArrowheads="1"/>
          </p:cNvSpPr>
          <p:nvPr/>
        </p:nvSpPr>
        <p:spPr bwMode="auto">
          <a:xfrm>
            <a:off x="357191" y="3278502"/>
            <a:ext cx="8419297" cy="163316"/>
          </a:xfrm>
          <a:prstGeom prst="rect">
            <a:avLst/>
          </a:prstGeom>
          <a:solidFill>
            <a:schemeClr val="bg1">
              <a:alpha val="65000"/>
            </a:schemeClr>
          </a:solidFill>
          <a:ln w="9525">
            <a:solidFill>
              <a:srgbClr val="A6A6A6"/>
            </a:solid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EMEA &amp; LATAM</a:t>
            </a:r>
          </a:p>
        </p:txBody>
      </p:sp>
      <p:sp>
        <p:nvSpPr>
          <p:cNvPr id="623" name="Rectangle 13">
            <a:extLst>
              <a:ext uri="{FF2B5EF4-FFF2-40B4-BE49-F238E27FC236}">
                <a16:creationId xmlns:a16="http://schemas.microsoft.com/office/drawing/2014/main" id="{10ADE948-1867-4222-AACF-EC05E8C19FBB}"/>
              </a:ext>
            </a:extLst>
          </p:cNvPr>
          <p:cNvSpPr>
            <a:spLocks noChangeArrowheads="1"/>
          </p:cNvSpPr>
          <p:nvPr/>
        </p:nvSpPr>
        <p:spPr bwMode="auto">
          <a:xfrm>
            <a:off x="357191" y="3489721"/>
            <a:ext cx="8419297" cy="163316"/>
          </a:xfrm>
          <a:prstGeom prst="rect">
            <a:avLst/>
          </a:prstGeom>
          <a:solidFill>
            <a:schemeClr val="bg1">
              <a:alpha val="65000"/>
            </a:schemeClr>
          </a:solidFill>
          <a:ln w="9525">
            <a:solidFill>
              <a:srgbClr val="A6A6A6"/>
            </a:solid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US + Canada</a:t>
            </a:r>
          </a:p>
        </p:txBody>
      </p:sp>
      <p:sp>
        <p:nvSpPr>
          <p:cNvPr id="624" name="Rectangle 13">
            <a:extLst>
              <a:ext uri="{FF2B5EF4-FFF2-40B4-BE49-F238E27FC236}">
                <a16:creationId xmlns:a16="http://schemas.microsoft.com/office/drawing/2014/main" id="{7FFE6F73-D4F1-4B08-9AA9-EACB7AEA2B25}"/>
              </a:ext>
            </a:extLst>
          </p:cNvPr>
          <p:cNvSpPr>
            <a:spLocks noChangeArrowheads="1"/>
          </p:cNvSpPr>
          <p:nvPr/>
        </p:nvSpPr>
        <p:spPr bwMode="auto">
          <a:xfrm>
            <a:off x="357191" y="2643544"/>
            <a:ext cx="8419297" cy="163316"/>
          </a:xfrm>
          <a:prstGeom prst="rect">
            <a:avLst/>
          </a:prstGeom>
          <a:solidFill>
            <a:schemeClr val="bg1">
              <a:alpha val="65000"/>
            </a:schemeClr>
          </a:solidFill>
          <a:ln w="9525">
            <a:solidFill>
              <a:srgbClr val="A6A6A6"/>
            </a:solid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Europe</a:t>
            </a:r>
          </a:p>
        </p:txBody>
      </p:sp>
      <p:sp>
        <p:nvSpPr>
          <p:cNvPr id="625" name="TextBox 624">
            <a:extLst>
              <a:ext uri="{FF2B5EF4-FFF2-40B4-BE49-F238E27FC236}">
                <a16:creationId xmlns:a16="http://schemas.microsoft.com/office/drawing/2014/main" id="{F4AB0146-2B9A-4FC6-B40A-FE04003967C3}"/>
              </a:ext>
            </a:extLst>
          </p:cNvPr>
          <p:cNvSpPr txBox="1"/>
          <p:nvPr/>
        </p:nvSpPr>
        <p:spPr bwMode="auto">
          <a:xfrm>
            <a:off x="6732447" y="4433779"/>
            <a:ext cx="1282428" cy="121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000" tIns="0" rIns="27000" bIns="0" rtlCol="0" anchor="b" anchorCtr="0">
            <a:spAutoFit/>
          </a:bodyPr>
          <a:lstStyle/>
          <a:p>
            <a:pPr algn="r" defTabSz="912813" fontAlgn="base">
              <a:spcBef>
                <a:spcPct val="0"/>
              </a:spcBef>
              <a:spcAft>
                <a:spcPct val="0"/>
              </a:spcAft>
              <a:buClr>
                <a:srgbClr val="01286D"/>
              </a:buClr>
              <a:buSzPct val="80000"/>
              <a:buFont typeface="Wingdings" pitchFamily="2" charset="2"/>
              <a:buNone/>
              <a:defRPr/>
            </a:pPr>
            <a:r>
              <a:rPr lang="en-GB" sz="788" b="1" dirty="0">
                <a:solidFill>
                  <a:srgbClr val="2190C2"/>
                </a:solidFill>
                <a:ea typeface="ＭＳ Ｐゴシック" charset="0"/>
              </a:rPr>
              <a:t>Total Analyst Headcount:</a:t>
            </a:r>
          </a:p>
        </p:txBody>
      </p:sp>
      <p:sp>
        <p:nvSpPr>
          <p:cNvPr id="626" name="TextBox 625">
            <a:extLst>
              <a:ext uri="{FF2B5EF4-FFF2-40B4-BE49-F238E27FC236}">
                <a16:creationId xmlns:a16="http://schemas.microsoft.com/office/drawing/2014/main" id="{C4DA023E-E84D-4188-AAC9-011EE96CC432}"/>
              </a:ext>
            </a:extLst>
          </p:cNvPr>
          <p:cNvSpPr txBox="1"/>
          <p:nvPr/>
        </p:nvSpPr>
        <p:spPr>
          <a:xfrm>
            <a:off x="2047083" y="4193468"/>
            <a:ext cx="5967792" cy="164700"/>
          </a:xfrm>
          <a:prstGeom prst="rect">
            <a:avLst/>
          </a:prstGeom>
          <a:solidFill>
            <a:schemeClr val="bg1">
              <a:lumMod val="95000"/>
            </a:schemeClr>
          </a:solidFill>
          <a:ln w="6350" algn="ctr">
            <a:solidFill>
              <a:srgbClr val="A6A6A6"/>
            </a:solidFill>
            <a:miter lim="800000"/>
            <a:headEnd/>
            <a:tailEnd/>
          </a:ln>
        </p:spPr>
        <p:txBody>
          <a:bodyPr lIns="0" rIns="0" anchor="ctr"/>
          <a:lstStyle>
            <a:defPPr>
              <a:defRPr lang="en-US"/>
            </a:defPPr>
            <a:lvl1pPr algn="ctr" eaLnBrk="0" fontAlgn="auto" hangingPunct="0">
              <a:spcBef>
                <a:spcPts val="0"/>
              </a:spcBef>
              <a:spcAft>
                <a:spcPts val="0"/>
              </a:spcAft>
              <a:buClr>
                <a:srgbClr val="01286D"/>
              </a:buClr>
              <a:buSzPct val="80000"/>
              <a:defRPr sz="1000" b="0" kern="0">
                <a:latin typeface="Arial"/>
                <a:ea typeface="ＭＳ Ｐゴシック"/>
              </a:defRPr>
            </a:lvl1pPr>
          </a:lstStyle>
          <a:p>
            <a:pPr defTabSz="912813">
              <a:defRPr/>
            </a:pPr>
            <a:r>
              <a:rPr lang="en-GB" sz="675" dirty="0">
                <a:solidFill>
                  <a:srgbClr val="20242B"/>
                </a:solidFill>
              </a:rPr>
              <a:t>Technical &amp; Quant Analyst</a:t>
            </a:r>
          </a:p>
        </p:txBody>
      </p:sp>
      <p:sp>
        <p:nvSpPr>
          <p:cNvPr id="628" name="TextBox 627">
            <a:extLst>
              <a:ext uri="{FF2B5EF4-FFF2-40B4-BE49-F238E27FC236}">
                <a16:creationId xmlns:a16="http://schemas.microsoft.com/office/drawing/2014/main" id="{E2E427BE-E3C2-4DC2-8252-2A0808E5854C}"/>
              </a:ext>
            </a:extLst>
          </p:cNvPr>
          <p:cNvSpPr txBox="1"/>
          <p:nvPr/>
        </p:nvSpPr>
        <p:spPr>
          <a:xfrm>
            <a:off x="2047083" y="4621874"/>
            <a:ext cx="5975849" cy="164700"/>
          </a:xfrm>
          <a:prstGeom prst="rect">
            <a:avLst/>
          </a:prstGeom>
          <a:solidFill>
            <a:schemeClr val="bg1">
              <a:lumMod val="95000"/>
            </a:schemeClr>
          </a:solidFill>
          <a:ln w="6350" algn="ctr">
            <a:solidFill>
              <a:srgbClr val="A6A6A6"/>
            </a:solidFill>
            <a:miter lim="800000"/>
            <a:headEnd/>
            <a:tailEnd/>
          </a:ln>
        </p:spPr>
        <p:txBody>
          <a:bodyPr lIns="0" rIns="0" anchor="ctr"/>
          <a:lstStyle>
            <a:defPPr>
              <a:defRPr lang="en-US"/>
            </a:defPPr>
            <a:lvl1pPr algn="ctr" eaLnBrk="0" fontAlgn="auto" hangingPunct="0">
              <a:spcBef>
                <a:spcPts val="0"/>
              </a:spcBef>
              <a:spcAft>
                <a:spcPts val="0"/>
              </a:spcAft>
              <a:buClr>
                <a:srgbClr val="01286D"/>
              </a:buClr>
              <a:buSzPct val="80000"/>
              <a:defRPr sz="1000" b="0" kern="0">
                <a:latin typeface="Arial"/>
                <a:ea typeface="ＭＳ Ｐゴシック"/>
              </a:defRPr>
            </a:lvl1pPr>
          </a:lstStyle>
          <a:p>
            <a:pPr defTabSz="912813">
              <a:defRPr/>
            </a:pPr>
            <a:r>
              <a:rPr lang="en-GB" sz="675" dirty="0">
                <a:solidFill>
                  <a:srgbClr val="20242B"/>
                </a:solidFill>
              </a:rPr>
              <a:t>Global Sector Research Specialists (based in India &amp; China) </a:t>
            </a:r>
          </a:p>
        </p:txBody>
      </p:sp>
      <p:sp>
        <p:nvSpPr>
          <p:cNvPr id="671" name="Rectangle 670">
            <a:extLst>
              <a:ext uri="{FF2B5EF4-FFF2-40B4-BE49-F238E27FC236}">
                <a16:creationId xmlns:a16="http://schemas.microsoft.com/office/drawing/2014/main" id="{464B5485-95FF-48C9-ACD7-43A05A18AFEB}"/>
              </a:ext>
            </a:extLst>
          </p:cNvPr>
          <p:cNvSpPr/>
          <p:nvPr/>
        </p:nvSpPr>
        <p:spPr bwMode="auto">
          <a:xfrm>
            <a:off x="7456353" y="3979743"/>
            <a:ext cx="435738" cy="164599"/>
          </a:xfrm>
          <a:prstGeom prst="rect">
            <a:avLst/>
          </a:prstGeom>
          <a:solidFill>
            <a:schemeClr val="accent1">
              <a:alpha val="20000"/>
            </a:schemeClr>
          </a:solidFill>
          <a:ln w="9525" algn="ctr">
            <a:solidFill>
              <a:schemeClr val="accent1"/>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r>
              <a:rPr lang="en-GB" sz="675" b="1" kern="0" dirty="0">
                <a:solidFill>
                  <a:srgbClr val="20242B"/>
                </a:solidFill>
                <a:ea typeface="ＭＳ Ｐゴシック"/>
              </a:rPr>
              <a:t>173</a:t>
            </a:r>
          </a:p>
        </p:txBody>
      </p:sp>
      <p:sp>
        <p:nvSpPr>
          <p:cNvPr id="672" name="TextBox 671">
            <a:extLst>
              <a:ext uri="{FF2B5EF4-FFF2-40B4-BE49-F238E27FC236}">
                <a16:creationId xmlns:a16="http://schemas.microsoft.com/office/drawing/2014/main" id="{5D0068CF-C838-41B4-A478-9E9783ED2C24}"/>
              </a:ext>
            </a:extLst>
          </p:cNvPr>
          <p:cNvSpPr txBox="1"/>
          <p:nvPr/>
        </p:nvSpPr>
        <p:spPr bwMode="auto">
          <a:xfrm>
            <a:off x="4912469" y="4004334"/>
            <a:ext cx="2461667"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000" tIns="0" rIns="27000" bIns="0" rtlCol="0" anchor="b" anchorCtr="0">
            <a:spAutoFit/>
          </a:bodyPr>
          <a:lstStyle/>
          <a:p>
            <a:pPr algn="r" defTabSz="912813" fontAlgn="base">
              <a:spcBef>
                <a:spcPct val="0"/>
              </a:spcBef>
              <a:spcAft>
                <a:spcPct val="0"/>
              </a:spcAft>
              <a:buClr>
                <a:srgbClr val="01286D"/>
              </a:buClr>
              <a:buSzPct val="80000"/>
              <a:buFont typeface="Wingdings" pitchFamily="2" charset="2"/>
              <a:buNone/>
              <a:defRPr/>
            </a:pPr>
            <a:r>
              <a:rPr lang="en-GB" sz="750" b="1" dirty="0">
                <a:solidFill>
                  <a:srgbClr val="2190C2"/>
                </a:solidFill>
                <a:ea typeface="ＭＳ Ｐゴシック" charset="0"/>
              </a:rPr>
              <a:t>Total roles (from regional breakdown):</a:t>
            </a:r>
          </a:p>
        </p:txBody>
      </p:sp>
      <p:sp>
        <p:nvSpPr>
          <p:cNvPr id="720" name="Rectangle 719">
            <a:extLst>
              <a:ext uri="{FF2B5EF4-FFF2-40B4-BE49-F238E27FC236}">
                <a16:creationId xmlns:a16="http://schemas.microsoft.com/office/drawing/2014/main" id="{055DEE97-3160-422F-AA73-59531DC41F77}"/>
              </a:ext>
            </a:extLst>
          </p:cNvPr>
          <p:cNvSpPr/>
          <p:nvPr/>
        </p:nvSpPr>
        <p:spPr bwMode="auto">
          <a:xfrm>
            <a:off x="8090574" y="4193570"/>
            <a:ext cx="693758" cy="164599"/>
          </a:xfrm>
          <a:prstGeom prst="rect">
            <a:avLst/>
          </a:prstGeom>
          <a:solidFill>
            <a:schemeClr val="bg1">
              <a:lumMod val="95000"/>
            </a:schemeClr>
          </a:solidFill>
          <a:ln w="6350" algn="ctr">
            <a:solidFill>
              <a:srgbClr val="A6A6A6"/>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rPr>
              <a:t>3</a:t>
            </a:r>
          </a:p>
        </p:txBody>
      </p:sp>
      <p:sp>
        <p:nvSpPr>
          <p:cNvPr id="721" name="Rectangle 720">
            <a:extLst>
              <a:ext uri="{FF2B5EF4-FFF2-40B4-BE49-F238E27FC236}">
                <a16:creationId xmlns:a16="http://schemas.microsoft.com/office/drawing/2014/main" id="{BDED3A0C-D54F-4381-848D-8B6D382F1834}"/>
              </a:ext>
            </a:extLst>
          </p:cNvPr>
          <p:cNvSpPr/>
          <p:nvPr/>
        </p:nvSpPr>
        <p:spPr bwMode="auto">
          <a:xfrm>
            <a:off x="8090574" y="4407723"/>
            <a:ext cx="693758" cy="164599"/>
          </a:xfrm>
          <a:prstGeom prst="rect">
            <a:avLst/>
          </a:prstGeom>
          <a:solidFill>
            <a:schemeClr val="accent1"/>
          </a:solidFill>
          <a:ln w="9525" algn="ctr">
            <a:solidFill>
              <a:schemeClr val="accent1"/>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750" b="1" kern="0" dirty="0">
                <a:solidFill>
                  <a:srgbClr val="FFFFFF"/>
                </a:solidFill>
                <a:ea typeface="ＭＳ Ｐゴシック"/>
                <a:cs typeface="ＭＳ Ｐゴシック"/>
              </a:rPr>
              <a:t>176</a:t>
            </a:r>
          </a:p>
        </p:txBody>
      </p:sp>
      <p:sp>
        <p:nvSpPr>
          <p:cNvPr id="703" name="Rectangle 13">
            <a:extLst>
              <a:ext uri="{FF2B5EF4-FFF2-40B4-BE49-F238E27FC236}">
                <a16:creationId xmlns:a16="http://schemas.microsoft.com/office/drawing/2014/main" id="{DF5EE88F-D188-452E-B05A-661BA1A46C4E}"/>
              </a:ext>
            </a:extLst>
          </p:cNvPr>
          <p:cNvSpPr>
            <a:spLocks noChangeArrowheads="1"/>
          </p:cNvSpPr>
          <p:nvPr/>
        </p:nvSpPr>
        <p:spPr bwMode="auto">
          <a:xfrm>
            <a:off x="357188" y="3712109"/>
            <a:ext cx="1232280" cy="162000"/>
          </a:xfrm>
          <a:prstGeom prst="rect">
            <a:avLst/>
          </a:prstGeom>
          <a:noFill/>
          <a:ln w="9525">
            <a:noFill/>
            <a:miter lim="800000"/>
            <a:headEnd/>
            <a:tailEnd/>
          </a:ln>
        </p:spPr>
        <p:txBody>
          <a:bodyPr lIns="54000" tIns="0" rIns="0" bIns="0" anchor="ctr" anchorCtr="0"/>
          <a:lstStyle/>
          <a:p>
            <a:pPr defTabSz="912813" fontAlgn="base">
              <a:spcBef>
                <a:spcPct val="0"/>
              </a:spcBef>
              <a:spcAft>
                <a:spcPct val="0"/>
              </a:spcAft>
              <a:defRPr/>
            </a:pPr>
            <a:r>
              <a:rPr lang="en-GB" sz="675" b="1" kern="0" dirty="0">
                <a:solidFill>
                  <a:srgbClr val="20242B"/>
                </a:solidFill>
                <a:ea typeface="Arial Unicode MS" pitchFamily="34" charset="-128"/>
                <a:cs typeface="Arial Unicode MS" pitchFamily="34" charset="-128"/>
              </a:rPr>
              <a:t>Total</a:t>
            </a:r>
          </a:p>
        </p:txBody>
      </p:sp>
      <p:sp>
        <p:nvSpPr>
          <p:cNvPr id="705" name="Rectangle 704">
            <a:extLst>
              <a:ext uri="{FF2B5EF4-FFF2-40B4-BE49-F238E27FC236}">
                <a16:creationId xmlns:a16="http://schemas.microsoft.com/office/drawing/2014/main" id="{4E71BB74-D341-40A3-B67A-624EF6F416D2}"/>
              </a:ext>
            </a:extLst>
          </p:cNvPr>
          <p:cNvSpPr/>
          <p:nvPr/>
        </p:nvSpPr>
        <p:spPr>
          <a:xfrm flipH="1">
            <a:off x="357188" y="3712109"/>
            <a:ext cx="7662971" cy="162000"/>
          </a:xfrm>
          <a:prstGeom prst="rect">
            <a:avLst/>
          </a:prstGeom>
          <a:noFill/>
          <a:ln w="6350">
            <a:solidFill>
              <a:schemeClr val="tx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2813" fontAlgn="base">
              <a:spcBef>
                <a:spcPct val="0"/>
              </a:spcBef>
              <a:spcAft>
                <a:spcPct val="0"/>
              </a:spcAft>
              <a:defRPr/>
            </a:pPr>
            <a:endParaRPr lang="en-GB" sz="1500" b="1">
              <a:solidFill>
                <a:srgbClr val="FFFFFF"/>
              </a:solidFill>
            </a:endParaRPr>
          </a:p>
        </p:txBody>
      </p:sp>
      <p:sp>
        <p:nvSpPr>
          <p:cNvPr id="718" name="Rectangle 717">
            <a:extLst>
              <a:ext uri="{FF2B5EF4-FFF2-40B4-BE49-F238E27FC236}">
                <a16:creationId xmlns:a16="http://schemas.microsoft.com/office/drawing/2014/main" id="{477F7EED-B453-419C-B06D-D9905BB1F79E}"/>
              </a:ext>
            </a:extLst>
          </p:cNvPr>
          <p:cNvSpPr/>
          <p:nvPr/>
        </p:nvSpPr>
        <p:spPr bwMode="auto">
          <a:xfrm>
            <a:off x="8090573" y="4621875"/>
            <a:ext cx="693758" cy="164599"/>
          </a:xfrm>
          <a:prstGeom prst="rect">
            <a:avLst/>
          </a:prstGeom>
          <a:solidFill>
            <a:schemeClr val="bg1">
              <a:lumMod val="95000"/>
            </a:schemeClr>
          </a:solidFill>
          <a:ln w="6350" algn="ctr">
            <a:solidFill>
              <a:srgbClr val="A6A6A6"/>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rPr>
              <a:t>71</a:t>
            </a:r>
          </a:p>
        </p:txBody>
      </p:sp>
      <p:sp>
        <p:nvSpPr>
          <p:cNvPr id="719" name="Rectangle 718">
            <a:extLst>
              <a:ext uri="{FF2B5EF4-FFF2-40B4-BE49-F238E27FC236}">
                <a16:creationId xmlns:a16="http://schemas.microsoft.com/office/drawing/2014/main" id="{F159DA2F-DD93-42E4-A5A6-837B34B6D37D}"/>
              </a:ext>
            </a:extLst>
          </p:cNvPr>
          <p:cNvSpPr/>
          <p:nvPr/>
        </p:nvSpPr>
        <p:spPr bwMode="auto">
          <a:xfrm>
            <a:off x="8090573" y="4836029"/>
            <a:ext cx="693859" cy="164599"/>
          </a:xfrm>
          <a:prstGeom prst="rect">
            <a:avLst/>
          </a:prstGeom>
          <a:solidFill>
            <a:schemeClr val="accent1"/>
          </a:solidFill>
          <a:ln w="9525" algn="ctr">
            <a:solidFill>
              <a:schemeClr val="accent1"/>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FFFFFF"/>
                </a:solidFill>
                <a:ea typeface="ＭＳ Ｐゴシック"/>
                <a:cs typeface="ＭＳ Ｐゴシック"/>
              </a:rPr>
              <a:t>247</a:t>
            </a:r>
          </a:p>
        </p:txBody>
      </p:sp>
      <p:sp>
        <p:nvSpPr>
          <p:cNvPr id="1115" name="TextBox 1114">
            <a:extLst>
              <a:ext uri="{FF2B5EF4-FFF2-40B4-BE49-F238E27FC236}">
                <a16:creationId xmlns:a16="http://schemas.microsoft.com/office/drawing/2014/main" id="{5DF24FF8-7D4E-4197-B79D-76AC89EDE112}"/>
              </a:ext>
            </a:extLst>
          </p:cNvPr>
          <p:cNvSpPr txBox="1"/>
          <p:nvPr/>
        </p:nvSpPr>
        <p:spPr bwMode="auto">
          <a:xfrm>
            <a:off x="5098579" y="4859934"/>
            <a:ext cx="2916296" cy="121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000" tIns="0" rIns="27000" bIns="0" rtlCol="0" anchor="b" anchorCtr="0">
            <a:spAutoFit/>
          </a:bodyPr>
          <a:lstStyle/>
          <a:p>
            <a:pPr algn="r" defTabSz="912813" fontAlgn="base">
              <a:spcBef>
                <a:spcPct val="0"/>
              </a:spcBef>
              <a:spcAft>
                <a:spcPct val="0"/>
              </a:spcAft>
              <a:buClr>
                <a:srgbClr val="01286D"/>
              </a:buClr>
              <a:buSzPct val="80000"/>
              <a:buFont typeface="Wingdings" pitchFamily="2" charset="2"/>
              <a:buNone/>
              <a:defRPr/>
            </a:pPr>
            <a:r>
              <a:rPr lang="en-GB" sz="788" b="1" dirty="0">
                <a:solidFill>
                  <a:srgbClr val="2190C2"/>
                </a:solidFill>
                <a:ea typeface="ＭＳ Ｐゴシック" charset="0"/>
              </a:rPr>
              <a:t>Total Research Professional Headcount:</a:t>
            </a:r>
          </a:p>
        </p:txBody>
      </p:sp>
      <p:sp>
        <p:nvSpPr>
          <p:cNvPr id="395" name="Left Bracket 394">
            <a:extLst>
              <a:ext uri="{FF2B5EF4-FFF2-40B4-BE49-F238E27FC236}">
                <a16:creationId xmlns:a16="http://schemas.microsoft.com/office/drawing/2014/main" id="{E88C9136-F5A0-414E-AE4C-4D1A04D26FD3}"/>
              </a:ext>
            </a:extLst>
          </p:cNvPr>
          <p:cNvSpPr/>
          <p:nvPr/>
        </p:nvSpPr>
        <p:spPr>
          <a:xfrm rot="16200000">
            <a:off x="4624115" y="1342573"/>
            <a:ext cx="62927" cy="5189018"/>
          </a:xfrm>
          <a:prstGeom prst="leftBracket">
            <a:avLst>
              <a:gd name="adj" fmla="val 50788"/>
            </a:avLst>
          </a:prstGeom>
          <a:ln>
            <a:solidFill>
              <a:srgbClr val="00417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algn="ctr" defTabSz="912813" fontAlgn="base">
              <a:spcBef>
                <a:spcPct val="0"/>
              </a:spcBef>
              <a:spcAft>
                <a:spcPct val="0"/>
              </a:spcAft>
              <a:defRPr/>
            </a:pPr>
            <a:endParaRPr lang="en-GB" sz="1500" b="1" dirty="0">
              <a:solidFill>
                <a:srgbClr val="20242B"/>
              </a:solidFill>
            </a:endParaRPr>
          </a:p>
        </p:txBody>
      </p:sp>
      <p:sp>
        <p:nvSpPr>
          <p:cNvPr id="639" name="TextBox 638">
            <a:extLst>
              <a:ext uri="{FF2B5EF4-FFF2-40B4-BE49-F238E27FC236}">
                <a16:creationId xmlns:a16="http://schemas.microsoft.com/office/drawing/2014/main" id="{0A550ABA-4460-4AAB-AC4C-1CD0BCD5B860}"/>
              </a:ext>
            </a:extLst>
          </p:cNvPr>
          <p:cNvSpPr txBox="1"/>
          <p:nvPr/>
        </p:nvSpPr>
        <p:spPr>
          <a:xfrm>
            <a:off x="2232473" y="3007095"/>
            <a:ext cx="329906" cy="300082"/>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endParaRPr lang="en-GB" sz="675" b="1" dirty="0">
              <a:solidFill>
                <a:srgbClr val="20242B"/>
              </a:solidFill>
              <a:ea typeface="ＭＳ Ｐゴシック" charset="0"/>
            </a:endParaRPr>
          </a:p>
          <a:p>
            <a:pPr algn="ctr" defTabSz="912813" fontAlgn="base">
              <a:spcBef>
                <a:spcPct val="0"/>
              </a:spcBef>
              <a:spcAft>
                <a:spcPct val="0"/>
              </a:spcAft>
              <a:defRPr/>
            </a:pPr>
            <a:endParaRPr lang="en-GB" sz="675" b="1" dirty="0">
              <a:solidFill>
                <a:srgbClr val="20242B"/>
              </a:solidFill>
              <a:ea typeface="ＭＳ Ｐゴシック" charset="0"/>
            </a:endParaRPr>
          </a:p>
        </p:txBody>
      </p:sp>
      <p:sp>
        <p:nvSpPr>
          <p:cNvPr id="640" name="TextBox 639">
            <a:extLst>
              <a:ext uri="{FF2B5EF4-FFF2-40B4-BE49-F238E27FC236}">
                <a16:creationId xmlns:a16="http://schemas.microsoft.com/office/drawing/2014/main" id="{48C32D1B-272B-4A80-8078-A328E15E8EC2}"/>
              </a:ext>
            </a:extLst>
          </p:cNvPr>
          <p:cNvSpPr txBox="1"/>
          <p:nvPr/>
        </p:nvSpPr>
        <p:spPr>
          <a:xfrm>
            <a:off x="2268191" y="3052083"/>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4</a:t>
            </a:r>
          </a:p>
        </p:txBody>
      </p:sp>
      <p:sp>
        <p:nvSpPr>
          <p:cNvPr id="641" name="TextBox 640">
            <a:extLst>
              <a:ext uri="{FF2B5EF4-FFF2-40B4-BE49-F238E27FC236}">
                <a16:creationId xmlns:a16="http://schemas.microsoft.com/office/drawing/2014/main" id="{C584D016-2955-430B-8CF4-3AB22CEF156E}"/>
              </a:ext>
            </a:extLst>
          </p:cNvPr>
          <p:cNvSpPr txBox="1"/>
          <p:nvPr/>
        </p:nvSpPr>
        <p:spPr>
          <a:xfrm>
            <a:off x="2212858" y="2839174"/>
            <a:ext cx="369137"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16</a:t>
            </a:r>
          </a:p>
        </p:txBody>
      </p:sp>
      <p:sp>
        <p:nvSpPr>
          <p:cNvPr id="642" name="TextBox 641">
            <a:extLst>
              <a:ext uri="{FF2B5EF4-FFF2-40B4-BE49-F238E27FC236}">
                <a16:creationId xmlns:a16="http://schemas.microsoft.com/office/drawing/2014/main" id="{CE9C860C-AB2B-41D0-A4B8-1EE06B1B395A}"/>
              </a:ext>
            </a:extLst>
          </p:cNvPr>
          <p:cNvSpPr txBox="1"/>
          <p:nvPr/>
        </p:nvSpPr>
        <p:spPr>
          <a:xfrm>
            <a:off x="2268191" y="3262080"/>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a:t>
            </a:r>
          </a:p>
        </p:txBody>
      </p:sp>
      <p:sp>
        <p:nvSpPr>
          <p:cNvPr id="643" name="TextBox 642">
            <a:extLst>
              <a:ext uri="{FF2B5EF4-FFF2-40B4-BE49-F238E27FC236}">
                <a16:creationId xmlns:a16="http://schemas.microsoft.com/office/drawing/2014/main" id="{D82C0B1B-45BC-4E93-AA6A-87894B3175BF}"/>
              </a:ext>
            </a:extLst>
          </p:cNvPr>
          <p:cNvSpPr txBox="1"/>
          <p:nvPr/>
        </p:nvSpPr>
        <p:spPr>
          <a:xfrm>
            <a:off x="2268191" y="3474945"/>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7</a:t>
            </a:r>
          </a:p>
        </p:txBody>
      </p:sp>
      <p:sp>
        <p:nvSpPr>
          <p:cNvPr id="644" name="TextBox 643">
            <a:extLst>
              <a:ext uri="{FF2B5EF4-FFF2-40B4-BE49-F238E27FC236}">
                <a16:creationId xmlns:a16="http://schemas.microsoft.com/office/drawing/2014/main" id="{7684B465-E397-45D0-B713-1F2E67DCFF5A}"/>
              </a:ext>
            </a:extLst>
          </p:cNvPr>
          <p:cNvSpPr txBox="1"/>
          <p:nvPr/>
        </p:nvSpPr>
        <p:spPr>
          <a:xfrm>
            <a:off x="2268193" y="2626152"/>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629" name="TextBox 628">
            <a:extLst>
              <a:ext uri="{FF2B5EF4-FFF2-40B4-BE49-F238E27FC236}">
                <a16:creationId xmlns:a16="http://schemas.microsoft.com/office/drawing/2014/main" id="{38368EF0-210B-4A38-B70F-B33A9668BF50}"/>
              </a:ext>
            </a:extLst>
          </p:cNvPr>
          <p:cNvSpPr txBox="1"/>
          <p:nvPr/>
        </p:nvSpPr>
        <p:spPr>
          <a:xfrm>
            <a:off x="3021431" y="3052083"/>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a:t>
            </a:r>
          </a:p>
        </p:txBody>
      </p:sp>
      <p:sp>
        <p:nvSpPr>
          <p:cNvPr id="630" name="TextBox 629">
            <a:extLst>
              <a:ext uri="{FF2B5EF4-FFF2-40B4-BE49-F238E27FC236}">
                <a16:creationId xmlns:a16="http://schemas.microsoft.com/office/drawing/2014/main" id="{AF834642-B256-4621-A618-8FEC48D74BE8}"/>
              </a:ext>
            </a:extLst>
          </p:cNvPr>
          <p:cNvSpPr txBox="1"/>
          <p:nvPr/>
        </p:nvSpPr>
        <p:spPr>
          <a:xfrm>
            <a:off x="2985713" y="2839174"/>
            <a:ext cx="329906"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12</a:t>
            </a:r>
          </a:p>
        </p:txBody>
      </p:sp>
      <p:sp>
        <p:nvSpPr>
          <p:cNvPr id="631" name="TextBox 630">
            <a:extLst>
              <a:ext uri="{FF2B5EF4-FFF2-40B4-BE49-F238E27FC236}">
                <a16:creationId xmlns:a16="http://schemas.microsoft.com/office/drawing/2014/main" id="{40284267-5B01-473F-A962-C48A6D7E0D4E}"/>
              </a:ext>
            </a:extLst>
          </p:cNvPr>
          <p:cNvSpPr txBox="1"/>
          <p:nvPr/>
        </p:nvSpPr>
        <p:spPr>
          <a:xfrm>
            <a:off x="3021431" y="3262080"/>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a:t>
            </a:r>
          </a:p>
        </p:txBody>
      </p:sp>
      <p:sp>
        <p:nvSpPr>
          <p:cNvPr id="632" name="TextBox 631">
            <a:extLst>
              <a:ext uri="{FF2B5EF4-FFF2-40B4-BE49-F238E27FC236}">
                <a16:creationId xmlns:a16="http://schemas.microsoft.com/office/drawing/2014/main" id="{7DACBC85-49D8-44C8-8C84-9A1ED870B6ED}"/>
              </a:ext>
            </a:extLst>
          </p:cNvPr>
          <p:cNvSpPr txBox="1"/>
          <p:nvPr/>
        </p:nvSpPr>
        <p:spPr>
          <a:xfrm>
            <a:off x="3021433" y="3474945"/>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633" name="TextBox 632">
            <a:extLst>
              <a:ext uri="{FF2B5EF4-FFF2-40B4-BE49-F238E27FC236}">
                <a16:creationId xmlns:a16="http://schemas.microsoft.com/office/drawing/2014/main" id="{0D62AC44-52F9-4987-9FA7-55B5CC6B905C}"/>
              </a:ext>
            </a:extLst>
          </p:cNvPr>
          <p:cNvSpPr txBox="1"/>
          <p:nvPr/>
        </p:nvSpPr>
        <p:spPr>
          <a:xfrm>
            <a:off x="3021433" y="2626152"/>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645" name="TextBox 644">
            <a:extLst>
              <a:ext uri="{FF2B5EF4-FFF2-40B4-BE49-F238E27FC236}">
                <a16:creationId xmlns:a16="http://schemas.microsoft.com/office/drawing/2014/main" id="{8107FAAF-47C4-4537-A028-3857ABDDBF0F}"/>
              </a:ext>
            </a:extLst>
          </p:cNvPr>
          <p:cNvSpPr txBox="1"/>
          <p:nvPr/>
        </p:nvSpPr>
        <p:spPr>
          <a:xfrm>
            <a:off x="3774722" y="3052083"/>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1</a:t>
            </a:r>
          </a:p>
        </p:txBody>
      </p:sp>
      <p:sp>
        <p:nvSpPr>
          <p:cNvPr id="646" name="TextBox 645">
            <a:extLst>
              <a:ext uri="{FF2B5EF4-FFF2-40B4-BE49-F238E27FC236}">
                <a16:creationId xmlns:a16="http://schemas.microsoft.com/office/drawing/2014/main" id="{5AB6BB27-9535-4429-8A95-1930912091B6}"/>
              </a:ext>
            </a:extLst>
          </p:cNvPr>
          <p:cNvSpPr txBox="1"/>
          <p:nvPr/>
        </p:nvSpPr>
        <p:spPr>
          <a:xfrm>
            <a:off x="3774722" y="2839174"/>
            <a:ext cx="258469"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5</a:t>
            </a:r>
          </a:p>
        </p:txBody>
      </p:sp>
      <p:sp>
        <p:nvSpPr>
          <p:cNvPr id="647" name="TextBox 646">
            <a:extLst>
              <a:ext uri="{FF2B5EF4-FFF2-40B4-BE49-F238E27FC236}">
                <a16:creationId xmlns:a16="http://schemas.microsoft.com/office/drawing/2014/main" id="{9E9B86D7-28A4-474F-8ABC-9A7E940552CE}"/>
              </a:ext>
            </a:extLst>
          </p:cNvPr>
          <p:cNvSpPr txBox="1"/>
          <p:nvPr/>
        </p:nvSpPr>
        <p:spPr>
          <a:xfrm>
            <a:off x="3774722" y="3262080"/>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0</a:t>
            </a:r>
          </a:p>
        </p:txBody>
      </p:sp>
      <p:sp>
        <p:nvSpPr>
          <p:cNvPr id="648" name="TextBox 647">
            <a:extLst>
              <a:ext uri="{FF2B5EF4-FFF2-40B4-BE49-F238E27FC236}">
                <a16:creationId xmlns:a16="http://schemas.microsoft.com/office/drawing/2014/main" id="{E1626A46-9752-464D-BD0A-D9EA91DD3C9A}"/>
              </a:ext>
            </a:extLst>
          </p:cNvPr>
          <p:cNvSpPr txBox="1"/>
          <p:nvPr/>
        </p:nvSpPr>
        <p:spPr>
          <a:xfrm>
            <a:off x="3774724" y="3474945"/>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5</a:t>
            </a:r>
          </a:p>
        </p:txBody>
      </p:sp>
      <p:sp>
        <p:nvSpPr>
          <p:cNvPr id="649" name="TextBox 648">
            <a:extLst>
              <a:ext uri="{FF2B5EF4-FFF2-40B4-BE49-F238E27FC236}">
                <a16:creationId xmlns:a16="http://schemas.microsoft.com/office/drawing/2014/main" id="{9ACF6940-326C-42B5-8F55-BDA1764ED450}"/>
              </a:ext>
            </a:extLst>
          </p:cNvPr>
          <p:cNvSpPr txBox="1"/>
          <p:nvPr/>
        </p:nvSpPr>
        <p:spPr>
          <a:xfrm>
            <a:off x="3774724" y="2626152"/>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3</a:t>
            </a:r>
          </a:p>
        </p:txBody>
      </p:sp>
      <p:sp>
        <p:nvSpPr>
          <p:cNvPr id="655" name="TextBox 654">
            <a:extLst>
              <a:ext uri="{FF2B5EF4-FFF2-40B4-BE49-F238E27FC236}">
                <a16:creationId xmlns:a16="http://schemas.microsoft.com/office/drawing/2014/main" id="{612698C3-566E-4463-819E-346E844557D7}"/>
              </a:ext>
            </a:extLst>
          </p:cNvPr>
          <p:cNvSpPr txBox="1"/>
          <p:nvPr/>
        </p:nvSpPr>
        <p:spPr>
          <a:xfrm>
            <a:off x="4466245" y="3052083"/>
            <a:ext cx="382104"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656" name="TextBox 655">
            <a:extLst>
              <a:ext uri="{FF2B5EF4-FFF2-40B4-BE49-F238E27FC236}">
                <a16:creationId xmlns:a16="http://schemas.microsoft.com/office/drawing/2014/main" id="{AC4266D4-A40E-4C9B-8AF7-E66B059632AC}"/>
              </a:ext>
            </a:extLst>
          </p:cNvPr>
          <p:cNvSpPr txBox="1"/>
          <p:nvPr/>
        </p:nvSpPr>
        <p:spPr>
          <a:xfrm>
            <a:off x="4492345" y="2839174"/>
            <a:ext cx="329906"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14</a:t>
            </a:r>
          </a:p>
        </p:txBody>
      </p:sp>
      <p:sp>
        <p:nvSpPr>
          <p:cNvPr id="657" name="TextBox 656">
            <a:extLst>
              <a:ext uri="{FF2B5EF4-FFF2-40B4-BE49-F238E27FC236}">
                <a16:creationId xmlns:a16="http://schemas.microsoft.com/office/drawing/2014/main" id="{F129C562-8C11-4F9F-880E-11C154B668E7}"/>
              </a:ext>
            </a:extLst>
          </p:cNvPr>
          <p:cNvSpPr txBox="1"/>
          <p:nvPr/>
        </p:nvSpPr>
        <p:spPr>
          <a:xfrm>
            <a:off x="4528063" y="3262080"/>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1</a:t>
            </a:r>
          </a:p>
        </p:txBody>
      </p:sp>
      <p:sp>
        <p:nvSpPr>
          <p:cNvPr id="658" name="TextBox 657">
            <a:extLst>
              <a:ext uri="{FF2B5EF4-FFF2-40B4-BE49-F238E27FC236}">
                <a16:creationId xmlns:a16="http://schemas.microsoft.com/office/drawing/2014/main" id="{CDDF890E-A74A-4A82-932D-F1FEAF54E5AC}"/>
              </a:ext>
            </a:extLst>
          </p:cNvPr>
          <p:cNvSpPr txBox="1"/>
          <p:nvPr/>
        </p:nvSpPr>
        <p:spPr>
          <a:xfrm>
            <a:off x="4528063" y="3474945"/>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659" name="TextBox 658">
            <a:extLst>
              <a:ext uri="{FF2B5EF4-FFF2-40B4-BE49-F238E27FC236}">
                <a16:creationId xmlns:a16="http://schemas.microsoft.com/office/drawing/2014/main" id="{EDBEDC1D-A499-4754-B87D-D1CFC17332F7}"/>
              </a:ext>
            </a:extLst>
          </p:cNvPr>
          <p:cNvSpPr txBox="1"/>
          <p:nvPr/>
        </p:nvSpPr>
        <p:spPr>
          <a:xfrm>
            <a:off x="4492345" y="2626152"/>
            <a:ext cx="329906"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8</a:t>
            </a:r>
          </a:p>
        </p:txBody>
      </p:sp>
      <p:sp>
        <p:nvSpPr>
          <p:cNvPr id="650" name="TextBox 649">
            <a:extLst>
              <a:ext uri="{FF2B5EF4-FFF2-40B4-BE49-F238E27FC236}">
                <a16:creationId xmlns:a16="http://schemas.microsoft.com/office/drawing/2014/main" id="{9B5BC310-A509-4F64-9AAE-FFCB451922D6}"/>
              </a:ext>
            </a:extLst>
          </p:cNvPr>
          <p:cNvSpPr txBox="1"/>
          <p:nvPr/>
        </p:nvSpPr>
        <p:spPr>
          <a:xfrm>
            <a:off x="5227576" y="3052083"/>
            <a:ext cx="36622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0</a:t>
            </a:r>
          </a:p>
        </p:txBody>
      </p:sp>
      <p:sp>
        <p:nvSpPr>
          <p:cNvPr id="651" name="TextBox 650">
            <a:extLst>
              <a:ext uri="{FF2B5EF4-FFF2-40B4-BE49-F238E27FC236}">
                <a16:creationId xmlns:a16="http://schemas.microsoft.com/office/drawing/2014/main" id="{C99B770D-B9D2-4C74-9358-85E1C804E27E}"/>
              </a:ext>
            </a:extLst>
          </p:cNvPr>
          <p:cNvSpPr txBox="1"/>
          <p:nvPr/>
        </p:nvSpPr>
        <p:spPr>
          <a:xfrm>
            <a:off x="5245733" y="2839174"/>
            <a:ext cx="329906"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8</a:t>
            </a:r>
          </a:p>
        </p:txBody>
      </p:sp>
      <p:sp>
        <p:nvSpPr>
          <p:cNvPr id="652" name="TextBox 651">
            <a:extLst>
              <a:ext uri="{FF2B5EF4-FFF2-40B4-BE49-F238E27FC236}">
                <a16:creationId xmlns:a16="http://schemas.microsoft.com/office/drawing/2014/main" id="{A0CD62C9-7027-40C9-AC94-3755A920496B}"/>
              </a:ext>
            </a:extLst>
          </p:cNvPr>
          <p:cNvSpPr txBox="1"/>
          <p:nvPr/>
        </p:nvSpPr>
        <p:spPr>
          <a:xfrm>
            <a:off x="5281449" y="3262080"/>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a:t>
            </a:r>
          </a:p>
        </p:txBody>
      </p:sp>
      <p:sp>
        <p:nvSpPr>
          <p:cNvPr id="653" name="TextBox 652">
            <a:extLst>
              <a:ext uri="{FF2B5EF4-FFF2-40B4-BE49-F238E27FC236}">
                <a16:creationId xmlns:a16="http://schemas.microsoft.com/office/drawing/2014/main" id="{72538330-FB75-45AD-9921-D6F8908E8006}"/>
              </a:ext>
            </a:extLst>
          </p:cNvPr>
          <p:cNvSpPr txBox="1"/>
          <p:nvPr/>
        </p:nvSpPr>
        <p:spPr>
          <a:xfrm>
            <a:off x="5281450" y="3474945"/>
            <a:ext cx="25846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5</a:t>
            </a:r>
          </a:p>
        </p:txBody>
      </p:sp>
      <p:sp>
        <p:nvSpPr>
          <p:cNvPr id="654" name="TextBox 653">
            <a:extLst>
              <a:ext uri="{FF2B5EF4-FFF2-40B4-BE49-F238E27FC236}">
                <a16:creationId xmlns:a16="http://schemas.microsoft.com/office/drawing/2014/main" id="{FC3648CE-E666-4CDC-A4D5-03450BCF2EAC}"/>
              </a:ext>
            </a:extLst>
          </p:cNvPr>
          <p:cNvSpPr txBox="1"/>
          <p:nvPr/>
        </p:nvSpPr>
        <p:spPr>
          <a:xfrm>
            <a:off x="5281449" y="2626152"/>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5</a:t>
            </a:r>
          </a:p>
        </p:txBody>
      </p:sp>
      <p:sp>
        <p:nvSpPr>
          <p:cNvPr id="634" name="TextBox 633">
            <a:extLst>
              <a:ext uri="{FF2B5EF4-FFF2-40B4-BE49-F238E27FC236}">
                <a16:creationId xmlns:a16="http://schemas.microsoft.com/office/drawing/2014/main" id="{D6ADCC78-00FF-4FB1-9390-FBF337A44978}"/>
              </a:ext>
            </a:extLst>
          </p:cNvPr>
          <p:cNvSpPr txBox="1"/>
          <p:nvPr/>
        </p:nvSpPr>
        <p:spPr>
          <a:xfrm>
            <a:off x="6034889" y="3052083"/>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4</a:t>
            </a:r>
          </a:p>
        </p:txBody>
      </p:sp>
      <p:sp>
        <p:nvSpPr>
          <p:cNvPr id="635" name="TextBox 634">
            <a:extLst>
              <a:ext uri="{FF2B5EF4-FFF2-40B4-BE49-F238E27FC236}">
                <a16:creationId xmlns:a16="http://schemas.microsoft.com/office/drawing/2014/main" id="{C311D5F4-AAA5-4B4D-9854-ED34F827A604}"/>
              </a:ext>
            </a:extLst>
          </p:cNvPr>
          <p:cNvSpPr txBox="1"/>
          <p:nvPr/>
        </p:nvSpPr>
        <p:spPr>
          <a:xfrm>
            <a:off x="5925303" y="2838340"/>
            <a:ext cx="481070"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15</a:t>
            </a:r>
          </a:p>
        </p:txBody>
      </p:sp>
      <p:sp>
        <p:nvSpPr>
          <p:cNvPr id="636" name="TextBox 635">
            <a:extLst>
              <a:ext uri="{FF2B5EF4-FFF2-40B4-BE49-F238E27FC236}">
                <a16:creationId xmlns:a16="http://schemas.microsoft.com/office/drawing/2014/main" id="{81DDD8AF-A5F3-47C3-8D3B-45188CE77662}"/>
              </a:ext>
            </a:extLst>
          </p:cNvPr>
          <p:cNvSpPr txBox="1"/>
          <p:nvPr/>
        </p:nvSpPr>
        <p:spPr>
          <a:xfrm>
            <a:off x="6034891" y="3262081"/>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1</a:t>
            </a:r>
          </a:p>
        </p:txBody>
      </p:sp>
      <p:sp>
        <p:nvSpPr>
          <p:cNvPr id="637" name="TextBox 636">
            <a:extLst>
              <a:ext uri="{FF2B5EF4-FFF2-40B4-BE49-F238E27FC236}">
                <a16:creationId xmlns:a16="http://schemas.microsoft.com/office/drawing/2014/main" id="{672CF2D6-AE59-4921-99A6-148884E67B97}"/>
              </a:ext>
            </a:extLst>
          </p:cNvPr>
          <p:cNvSpPr txBox="1"/>
          <p:nvPr/>
        </p:nvSpPr>
        <p:spPr>
          <a:xfrm>
            <a:off x="6034889" y="3474946"/>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9</a:t>
            </a:r>
          </a:p>
        </p:txBody>
      </p:sp>
      <p:sp>
        <p:nvSpPr>
          <p:cNvPr id="638" name="TextBox 637">
            <a:extLst>
              <a:ext uri="{FF2B5EF4-FFF2-40B4-BE49-F238E27FC236}">
                <a16:creationId xmlns:a16="http://schemas.microsoft.com/office/drawing/2014/main" id="{C9F69B06-17A9-482D-8373-BD664495211F}"/>
              </a:ext>
            </a:extLst>
          </p:cNvPr>
          <p:cNvSpPr txBox="1"/>
          <p:nvPr/>
        </p:nvSpPr>
        <p:spPr>
          <a:xfrm>
            <a:off x="6034889" y="2626152"/>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5</a:t>
            </a:r>
          </a:p>
        </p:txBody>
      </p:sp>
      <p:sp>
        <p:nvSpPr>
          <p:cNvPr id="660" name="TextBox 659">
            <a:extLst>
              <a:ext uri="{FF2B5EF4-FFF2-40B4-BE49-F238E27FC236}">
                <a16:creationId xmlns:a16="http://schemas.microsoft.com/office/drawing/2014/main" id="{D9DB4BA2-A1EA-4FA8-A0A5-0D6321DEC15F}"/>
              </a:ext>
            </a:extLst>
          </p:cNvPr>
          <p:cNvSpPr txBox="1"/>
          <p:nvPr/>
        </p:nvSpPr>
        <p:spPr>
          <a:xfrm>
            <a:off x="6788381" y="3052083"/>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0</a:t>
            </a:r>
          </a:p>
        </p:txBody>
      </p:sp>
      <p:sp>
        <p:nvSpPr>
          <p:cNvPr id="661" name="TextBox 660">
            <a:extLst>
              <a:ext uri="{FF2B5EF4-FFF2-40B4-BE49-F238E27FC236}">
                <a16:creationId xmlns:a16="http://schemas.microsoft.com/office/drawing/2014/main" id="{E2516F6E-02CA-4975-B751-DEE82FCCE14E}"/>
              </a:ext>
            </a:extLst>
          </p:cNvPr>
          <p:cNvSpPr txBox="1"/>
          <p:nvPr/>
        </p:nvSpPr>
        <p:spPr>
          <a:xfrm>
            <a:off x="6788381" y="2839174"/>
            <a:ext cx="258471" cy="196208"/>
          </a:xfrm>
          <a:prstGeom prst="rect">
            <a:avLst/>
          </a:prstGeom>
          <a:noFill/>
          <a:ln w="9525">
            <a:noFill/>
          </a:ln>
        </p:spPr>
        <p:txBody>
          <a:bodyPr wrap="square" lIns="0" rIns="0" rtlCol="0" anchor="ctr" anchorCtr="0">
            <a:spAutoFit/>
          </a:bodyPr>
          <a:lstStyle>
            <a:defPPr>
              <a:defRPr lang="en-US"/>
            </a:defPPr>
            <a:lvl1pPr algn="ctr" defTabSz="914400" fontAlgn="auto">
              <a:spcBef>
                <a:spcPts val="0"/>
              </a:spcBef>
              <a:spcAft>
                <a:spcPts val="0"/>
              </a:spcAft>
              <a:defRPr sz="1000" b="0">
                <a:latin typeface="Arial"/>
              </a:defRPr>
            </a:lvl1pPr>
          </a:lstStyle>
          <a:p>
            <a:pPr>
              <a:defRPr/>
            </a:pPr>
            <a:r>
              <a:rPr lang="en-GB" sz="675" dirty="0">
                <a:solidFill>
                  <a:srgbClr val="20242B"/>
                </a:solidFill>
                <a:ea typeface="ＭＳ Ｐゴシック" charset="0"/>
              </a:rPr>
              <a:t>4</a:t>
            </a:r>
          </a:p>
        </p:txBody>
      </p:sp>
      <p:sp>
        <p:nvSpPr>
          <p:cNvPr id="662" name="TextBox 661">
            <a:extLst>
              <a:ext uri="{FF2B5EF4-FFF2-40B4-BE49-F238E27FC236}">
                <a16:creationId xmlns:a16="http://schemas.microsoft.com/office/drawing/2014/main" id="{D988E426-7A41-4DBC-9DCA-9701B3EBFD42}"/>
              </a:ext>
            </a:extLst>
          </p:cNvPr>
          <p:cNvSpPr txBox="1"/>
          <p:nvPr/>
        </p:nvSpPr>
        <p:spPr>
          <a:xfrm>
            <a:off x="6788381" y="3262081"/>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0</a:t>
            </a:r>
          </a:p>
        </p:txBody>
      </p:sp>
      <p:sp>
        <p:nvSpPr>
          <p:cNvPr id="663" name="TextBox 662">
            <a:extLst>
              <a:ext uri="{FF2B5EF4-FFF2-40B4-BE49-F238E27FC236}">
                <a16:creationId xmlns:a16="http://schemas.microsoft.com/office/drawing/2014/main" id="{CBD8CC61-EBC1-40CF-B174-92504A360919}"/>
              </a:ext>
            </a:extLst>
          </p:cNvPr>
          <p:cNvSpPr txBox="1"/>
          <p:nvPr/>
        </p:nvSpPr>
        <p:spPr>
          <a:xfrm>
            <a:off x="6788381" y="3474946"/>
            <a:ext cx="258471"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1</a:t>
            </a:r>
          </a:p>
        </p:txBody>
      </p:sp>
      <p:sp>
        <p:nvSpPr>
          <p:cNvPr id="664" name="TextBox 663">
            <a:extLst>
              <a:ext uri="{FF2B5EF4-FFF2-40B4-BE49-F238E27FC236}">
                <a16:creationId xmlns:a16="http://schemas.microsoft.com/office/drawing/2014/main" id="{C2B8E8A7-A940-4A40-8B7A-E47EF3F03FAF}"/>
              </a:ext>
            </a:extLst>
          </p:cNvPr>
          <p:cNvSpPr txBox="1"/>
          <p:nvPr/>
        </p:nvSpPr>
        <p:spPr>
          <a:xfrm>
            <a:off x="6788384" y="2626152"/>
            <a:ext cx="258470"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a:t>
            </a:r>
          </a:p>
        </p:txBody>
      </p:sp>
      <p:sp>
        <p:nvSpPr>
          <p:cNvPr id="448" name="TextBox 447">
            <a:extLst>
              <a:ext uri="{FF2B5EF4-FFF2-40B4-BE49-F238E27FC236}">
                <a16:creationId xmlns:a16="http://schemas.microsoft.com/office/drawing/2014/main" id="{DF9A3007-E48C-429B-AE96-1C6CF8329294}"/>
              </a:ext>
            </a:extLst>
          </p:cNvPr>
          <p:cNvSpPr txBox="1"/>
          <p:nvPr/>
        </p:nvSpPr>
        <p:spPr>
          <a:xfrm>
            <a:off x="7319305" y="2644723"/>
            <a:ext cx="701606" cy="1008116"/>
          </a:xfrm>
          <a:prstGeom prst="rect">
            <a:avLst/>
          </a:prstGeom>
          <a:solidFill>
            <a:srgbClr val="FFFFFF">
              <a:alpha val="65098"/>
            </a:srgbClr>
          </a:solidFill>
          <a:ln w="6350">
            <a:solidFill>
              <a:schemeClr val="bg1">
                <a:lumMod val="75000"/>
              </a:schemeClr>
            </a:solidFill>
          </a:ln>
        </p:spPr>
        <p:txBody>
          <a:bodyPr wrap="square" lIns="0" rIns="0" rtlCol="0" anchor="ctr">
            <a:noAutofit/>
          </a:bodyPr>
          <a:lstStyle/>
          <a:p>
            <a:pPr algn="ctr" defTabSz="912813" fontAlgn="base">
              <a:spcBef>
                <a:spcPct val="0"/>
              </a:spcBef>
              <a:spcAft>
                <a:spcPct val="0"/>
              </a:spcAft>
              <a:defRPr/>
            </a:pPr>
            <a:r>
              <a:rPr lang="en-GB" sz="675" b="1" dirty="0">
                <a:solidFill>
                  <a:srgbClr val="20242B"/>
                </a:solidFill>
                <a:ea typeface="ＭＳ Ｐゴシック" charset="0"/>
              </a:rPr>
              <a:t>4</a:t>
            </a:r>
            <a:br>
              <a:rPr lang="en-GB" sz="675" b="1" dirty="0">
                <a:solidFill>
                  <a:srgbClr val="20242B"/>
                </a:solidFill>
                <a:ea typeface="ＭＳ Ｐゴシック" charset="0"/>
              </a:rPr>
            </a:br>
            <a:r>
              <a:rPr lang="en-GB" sz="675" b="1" dirty="0">
                <a:solidFill>
                  <a:srgbClr val="20242B"/>
                </a:solidFill>
                <a:ea typeface="ＭＳ Ｐゴシック" charset="0"/>
              </a:rPr>
              <a:t>Analysts</a:t>
            </a:r>
          </a:p>
        </p:txBody>
      </p:sp>
      <p:sp>
        <p:nvSpPr>
          <p:cNvPr id="423" name="Rectangle 5">
            <a:extLst>
              <a:ext uri="{FF2B5EF4-FFF2-40B4-BE49-F238E27FC236}">
                <a16:creationId xmlns:a16="http://schemas.microsoft.com/office/drawing/2014/main" id="{0BA6AB5B-921C-4655-B4FE-274C0F623948}"/>
              </a:ext>
            </a:extLst>
          </p:cNvPr>
          <p:cNvSpPr>
            <a:spLocks noChangeArrowheads="1"/>
          </p:cNvSpPr>
          <p:nvPr/>
        </p:nvSpPr>
        <p:spPr bwMode="auto">
          <a:xfrm>
            <a:off x="7907912" y="2628433"/>
            <a:ext cx="700995" cy="1268015"/>
          </a:xfrm>
          <a:prstGeom prst="rect">
            <a:avLst/>
          </a:prstGeom>
          <a:solidFill>
            <a:schemeClr val="accent1">
              <a:lumMod val="20000"/>
              <a:lumOff val="80000"/>
              <a:alpha val="20000"/>
            </a:schemeClr>
          </a:solidFill>
          <a:ln w="6350" algn="ctr">
            <a:noFill/>
            <a:miter lim="800000"/>
            <a:headEnd/>
            <a:tailEnd/>
          </a:ln>
        </p:spPr>
        <p:txBody>
          <a:bodyPr lIns="0" rIns="0" anchor="ctr"/>
          <a:lstStyle/>
          <a:p>
            <a:pPr defTabSz="912813" eaLnBrk="0" fontAlgn="base" hangingPunct="0">
              <a:lnSpc>
                <a:spcPct val="110000"/>
              </a:lnSpc>
              <a:spcBef>
                <a:spcPct val="0"/>
              </a:spcBef>
              <a:spcAft>
                <a:spcPct val="0"/>
              </a:spcAft>
              <a:buClr>
                <a:srgbClr val="01286D"/>
              </a:buClr>
              <a:buSzPct val="80000"/>
              <a:defRPr/>
            </a:pPr>
            <a:endParaRPr lang="en-GB" sz="750" b="1" kern="0" dirty="0">
              <a:solidFill>
                <a:srgbClr val="FFFFFF"/>
              </a:solidFill>
              <a:ea typeface="ＭＳ Ｐゴシック"/>
            </a:endParaRPr>
          </a:p>
        </p:txBody>
      </p:sp>
      <p:sp>
        <p:nvSpPr>
          <p:cNvPr id="425" name="Rectangle 424">
            <a:extLst>
              <a:ext uri="{FF2B5EF4-FFF2-40B4-BE49-F238E27FC236}">
                <a16:creationId xmlns:a16="http://schemas.microsoft.com/office/drawing/2014/main" id="{E03140B0-5D8F-4B93-9F49-7EA2A404611D}"/>
              </a:ext>
            </a:extLst>
          </p:cNvPr>
          <p:cNvSpPr/>
          <p:nvPr/>
        </p:nvSpPr>
        <p:spPr bwMode="auto">
          <a:xfrm>
            <a:off x="8096783" y="3712109"/>
            <a:ext cx="686444" cy="162000"/>
          </a:xfrm>
          <a:prstGeom prst="rect">
            <a:avLst/>
          </a:prstGeom>
          <a:solidFill>
            <a:schemeClr val="accent1"/>
          </a:solid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FFFFFF"/>
                </a:solidFill>
                <a:ea typeface="ＭＳ Ｐゴシック"/>
                <a:cs typeface="ＭＳ Ｐゴシック"/>
              </a:rPr>
              <a:t>173*</a:t>
            </a:r>
          </a:p>
        </p:txBody>
      </p:sp>
      <p:sp>
        <p:nvSpPr>
          <p:cNvPr id="424" name="TextBox 423">
            <a:extLst>
              <a:ext uri="{FF2B5EF4-FFF2-40B4-BE49-F238E27FC236}">
                <a16:creationId xmlns:a16="http://schemas.microsoft.com/office/drawing/2014/main" id="{3102D0F1-9679-4E13-A8E6-49069E0F4C72}"/>
              </a:ext>
            </a:extLst>
          </p:cNvPr>
          <p:cNvSpPr txBox="1"/>
          <p:nvPr/>
        </p:nvSpPr>
        <p:spPr>
          <a:xfrm>
            <a:off x="8247067" y="3262080"/>
            <a:ext cx="329907"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6</a:t>
            </a:r>
          </a:p>
        </p:txBody>
      </p:sp>
      <p:sp>
        <p:nvSpPr>
          <p:cNvPr id="427" name="TextBox 426">
            <a:extLst>
              <a:ext uri="{FF2B5EF4-FFF2-40B4-BE49-F238E27FC236}">
                <a16:creationId xmlns:a16="http://schemas.microsoft.com/office/drawing/2014/main" id="{3038B10E-F65C-4532-B2D3-A761BCE09D13}"/>
              </a:ext>
            </a:extLst>
          </p:cNvPr>
          <p:cNvSpPr txBox="1"/>
          <p:nvPr/>
        </p:nvSpPr>
        <p:spPr>
          <a:xfrm>
            <a:off x="8247067" y="2626153"/>
            <a:ext cx="329907"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32</a:t>
            </a:r>
          </a:p>
        </p:txBody>
      </p:sp>
      <p:sp>
        <p:nvSpPr>
          <p:cNvPr id="428" name="TextBox 427">
            <a:extLst>
              <a:ext uri="{FF2B5EF4-FFF2-40B4-BE49-F238E27FC236}">
                <a16:creationId xmlns:a16="http://schemas.microsoft.com/office/drawing/2014/main" id="{7CD24AE1-4F0C-4F5B-9BF5-9A4AD9545C5B}"/>
              </a:ext>
            </a:extLst>
          </p:cNvPr>
          <p:cNvSpPr txBox="1"/>
          <p:nvPr/>
        </p:nvSpPr>
        <p:spPr>
          <a:xfrm>
            <a:off x="8247067" y="3474946"/>
            <a:ext cx="329907"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38</a:t>
            </a:r>
          </a:p>
        </p:txBody>
      </p:sp>
      <p:sp>
        <p:nvSpPr>
          <p:cNvPr id="374" name="Rectangle 8">
            <a:extLst>
              <a:ext uri="{FF2B5EF4-FFF2-40B4-BE49-F238E27FC236}">
                <a16:creationId xmlns:a16="http://schemas.microsoft.com/office/drawing/2014/main" id="{47454524-FE8B-42F5-ABF4-97ADBB54916E}"/>
              </a:ext>
            </a:extLst>
          </p:cNvPr>
          <p:cNvSpPr>
            <a:spLocks noChangeArrowheads="1"/>
          </p:cNvSpPr>
          <p:nvPr/>
        </p:nvSpPr>
        <p:spPr bwMode="auto">
          <a:xfrm>
            <a:off x="2046928"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685679"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charset="-128"/>
            </a:endParaRPr>
          </a:p>
        </p:txBody>
      </p:sp>
      <p:sp>
        <p:nvSpPr>
          <p:cNvPr id="375" name="Rectangle 3">
            <a:extLst>
              <a:ext uri="{FF2B5EF4-FFF2-40B4-BE49-F238E27FC236}">
                <a16:creationId xmlns:a16="http://schemas.microsoft.com/office/drawing/2014/main" id="{F01D7B8B-CE76-4CD0-8B4B-502F8A6F112D}"/>
              </a:ext>
            </a:extLst>
          </p:cNvPr>
          <p:cNvSpPr>
            <a:spLocks noChangeArrowheads="1"/>
          </p:cNvSpPr>
          <p:nvPr/>
        </p:nvSpPr>
        <p:spPr bwMode="auto">
          <a:xfrm>
            <a:off x="2800192"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685679"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charset="-128"/>
            </a:endParaRPr>
          </a:p>
        </p:txBody>
      </p:sp>
      <p:sp>
        <p:nvSpPr>
          <p:cNvPr id="376" name="Rectangle 6">
            <a:extLst>
              <a:ext uri="{FF2B5EF4-FFF2-40B4-BE49-F238E27FC236}">
                <a16:creationId xmlns:a16="http://schemas.microsoft.com/office/drawing/2014/main" id="{53E3EC38-F886-4FA6-84F8-B2AB1E054738}"/>
              </a:ext>
            </a:extLst>
          </p:cNvPr>
          <p:cNvSpPr>
            <a:spLocks noChangeArrowheads="1"/>
          </p:cNvSpPr>
          <p:nvPr/>
        </p:nvSpPr>
        <p:spPr bwMode="auto">
          <a:xfrm>
            <a:off x="3553509"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a:cs typeface="ＭＳ Ｐゴシック"/>
            </a:endParaRPr>
          </a:p>
        </p:txBody>
      </p:sp>
      <p:sp>
        <p:nvSpPr>
          <p:cNvPr id="377" name="Rectangle 5">
            <a:extLst>
              <a:ext uri="{FF2B5EF4-FFF2-40B4-BE49-F238E27FC236}">
                <a16:creationId xmlns:a16="http://schemas.microsoft.com/office/drawing/2014/main" id="{1A7EBA50-7131-4A98-8FA4-219C7C6E87B5}"/>
              </a:ext>
            </a:extLst>
          </p:cNvPr>
          <p:cNvSpPr>
            <a:spLocks noChangeArrowheads="1"/>
          </p:cNvSpPr>
          <p:nvPr/>
        </p:nvSpPr>
        <p:spPr bwMode="auto">
          <a:xfrm>
            <a:off x="4306872" y="2181990"/>
            <a:ext cx="700998" cy="1471871"/>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a:cs typeface="ＭＳ Ｐゴシック"/>
            </a:endParaRPr>
          </a:p>
        </p:txBody>
      </p:sp>
      <p:sp>
        <p:nvSpPr>
          <p:cNvPr id="378" name="Rectangle 5">
            <a:extLst>
              <a:ext uri="{FF2B5EF4-FFF2-40B4-BE49-F238E27FC236}">
                <a16:creationId xmlns:a16="http://schemas.microsoft.com/office/drawing/2014/main" id="{EF4D1200-5D23-4C3A-B16D-D14FFE473982}"/>
              </a:ext>
            </a:extLst>
          </p:cNvPr>
          <p:cNvSpPr>
            <a:spLocks noChangeArrowheads="1"/>
          </p:cNvSpPr>
          <p:nvPr/>
        </p:nvSpPr>
        <p:spPr bwMode="auto">
          <a:xfrm>
            <a:off x="5060288"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a:cs typeface="ＭＳ Ｐゴシック"/>
            </a:endParaRPr>
          </a:p>
        </p:txBody>
      </p:sp>
      <p:sp>
        <p:nvSpPr>
          <p:cNvPr id="379" name="Rectangle 7">
            <a:extLst>
              <a:ext uri="{FF2B5EF4-FFF2-40B4-BE49-F238E27FC236}">
                <a16:creationId xmlns:a16="http://schemas.microsoft.com/office/drawing/2014/main" id="{B8FD4E13-CDCC-435C-9B82-01A00862C227}"/>
              </a:ext>
            </a:extLst>
          </p:cNvPr>
          <p:cNvSpPr>
            <a:spLocks noChangeArrowheads="1"/>
          </p:cNvSpPr>
          <p:nvPr/>
        </p:nvSpPr>
        <p:spPr bwMode="auto">
          <a:xfrm>
            <a:off x="5813754"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685679"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charset="-128"/>
            </a:endParaRPr>
          </a:p>
        </p:txBody>
      </p:sp>
      <p:sp>
        <p:nvSpPr>
          <p:cNvPr id="380" name="Rectangle 5">
            <a:extLst>
              <a:ext uri="{FF2B5EF4-FFF2-40B4-BE49-F238E27FC236}">
                <a16:creationId xmlns:a16="http://schemas.microsoft.com/office/drawing/2014/main" id="{3ACD1F8A-7AE9-4749-8106-43C6C71B8D99}"/>
              </a:ext>
            </a:extLst>
          </p:cNvPr>
          <p:cNvSpPr>
            <a:spLocks noChangeArrowheads="1"/>
          </p:cNvSpPr>
          <p:nvPr/>
        </p:nvSpPr>
        <p:spPr bwMode="auto">
          <a:xfrm>
            <a:off x="6567268" y="2181990"/>
            <a:ext cx="700997" cy="1471871"/>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a:cs typeface="ＭＳ Ｐゴシック"/>
            </a:endParaRPr>
          </a:p>
        </p:txBody>
      </p:sp>
      <p:sp>
        <p:nvSpPr>
          <p:cNvPr id="383" name="Rectangle 4">
            <a:extLst>
              <a:ext uri="{FF2B5EF4-FFF2-40B4-BE49-F238E27FC236}">
                <a16:creationId xmlns:a16="http://schemas.microsoft.com/office/drawing/2014/main" id="{AFECEBDE-AF0D-4680-BCC1-4C5F9C0CAECB}"/>
              </a:ext>
            </a:extLst>
          </p:cNvPr>
          <p:cNvSpPr>
            <a:spLocks noChangeArrowheads="1"/>
          </p:cNvSpPr>
          <p:nvPr/>
        </p:nvSpPr>
        <p:spPr bwMode="auto">
          <a:xfrm>
            <a:off x="2046928"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Consumer</a:t>
            </a:r>
          </a:p>
        </p:txBody>
      </p:sp>
      <p:sp>
        <p:nvSpPr>
          <p:cNvPr id="384" name="Rectangle 4">
            <a:extLst>
              <a:ext uri="{FF2B5EF4-FFF2-40B4-BE49-F238E27FC236}">
                <a16:creationId xmlns:a16="http://schemas.microsoft.com/office/drawing/2014/main" id="{D951BE4D-8DB0-4916-B95F-974133C12DBC}"/>
              </a:ext>
            </a:extLst>
          </p:cNvPr>
          <p:cNvSpPr>
            <a:spLocks noChangeArrowheads="1"/>
          </p:cNvSpPr>
          <p:nvPr/>
        </p:nvSpPr>
        <p:spPr bwMode="auto">
          <a:xfrm>
            <a:off x="2800192"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Financials / Real Estate</a:t>
            </a:r>
          </a:p>
        </p:txBody>
      </p:sp>
      <p:sp>
        <p:nvSpPr>
          <p:cNvPr id="385" name="Rectangle 4">
            <a:extLst>
              <a:ext uri="{FF2B5EF4-FFF2-40B4-BE49-F238E27FC236}">
                <a16:creationId xmlns:a16="http://schemas.microsoft.com/office/drawing/2014/main" id="{8878B1A9-307A-4A44-A348-798EB189ADFF}"/>
              </a:ext>
            </a:extLst>
          </p:cNvPr>
          <p:cNvSpPr>
            <a:spLocks noChangeArrowheads="1"/>
          </p:cNvSpPr>
          <p:nvPr/>
        </p:nvSpPr>
        <p:spPr bwMode="auto">
          <a:xfrm>
            <a:off x="3553509"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Health Care</a:t>
            </a:r>
            <a:r>
              <a:rPr lang="en-GB" sz="675" b="1" baseline="30000" dirty="0">
                <a:solidFill>
                  <a:prstClr val="white"/>
                </a:solidFill>
                <a:ea typeface="Arial Unicode MS" pitchFamily="34" charset="-128"/>
                <a:cs typeface="Arial Unicode MS" pitchFamily="34" charset="-128"/>
              </a:rPr>
              <a:t> </a:t>
            </a:r>
            <a:endParaRPr lang="en-GB" sz="675" b="1" kern="0" dirty="0">
              <a:solidFill>
                <a:prstClr val="white"/>
              </a:solidFill>
              <a:ea typeface="ＭＳ Ｐゴシック"/>
              <a:cs typeface="ＭＳ Ｐゴシック"/>
            </a:endParaRPr>
          </a:p>
        </p:txBody>
      </p:sp>
      <p:sp>
        <p:nvSpPr>
          <p:cNvPr id="386" name="Rectangle 4">
            <a:extLst>
              <a:ext uri="{FF2B5EF4-FFF2-40B4-BE49-F238E27FC236}">
                <a16:creationId xmlns:a16="http://schemas.microsoft.com/office/drawing/2014/main" id="{C1480744-F0D7-44BC-8993-9DF1F3FF601E}"/>
              </a:ext>
            </a:extLst>
          </p:cNvPr>
          <p:cNvSpPr>
            <a:spLocks noChangeArrowheads="1"/>
          </p:cNvSpPr>
          <p:nvPr/>
        </p:nvSpPr>
        <p:spPr bwMode="auto">
          <a:xfrm>
            <a:off x="4306872" y="2110759"/>
            <a:ext cx="700998"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Industrials / Cyclicals</a:t>
            </a:r>
            <a:endParaRPr lang="en-GB" sz="675" b="1" kern="0" baseline="30000" dirty="0">
              <a:solidFill>
                <a:prstClr val="white"/>
              </a:solidFill>
              <a:ea typeface="ＭＳ Ｐゴシック"/>
              <a:cs typeface="ＭＳ Ｐゴシック"/>
            </a:endParaRPr>
          </a:p>
        </p:txBody>
      </p:sp>
      <p:sp>
        <p:nvSpPr>
          <p:cNvPr id="387" name="Rectangle 4">
            <a:extLst>
              <a:ext uri="{FF2B5EF4-FFF2-40B4-BE49-F238E27FC236}">
                <a16:creationId xmlns:a16="http://schemas.microsoft.com/office/drawing/2014/main" id="{74B4F5B5-3A6E-4A2D-880A-B09A9D88E172}"/>
              </a:ext>
            </a:extLst>
          </p:cNvPr>
          <p:cNvSpPr>
            <a:spLocks noChangeArrowheads="1"/>
          </p:cNvSpPr>
          <p:nvPr/>
        </p:nvSpPr>
        <p:spPr bwMode="auto">
          <a:xfrm>
            <a:off x="5060288"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lnSpc>
                <a:spcPct val="90000"/>
              </a:lnSpc>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Natural</a:t>
            </a:r>
            <a:br>
              <a:rPr lang="en-GB" sz="675" b="1" kern="0" dirty="0">
                <a:solidFill>
                  <a:sysClr val="window" lastClr="FFFFFF"/>
                </a:solidFill>
                <a:ea typeface="ＭＳ Ｐゴシック"/>
                <a:cs typeface="ＭＳ Ｐゴシック"/>
              </a:rPr>
            </a:br>
            <a:r>
              <a:rPr lang="en-GB" sz="675" b="1" kern="0" dirty="0">
                <a:solidFill>
                  <a:sysClr val="window" lastClr="FFFFFF"/>
                </a:solidFill>
                <a:ea typeface="ＭＳ Ｐゴシック"/>
                <a:cs typeface="ＭＳ Ｐゴシック"/>
              </a:rPr>
              <a:t>Resources</a:t>
            </a:r>
            <a:br>
              <a:rPr lang="en-GB" sz="675" b="1" kern="0" dirty="0">
                <a:solidFill>
                  <a:sysClr val="window" lastClr="FFFFFF"/>
                </a:solidFill>
                <a:ea typeface="ＭＳ Ｐゴシック"/>
                <a:cs typeface="ＭＳ Ｐゴシック"/>
              </a:rPr>
            </a:br>
            <a:r>
              <a:rPr lang="en-GB" sz="675" b="1" kern="0" dirty="0">
                <a:solidFill>
                  <a:sysClr val="window" lastClr="FFFFFF"/>
                </a:solidFill>
                <a:ea typeface="ＭＳ Ｐゴシック"/>
                <a:cs typeface="ＭＳ Ｐゴシック"/>
              </a:rPr>
              <a:t>&amp; Utilities</a:t>
            </a:r>
          </a:p>
        </p:txBody>
      </p:sp>
      <p:sp>
        <p:nvSpPr>
          <p:cNvPr id="389" name="Rectangle 4">
            <a:extLst>
              <a:ext uri="{FF2B5EF4-FFF2-40B4-BE49-F238E27FC236}">
                <a16:creationId xmlns:a16="http://schemas.microsoft.com/office/drawing/2014/main" id="{0A48BA38-A283-4040-8D09-493C61C3EB95}"/>
              </a:ext>
            </a:extLst>
          </p:cNvPr>
          <p:cNvSpPr>
            <a:spLocks noChangeArrowheads="1"/>
          </p:cNvSpPr>
          <p:nvPr/>
        </p:nvSpPr>
        <p:spPr bwMode="auto">
          <a:xfrm>
            <a:off x="5813754"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TMT</a:t>
            </a:r>
          </a:p>
        </p:txBody>
      </p:sp>
      <p:sp>
        <p:nvSpPr>
          <p:cNvPr id="390" name="Rectangle 4">
            <a:extLst>
              <a:ext uri="{FF2B5EF4-FFF2-40B4-BE49-F238E27FC236}">
                <a16:creationId xmlns:a16="http://schemas.microsoft.com/office/drawing/2014/main" id="{F15EFB2E-C833-42EB-877C-6F20611E2D75}"/>
              </a:ext>
            </a:extLst>
          </p:cNvPr>
          <p:cNvSpPr>
            <a:spLocks noChangeArrowheads="1"/>
          </p:cNvSpPr>
          <p:nvPr/>
        </p:nvSpPr>
        <p:spPr bwMode="auto">
          <a:xfrm>
            <a:off x="6567268"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Country Generalists</a:t>
            </a:r>
            <a:endParaRPr lang="en-GB" sz="675" b="1" kern="0" baseline="30000" dirty="0">
              <a:solidFill>
                <a:prstClr val="white"/>
              </a:solidFill>
              <a:ea typeface="ＭＳ Ｐゴシック"/>
              <a:cs typeface="ＭＳ Ｐゴシック"/>
            </a:endParaRPr>
          </a:p>
        </p:txBody>
      </p:sp>
      <p:sp>
        <p:nvSpPr>
          <p:cNvPr id="412" name="Rectangle 4">
            <a:extLst>
              <a:ext uri="{FF2B5EF4-FFF2-40B4-BE49-F238E27FC236}">
                <a16:creationId xmlns:a16="http://schemas.microsoft.com/office/drawing/2014/main" id="{C08809BB-C568-4981-AE43-D79D80738BD1}"/>
              </a:ext>
            </a:extLst>
          </p:cNvPr>
          <p:cNvSpPr>
            <a:spLocks noChangeArrowheads="1"/>
          </p:cNvSpPr>
          <p:nvPr/>
        </p:nvSpPr>
        <p:spPr bwMode="auto">
          <a:xfrm>
            <a:off x="7319915" y="2110759"/>
            <a:ext cx="700997"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Shorting</a:t>
            </a:r>
            <a:endParaRPr lang="en-GB" sz="675" b="1" kern="0" baseline="30000" dirty="0">
              <a:solidFill>
                <a:prstClr val="white"/>
              </a:solidFill>
              <a:ea typeface="ＭＳ Ｐゴシック"/>
              <a:cs typeface="ＭＳ Ｐゴシック"/>
            </a:endParaRPr>
          </a:p>
        </p:txBody>
      </p:sp>
      <p:sp>
        <p:nvSpPr>
          <p:cNvPr id="413" name="Rectangle 4">
            <a:extLst>
              <a:ext uri="{FF2B5EF4-FFF2-40B4-BE49-F238E27FC236}">
                <a16:creationId xmlns:a16="http://schemas.microsoft.com/office/drawing/2014/main" id="{13BDCAAF-AE20-4C06-ADB9-ECC3A9977EE5}"/>
              </a:ext>
            </a:extLst>
          </p:cNvPr>
          <p:cNvSpPr>
            <a:spLocks noChangeArrowheads="1"/>
          </p:cNvSpPr>
          <p:nvPr/>
        </p:nvSpPr>
        <p:spPr bwMode="auto">
          <a:xfrm>
            <a:off x="8099059" y="2110759"/>
            <a:ext cx="674304" cy="284957"/>
          </a:xfrm>
          <a:prstGeom prst="rect">
            <a:avLst/>
          </a:prstGeom>
          <a:solidFill>
            <a:schemeClr val="tx2"/>
          </a:solidFill>
          <a:ln w="9525" algn="ctr">
            <a:solidFill>
              <a:schemeClr val="tx2"/>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ysClr val="window" lastClr="FFFFFF"/>
                </a:solidFill>
                <a:ea typeface="ＭＳ Ｐゴシック"/>
                <a:cs typeface="ＭＳ Ｐゴシック"/>
              </a:rPr>
              <a:t>Total</a:t>
            </a:r>
            <a:endParaRPr lang="en-GB" sz="675" b="1" kern="0" baseline="30000" dirty="0">
              <a:solidFill>
                <a:prstClr val="white"/>
              </a:solidFill>
              <a:ea typeface="ＭＳ Ｐゴシック"/>
              <a:cs typeface="ＭＳ Ｐゴシック"/>
            </a:endParaRPr>
          </a:p>
        </p:txBody>
      </p:sp>
      <p:sp>
        <p:nvSpPr>
          <p:cNvPr id="414" name="Rectangle 13">
            <a:extLst>
              <a:ext uri="{FF2B5EF4-FFF2-40B4-BE49-F238E27FC236}">
                <a16:creationId xmlns:a16="http://schemas.microsoft.com/office/drawing/2014/main" id="{79852795-C0F9-4A8E-A2D6-808116823C34}"/>
              </a:ext>
            </a:extLst>
          </p:cNvPr>
          <p:cNvSpPr>
            <a:spLocks noChangeArrowheads="1"/>
          </p:cNvSpPr>
          <p:nvPr/>
        </p:nvSpPr>
        <p:spPr bwMode="auto">
          <a:xfrm>
            <a:off x="2040872" y="2439075"/>
            <a:ext cx="5982060" cy="163316"/>
          </a:xfrm>
          <a:prstGeom prst="rect">
            <a:avLst/>
          </a:prstGeom>
          <a:solidFill>
            <a:srgbClr val="338808">
              <a:alpha val="80000"/>
            </a:srgbClr>
          </a:solidFill>
          <a:ln w="9525">
            <a:noFill/>
            <a:miter lim="800000"/>
            <a:headEnd/>
            <a:tailEnd/>
          </a:ln>
        </p:spPr>
        <p:txBody>
          <a:bodyPr lIns="54000" tIns="0" rIns="0" bIns="0" anchor="ctr" anchorCtr="0"/>
          <a:lstStyle/>
          <a:p>
            <a:pPr algn="ctr" defTabSz="912813" fontAlgn="base">
              <a:spcBef>
                <a:spcPct val="0"/>
              </a:spcBef>
              <a:spcAft>
                <a:spcPct val="0"/>
              </a:spcAft>
              <a:defRPr/>
            </a:pPr>
            <a:r>
              <a:rPr lang="en-GB" sz="675" b="1" kern="0" dirty="0">
                <a:solidFill>
                  <a:srgbClr val="FFFFFF"/>
                </a:solidFill>
                <a:ea typeface="Arial Unicode MS" pitchFamily="34" charset="-128"/>
                <a:cs typeface="Arial Unicode MS" pitchFamily="34" charset="-128"/>
              </a:rPr>
              <a:t>Sustainable Investing </a:t>
            </a:r>
          </a:p>
        </p:txBody>
      </p:sp>
      <p:sp>
        <p:nvSpPr>
          <p:cNvPr id="415" name="Rectangle 5">
            <a:extLst>
              <a:ext uri="{FF2B5EF4-FFF2-40B4-BE49-F238E27FC236}">
                <a16:creationId xmlns:a16="http://schemas.microsoft.com/office/drawing/2014/main" id="{79CF26A1-FE27-477B-98C5-82BBAA8CB03C}"/>
              </a:ext>
            </a:extLst>
          </p:cNvPr>
          <p:cNvSpPr>
            <a:spLocks noChangeArrowheads="1"/>
          </p:cNvSpPr>
          <p:nvPr/>
        </p:nvSpPr>
        <p:spPr bwMode="auto">
          <a:xfrm>
            <a:off x="357188" y="2645711"/>
            <a:ext cx="7661243" cy="1011890"/>
          </a:xfrm>
          <a:prstGeom prst="rect">
            <a:avLst/>
          </a:prstGeom>
          <a:noFill/>
          <a:ln w="6350" algn="ctr">
            <a:solidFill>
              <a:schemeClr val="tx2"/>
            </a:solidFill>
            <a:miter lim="800000"/>
            <a:headEnd/>
            <a:tailEnd/>
          </a:ln>
        </p:spPr>
        <p:txBody>
          <a:bodyPr lIns="0" rIns="0" anchor="ctr"/>
          <a:lstStyle/>
          <a:p>
            <a:pPr defTabSz="912813" eaLnBrk="0" fontAlgn="base" hangingPunct="0">
              <a:lnSpc>
                <a:spcPct val="110000"/>
              </a:lnSpc>
              <a:spcBef>
                <a:spcPct val="0"/>
              </a:spcBef>
              <a:spcAft>
                <a:spcPct val="0"/>
              </a:spcAft>
              <a:buClr>
                <a:srgbClr val="01286D"/>
              </a:buClr>
              <a:buSzPct val="80000"/>
              <a:defRPr/>
            </a:pPr>
            <a:endParaRPr lang="en-GB" sz="750" b="1" kern="0" dirty="0">
              <a:solidFill>
                <a:srgbClr val="FFFFFF"/>
              </a:solidFill>
              <a:ea typeface="ＭＳ Ｐゴシック"/>
            </a:endParaRPr>
          </a:p>
        </p:txBody>
      </p:sp>
      <p:sp>
        <p:nvSpPr>
          <p:cNvPr id="416" name="Rectangle 5">
            <a:extLst>
              <a:ext uri="{FF2B5EF4-FFF2-40B4-BE49-F238E27FC236}">
                <a16:creationId xmlns:a16="http://schemas.microsoft.com/office/drawing/2014/main" id="{270C9CAB-3EA3-449A-8E4C-559C1DC9312D}"/>
              </a:ext>
            </a:extLst>
          </p:cNvPr>
          <p:cNvSpPr>
            <a:spLocks noChangeArrowheads="1"/>
          </p:cNvSpPr>
          <p:nvPr/>
        </p:nvSpPr>
        <p:spPr bwMode="auto">
          <a:xfrm>
            <a:off x="2045581" y="3712109"/>
            <a:ext cx="5231294" cy="162000"/>
          </a:xfrm>
          <a:prstGeom prst="rect">
            <a:avLst/>
          </a:prstGeom>
          <a:solidFill>
            <a:schemeClr val="accent1">
              <a:lumMod val="20000"/>
              <a:lumOff val="80000"/>
              <a:alpha val="20000"/>
            </a:schemeClr>
          </a:solidFill>
          <a:ln w="6350" algn="ctr">
            <a:noFill/>
            <a:miter lim="800000"/>
            <a:headEnd/>
            <a:tailEnd/>
          </a:ln>
        </p:spPr>
        <p:txBody>
          <a:bodyPr lIns="0" rIns="0" anchor="ctr"/>
          <a:lstStyle/>
          <a:p>
            <a:pPr defTabSz="912813" eaLnBrk="0" fontAlgn="base" hangingPunct="0">
              <a:lnSpc>
                <a:spcPct val="110000"/>
              </a:lnSpc>
              <a:spcBef>
                <a:spcPct val="0"/>
              </a:spcBef>
              <a:spcAft>
                <a:spcPct val="0"/>
              </a:spcAft>
              <a:buClr>
                <a:srgbClr val="01286D"/>
              </a:buClr>
              <a:buSzPct val="80000"/>
              <a:defRPr/>
            </a:pPr>
            <a:endParaRPr lang="en-GB" sz="750" b="1" kern="0" dirty="0">
              <a:solidFill>
                <a:srgbClr val="FFFFFF"/>
              </a:solidFill>
              <a:ea typeface="ＭＳ Ｐゴシック"/>
            </a:endParaRPr>
          </a:p>
        </p:txBody>
      </p:sp>
      <p:sp>
        <p:nvSpPr>
          <p:cNvPr id="418" name="Rectangle 417">
            <a:extLst>
              <a:ext uri="{FF2B5EF4-FFF2-40B4-BE49-F238E27FC236}">
                <a16:creationId xmlns:a16="http://schemas.microsoft.com/office/drawing/2014/main" id="{834A3C8B-1269-479F-B810-86D946AA8709}"/>
              </a:ext>
            </a:extLst>
          </p:cNvPr>
          <p:cNvSpPr/>
          <p:nvPr/>
        </p:nvSpPr>
        <p:spPr bwMode="auto">
          <a:xfrm>
            <a:off x="2046928"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35</a:t>
            </a:r>
          </a:p>
        </p:txBody>
      </p:sp>
      <p:sp>
        <p:nvSpPr>
          <p:cNvPr id="419" name="Rectangle 418">
            <a:extLst>
              <a:ext uri="{FF2B5EF4-FFF2-40B4-BE49-F238E27FC236}">
                <a16:creationId xmlns:a16="http://schemas.microsoft.com/office/drawing/2014/main" id="{F899794F-54D3-42BD-8673-18669D5BCF29}"/>
              </a:ext>
            </a:extLst>
          </p:cNvPr>
          <p:cNvSpPr/>
          <p:nvPr/>
        </p:nvSpPr>
        <p:spPr bwMode="auto">
          <a:xfrm>
            <a:off x="2800192"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28</a:t>
            </a:r>
          </a:p>
        </p:txBody>
      </p:sp>
      <p:sp>
        <p:nvSpPr>
          <p:cNvPr id="420" name="Rectangle 419">
            <a:extLst>
              <a:ext uri="{FF2B5EF4-FFF2-40B4-BE49-F238E27FC236}">
                <a16:creationId xmlns:a16="http://schemas.microsoft.com/office/drawing/2014/main" id="{4C3922E3-F295-47EA-BABD-44DE5FC677A4}"/>
              </a:ext>
            </a:extLst>
          </p:cNvPr>
          <p:cNvSpPr/>
          <p:nvPr/>
        </p:nvSpPr>
        <p:spPr bwMode="auto">
          <a:xfrm>
            <a:off x="3553509"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14</a:t>
            </a:r>
          </a:p>
        </p:txBody>
      </p:sp>
      <p:sp>
        <p:nvSpPr>
          <p:cNvPr id="421" name="Rectangle 420">
            <a:extLst>
              <a:ext uri="{FF2B5EF4-FFF2-40B4-BE49-F238E27FC236}">
                <a16:creationId xmlns:a16="http://schemas.microsoft.com/office/drawing/2014/main" id="{C7D84F13-CD94-47A9-9ABF-652A7FD8E8CA}"/>
              </a:ext>
            </a:extLst>
          </p:cNvPr>
          <p:cNvSpPr/>
          <p:nvPr/>
        </p:nvSpPr>
        <p:spPr bwMode="auto">
          <a:xfrm>
            <a:off x="4306872" y="3712109"/>
            <a:ext cx="700998"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35</a:t>
            </a:r>
          </a:p>
        </p:txBody>
      </p:sp>
      <p:sp>
        <p:nvSpPr>
          <p:cNvPr id="429" name="Rectangle 428">
            <a:extLst>
              <a:ext uri="{FF2B5EF4-FFF2-40B4-BE49-F238E27FC236}">
                <a16:creationId xmlns:a16="http://schemas.microsoft.com/office/drawing/2014/main" id="{9816DB08-8612-442A-972C-543980694732}"/>
              </a:ext>
            </a:extLst>
          </p:cNvPr>
          <p:cNvSpPr/>
          <p:nvPr/>
        </p:nvSpPr>
        <p:spPr bwMode="auto">
          <a:xfrm>
            <a:off x="5060288"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20</a:t>
            </a:r>
          </a:p>
        </p:txBody>
      </p:sp>
      <p:sp>
        <p:nvSpPr>
          <p:cNvPr id="430" name="Rectangle 429">
            <a:extLst>
              <a:ext uri="{FF2B5EF4-FFF2-40B4-BE49-F238E27FC236}">
                <a16:creationId xmlns:a16="http://schemas.microsoft.com/office/drawing/2014/main" id="{68E0A7C1-6507-429D-A123-F4D8CBA7AB36}"/>
              </a:ext>
            </a:extLst>
          </p:cNvPr>
          <p:cNvSpPr/>
          <p:nvPr/>
        </p:nvSpPr>
        <p:spPr bwMode="auto">
          <a:xfrm>
            <a:off x="5813754"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34</a:t>
            </a:r>
          </a:p>
        </p:txBody>
      </p:sp>
      <p:sp>
        <p:nvSpPr>
          <p:cNvPr id="431" name="Rectangle 430">
            <a:extLst>
              <a:ext uri="{FF2B5EF4-FFF2-40B4-BE49-F238E27FC236}">
                <a16:creationId xmlns:a16="http://schemas.microsoft.com/office/drawing/2014/main" id="{259E9B13-25F5-4B86-A347-ADFE0392E8C5}"/>
              </a:ext>
            </a:extLst>
          </p:cNvPr>
          <p:cNvSpPr/>
          <p:nvPr/>
        </p:nvSpPr>
        <p:spPr bwMode="auto">
          <a:xfrm>
            <a:off x="6567268" y="3712109"/>
            <a:ext cx="700997" cy="162000"/>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7</a:t>
            </a:r>
          </a:p>
        </p:txBody>
      </p:sp>
      <p:sp>
        <p:nvSpPr>
          <p:cNvPr id="432" name="Rectangle 431">
            <a:extLst>
              <a:ext uri="{FF2B5EF4-FFF2-40B4-BE49-F238E27FC236}">
                <a16:creationId xmlns:a16="http://schemas.microsoft.com/office/drawing/2014/main" id="{6B7D9198-6801-422A-BF7B-DAEAA373494B}"/>
              </a:ext>
            </a:extLst>
          </p:cNvPr>
          <p:cNvSpPr/>
          <p:nvPr/>
        </p:nvSpPr>
        <p:spPr bwMode="auto">
          <a:xfrm>
            <a:off x="7320483" y="3712109"/>
            <a:ext cx="707480" cy="162000"/>
          </a:xfrm>
          <a:prstGeom prst="rect">
            <a:avLst/>
          </a:prstGeom>
          <a:solidFill>
            <a:schemeClr val="bg1">
              <a:lumMod val="65000"/>
              <a:alpha val="20000"/>
            </a:schemeClr>
          </a:solidFill>
          <a:ln w="6350" algn="ctr">
            <a:solidFill>
              <a:schemeClr val="bg1">
                <a:lumMod val="75000"/>
              </a:schemeClr>
            </a:solidFill>
            <a:miter lim="800000"/>
            <a:headEnd/>
            <a:tailEnd/>
          </a:ln>
        </p:spPr>
        <p:txBody>
          <a:bodyPr lIns="0" rIns="0" anchor="ctr"/>
          <a:lstStyle/>
          <a:p>
            <a:pPr algn="ctr" defTabSz="912813" eaLnBrk="0" fontAlgn="base" hangingPunct="0">
              <a:spcBef>
                <a:spcPct val="0"/>
              </a:spcBef>
              <a:spcAft>
                <a:spcPct val="0"/>
              </a:spcAft>
              <a:buClr>
                <a:srgbClr val="01286D"/>
              </a:buClr>
              <a:buSzPct val="80000"/>
              <a:defRPr/>
            </a:pPr>
            <a:r>
              <a:rPr lang="en-GB" sz="675" b="1" kern="0" dirty="0">
                <a:solidFill>
                  <a:srgbClr val="20242B"/>
                </a:solidFill>
                <a:ea typeface="ＭＳ Ｐゴシック"/>
                <a:cs typeface="ＭＳ Ｐゴシック"/>
              </a:rPr>
              <a:t>4</a:t>
            </a:r>
          </a:p>
        </p:txBody>
      </p:sp>
      <p:sp>
        <p:nvSpPr>
          <p:cNvPr id="368" name="TextBox 367">
            <a:extLst>
              <a:ext uri="{FF2B5EF4-FFF2-40B4-BE49-F238E27FC236}">
                <a16:creationId xmlns:a16="http://schemas.microsoft.com/office/drawing/2014/main" id="{4C70E3A3-12D1-46B8-875A-9F20745792E7}"/>
              </a:ext>
            </a:extLst>
          </p:cNvPr>
          <p:cNvSpPr txBox="1"/>
          <p:nvPr/>
        </p:nvSpPr>
        <p:spPr>
          <a:xfrm>
            <a:off x="8277113" y="2835325"/>
            <a:ext cx="286929"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53</a:t>
            </a:r>
          </a:p>
        </p:txBody>
      </p:sp>
      <p:sp>
        <p:nvSpPr>
          <p:cNvPr id="369" name="TextBox 368">
            <a:extLst>
              <a:ext uri="{FF2B5EF4-FFF2-40B4-BE49-F238E27FC236}">
                <a16:creationId xmlns:a16="http://schemas.microsoft.com/office/drawing/2014/main" id="{A3D59635-5E2D-4537-9D33-7303CC1AA7F6}"/>
              </a:ext>
            </a:extLst>
          </p:cNvPr>
          <p:cNvSpPr txBox="1"/>
          <p:nvPr/>
        </p:nvSpPr>
        <p:spPr>
          <a:xfrm>
            <a:off x="8253380" y="3044395"/>
            <a:ext cx="329907"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11</a:t>
            </a:r>
          </a:p>
        </p:txBody>
      </p:sp>
      <p:sp>
        <p:nvSpPr>
          <p:cNvPr id="370" name="TextBox 369">
            <a:extLst>
              <a:ext uri="{FF2B5EF4-FFF2-40B4-BE49-F238E27FC236}">
                <a16:creationId xmlns:a16="http://schemas.microsoft.com/office/drawing/2014/main" id="{6CC2B49D-03F4-4DEA-8B44-2C31F43F7031}"/>
              </a:ext>
            </a:extLst>
          </p:cNvPr>
          <p:cNvSpPr txBox="1"/>
          <p:nvPr/>
        </p:nvSpPr>
        <p:spPr>
          <a:xfrm>
            <a:off x="8243875" y="2423695"/>
            <a:ext cx="329907" cy="196208"/>
          </a:xfrm>
          <a:prstGeom prst="rect">
            <a:avLst/>
          </a:prstGeom>
          <a:noFill/>
          <a:ln w="9525">
            <a:noFill/>
          </a:ln>
        </p:spPr>
        <p:txBody>
          <a:bodyPr wrap="square" lIns="0" rIns="0" rtlCol="0" anchor="ctr" anchorCtr="0">
            <a:spAutoFit/>
          </a:bodyPr>
          <a:lstStyle/>
          <a:p>
            <a:pPr algn="ctr" defTabSz="912813" fontAlgn="base">
              <a:spcBef>
                <a:spcPct val="0"/>
              </a:spcBef>
              <a:spcAft>
                <a:spcPct val="0"/>
              </a:spcAft>
              <a:defRPr/>
            </a:pPr>
            <a:r>
              <a:rPr lang="en-GB" sz="675" b="1" dirty="0">
                <a:solidFill>
                  <a:srgbClr val="20242B"/>
                </a:solidFill>
                <a:ea typeface="ＭＳ Ｐゴシック" charset="0"/>
              </a:rPr>
              <a:t>29</a:t>
            </a:r>
          </a:p>
        </p:txBody>
      </p:sp>
      <p:sp>
        <p:nvSpPr>
          <p:cNvPr id="371" name="Rectangle 5">
            <a:extLst>
              <a:ext uri="{FF2B5EF4-FFF2-40B4-BE49-F238E27FC236}">
                <a16:creationId xmlns:a16="http://schemas.microsoft.com/office/drawing/2014/main" id="{97C94EA7-EAEB-4861-AA19-0759B289BFD2}"/>
              </a:ext>
            </a:extLst>
          </p:cNvPr>
          <p:cNvSpPr>
            <a:spLocks noChangeArrowheads="1"/>
          </p:cNvSpPr>
          <p:nvPr/>
        </p:nvSpPr>
        <p:spPr bwMode="auto">
          <a:xfrm>
            <a:off x="8099067" y="2405825"/>
            <a:ext cx="674304" cy="1250593"/>
          </a:xfrm>
          <a:prstGeom prst="rect">
            <a:avLst/>
          </a:prstGeom>
          <a:noFill/>
          <a:ln w="6350" algn="ctr">
            <a:solidFill>
              <a:schemeClr val="bg1">
                <a:lumMod val="75000"/>
              </a:schemeClr>
            </a:solidFill>
            <a:miter lim="800000"/>
            <a:headEnd/>
            <a:tailEnd/>
          </a:ln>
        </p:spPr>
        <p:txBody>
          <a:bodyPr lIns="0" rIns="0" anchor="ctr"/>
          <a:lstStyle/>
          <a:p>
            <a:pPr algn="ctr" defTabSz="912813" eaLnBrk="0" fontAlgn="base" hangingPunct="0">
              <a:lnSpc>
                <a:spcPct val="110000"/>
              </a:lnSpc>
              <a:spcBef>
                <a:spcPct val="0"/>
              </a:spcBef>
              <a:spcAft>
                <a:spcPct val="0"/>
              </a:spcAft>
              <a:buClr>
                <a:srgbClr val="01286D"/>
              </a:buClr>
              <a:buSzPct val="80000"/>
              <a:defRPr/>
            </a:pPr>
            <a:endParaRPr lang="en-GB" sz="675" b="1" kern="0" dirty="0">
              <a:solidFill>
                <a:srgbClr val="FFFFFF"/>
              </a:solidFill>
              <a:ea typeface="ＭＳ Ｐゴシック"/>
              <a:cs typeface="ＭＳ Ｐゴシック"/>
            </a:endParaRPr>
          </a:p>
        </p:txBody>
      </p:sp>
      <p:sp>
        <p:nvSpPr>
          <p:cNvPr id="388" name="Subtitle 3">
            <a:extLst>
              <a:ext uri="{FF2B5EF4-FFF2-40B4-BE49-F238E27FC236}">
                <a16:creationId xmlns:a16="http://schemas.microsoft.com/office/drawing/2014/main" id="{5135DDBB-7586-400A-8344-E3A0EB3265C1}"/>
              </a:ext>
            </a:extLst>
          </p:cNvPr>
          <p:cNvSpPr txBox="1">
            <a:spLocks/>
          </p:cNvSpPr>
          <p:nvPr/>
        </p:nvSpPr>
        <p:spPr>
          <a:xfrm>
            <a:off x="359905" y="1825185"/>
            <a:ext cx="8423864" cy="161583"/>
          </a:xfrm>
          <a:prstGeom prst="rect">
            <a:avLst/>
          </a:prstGeom>
        </p:spPr>
        <p:txBody>
          <a:bodyPr vert="horz" lIns="0" tIns="0" rIns="0" bIns="0" rtlCol="0" anchor="t">
            <a:spAutoFit/>
          </a:bodyPr>
          <a:lstStyle>
            <a:lvl1pPr marL="0" indent="0" algn="l" defTabSz="685783" rtl="0" eaLnBrk="1" latinLnBrk="0" hangingPunct="1">
              <a:lnSpc>
                <a:spcPct val="100000"/>
              </a:lnSpc>
              <a:spcBef>
                <a:spcPts val="0"/>
              </a:spcBef>
              <a:spcAft>
                <a:spcPts val="300"/>
              </a:spcAft>
              <a:buClr>
                <a:srgbClr val="006193"/>
              </a:buClr>
              <a:buFont typeface="Arial" panose="020B0604020202020204" pitchFamily="34" charset="0"/>
              <a:buChar char="​"/>
              <a:defRPr sz="1800" kern="1200">
                <a:solidFill>
                  <a:schemeClr val="tx2"/>
                </a:solidFill>
                <a:latin typeface="+mn-lt"/>
                <a:ea typeface="+mn-ea"/>
                <a:cs typeface="+mn-cs"/>
              </a:defRPr>
            </a:lvl1pPr>
            <a:lvl2pPr marL="0" indent="0" algn="l" defTabSz="685783" rtl="0" eaLnBrk="1" latinLnBrk="0" hangingPunct="1">
              <a:lnSpc>
                <a:spcPct val="100000"/>
              </a:lnSpc>
              <a:spcBef>
                <a:spcPts val="300"/>
              </a:spcBef>
              <a:spcAft>
                <a:spcPts val="300"/>
              </a:spcAft>
              <a:buClr>
                <a:srgbClr val="006193"/>
              </a:buClr>
              <a:buFont typeface="Arial" panose="020B0604020202020204" pitchFamily="34" charset="0"/>
              <a:buNone/>
              <a:defRPr sz="1500" kern="1200">
                <a:solidFill>
                  <a:schemeClr val="tx1"/>
                </a:solidFill>
                <a:latin typeface="+mn-lt"/>
                <a:ea typeface="+mn-ea"/>
                <a:cs typeface="+mn-cs"/>
              </a:defRPr>
            </a:lvl2pPr>
            <a:lvl3pPr marL="0" indent="0" algn="l" defTabSz="685783" rtl="0" eaLnBrk="1" latinLnBrk="0" hangingPunct="1">
              <a:lnSpc>
                <a:spcPct val="100000"/>
              </a:lnSpc>
              <a:spcBef>
                <a:spcPts val="300"/>
              </a:spcBef>
              <a:spcAft>
                <a:spcPts val="300"/>
              </a:spcAft>
              <a:buClr>
                <a:srgbClr val="006193"/>
              </a:buClr>
              <a:buFont typeface="Arial" panose="020B0604020202020204" pitchFamily="34" charset="0"/>
              <a:buChar char="​"/>
              <a:defRPr sz="15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5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50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150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1500" b="0" kern="1200" baseline="0">
                <a:solidFill>
                  <a:schemeClr val="tx1"/>
                </a:solidFill>
                <a:latin typeface="+mn-lt"/>
                <a:ea typeface="+mn-ea"/>
                <a:cs typeface="+mn-cs"/>
              </a:defRPr>
            </a:lvl7pPr>
            <a:lvl8pPr marL="0" indent="0" algn="l" defTabSz="685783" rtl="0" eaLnBrk="1" latinLnBrk="0" hangingPunct="1">
              <a:lnSpc>
                <a:spcPct val="100000"/>
              </a:lnSpc>
              <a:spcBef>
                <a:spcPts val="300"/>
              </a:spcBef>
              <a:spcAft>
                <a:spcPts val="300"/>
              </a:spcAft>
              <a:buFont typeface="Arial" panose="020B0604020202020204" pitchFamily="34" charset="0"/>
              <a:buChar char="​"/>
              <a:defRPr sz="150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1500" b="1" kern="1200" baseline="0">
                <a:solidFill>
                  <a:schemeClr val="tx1"/>
                </a:solidFill>
                <a:latin typeface="+mn-lt"/>
                <a:ea typeface="+mn-ea"/>
                <a:cs typeface="+mn-cs"/>
              </a:defRPr>
            </a:lvl9pPr>
          </a:lstStyle>
          <a:p>
            <a:pPr fontAlgn="base">
              <a:spcAft>
                <a:spcPts val="0"/>
              </a:spcAft>
              <a:buFont typeface="Arial" panose="020B0604020202020204" pitchFamily="34" charset="0"/>
              <a:buNone/>
              <a:defRPr/>
            </a:pPr>
            <a:r>
              <a:rPr lang="en-GB" sz="1050" b="1" dirty="0">
                <a:solidFill>
                  <a:srgbClr val="20242B"/>
                </a:solidFill>
              </a:rPr>
              <a:t>A single platform team, cross regions, cross sectors</a:t>
            </a:r>
          </a:p>
        </p:txBody>
      </p:sp>
      <p:cxnSp>
        <p:nvCxnSpPr>
          <p:cNvPr id="391" name="Elbow Connector 354">
            <a:extLst>
              <a:ext uri="{FF2B5EF4-FFF2-40B4-BE49-F238E27FC236}">
                <a16:creationId xmlns:a16="http://schemas.microsoft.com/office/drawing/2014/main" id="{3D0495B3-3E13-4BB4-BC4E-1CD0BFAC949B}"/>
              </a:ext>
            </a:extLst>
          </p:cNvPr>
          <p:cNvCxnSpPr>
            <a:cxnSpLocks/>
          </p:cNvCxnSpPr>
          <p:nvPr/>
        </p:nvCxnSpPr>
        <p:spPr>
          <a:xfrm>
            <a:off x="5236739" y="3968333"/>
            <a:ext cx="351000" cy="94500"/>
          </a:xfrm>
          <a:prstGeom prst="bentConnector3">
            <a:avLst>
              <a:gd name="adj1" fmla="val 50000"/>
            </a:avLst>
          </a:prstGeom>
          <a:ln>
            <a:solidFill>
              <a:srgbClr val="004173"/>
            </a:solidFill>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392" name="Rectangle 10">
            <a:extLst>
              <a:ext uri="{FF2B5EF4-FFF2-40B4-BE49-F238E27FC236}">
                <a16:creationId xmlns:a16="http://schemas.microsoft.com/office/drawing/2014/main" id="{8840AFA5-4601-4AD0-B9B3-98C9EFA228BE}"/>
              </a:ext>
            </a:extLst>
          </p:cNvPr>
          <p:cNvSpPr>
            <a:spLocks noGrp="1"/>
          </p:cNvSpPr>
          <p:nvPr>
            <p:ph type="title"/>
          </p:nvPr>
        </p:nvSpPr>
        <p:spPr>
          <a:xfrm>
            <a:off x="467992" y="200910"/>
            <a:ext cx="8207867" cy="276999"/>
          </a:xfrm>
        </p:spPr>
        <p:txBody>
          <a:bodyPr lIns="0" tIns="0" rIns="0" bIns="0" anchor="b">
            <a:spAutoFit/>
          </a:bodyPr>
          <a:lstStyle/>
          <a:p>
            <a:pPr>
              <a:lnSpc>
                <a:spcPct val="90000"/>
              </a:lnSpc>
            </a:pPr>
            <a:r>
              <a:rPr lang="fr-FR" sz="2000" b="1" dirty="0">
                <a:solidFill>
                  <a:srgbClr val="0A4D80"/>
                </a:solidFill>
              </a:rPr>
              <a:t>Pourquoi Fidelity sur les actions internationales ? </a:t>
            </a:r>
            <a:endParaRPr lang="en-GB" dirty="0">
              <a:solidFill>
                <a:srgbClr val="0A4D80"/>
              </a:solidFill>
              <a:latin typeface="Arial" panose="020B0604020202020204" pitchFamily="34" charset="0"/>
            </a:endParaRPr>
          </a:p>
        </p:txBody>
      </p:sp>
      <p:sp>
        <p:nvSpPr>
          <p:cNvPr id="393" name="Rectangle 10">
            <a:extLst>
              <a:ext uri="{FF2B5EF4-FFF2-40B4-BE49-F238E27FC236}">
                <a16:creationId xmlns:a16="http://schemas.microsoft.com/office/drawing/2014/main" id="{7949D7B9-3EA6-473D-BFC0-794F9C3CE895}"/>
              </a:ext>
            </a:extLst>
          </p:cNvPr>
          <p:cNvSpPr txBox="1">
            <a:spLocks/>
          </p:cNvSpPr>
          <p:nvPr/>
        </p:nvSpPr>
        <p:spPr>
          <a:xfrm>
            <a:off x="467992" y="528308"/>
            <a:ext cx="8207867" cy="276999"/>
          </a:xfrm>
          <a:prstGeom prst="rect">
            <a:avLst/>
          </a:prstGeom>
        </p:spPr>
        <p:txBody>
          <a:bodyPr lIns="0" tIns="0" rIns="0" bIns="0" anchor="t">
            <a:spAutoFit/>
          </a:bodyPr>
          <a:lst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a:lstStyle>
          <a:p>
            <a:pPr>
              <a:defRPr/>
            </a:pPr>
            <a:r>
              <a:rPr lang="fr-FR" sz="1800" b="1" dirty="0">
                <a:solidFill>
                  <a:srgbClr val="415464"/>
                </a:solidFill>
              </a:rPr>
              <a:t>Des équipes de recherche uniques structurées par région et par secteur</a:t>
            </a:r>
          </a:p>
        </p:txBody>
      </p:sp>
      <p:sp>
        <p:nvSpPr>
          <p:cNvPr id="394" name="Rectangle à coins arrondis 381">
            <a:extLst>
              <a:ext uri="{FF2B5EF4-FFF2-40B4-BE49-F238E27FC236}">
                <a16:creationId xmlns:a16="http://schemas.microsoft.com/office/drawing/2014/main" id="{BDD84337-1B3D-4A24-AB22-1FCAD3F6DA6F}"/>
              </a:ext>
            </a:extLst>
          </p:cNvPr>
          <p:cNvSpPr/>
          <p:nvPr/>
        </p:nvSpPr>
        <p:spPr>
          <a:xfrm>
            <a:off x="469062" y="1001770"/>
            <a:ext cx="3960000" cy="432000"/>
          </a:xfrm>
          <a:prstGeom prst="roundRect">
            <a:avLst>
              <a:gd name="adj" fmla="val 5658"/>
            </a:avLst>
          </a:prstGeom>
          <a:solidFill>
            <a:srgbClr val="0A4D8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buClr>
                <a:srgbClr val="01286D"/>
              </a:buClr>
              <a:buSzPct val="80000"/>
              <a:defRPr/>
            </a:pPr>
            <a:r>
              <a:rPr lang="fr-FR" sz="1400" dirty="0">
                <a:solidFill>
                  <a:prstClr val="white"/>
                </a:solidFill>
              </a:rPr>
              <a:t>16 000 entretiens par an avec les entreprises</a:t>
            </a:r>
          </a:p>
        </p:txBody>
      </p:sp>
      <p:sp>
        <p:nvSpPr>
          <p:cNvPr id="396" name="Rectangle à coins arrondis 386">
            <a:extLst>
              <a:ext uri="{FF2B5EF4-FFF2-40B4-BE49-F238E27FC236}">
                <a16:creationId xmlns:a16="http://schemas.microsoft.com/office/drawing/2014/main" id="{69F35891-ACEB-487E-8048-6F385A0553DD}"/>
              </a:ext>
            </a:extLst>
          </p:cNvPr>
          <p:cNvSpPr/>
          <p:nvPr/>
        </p:nvSpPr>
        <p:spPr>
          <a:xfrm>
            <a:off x="4717275" y="1001769"/>
            <a:ext cx="3960000" cy="432000"/>
          </a:xfrm>
          <a:prstGeom prst="roundRect">
            <a:avLst>
              <a:gd name="adj" fmla="val 5658"/>
            </a:avLst>
          </a:prstGeom>
          <a:solidFill>
            <a:srgbClr val="00A6E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buClr>
                <a:srgbClr val="01286D"/>
              </a:buClr>
              <a:buSzPct val="80000"/>
              <a:defRPr/>
            </a:pPr>
            <a:r>
              <a:rPr lang="fr-FR" sz="1400" dirty="0">
                <a:solidFill>
                  <a:prstClr val="white"/>
                </a:solidFill>
              </a:rPr>
              <a:t>95 % de la capitalisation mondiale couverte</a:t>
            </a:r>
          </a:p>
        </p:txBody>
      </p:sp>
    </p:spTree>
    <p:extLst>
      <p:ext uri="{BB962C8B-B14F-4D97-AF65-F5344CB8AC3E}">
        <p14:creationId xmlns:p14="http://schemas.microsoft.com/office/powerpoint/2010/main" val="3705214560"/>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6756934" y="1341438"/>
            <a:ext cx="1918753" cy="44903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000">
              <a:solidFill>
                <a:prstClr val="white"/>
              </a:solidFill>
            </a:endParaRPr>
          </a:p>
        </p:txBody>
      </p:sp>
      <p:pic>
        <p:nvPicPr>
          <p:cNvPr id="6" name="Picture 8" descr="Podger Jeremy.jpg"/>
          <p:cNvPicPr>
            <a:picLocks noChangeAspect="1"/>
          </p:cNvPicPr>
          <p:nvPr/>
        </p:nvPicPr>
        <p:blipFill>
          <a:blip r:embed="rId7" cstate="print"/>
          <a:srcRect t="520" b="25515"/>
          <a:stretch>
            <a:fillRect/>
          </a:stretch>
        </p:blipFill>
        <p:spPr bwMode="auto">
          <a:xfrm>
            <a:off x="458788" y="1392238"/>
            <a:ext cx="1763713" cy="1970087"/>
          </a:xfrm>
          <a:prstGeom prst="rect">
            <a:avLst/>
          </a:prstGeom>
          <a:noFill/>
          <a:ln w="9525">
            <a:noFill/>
            <a:miter lim="800000"/>
            <a:headEnd/>
            <a:tailEnd/>
          </a:ln>
        </p:spPr>
      </p:pic>
      <p:sp>
        <p:nvSpPr>
          <p:cNvPr id="7" name="Title 11"/>
          <p:cNvSpPr>
            <a:spLocks noGrp="1"/>
          </p:cNvSpPr>
          <p:nvPr>
            <p:ph type="title"/>
          </p:nvPr>
        </p:nvSpPr>
        <p:spPr>
          <a:xfrm>
            <a:off x="467543" y="325513"/>
            <a:ext cx="8208000" cy="655638"/>
          </a:xfrm>
        </p:spPr>
        <p:txBody>
          <a:bodyPr/>
          <a:lstStyle/>
          <a:p>
            <a:r>
              <a:rPr lang="fr-FR" sz="2400" b="1" dirty="0"/>
              <a:t>Jeremy Podger – Gérant de Portefeuille</a:t>
            </a:r>
          </a:p>
        </p:txBody>
      </p:sp>
      <p:sp>
        <p:nvSpPr>
          <p:cNvPr id="8" name="TextBox 171"/>
          <p:cNvSpPr txBox="1">
            <a:spLocks noChangeArrowheads="1"/>
          </p:cNvSpPr>
          <p:nvPr/>
        </p:nvSpPr>
        <p:spPr bwMode="auto">
          <a:xfrm>
            <a:off x="467992" y="6073102"/>
            <a:ext cx="8200668" cy="110800"/>
          </a:xfrm>
          <a:prstGeom prst="rect">
            <a:avLst/>
          </a:prstGeom>
          <a:noFill/>
          <a:ln w="9525">
            <a:noFill/>
            <a:miter lim="800000"/>
            <a:headEnd/>
            <a:tailEnd/>
          </a:ln>
        </p:spPr>
        <p:txBody>
          <a:bodyPr lIns="0" tIns="0" rIns="0" bIns="0" anchor="b">
            <a:spAutoFit/>
          </a:bodyPr>
          <a:lstStyle/>
          <a:p>
            <a:pPr defTabSz="912813" fontAlgn="base">
              <a:lnSpc>
                <a:spcPct val="90000"/>
              </a:lnSpc>
              <a:spcBef>
                <a:spcPct val="0"/>
              </a:spcBef>
              <a:spcAft>
                <a:spcPct val="0"/>
              </a:spcAft>
              <a:buClr>
                <a:srgbClr val="01286D"/>
              </a:buClr>
              <a:buSzPct val="80000"/>
              <a:buFont typeface="Wingdings" pitchFamily="2" charset="2"/>
              <a:buNone/>
            </a:pPr>
            <a:r>
              <a:rPr lang="fr-FR" sz="800" dirty="0">
                <a:solidFill>
                  <a:srgbClr val="20242B"/>
                </a:solidFill>
                <a:ea typeface="ＭＳ Ｐゴシック" charset="0"/>
              </a:rPr>
              <a:t>Source : Fidelity International, 30 </a:t>
            </a:r>
            <a:r>
              <a:rPr lang="fr-FR" sz="800" dirty="0" err="1">
                <a:solidFill>
                  <a:srgbClr val="20242B"/>
                </a:solidFill>
                <a:ea typeface="ＭＳ Ｐゴシック" charset="0"/>
              </a:rPr>
              <a:t>septembrei</a:t>
            </a:r>
            <a:r>
              <a:rPr lang="fr-FR" sz="800" dirty="0">
                <a:solidFill>
                  <a:srgbClr val="20242B"/>
                </a:solidFill>
                <a:ea typeface="ＭＳ Ｐゴシック" charset="0"/>
              </a:rPr>
              <a:t> 2022.</a:t>
            </a:r>
          </a:p>
        </p:txBody>
      </p:sp>
      <p:sp>
        <p:nvSpPr>
          <p:cNvPr id="9" name="Rectangle 2"/>
          <p:cNvSpPr>
            <a:spLocks noChangeArrowheads="1"/>
          </p:cNvSpPr>
          <p:nvPr/>
        </p:nvSpPr>
        <p:spPr bwMode="auto">
          <a:xfrm>
            <a:off x="458788" y="3362324"/>
            <a:ext cx="1763712" cy="2469491"/>
          </a:xfrm>
          <a:prstGeom prst="rect">
            <a:avLst/>
          </a:prstGeom>
          <a:solidFill>
            <a:schemeClr val="accent1"/>
          </a:solidFill>
          <a:ln w="9525">
            <a:noFill/>
            <a:miter lim="800000"/>
            <a:headEnd/>
            <a:tailEnd/>
          </a:ln>
        </p:spPr>
        <p:txBody>
          <a:bodyPr lIns="144000" tIns="108000" rIns="144000" bIns="108000"/>
          <a:lstStyle/>
          <a:p>
            <a:pPr marL="171450" indent="-171450" defTabSz="912813" eaLnBrk="0" fontAlgn="base" hangingPunct="0">
              <a:lnSpc>
                <a:spcPct val="114000"/>
              </a:lnSpc>
              <a:spcBef>
                <a:spcPct val="0"/>
              </a:spcBef>
              <a:spcAft>
                <a:spcPts val="1000"/>
              </a:spcAft>
              <a:buClr>
                <a:srgbClr val="FFFFFF"/>
              </a:buClr>
              <a:buSzPct val="70000"/>
              <a:buFont typeface="Arial" panose="020B0604020202020204" pitchFamily="34" charset="0"/>
              <a:buChar char="•"/>
            </a:pPr>
            <a:r>
              <a:rPr lang="fr-FR" sz="900" b="1" dirty="0">
                <a:solidFill>
                  <a:srgbClr val="FFFFFF"/>
                </a:solidFill>
                <a:ea typeface="ＭＳ Ｐゴシック" charset="0"/>
              </a:rPr>
              <a:t>Jeremy Podger</a:t>
            </a:r>
            <a:r>
              <a:rPr sz="2000" b="1" dirty="0">
                <a:solidFill>
                  <a:srgbClr val="20242B"/>
                </a:solidFill>
                <a:ea typeface="ＭＳ Ｐゴシック" charset="0"/>
              </a:rPr>
              <a:t/>
            </a:r>
            <a:br>
              <a:rPr sz="2000" b="1" dirty="0">
                <a:solidFill>
                  <a:srgbClr val="20242B"/>
                </a:solidFill>
                <a:ea typeface="ＭＳ Ｐゴシック" charset="0"/>
              </a:rPr>
            </a:br>
            <a:r>
              <a:rPr lang="fr-FR" sz="900" dirty="0">
                <a:solidFill>
                  <a:srgbClr val="FFFFFF"/>
                </a:solidFill>
                <a:ea typeface="ＭＳ Ｐゴシック" charset="0"/>
              </a:rPr>
              <a:t>Gérant de portefeuille</a:t>
            </a:r>
          </a:p>
          <a:p>
            <a:pPr marL="171450" indent="-171450" defTabSz="912813" eaLnBrk="0" fontAlgn="base" hangingPunct="0">
              <a:lnSpc>
                <a:spcPct val="114000"/>
              </a:lnSpc>
              <a:spcBef>
                <a:spcPct val="0"/>
              </a:spcBef>
              <a:spcAft>
                <a:spcPts val="1000"/>
              </a:spcAft>
              <a:buClr>
                <a:srgbClr val="FFFFFF"/>
              </a:buClr>
              <a:buSzPct val="70000"/>
              <a:buFont typeface="Arial" panose="020B0604020202020204" pitchFamily="34" charset="0"/>
              <a:buChar char="•"/>
            </a:pPr>
            <a:r>
              <a:rPr lang="fr-FR" sz="900" b="1" dirty="0">
                <a:solidFill>
                  <a:srgbClr val="FFFFFF"/>
                </a:solidFill>
                <a:ea typeface="ＭＳ Ｐゴシック" charset="0"/>
              </a:rPr>
              <a:t>Basé à : </a:t>
            </a:r>
            <a:r>
              <a:rPr lang="fr-FR" sz="900" dirty="0">
                <a:solidFill>
                  <a:srgbClr val="FFFFFF"/>
                </a:solidFill>
                <a:ea typeface="ＭＳ Ｐゴシック" charset="0"/>
              </a:rPr>
              <a:t>Londres</a:t>
            </a:r>
          </a:p>
          <a:p>
            <a:pPr marL="171450" indent="-171450" defTabSz="912813" eaLnBrk="0" fontAlgn="base" hangingPunct="0">
              <a:lnSpc>
                <a:spcPct val="114000"/>
              </a:lnSpc>
              <a:spcBef>
                <a:spcPct val="0"/>
              </a:spcBef>
              <a:spcAft>
                <a:spcPts val="1000"/>
              </a:spcAft>
              <a:buClr>
                <a:srgbClr val="FFFFFF"/>
              </a:buClr>
              <a:buSzPct val="70000"/>
              <a:buFont typeface="Arial" panose="020B0604020202020204" pitchFamily="34" charset="0"/>
              <a:buChar char="•"/>
            </a:pPr>
            <a:r>
              <a:rPr lang="fr-FR" sz="900" b="1" dirty="0">
                <a:solidFill>
                  <a:srgbClr val="FFFFFF"/>
                </a:solidFill>
                <a:ea typeface="ＭＳ Ｐゴシック" charset="0"/>
              </a:rPr>
              <a:t>Années d’expérience en gestion d'actifs : </a:t>
            </a:r>
            <a:r>
              <a:rPr lang="fr-FR" sz="900" dirty="0">
                <a:solidFill>
                  <a:srgbClr val="FFFFFF"/>
                </a:solidFill>
                <a:ea typeface="ＭＳ Ｐゴシック" charset="0"/>
              </a:rPr>
              <a:t>34</a:t>
            </a:r>
          </a:p>
          <a:p>
            <a:pPr marL="171450" indent="-171450" defTabSz="912813" eaLnBrk="0" fontAlgn="base" hangingPunct="0">
              <a:lnSpc>
                <a:spcPct val="114000"/>
              </a:lnSpc>
              <a:spcBef>
                <a:spcPct val="0"/>
              </a:spcBef>
              <a:spcAft>
                <a:spcPts val="1000"/>
              </a:spcAft>
              <a:buClr>
                <a:srgbClr val="FFFFFF"/>
              </a:buClr>
              <a:buSzPct val="70000"/>
              <a:buFont typeface="Arial" panose="020B0604020202020204" pitchFamily="34" charset="0"/>
              <a:buChar char="•"/>
            </a:pPr>
            <a:r>
              <a:rPr lang="fr-FR" sz="900" b="1" dirty="0">
                <a:solidFill>
                  <a:srgbClr val="FFFFFF"/>
                </a:solidFill>
                <a:ea typeface="ＭＳ Ｐゴシック" charset="0"/>
              </a:rPr>
              <a:t>Formation :</a:t>
            </a:r>
            <a:r>
              <a:rPr sz="2000" b="1" dirty="0">
                <a:solidFill>
                  <a:srgbClr val="20242B"/>
                </a:solidFill>
                <a:ea typeface="ＭＳ Ｐゴシック" charset="0"/>
              </a:rPr>
              <a:t/>
            </a:r>
            <a:br>
              <a:rPr sz="2000" b="1" dirty="0">
                <a:solidFill>
                  <a:srgbClr val="20242B"/>
                </a:solidFill>
                <a:ea typeface="ＭＳ Ｐゴシック" charset="0"/>
              </a:rPr>
            </a:br>
            <a:r>
              <a:rPr lang="fr-FR" sz="900" dirty="0">
                <a:solidFill>
                  <a:srgbClr val="FFFFFF"/>
                </a:solidFill>
                <a:ea typeface="ＭＳ Ｐゴシック" charset="0"/>
              </a:rPr>
              <a:t>Université de Cambridge</a:t>
            </a:r>
          </a:p>
        </p:txBody>
      </p:sp>
      <p:sp>
        <p:nvSpPr>
          <p:cNvPr id="10" name="TextBox 26"/>
          <p:cNvSpPr txBox="1">
            <a:spLocks noChangeArrowheads="1"/>
          </p:cNvSpPr>
          <p:nvPr/>
        </p:nvSpPr>
        <p:spPr bwMode="auto">
          <a:xfrm>
            <a:off x="2332038" y="2037206"/>
            <a:ext cx="1332000" cy="1703800"/>
          </a:xfrm>
          <a:prstGeom prst="rect">
            <a:avLst/>
          </a:prstGeom>
          <a:noFill/>
          <a:ln w="9525">
            <a:noFill/>
            <a:miter lim="800000"/>
            <a:headEnd/>
            <a:tailEnd/>
          </a:ln>
        </p:spPr>
        <p:txBody>
          <a:bodyPr lIns="0" tIns="0" rIns="0" bIns="0">
            <a:spAutoFit/>
          </a:bodyPr>
          <a:lstStyle/>
          <a:p>
            <a:pPr defTabSz="912813" fontAlgn="base">
              <a:lnSpc>
                <a:spcPct val="135000"/>
              </a:lnSpc>
              <a:spcBef>
                <a:spcPct val="0"/>
              </a:spcBef>
              <a:spcAft>
                <a:spcPct val="0"/>
              </a:spcAft>
              <a:buSzPts val="1400"/>
            </a:pPr>
            <a:r>
              <a:rPr lang="fr-FR" sz="1000" dirty="0">
                <a:solidFill>
                  <a:srgbClr val="0A4D80"/>
                </a:solidFill>
                <a:ea typeface="ＭＳ Ｐゴシック" charset="0"/>
              </a:rPr>
              <a:t>Saudi </a:t>
            </a:r>
            <a:r>
              <a:rPr sz="2400" b="1" dirty="0">
                <a:solidFill>
                  <a:srgbClr val="0A4D80"/>
                </a:solidFill>
                <a:ea typeface="ＭＳ Ｐゴシック" charset="0"/>
              </a:rPr>
              <a:t/>
            </a:r>
            <a:br>
              <a:rPr sz="2400" b="1" dirty="0">
                <a:solidFill>
                  <a:srgbClr val="0A4D80"/>
                </a:solidFill>
                <a:ea typeface="ＭＳ Ｐゴシック" charset="0"/>
              </a:rPr>
            </a:br>
            <a:r>
              <a:rPr lang="fr-FR" sz="1000" dirty="0">
                <a:solidFill>
                  <a:srgbClr val="0A4D80"/>
                </a:solidFill>
                <a:ea typeface="ＭＳ Ｐゴシック" charset="0"/>
              </a:rPr>
              <a:t>International Bank</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r>
              <a:rPr lang="fr-FR" sz="900" b="1" dirty="0">
                <a:solidFill>
                  <a:srgbClr val="505F77"/>
                </a:solidFill>
                <a:ea typeface="ＭＳ Ｐゴシック" charset="0"/>
              </a:rPr>
              <a:t>Gérant de fonds d’actions </a:t>
            </a:r>
          </a:p>
          <a:p>
            <a:pPr defTabSz="912813" fontAlgn="base">
              <a:lnSpc>
                <a:spcPct val="135000"/>
              </a:lnSpc>
              <a:spcBef>
                <a:spcPct val="0"/>
              </a:spcBef>
              <a:spcAft>
                <a:spcPct val="0"/>
              </a:spcAft>
              <a:buSzPts val="1400"/>
            </a:pPr>
            <a:r>
              <a:rPr lang="fr-FR" sz="900" b="1" dirty="0">
                <a:solidFill>
                  <a:srgbClr val="505F77"/>
                </a:solidFill>
                <a:ea typeface="ＭＳ Ｐゴシック" charset="0"/>
              </a:rPr>
              <a:t>pan-européennes / internationales</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1987 - 1992</a:t>
            </a:r>
          </a:p>
        </p:txBody>
      </p:sp>
      <p:sp>
        <p:nvSpPr>
          <p:cNvPr id="12" name="Isosceles Triangle 11"/>
          <p:cNvSpPr/>
          <p:nvPr/>
        </p:nvSpPr>
        <p:spPr>
          <a:xfrm flipV="1">
            <a:off x="2343621" y="1570125"/>
            <a:ext cx="111125" cy="1301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defRPr/>
            </a:pPr>
            <a:endParaRPr lang="en-GB" sz="2000" b="1" dirty="0">
              <a:solidFill>
                <a:srgbClr val="018BC8"/>
              </a:solidFill>
            </a:endParaRPr>
          </a:p>
        </p:txBody>
      </p:sp>
      <p:sp>
        <p:nvSpPr>
          <p:cNvPr id="13" name="TextBox 26"/>
          <p:cNvSpPr txBox="1">
            <a:spLocks noChangeArrowheads="1"/>
          </p:cNvSpPr>
          <p:nvPr/>
        </p:nvSpPr>
        <p:spPr bwMode="auto">
          <a:xfrm>
            <a:off x="2170584" y="1365338"/>
            <a:ext cx="457200" cy="166199"/>
          </a:xfrm>
          <a:prstGeom prst="rect">
            <a:avLst/>
          </a:prstGeom>
          <a:noFill/>
          <a:ln w="9525">
            <a:noFill/>
            <a:miter lim="800000"/>
            <a:headEnd/>
            <a:tailEnd/>
          </a:ln>
        </p:spPr>
        <p:txBody>
          <a:bodyPr lIns="0" tIns="0" rIns="0" bIns="0">
            <a:spAutoFit/>
          </a:bodyPr>
          <a:lstStyle/>
          <a:p>
            <a:pPr algn="ctr" defTabSz="912813" fontAlgn="base">
              <a:lnSpc>
                <a:spcPct val="120000"/>
              </a:lnSpc>
              <a:spcBef>
                <a:spcPct val="0"/>
              </a:spcBef>
              <a:spcAft>
                <a:spcPct val="0"/>
              </a:spcAft>
              <a:buSzPts val="1400"/>
            </a:pPr>
            <a:r>
              <a:rPr lang="fr-FR" sz="900" dirty="0">
                <a:solidFill>
                  <a:srgbClr val="018BC8"/>
                </a:solidFill>
                <a:ea typeface="ＭＳ Ｐゴシック" charset="0"/>
              </a:rPr>
              <a:t>1987</a:t>
            </a:r>
          </a:p>
        </p:txBody>
      </p:sp>
      <p:sp>
        <p:nvSpPr>
          <p:cNvPr id="15" name="Isosceles Triangle 14"/>
          <p:cNvSpPr/>
          <p:nvPr/>
        </p:nvSpPr>
        <p:spPr>
          <a:xfrm flipV="1">
            <a:off x="3553559" y="1570125"/>
            <a:ext cx="111125" cy="1301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defRPr/>
            </a:pPr>
            <a:endParaRPr lang="en-GB" sz="2000" b="1" dirty="0">
              <a:solidFill>
                <a:srgbClr val="018BC8"/>
              </a:solidFill>
            </a:endParaRPr>
          </a:p>
        </p:txBody>
      </p:sp>
      <p:sp>
        <p:nvSpPr>
          <p:cNvPr id="16" name="TextBox 26"/>
          <p:cNvSpPr txBox="1">
            <a:spLocks noChangeArrowheads="1"/>
          </p:cNvSpPr>
          <p:nvPr/>
        </p:nvSpPr>
        <p:spPr bwMode="auto">
          <a:xfrm>
            <a:off x="3374171" y="1365338"/>
            <a:ext cx="457200" cy="166199"/>
          </a:xfrm>
          <a:prstGeom prst="rect">
            <a:avLst/>
          </a:prstGeom>
          <a:noFill/>
          <a:ln w="9525">
            <a:noFill/>
            <a:miter lim="800000"/>
            <a:headEnd/>
            <a:tailEnd/>
          </a:ln>
        </p:spPr>
        <p:txBody>
          <a:bodyPr lIns="0" tIns="0" rIns="0" bIns="0">
            <a:spAutoFit/>
          </a:bodyPr>
          <a:lstStyle/>
          <a:p>
            <a:pPr algn="ctr" defTabSz="912813" fontAlgn="base">
              <a:lnSpc>
                <a:spcPct val="120000"/>
              </a:lnSpc>
              <a:spcBef>
                <a:spcPct val="0"/>
              </a:spcBef>
              <a:spcAft>
                <a:spcPct val="0"/>
              </a:spcAft>
              <a:buSzPts val="1400"/>
            </a:pPr>
            <a:r>
              <a:rPr lang="fr-FR" sz="900" dirty="0">
                <a:solidFill>
                  <a:srgbClr val="018BC8"/>
                </a:solidFill>
                <a:ea typeface="ＭＳ Ｐゴシック" charset="0"/>
              </a:rPr>
              <a:t>1992</a:t>
            </a:r>
          </a:p>
        </p:txBody>
      </p:sp>
      <p:sp>
        <p:nvSpPr>
          <p:cNvPr id="18" name="Isosceles Triangle 17"/>
          <p:cNvSpPr/>
          <p:nvPr/>
        </p:nvSpPr>
        <p:spPr>
          <a:xfrm flipV="1">
            <a:off x="6854854" y="1570125"/>
            <a:ext cx="112712" cy="13017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defRPr/>
            </a:pPr>
            <a:endParaRPr lang="en-GB" sz="2000" b="1" dirty="0">
              <a:solidFill>
                <a:srgbClr val="018BC8"/>
              </a:solidFill>
            </a:endParaRPr>
          </a:p>
        </p:txBody>
      </p:sp>
      <p:sp>
        <p:nvSpPr>
          <p:cNvPr id="19" name="TextBox 26"/>
          <p:cNvSpPr txBox="1">
            <a:spLocks noChangeArrowheads="1"/>
          </p:cNvSpPr>
          <p:nvPr/>
        </p:nvSpPr>
        <p:spPr bwMode="auto">
          <a:xfrm>
            <a:off x="6682610" y="1365338"/>
            <a:ext cx="457200" cy="166199"/>
          </a:xfrm>
          <a:prstGeom prst="rect">
            <a:avLst/>
          </a:prstGeom>
          <a:noFill/>
          <a:ln w="9525">
            <a:noFill/>
            <a:miter lim="800000"/>
            <a:headEnd/>
            <a:tailEnd/>
          </a:ln>
        </p:spPr>
        <p:txBody>
          <a:bodyPr lIns="0" tIns="0" rIns="0" bIns="0">
            <a:spAutoFit/>
          </a:bodyPr>
          <a:lstStyle/>
          <a:p>
            <a:pPr algn="ctr" defTabSz="912813" fontAlgn="base">
              <a:lnSpc>
                <a:spcPct val="120000"/>
              </a:lnSpc>
              <a:spcBef>
                <a:spcPct val="0"/>
              </a:spcBef>
              <a:spcAft>
                <a:spcPct val="0"/>
              </a:spcAft>
              <a:buSzPts val="1400"/>
            </a:pPr>
            <a:r>
              <a:rPr lang="fr-FR" sz="900" dirty="0">
                <a:solidFill>
                  <a:srgbClr val="018BC8"/>
                </a:solidFill>
                <a:ea typeface="ＭＳ Ｐゴシック" charset="0"/>
              </a:rPr>
              <a:t>2012</a:t>
            </a:r>
          </a:p>
        </p:txBody>
      </p:sp>
      <p:sp>
        <p:nvSpPr>
          <p:cNvPr id="20" name="TextBox 26"/>
          <p:cNvSpPr txBox="1">
            <a:spLocks noChangeArrowheads="1"/>
          </p:cNvSpPr>
          <p:nvPr/>
        </p:nvSpPr>
        <p:spPr bwMode="auto">
          <a:xfrm>
            <a:off x="6882045" y="2037206"/>
            <a:ext cx="1434012" cy="3573542"/>
          </a:xfrm>
          <a:prstGeom prst="rect">
            <a:avLst/>
          </a:prstGeom>
          <a:noFill/>
          <a:ln w="9525">
            <a:noFill/>
            <a:miter lim="800000"/>
            <a:headEnd/>
            <a:tailEnd/>
          </a:ln>
        </p:spPr>
        <p:txBody>
          <a:bodyPr wrap="square" lIns="0" tIns="0" rIns="0" bIns="0">
            <a:spAutoFit/>
          </a:bodyPr>
          <a:lstStyle/>
          <a:p>
            <a:pPr defTabSz="912813" fontAlgn="base">
              <a:lnSpc>
                <a:spcPct val="135000"/>
              </a:lnSpc>
              <a:spcBef>
                <a:spcPct val="0"/>
              </a:spcBef>
              <a:spcAft>
                <a:spcPct val="0"/>
              </a:spcAft>
              <a:buSzPts val="1400"/>
            </a:pPr>
            <a:r>
              <a:rPr lang="fr-FR" sz="1000" dirty="0">
                <a:solidFill>
                  <a:srgbClr val="0A4D80"/>
                </a:solidFill>
                <a:ea typeface="ＭＳ Ｐゴシック" charset="0"/>
              </a:rPr>
              <a:t>Fidelity </a:t>
            </a:r>
          </a:p>
          <a:p>
            <a:pPr defTabSz="912813" fontAlgn="base">
              <a:lnSpc>
                <a:spcPct val="135000"/>
              </a:lnSpc>
              <a:spcBef>
                <a:spcPct val="0"/>
              </a:spcBef>
              <a:spcAft>
                <a:spcPct val="0"/>
              </a:spcAft>
              <a:buSzPts val="1400"/>
            </a:pPr>
            <a:r>
              <a:rPr lang="fr-FR" sz="1000" dirty="0">
                <a:solidFill>
                  <a:srgbClr val="0A4D80"/>
                </a:solidFill>
                <a:ea typeface="ＭＳ Ｐゴシック" charset="0"/>
              </a:rPr>
              <a:t>International</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b="1" dirty="0">
                <a:solidFill>
                  <a:srgbClr val="505F77"/>
                </a:solidFill>
                <a:ea typeface="ＭＳ Ｐゴシック" charset="0"/>
              </a:rPr>
              <a:t>Gérant de portefeuille, actions internationales</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2012 - Aujourd'hui</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marL="171450" indent="-171450" defTabSz="912813" fontAlgn="base">
              <a:lnSpc>
                <a:spcPct val="135000"/>
              </a:lnSpc>
              <a:spcBef>
                <a:spcPct val="0"/>
              </a:spcBef>
              <a:spcAft>
                <a:spcPct val="0"/>
              </a:spcAft>
              <a:buSzPts val="1400"/>
              <a:buFont typeface="Arial" panose="020B0604020202020204" pitchFamily="34" charset="0"/>
              <a:buChar char="•"/>
            </a:pPr>
            <a:r>
              <a:rPr lang="fr-FR" sz="900" b="1" dirty="0">
                <a:solidFill>
                  <a:srgbClr val="505F77"/>
                </a:solidFill>
                <a:ea typeface="ＭＳ Ｐゴシック" charset="0"/>
              </a:rPr>
              <a:t>Global </a:t>
            </a:r>
            <a:r>
              <a:rPr lang="fr-FR" sz="900" b="1" dirty="0" err="1">
                <a:solidFill>
                  <a:srgbClr val="505F77"/>
                </a:solidFill>
                <a:ea typeface="ＭＳ Ｐゴシック" charset="0"/>
              </a:rPr>
              <a:t>Special</a:t>
            </a:r>
            <a:r>
              <a:rPr lang="fr-FR" sz="900" b="1" dirty="0">
                <a:solidFill>
                  <a:srgbClr val="505F77"/>
                </a:solidFill>
                <a:ea typeface="ＭＳ Ｐゴシック" charset="0"/>
              </a:rPr>
              <a:t> </a:t>
            </a:r>
            <a:r>
              <a:rPr lang="fr-FR" sz="900" b="1" dirty="0" err="1">
                <a:solidFill>
                  <a:srgbClr val="505F77"/>
                </a:solidFill>
                <a:ea typeface="ＭＳ Ｐゴシック" charset="0"/>
              </a:rPr>
              <a:t>Sits</a:t>
            </a:r>
            <a:r>
              <a:rPr lang="fr-FR" sz="900" b="1" dirty="0">
                <a:solidFill>
                  <a:srgbClr val="505F77"/>
                </a:solidFill>
                <a:ea typeface="ＭＳ Ｐゴシック" charset="0"/>
              </a:rPr>
              <a:t>. </a:t>
            </a:r>
            <a:endParaRPr lang="fr-FR" sz="20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Mars 2012 – Aujourd'hui</a:t>
            </a:r>
          </a:p>
          <a:p>
            <a:pPr marL="171450" indent="-171450" defTabSz="912813" fontAlgn="base">
              <a:lnSpc>
                <a:spcPct val="135000"/>
              </a:lnSpc>
              <a:spcBef>
                <a:spcPct val="0"/>
              </a:spcBef>
              <a:spcAft>
                <a:spcPct val="0"/>
              </a:spcAft>
              <a:buSzPts val="1400"/>
              <a:buFont typeface="Arial" panose="020B0604020202020204" pitchFamily="34" charset="0"/>
              <a:buChar char="•"/>
            </a:pPr>
            <a:endParaRPr lang="fr-FR" sz="900" b="1" dirty="0">
              <a:solidFill>
                <a:srgbClr val="505F77"/>
              </a:solidFill>
              <a:ea typeface="ＭＳ Ｐゴシック" charset="0"/>
            </a:endParaRPr>
          </a:p>
          <a:p>
            <a:pPr marL="171450" indent="-171450" defTabSz="912813" fontAlgn="base">
              <a:lnSpc>
                <a:spcPct val="135000"/>
              </a:lnSpc>
              <a:spcBef>
                <a:spcPct val="0"/>
              </a:spcBef>
              <a:spcAft>
                <a:spcPct val="0"/>
              </a:spcAft>
              <a:buSzPts val="1400"/>
              <a:buFont typeface="Arial" panose="020B0604020202020204" pitchFamily="34" charset="0"/>
              <a:buChar char="•"/>
            </a:pPr>
            <a:r>
              <a:rPr lang="fr-FR" sz="900" b="1" dirty="0">
                <a:solidFill>
                  <a:srgbClr val="505F77"/>
                </a:solidFill>
                <a:ea typeface="ＭＳ Ｐゴシック" charset="0"/>
              </a:rPr>
              <a:t>World </a:t>
            </a:r>
          </a:p>
          <a:p>
            <a:pPr defTabSz="912813" fontAlgn="base">
              <a:lnSpc>
                <a:spcPct val="135000"/>
              </a:lnSpc>
              <a:spcBef>
                <a:spcPct val="0"/>
              </a:spcBef>
              <a:spcAft>
                <a:spcPct val="0"/>
              </a:spcAft>
              <a:buSzPts val="1400"/>
            </a:pPr>
            <a:r>
              <a:rPr lang="fr-FR" sz="900" dirty="0">
                <a:solidFill>
                  <a:srgbClr val="505F77"/>
                </a:solidFill>
                <a:ea typeface="ＭＳ Ｐゴシック" charset="0"/>
              </a:rPr>
              <a:t>Juin 2014 – Aujourd'hui </a:t>
            </a:r>
          </a:p>
          <a:p>
            <a:pPr marL="171450" indent="-171450" defTabSz="912813" fontAlgn="base">
              <a:lnSpc>
                <a:spcPct val="135000"/>
              </a:lnSpc>
              <a:spcBef>
                <a:spcPct val="0"/>
              </a:spcBef>
              <a:spcAft>
                <a:spcPct val="0"/>
              </a:spcAft>
              <a:buSzPts val="1400"/>
              <a:buFont typeface="Arial" panose="020B0604020202020204" pitchFamily="34" charset="0"/>
              <a:buChar char="•"/>
            </a:pPr>
            <a:endParaRPr lang="fr-FR" sz="900" dirty="0">
              <a:solidFill>
                <a:srgbClr val="505F77"/>
              </a:solidFill>
              <a:ea typeface="ＭＳ Ｐゴシック" charset="0"/>
            </a:endParaRPr>
          </a:p>
          <a:p>
            <a:pPr marL="171450" indent="-171450" defTabSz="912813" fontAlgn="base">
              <a:lnSpc>
                <a:spcPct val="135000"/>
              </a:lnSpc>
              <a:spcBef>
                <a:spcPct val="0"/>
              </a:spcBef>
              <a:spcAft>
                <a:spcPct val="0"/>
              </a:spcAft>
              <a:buSzPts val="1400"/>
              <a:buFont typeface="Arial" panose="020B0604020202020204" pitchFamily="34" charset="0"/>
              <a:buChar char="•"/>
            </a:pPr>
            <a:r>
              <a:rPr lang="fr-FR" sz="900" b="1" dirty="0">
                <a:solidFill>
                  <a:srgbClr val="505F77"/>
                </a:solidFill>
                <a:ea typeface="ＭＳ Ｐゴシック" charset="0"/>
              </a:rPr>
              <a:t>Global</a:t>
            </a:r>
          </a:p>
          <a:p>
            <a:pPr defTabSz="912813" fontAlgn="base">
              <a:lnSpc>
                <a:spcPct val="135000"/>
              </a:lnSpc>
              <a:spcBef>
                <a:spcPct val="0"/>
              </a:spcBef>
              <a:spcAft>
                <a:spcPct val="0"/>
              </a:spcAft>
              <a:buSzPts val="1400"/>
            </a:pPr>
            <a:r>
              <a:rPr lang="fr-FR" sz="900" dirty="0">
                <a:solidFill>
                  <a:srgbClr val="505F77"/>
                </a:solidFill>
                <a:ea typeface="ＭＳ Ｐゴシック" charset="0"/>
              </a:rPr>
              <a:t>Nov. 2014 – Aujourd'hui</a:t>
            </a:r>
            <a:endParaRPr lang="fr-FR" sz="900" b="1" dirty="0">
              <a:solidFill>
                <a:srgbClr val="505F77"/>
              </a:solidFill>
              <a:ea typeface="ＭＳ Ｐゴシック" charset="0"/>
            </a:endParaRPr>
          </a:p>
        </p:txBody>
      </p:sp>
      <p:sp>
        <p:nvSpPr>
          <p:cNvPr id="21" name="TextBox 26"/>
          <p:cNvSpPr txBox="1">
            <a:spLocks noChangeArrowheads="1"/>
          </p:cNvSpPr>
          <p:nvPr/>
        </p:nvSpPr>
        <p:spPr bwMode="auto">
          <a:xfrm>
            <a:off x="3536503" y="2037206"/>
            <a:ext cx="977394" cy="1890774"/>
          </a:xfrm>
          <a:prstGeom prst="rect">
            <a:avLst/>
          </a:prstGeom>
          <a:noFill/>
          <a:ln w="9525">
            <a:noFill/>
            <a:miter lim="800000"/>
            <a:headEnd/>
            <a:tailEnd/>
          </a:ln>
        </p:spPr>
        <p:txBody>
          <a:bodyPr wrap="square" lIns="0" tIns="0" rIns="0" bIns="0">
            <a:spAutoFit/>
          </a:bodyPr>
          <a:lstStyle/>
          <a:p>
            <a:pPr defTabSz="912813" fontAlgn="base">
              <a:lnSpc>
                <a:spcPct val="135000"/>
              </a:lnSpc>
              <a:spcBef>
                <a:spcPct val="0"/>
              </a:spcBef>
              <a:spcAft>
                <a:spcPct val="0"/>
              </a:spcAft>
              <a:buSzPts val="1400"/>
            </a:pPr>
            <a:r>
              <a:rPr lang="fr-FR" sz="1000" dirty="0">
                <a:solidFill>
                  <a:srgbClr val="0A4D80"/>
                </a:solidFill>
                <a:ea typeface="ＭＳ Ｐゴシック" charset="0"/>
              </a:rPr>
              <a:t>Mirage </a:t>
            </a:r>
            <a:r>
              <a:rPr sz="2400" b="1" dirty="0">
                <a:solidFill>
                  <a:srgbClr val="0A4D80"/>
                </a:solidFill>
                <a:ea typeface="ＭＳ Ｐゴシック" charset="0"/>
              </a:rPr>
              <a:t/>
            </a:r>
            <a:br>
              <a:rPr sz="2400" b="1" dirty="0">
                <a:solidFill>
                  <a:srgbClr val="0A4D80"/>
                </a:solidFill>
                <a:ea typeface="ＭＳ Ｐゴシック" charset="0"/>
              </a:rPr>
            </a:br>
            <a:r>
              <a:rPr lang="fr-FR" sz="1000" dirty="0">
                <a:solidFill>
                  <a:srgbClr val="0A4D80"/>
                </a:solidFill>
                <a:ea typeface="ＭＳ Ｐゴシック" charset="0"/>
              </a:rPr>
              <a:t>Resources</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r>
              <a:rPr lang="fr-FR" sz="900" b="1" dirty="0">
                <a:solidFill>
                  <a:srgbClr val="505F77"/>
                </a:solidFill>
                <a:ea typeface="ＭＳ Ｐゴシック" charset="0"/>
              </a:rPr>
              <a:t>Gérant de fonds</a:t>
            </a:r>
            <a:r>
              <a:rPr sz="2000" b="1" dirty="0">
                <a:solidFill>
                  <a:srgbClr val="20242B"/>
                </a:solidFill>
                <a:ea typeface="ＭＳ Ｐゴシック" charset="0"/>
              </a:rPr>
              <a:t/>
            </a:r>
            <a:br>
              <a:rPr sz="2000" b="1" dirty="0">
                <a:solidFill>
                  <a:srgbClr val="20242B"/>
                </a:solidFill>
                <a:ea typeface="ＭＳ Ｐゴシック" charset="0"/>
              </a:rPr>
            </a:br>
            <a:r>
              <a:rPr lang="fr-FR" sz="900" b="1" dirty="0">
                <a:solidFill>
                  <a:srgbClr val="505F77"/>
                </a:solidFill>
                <a:ea typeface="ＭＳ Ｐゴシック" charset="0"/>
              </a:rPr>
              <a:t>d’actions internationales</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1992 - 1996</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p:txBody>
      </p:sp>
      <p:sp>
        <p:nvSpPr>
          <p:cNvPr id="23" name="Isosceles Triangle 22"/>
          <p:cNvSpPr/>
          <p:nvPr/>
        </p:nvSpPr>
        <p:spPr>
          <a:xfrm flipV="1">
            <a:off x="4677673" y="1570125"/>
            <a:ext cx="111125" cy="1301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defRPr/>
            </a:pPr>
            <a:endParaRPr lang="en-GB" sz="2000" b="1" dirty="0">
              <a:solidFill>
                <a:srgbClr val="018BC8"/>
              </a:solidFill>
            </a:endParaRPr>
          </a:p>
        </p:txBody>
      </p:sp>
      <p:sp>
        <p:nvSpPr>
          <p:cNvPr id="24" name="TextBox 26"/>
          <p:cNvSpPr txBox="1">
            <a:spLocks noChangeArrowheads="1"/>
          </p:cNvSpPr>
          <p:nvPr/>
        </p:nvSpPr>
        <p:spPr bwMode="auto">
          <a:xfrm>
            <a:off x="4498285" y="1365338"/>
            <a:ext cx="457200" cy="166199"/>
          </a:xfrm>
          <a:prstGeom prst="rect">
            <a:avLst/>
          </a:prstGeom>
          <a:noFill/>
          <a:ln w="9525">
            <a:noFill/>
            <a:miter lim="800000"/>
            <a:headEnd/>
            <a:tailEnd/>
          </a:ln>
        </p:spPr>
        <p:txBody>
          <a:bodyPr lIns="0" tIns="0" rIns="0" bIns="0">
            <a:spAutoFit/>
          </a:bodyPr>
          <a:lstStyle/>
          <a:p>
            <a:pPr algn="ctr" defTabSz="912813" fontAlgn="base">
              <a:lnSpc>
                <a:spcPct val="120000"/>
              </a:lnSpc>
              <a:spcBef>
                <a:spcPct val="0"/>
              </a:spcBef>
              <a:spcAft>
                <a:spcPct val="0"/>
              </a:spcAft>
              <a:buSzPts val="1400"/>
            </a:pPr>
            <a:r>
              <a:rPr lang="fr-FR" sz="900" dirty="0">
                <a:solidFill>
                  <a:srgbClr val="018BC8"/>
                </a:solidFill>
                <a:ea typeface="ＭＳ Ｐゴシック" charset="0"/>
              </a:rPr>
              <a:t>1996</a:t>
            </a:r>
          </a:p>
        </p:txBody>
      </p:sp>
      <p:sp>
        <p:nvSpPr>
          <p:cNvPr id="26" name="Isosceles Triangle 25"/>
          <p:cNvSpPr/>
          <p:nvPr/>
        </p:nvSpPr>
        <p:spPr>
          <a:xfrm flipV="1">
            <a:off x="5754262" y="1570125"/>
            <a:ext cx="111125" cy="1301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defRPr/>
            </a:pPr>
            <a:endParaRPr lang="en-GB" sz="2000" b="1" dirty="0">
              <a:solidFill>
                <a:srgbClr val="018BC8"/>
              </a:solidFill>
            </a:endParaRPr>
          </a:p>
        </p:txBody>
      </p:sp>
      <p:sp>
        <p:nvSpPr>
          <p:cNvPr id="27" name="TextBox 26"/>
          <p:cNvSpPr txBox="1">
            <a:spLocks noChangeArrowheads="1"/>
          </p:cNvSpPr>
          <p:nvPr/>
        </p:nvSpPr>
        <p:spPr bwMode="auto">
          <a:xfrm>
            <a:off x="5574874" y="1365338"/>
            <a:ext cx="457200" cy="166199"/>
          </a:xfrm>
          <a:prstGeom prst="rect">
            <a:avLst/>
          </a:prstGeom>
          <a:noFill/>
          <a:ln w="9525">
            <a:noFill/>
            <a:miter lim="800000"/>
            <a:headEnd/>
            <a:tailEnd/>
          </a:ln>
        </p:spPr>
        <p:txBody>
          <a:bodyPr lIns="0" tIns="0" rIns="0" bIns="0">
            <a:spAutoFit/>
          </a:bodyPr>
          <a:lstStyle/>
          <a:p>
            <a:pPr algn="ctr" defTabSz="912813" fontAlgn="base">
              <a:lnSpc>
                <a:spcPct val="120000"/>
              </a:lnSpc>
              <a:spcBef>
                <a:spcPct val="0"/>
              </a:spcBef>
              <a:spcAft>
                <a:spcPct val="0"/>
              </a:spcAft>
              <a:buSzPts val="1400"/>
            </a:pPr>
            <a:r>
              <a:rPr lang="fr-FR" sz="900" dirty="0">
                <a:solidFill>
                  <a:srgbClr val="018BC8"/>
                </a:solidFill>
                <a:ea typeface="ＭＳ Ｐゴシック" charset="0"/>
              </a:rPr>
              <a:t>2003</a:t>
            </a:r>
          </a:p>
        </p:txBody>
      </p:sp>
      <p:sp>
        <p:nvSpPr>
          <p:cNvPr id="28" name="TextBox 26"/>
          <p:cNvSpPr txBox="1">
            <a:spLocks noChangeArrowheads="1"/>
          </p:cNvSpPr>
          <p:nvPr/>
        </p:nvSpPr>
        <p:spPr bwMode="auto">
          <a:xfrm>
            <a:off x="4693870" y="2037206"/>
            <a:ext cx="985781" cy="1869999"/>
          </a:xfrm>
          <a:prstGeom prst="rect">
            <a:avLst/>
          </a:prstGeom>
          <a:noFill/>
          <a:ln w="9525">
            <a:noFill/>
            <a:miter lim="800000"/>
            <a:headEnd/>
            <a:tailEnd/>
          </a:ln>
        </p:spPr>
        <p:txBody>
          <a:bodyPr wrap="square" lIns="0" tIns="0" rIns="0" bIns="0">
            <a:spAutoFit/>
          </a:bodyPr>
          <a:lstStyle/>
          <a:p>
            <a:pPr defTabSz="912813" fontAlgn="base">
              <a:lnSpc>
                <a:spcPct val="135000"/>
              </a:lnSpc>
              <a:spcBef>
                <a:spcPct val="0"/>
              </a:spcBef>
              <a:spcAft>
                <a:spcPct val="0"/>
              </a:spcAft>
              <a:buSzPts val="1400"/>
            </a:pPr>
            <a:r>
              <a:rPr lang="fr-FR" sz="1000" dirty="0">
                <a:solidFill>
                  <a:srgbClr val="0A4D80"/>
                </a:solidFill>
                <a:ea typeface="ＭＳ Ｐゴシック" charset="0"/>
              </a:rPr>
              <a:t>Investec</a:t>
            </a:r>
            <a:r>
              <a:rPr sz="2000" b="1" dirty="0">
                <a:solidFill>
                  <a:srgbClr val="20242B"/>
                </a:solidFill>
                <a:ea typeface="ＭＳ Ｐゴシック" charset="0"/>
              </a:rPr>
              <a:t/>
            </a:r>
            <a:br>
              <a:rPr sz="2000" b="1" dirty="0">
                <a:solidFill>
                  <a:srgbClr val="20242B"/>
                </a:solidFill>
                <a:ea typeface="ＭＳ Ｐゴシック" charset="0"/>
              </a:rPr>
            </a:b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r>
              <a:rPr lang="fr-FR" sz="900" b="1" dirty="0">
                <a:solidFill>
                  <a:srgbClr val="505F77"/>
                </a:solidFill>
                <a:ea typeface="ＭＳ Ｐゴシック" charset="0"/>
              </a:rPr>
              <a:t>Gérant de</a:t>
            </a:r>
            <a:r>
              <a:rPr sz="2000" b="1" dirty="0">
                <a:solidFill>
                  <a:srgbClr val="20242B"/>
                </a:solidFill>
                <a:ea typeface="ＭＳ Ｐゴシック" charset="0"/>
              </a:rPr>
              <a:t/>
            </a:r>
            <a:br>
              <a:rPr sz="2000" b="1" dirty="0">
                <a:solidFill>
                  <a:srgbClr val="20242B"/>
                </a:solidFill>
                <a:ea typeface="ＭＳ Ｐゴシック" charset="0"/>
              </a:rPr>
            </a:br>
            <a:r>
              <a:rPr lang="fr-FR" sz="900" b="1" dirty="0">
                <a:solidFill>
                  <a:srgbClr val="505F77"/>
                </a:solidFill>
                <a:ea typeface="ＭＳ Ｐゴシック" charset="0"/>
              </a:rPr>
              <a:t>portefeuille, actions internationales</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1996 - 2003</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p:txBody>
      </p:sp>
      <p:sp>
        <p:nvSpPr>
          <p:cNvPr id="29" name="TextBox 26"/>
          <p:cNvSpPr txBox="1">
            <a:spLocks noChangeArrowheads="1"/>
          </p:cNvSpPr>
          <p:nvPr/>
        </p:nvSpPr>
        <p:spPr bwMode="auto">
          <a:xfrm>
            <a:off x="5754956" y="2037206"/>
            <a:ext cx="1001978" cy="1869999"/>
          </a:xfrm>
          <a:prstGeom prst="rect">
            <a:avLst/>
          </a:prstGeom>
          <a:noFill/>
          <a:ln w="9525">
            <a:noFill/>
            <a:miter lim="800000"/>
            <a:headEnd/>
            <a:tailEnd/>
          </a:ln>
        </p:spPr>
        <p:txBody>
          <a:bodyPr wrap="square" lIns="0" tIns="0" rIns="0" bIns="0">
            <a:spAutoFit/>
          </a:bodyPr>
          <a:lstStyle/>
          <a:p>
            <a:pPr defTabSz="912813" fontAlgn="base">
              <a:lnSpc>
                <a:spcPct val="135000"/>
              </a:lnSpc>
              <a:spcBef>
                <a:spcPct val="0"/>
              </a:spcBef>
              <a:spcAft>
                <a:spcPct val="0"/>
              </a:spcAft>
              <a:buSzPts val="1400"/>
            </a:pPr>
            <a:r>
              <a:rPr lang="fr-FR" sz="1000" dirty="0">
                <a:solidFill>
                  <a:srgbClr val="0A4D80"/>
                </a:solidFill>
                <a:ea typeface="ＭＳ Ｐゴシック" charset="0"/>
              </a:rPr>
              <a:t>Threadneedle </a:t>
            </a:r>
            <a:r>
              <a:rPr sz="2000" b="1" dirty="0">
                <a:solidFill>
                  <a:srgbClr val="20242B"/>
                </a:solidFill>
                <a:ea typeface="ＭＳ Ｐゴシック" charset="0"/>
              </a:rPr>
              <a:t/>
            </a:r>
            <a:br>
              <a:rPr sz="2000" b="1" dirty="0">
                <a:solidFill>
                  <a:srgbClr val="20242B"/>
                </a:solidFill>
                <a:ea typeface="ＭＳ Ｐゴシック" charset="0"/>
              </a:rPr>
            </a:b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a:p>
            <a:pPr defTabSz="912813" fontAlgn="base">
              <a:lnSpc>
                <a:spcPct val="135000"/>
              </a:lnSpc>
              <a:spcBef>
                <a:spcPct val="0"/>
              </a:spcBef>
              <a:spcAft>
                <a:spcPct val="0"/>
              </a:spcAft>
              <a:buSzPts val="1400"/>
            </a:pPr>
            <a:r>
              <a:rPr lang="fr-FR" sz="900" b="1" dirty="0">
                <a:solidFill>
                  <a:srgbClr val="505F77"/>
                </a:solidFill>
                <a:ea typeface="ＭＳ Ｐゴシック" charset="0"/>
              </a:rPr>
              <a:t>Responsable gestion actions </a:t>
            </a:r>
          </a:p>
          <a:p>
            <a:pPr defTabSz="912813" fontAlgn="base">
              <a:lnSpc>
                <a:spcPct val="135000"/>
              </a:lnSpc>
              <a:spcBef>
                <a:spcPct val="0"/>
              </a:spcBef>
              <a:spcAft>
                <a:spcPct val="0"/>
              </a:spcAft>
              <a:buSzPts val="1400"/>
            </a:pPr>
            <a:r>
              <a:rPr lang="fr-FR" sz="900" b="1" dirty="0">
                <a:solidFill>
                  <a:srgbClr val="505F77"/>
                </a:solidFill>
                <a:ea typeface="ＭＳ Ｐゴシック" charset="0"/>
              </a:rPr>
              <a:t>internationales et gérant</a:t>
            </a:r>
          </a:p>
          <a:p>
            <a:pPr defTabSz="912813" fontAlgn="base">
              <a:lnSpc>
                <a:spcPct val="135000"/>
              </a:lnSpc>
              <a:spcBef>
                <a:spcPct val="0"/>
              </a:spcBef>
              <a:spcAft>
                <a:spcPct val="0"/>
              </a:spcAft>
              <a:buSzPts val="1400"/>
            </a:pPr>
            <a:endParaRPr lang="fr-FR" sz="900" b="1" dirty="0">
              <a:solidFill>
                <a:srgbClr val="505F77"/>
              </a:solidFill>
              <a:ea typeface="ＭＳ Ｐゴシック" charset="0"/>
            </a:endParaRPr>
          </a:p>
          <a:p>
            <a:pPr defTabSz="912813" fontAlgn="base">
              <a:lnSpc>
                <a:spcPct val="135000"/>
              </a:lnSpc>
              <a:spcBef>
                <a:spcPct val="0"/>
              </a:spcBef>
              <a:spcAft>
                <a:spcPct val="0"/>
              </a:spcAft>
              <a:buSzPts val="1400"/>
            </a:pPr>
            <a:r>
              <a:rPr lang="fr-FR" sz="900" dirty="0">
                <a:solidFill>
                  <a:srgbClr val="505F77"/>
                </a:solidFill>
                <a:ea typeface="ＭＳ Ｐゴシック" charset="0"/>
              </a:rPr>
              <a:t>2003 - 2012</a:t>
            </a:r>
          </a:p>
          <a:p>
            <a:pPr defTabSz="912813" fontAlgn="base">
              <a:lnSpc>
                <a:spcPct val="135000"/>
              </a:lnSpc>
              <a:spcBef>
                <a:spcPct val="0"/>
              </a:spcBef>
              <a:spcAft>
                <a:spcPct val="0"/>
              </a:spcAft>
              <a:buSzPts val="1400"/>
            </a:pPr>
            <a:endParaRPr lang="fr-FR" sz="900" dirty="0">
              <a:solidFill>
                <a:srgbClr val="505F77"/>
              </a:solidFill>
              <a:ea typeface="ＭＳ Ｐゴシック" charset="0"/>
            </a:endParaRPr>
          </a:p>
        </p:txBody>
      </p:sp>
      <p:cxnSp>
        <p:nvCxnSpPr>
          <p:cNvPr id="30" name="Straight Connector 29"/>
          <p:cNvCxnSpPr/>
          <p:nvPr/>
        </p:nvCxnSpPr>
        <p:spPr>
          <a:xfrm>
            <a:off x="2339752" y="2529031"/>
            <a:ext cx="6336704" cy="0"/>
          </a:xfrm>
          <a:prstGeom prst="line">
            <a:avLst/>
          </a:prstGeom>
          <a:ln>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2339752" y="3895725"/>
            <a:ext cx="4417182" cy="0"/>
          </a:xfrm>
          <a:prstGeom prst="line">
            <a:avLst/>
          </a:prstGeom>
          <a:ln>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AutoShape 24"/>
          <p:cNvSpPr>
            <a:spLocks noChangeArrowheads="1"/>
          </p:cNvSpPr>
          <p:nvPr/>
        </p:nvSpPr>
        <p:spPr bwMode="auto">
          <a:xfrm>
            <a:off x="2339752" y="1758740"/>
            <a:ext cx="6335936" cy="216000"/>
          </a:xfrm>
          <a:prstGeom prst="rightArrow">
            <a:avLst>
              <a:gd name="adj1" fmla="val 75009"/>
              <a:gd name="adj2" fmla="val 80515"/>
            </a:avLst>
          </a:prstGeom>
          <a:solidFill>
            <a:schemeClr val="accent1"/>
          </a:solidFill>
          <a:ln w="12700">
            <a:noFill/>
            <a:miter lim="800000"/>
            <a:headEnd/>
            <a:tailEnd/>
          </a:ln>
          <a:effectLst/>
        </p:spPr>
        <p:txBody>
          <a:bodyPr wrap="none" anchor="ctr"/>
          <a:lstStyle/>
          <a:p>
            <a:endParaRPr lang="en-GB" sz="2000">
              <a:solidFill>
                <a:srgbClr val="000000"/>
              </a:solidFill>
              <a:ea typeface="ＭＳ Ｐゴシック" charset="0"/>
            </a:endParaRPr>
          </a:p>
        </p:txBody>
      </p:sp>
      <p:cxnSp>
        <p:nvCxnSpPr>
          <p:cNvPr id="33" name="Straight Connector 32"/>
          <p:cNvCxnSpPr/>
          <p:nvPr/>
        </p:nvCxnSpPr>
        <p:spPr>
          <a:xfrm>
            <a:off x="2338984" y="5831816"/>
            <a:ext cx="6336704"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09317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2"/>
          <p:cNvSpPr>
            <a:spLocks noGrp="1"/>
          </p:cNvSpPr>
          <p:nvPr>
            <p:ph type="title"/>
          </p:nvPr>
        </p:nvSpPr>
        <p:spPr bwMode="gray"/>
        <p:txBody>
          <a:bodyPr vert="horz" wrap="square" lIns="0" tIns="0" rIns="0" bIns="0" rtlCol="0" anchor="b" anchorCtr="0">
            <a:spAutoFit/>
          </a:bodyPr>
          <a:lstStyle/>
          <a:p>
            <a:pPr>
              <a:lnSpc>
                <a:spcPct val="90000"/>
              </a:lnSpc>
            </a:pPr>
            <a:r>
              <a:rPr lang="en-GB" dirty="0" err="1">
                <a:solidFill>
                  <a:srgbClr val="20242B"/>
                </a:solidFill>
              </a:rPr>
              <a:t>Historique</a:t>
            </a:r>
            <a:r>
              <a:rPr lang="en-GB" dirty="0">
                <a:solidFill>
                  <a:srgbClr val="20242B"/>
                </a:solidFill>
              </a:rPr>
              <a:t> de performances de </a:t>
            </a:r>
            <a:r>
              <a:rPr lang="en-GB" dirty="0" err="1">
                <a:solidFill>
                  <a:srgbClr val="20242B"/>
                </a:solidFill>
              </a:rPr>
              <a:t>Jérémy</a:t>
            </a:r>
            <a:r>
              <a:rPr lang="en-GB" dirty="0">
                <a:solidFill>
                  <a:srgbClr val="20242B"/>
                </a:solidFill>
              </a:rPr>
              <a:t> Podger – au 31 </a:t>
            </a:r>
            <a:r>
              <a:rPr lang="en-GB" dirty="0" err="1">
                <a:solidFill>
                  <a:srgbClr val="20242B"/>
                </a:solidFill>
              </a:rPr>
              <a:t>Octobre</a:t>
            </a:r>
            <a:r>
              <a:rPr lang="en-GB" dirty="0">
                <a:solidFill>
                  <a:srgbClr val="20242B"/>
                </a:solidFill>
              </a:rPr>
              <a:t> 2022</a:t>
            </a:r>
          </a:p>
        </p:txBody>
      </p:sp>
      <p:sp>
        <p:nvSpPr>
          <p:cNvPr id="3" name="Subtitle 2">
            <a:extLst>
              <a:ext uri="{FF2B5EF4-FFF2-40B4-BE49-F238E27FC236}">
                <a16:creationId xmlns:a16="http://schemas.microsoft.com/office/drawing/2014/main" id="{14CAF714-9533-4D6A-9D64-6EFD2A5D5FD7}"/>
              </a:ext>
            </a:extLst>
          </p:cNvPr>
          <p:cNvSpPr>
            <a:spLocks noGrp="1"/>
          </p:cNvSpPr>
          <p:nvPr>
            <p:ph type="subTitle" idx="16"/>
          </p:nvPr>
        </p:nvSpPr>
        <p:spPr>
          <a:xfrm>
            <a:off x="358614" y="1432341"/>
            <a:ext cx="8424000" cy="415499"/>
          </a:xfrm>
        </p:spPr>
        <p:txBody>
          <a:bodyPr/>
          <a:lstStyle/>
          <a:p>
            <a:r>
              <a:rPr lang="en-GB" dirty="0"/>
              <a:t>Outperformance of global indices and peers over a long industry tenure </a:t>
            </a:r>
          </a:p>
          <a:p>
            <a:pPr>
              <a:buNone/>
            </a:pPr>
            <a:endParaRPr lang="en-US" dirty="0"/>
          </a:p>
        </p:txBody>
      </p:sp>
      <p:sp>
        <p:nvSpPr>
          <p:cNvPr id="2" name="Text Placeholder 1">
            <a:extLst>
              <a:ext uri="{FF2B5EF4-FFF2-40B4-BE49-F238E27FC236}">
                <a16:creationId xmlns:a16="http://schemas.microsoft.com/office/drawing/2014/main" id="{69C2364D-CA6E-4C92-B4A2-2F28FE933A44}"/>
              </a:ext>
            </a:extLst>
          </p:cNvPr>
          <p:cNvSpPr>
            <a:spLocks noGrp="1"/>
          </p:cNvSpPr>
          <p:nvPr>
            <p:ph type="body" sz="quarter" idx="14"/>
          </p:nvPr>
        </p:nvSpPr>
        <p:spPr>
          <a:xfrm>
            <a:off x="359570" y="5245879"/>
            <a:ext cx="8424000" cy="249299"/>
          </a:xfrm>
        </p:spPr>
        <p:txBody>
          <a:bodyPr/>
          <a:lstStyle/>
          <a:p>
            <a:r>
              <a:rPr lang="en-GB" dirty="0"/>
              <a:t>Source: Morningstar Direct. Basis: bid-bid, net income reinvested at UK basic rate of tax in UK sterling to 31 October 2022. Jeremy Podger's combined track record of Investec Global Strategy I Acc GBP (01 April 1996 – 31 August 2003), Threadneedle Global Select Z Acc GBP (1 September 2003 – 29 February 2012) and Fidelity Global Special Situations W Acc (1 March 2012 onwards). Note that the MSCI ACWI Gross Return (GR) index is used as the Net Return (NR) index does not have sufficient history.</a:t>
            </a:r>
          </a:p>
        </p:txBody>
      </p:sp>
      <p:sp>
        <p:nvSpPr>
          <p:cNvPr id="26" name="Rectangle 25"/>
          <p:cNvSpPr/>
          <p:nvPr/>
        </p:nvSpPr>
        <p:spPr>
          <a:xfrm>
            <a:off x="3528944" y="5706257"/>
            <a:ext cx="2217274" cy="253916"/>
          </a:xfrm>
          <a:prstGeom prst="rect">
            <a:avLst/>
          </a:prstGeom>
        </p:spPr>
        <p:txBody>
          <a:bodyPr wrap="none">
            <a:spAutoFit/>
          </a:bodyPr>
          <a:lstStyle/>
          <a:p>
            <a:pPr defTabSz="912813" fontAlgn="base">
              <a:spcBef>
                <a:spcPct val="0"/>
              </a:spcBef>
              <a:spcAft>
                <a:spcPct val="0"/>
              </a:spcAft>
            </a:pPr>
            <a:r>
              <a:rPr lang="en-GB" sz="1050" b="1" dirty="0">
                <a:solidFill>
                  <a:srgbClr val="20242B"/>
                </a:solidFill>
                <a:ea typeface="ＭＳ Ｐゴシック" charset="0"/>
              </a:rPr>
              <a:t>For Professional Investors Only</a:t>
            </a:r>
          </a:p>
        </p:txBody>
      </p:sp>
      <p:sp>
        <p:nvSpPr>
          <p:cNvPr id="23" name="Rectangle 22">
            <a:extLst>
              <a:ext uri="{FF2B5EF4-FFF2-40B4-BE49-F238E27FC236}">
                <a16:creationId xmlns:a16="http://schemas.microsoft.com/office/drawing/2014/main" id="{F3DF4AF9-D5B6-4882-A666-0372A408B968}"/>
              </a:ext>
            </a:extLst>
          </p:cNvPr>
          <p:cNvSpPr/>
          <p:nvPr/>
        </p:nvSpPr>
        <p:spPr>
          <a:xfrm>
            <a:off x="359569" y="4893864"/>
            <a:ext cx="8417609" cy="320857"/>
          </a:xfrm>
          <a:prstGeom prst="rect">
            <a:avLst/>
          </a:prstGeom>
        </p:spPr>
        <p:txBody>
          <a:bodyPr wrap="square">
            <a:spAutoFit/>
          </a:bodyPr>
          <a:lstStyle/>
          <a:p>
            <a:pPr algn="ctr" defTabSz="912813" fontAlgn="base">
              <a:lnSpc>
                <a:spcPct val="90000"/>
              </a:lnSpc>
              <a:spcBef>
                <a:spcPct val="0"/>
              </a:spcBef>
              <a:spcAft>
                <a:spcPct val="0"/>
              </a:spcAft>
            </a:pPr>
            <a:r>
              <a:rPr lang="en-GB" sz="825" b="1" dirty="0">
                <a:solidFill>
                  <a:srgbClr val="20242B"/>
                </a:solidFill>
                <a:ea typeface="ＭＳ Ｐゴシック" charset="-128"/>
              </a:rPr>
              <a:t>Past performance is not a reliable indicator of future results. Returns may increase or decrease as a result of currency fluctuations. </a:t>
            </a:r>
            <a:r>
              <a:rPr lang="en-GB" sz="825" b="1" dirty="0">
                <a:solidFill>
                  <a:srgbClr val="20242B"/>
                </a:solidFill>
                <a:ea typeface="ＭＳ Ｐゴシック" charset="0"/>
              </a:rPr>
              <a:t>For funds that invest in overseas markets, changes in currency exchange rates may affect the value of an investment.</a:t>
            </a:r>
          </a:p>
        </p:txBody>
      </p:sp>
      <p:sp>
        <p:nvSpPr>
          <p:cNvPr id="24" name="Rectangle 23">
            <a:extLst>
              <a:ext uri="{FF2B5EF4-FFF2-40B4-BE49-F238E27FC236}">
                <a16:creationId xmlns:a16="http://schemas.microsoft.com/office/drawing/2014/main" id="{AD3D23F8-1AD5-45C1-844C-B530A538F072}"/>
              </a:ext>
            </a:extLst>
          </p:cNvPr>
          <p:cNvSpPr/>
          <p:nvPr/>
        </p:nvSpPr>
        <p:spPr bwMode="gray">
          <a:xfrm>
            <a:off x="5583739" y="1847839"/>
            <a:ext cx="2750636" cy="28471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2813" fontAlgn="base">
              <a:spcBef>
                <a:spcPct val="0"/>
              </a:spcBef>
              <a:spcAft>
                <a:spcPct val="0"/>
              </a:spcAft>
            </a:pPr>
            <a:endParaRPr lang="en-GB" sz="825" b="1" dirty="0">
              <a:solidFill>
                <a:prstClr val="white"/>
              </a:solidFill>
            </a:endParaRPr>
          </a:p>
        </p:txBody>
      </p:sp>
      <p:sp>
        <p:nvSpPr>
          <p:cNvPr id="27" name="TextBox 1">
            <a:extLst>
              <a:ext uri="{FF2B5EF4-FFF2-40B4-BE49-F238E27FC236}">
                <a16:creationId xmlns:a16="http://schemas.microsoft.com/office/drawing/2014/main" id="{A42C3269-B460-482B-82F8-FF9667F99B5E}"/>
              </a:ext>
            </a:extLst>
          </p:cNvPr>
          <p:cNvSpPr txBox="1"/>
          <p:nvPr/>
        </p:nvSpPr>
        <p:spPr bwMode="gray">
          <a:xfrm>
            <a:off x="917969" y="2080005"/>
            <a:ext cx="2162083" cy="439505"/>
          </a:xfrm>
          <a:prstGeom prst="rect">
            <a:avLst/>
          </a:prstGeom>
          <a:solidFill>
            <a:schemeClr val="bg1"/>
          </a:solidFill>
          <a:ln>
            <a:solidFill>
              <a:schemeClr val="tx2"/>
            </a:solidFill>
          </a:ln>
        </p:spPr>
        <p:txBody>
          <a:bodyPr wrap="square" lIns="54000" tIns="27000" rIns="0" bIns="2700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MSCI ACWI: 	4.4%</a:t>
            </a:r>
          </a:p>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MSCI World: 	4.5%</a:t>
            </a:r>
          </a:p>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Sector Avg.: 	5.9%</a:t>
            </a:r>
          </a:p>
          <a:p>
            <a:pPr defTabSz="912813" fontAlgn="base">
              <a:spcBef>
                <a:spcPts val="75"/>
              </a:spcBef>
              <a:spcAft>
                <a:spcPct val="0"/>
              </a:spcAft>
              <a:tabLst>
                <a:tab pos="1750219" algn="r"/>
              </a:tabLst>
            </a:pPr>
            <a:r>
              <a:rPr lang="en-GB" sz="563" b="1" dirty="0">
                <a:solidFill>
                  <a:srgbClr val="20242B"/>
                </a:solidFill>
                <a:cs typeface="Arial" pitchFamily="34" charset="0"/>
              </a:rPr>
              <a:t>% of Peers Beaten: 	91%</a:t>
            </a:r>
          </a:p>
        </p:txBody>
      </p:sp>
      <p:sp>
        <p:nvSpPr>
          <p:cNvPr id="28" name="TextBox 1">
            <a:extLst>
              <a:ext uri="{FF2B5EF4-FFF2-40B4-BE49-F238E27FC236}">
                <a16:creationId xmlns:a16="http://schemas.microsoft.com/office/drawing/2014/main" id="{CA8B93A2-1B55-46B0-AD1A-9EFB7D3D33A9}"/>
              </a:ext>
            </a:extLst>
          </p:cNvPr>
          <p:cNvSpPr txBox="1"/>
          <p:nvPr/>
        </p:nvSpPr>
        <p:spPr bwMode="gray">
          <a:xfrm>
            <a:off x="917969" y="1885537"/>
            <a:ext cx="2162083" cy="174315"/>
          </a:xfrm>
          <a:prstGeom prst="rect">
            <a:avLst/>
          </a:prstGeom>
          <a:solidFill>
            <a:schemeClr val="tx2"/>
          </a:solidFill>
          <a:ln>
            <a:solidFill>
              <a:schemeClr val="tx2"/>
            </a:solidFill>
          </a:ln>
        </p:spPr>
        <p:txBody>
          <a:bodyPr wrap="square" lIns="54000" tIns="27000" bIns="2700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2813" fontAlgn="base">
              <a:spcBef>
                <a:spcPct val="0"/>
              </a:spcBef>
              <a:spcAft>
                <a:spcPct val="0"/>
              </a:spcAft>
            </a:pPr>
            <a:r>
              <a:rPr lang="en-GB" sz="600" b="1" dirty="0">
                <a:solidFill>
                  <a:prstClr val="white"/>
                </a:solidFill>
                <a:cs typeface="Arial" pitchFamily="34" charset="0"/>
              </a:rPr>
              <a:t>Investec Global Free Enterprise</a:t>
            </a:r>
          </a:p>
        </p:txBody>
      </p:sp>
      <p:sp>
        <p:nvSpPr>
          <p:cNvPr id="29" name="TextBox 1">
            <a:extLst>
              <a:ext uri="{FF2B5EF4-FFF2-40B4-BE49-F238E27FC236}">
                <a16:creationId xmlns:a16="http://schemas.microsoft.com/office/drawing/2014/main" id="{7D277208-BA24-447F-AAA0-593B96A05494}"/>
              </a:ext>
            </a:extLst>
          </p:cNvPr>
          <p:cNvSpPr txBox="1"/>
          <p:nvPr/>
        </p:nvSpPr>
        <p:spPr bwMode="gray">
          <a:xfrm>
            <a:off x="3156140" y="2080005"/>
            <a:ext cx="2389661" cy="439505"/>
          </a:xfrm>
          <a:prstGeom prst="rect">
            <a:avLst/>
          </a:prstGeom>
          <a:solidFill>
            <a:schemeClr val="bg1"/>
          </a:solidFill>
          <a:ln>
            <a:solidFill>
              <a:schemeClr val="tx2"/>
            </a:solidFill>
          </a:ln>
        </p:spPr>
        <p:txBody>
          <a:bodyPr wrap="square" lIns="54000" tIns="27000" rIns="0" bIns="2700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MSCI ACWI: 	0.8%</a:t>
            </a:r>
          </a:p>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MSCI World: 	2.1%</a:t>
            </a:r>
          </a:p>
          <a:p>
            <a:pPr defTabSz="912813" fontAlgn="base">
              <a:spcBef>
                <a:spcPts val="75"/>
              </a:spcBef>
              <a:spcAft>
                <a:spcPct val="0"/>
              </a:spcAft>
              <a:tabLst>
                <a:tab pos="1750219" algn="r"/>
              </a:tabLst>
            </a:pPr>
            <a:r>
              <a:rPr lang="en-GB" sz="563" b="1" dirty="0">
                <a:solidFill>
                  <a:srgbClr val="20242B"/>
                </a:solidFill>
                <a:cs typeface="Arial" pitchFamily="34" charset="0"/>
              </a:rPr>
              <a:t>Ann. Net Excess Return vs. Sector Average: 	1.5%</a:t>
            </a:r>
          </a:p>
          <a:p>
            <a:pPr defTabSz="912813" fontAlgn="base">
              <a:spcBef>
                <a:spcPts val="75"/>
              </a:spcBef>
              <a:spcAft>
                <a:spcPct val="0"/>
              </a:spcAft>
              <a:tabLst>
                <a:tab pos="1750219" algn="r"/>
              </a:tabLst>
            </a:pPr>
            <a:r>
              <a:rPr lang="en-GB" sz="563" b="1" dirty="0">
                <a:solidFill>
                  <a:srgbClr val="20242B"/>
                </a:solidFill>
                <a:cs typeface="Arial" pitchFamily="34" charset="0"/>
              </a:rPr>
              <a:t>% of Peers Beaten: 	67%</a:t>
            </a:r>
          </a:p>
        </p:txBody>
      </p:sp>
      <p:sp>
        <p:nvSpPr>
          <p:cNvPr id="30" name="TextBox 1">
            <a:extLst>
              <a:ext uri="{FF2B5EF4-FFF2-40B4-BE49-F238E27FC236}">
                <a16:creationId xmlns:a16="http://schemas.microsoft.com/office/drawing/2014/main" id="{0006670F-5202-495B-82EF-5680F96AACAF}"/>
              </a:ext>
            </a:extLst>
          </p:cNvPr>
          <p:cNvSpPr txBox="1"/>
          <p:nvPr/>
        </p:nvSpPr>
        <p:spPr bwMode="gray">
          <a:xfrm>
            <a:off x="3156140" y="1885537"/>
            <a:ext cx="2389661" cy="174315"/>
          </a:xfrm>
          <a:prstGeom prst="rect">
            <a:avLst/>
          </a:prstGeom>
          <a:solidFill>
            <a:schemeClr val="tx2"/>
          </a:solidFill>
          <a:ln>
            <a:solidFill>
              <a:schemeClr val="tx2"/>
            </a:solidFill>
          </a:ln>
        </p:spPr>
        <p:txBody>
          <a:bodyPr wrap="square" lIns="54000" tIns="27000" bIns="2700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2813" fontAlgn="base">
              <a:spcBef>
                <a:spcPct val="0"/>
              </a:spcBef>
              <a:spcAft>
                <a:spcPct val="0"/>
              </a:spcAft>
            </a:pPr>
            <a:r>
              <a:rPr lang="en-GB" sz="600" b="1" dirty="0">
                <a:solidFill>
                  <a:prstClr val="white"/>
                </a:solidFill>
                <a:cs typeface="Arial" pitchFamily="34" charset="0"/>
              </a:rPr>
              <a:t>Threadneedle Global Select</a:t>
            </a:r>
          </a:p>
        </p:txBody>
      </p:sp>
      <p:sp>
        <p:nvSpPr>
          <p:cNvPr id="33" name="Rectangle 32">
            <a:extLst>
              <a:ext uri="{FF2B5EF4-FFF2-40B4-BE49-F238E27FC236}">
                <a16:creationId xmlns:a16="http://schemas.microsoft.com/office/drawing/2014/main" id="{BB9C769F-9B3A-4524-BBD5-383D01BC0FE3}"/>
              </a:ext>
            </a:extLst>
          </p:cNvPr>
          <p:cNvSpPr/>
          <p:nvPr/>
        </p:nvSpPr>
        <p:spPr>
          <a:xfrm>
            <a:off x="8302246" y="2039923"/>
            <a:ext cx="590226" cy="207749"/>
          </a:xfrm>
          <a:prstGeom prst="rect">
            <a:avLst/>
          </a:prstGeom>
        </p:spPr>
        <p:txBody>
          <a:bodyPr wrap="none">
            <a:spAutoFit/>
          </a:bodyPr>
          <a:lstStyle/>
          <a:p>
            <a:pPr defTabSz="912813" fontAlgn="base">
              <a:spcBef>
                <a:spcPct val="0"/>
              </a:spcBef>
              <a:spcAft>
                <a:spcPct val="0"/>
              </a:spcAft>
              <a:defRPr sz="1200" b="0" i="0" u="none" strike="noStrike" kern="1200" baseline="0">
                <a:solidFill>
                  <a:srgbClr val="000000"/>
                </a:solidFill>
                <a:latin typeface="Arial"/>
                <a:ea typeface="Arial"/>
                <a:cs typeface="Arial"/>
              </a:defRPr>
            </a:pPr>
            <a:r>
              <a:rPr lang="en-US" sz="750" dirty="0">
                <a:solidFill>
                  <a:srgbClr val="018BC8"/>
                </a:solidFill>
                <a:ea typeface="Arial"/>
                <a:cs typeface="Arial"/>
              </a:rPr>
              <a:t>9.8% p.a.</a:t>
            </a:r>
          </a:p>
        </p:txBody>
      </p:sp>
      <p:graphicFrame>
        <p:nvGraphicFramePr>
          <p:cNvPr id="25" name="Chart 24">
            <a:extLst>
              <a:ext uri="{FF2B5EF4-FFF2-40B4-BE49-F238E27FC236}">
                <a16:creationId xmlns:a16="http://schemas.microsoft.com/office/drawing/2014/main" id="{9A4E4E2B-D4BF-4A80-ABFF-2C33DF2BFA31}"/>
              </a:ext>
            </a:extLst>
          </p:cNvPr>
          <p:cNvGraphicFramePr/>
          <p:nvPr/>
        </p:nvGraphicFramePr>
        <p:xfrm>
          <a:off x="358614" y="1742608"/>
          <a:ext cx="8213886" cy="3083654"/>
        </p:xfrm>
        <a:graphic>
          <a:graphicData uri="http://schemas.openxmlformats.org/drawingml/2006/chart">
            <c:chart xmlns:c="http://schemas.openxmlformats.org/drawingml/2006/chart" xmlns:r="http://schemas.openxmlformats.org/officeDocument/2006/relationships" r:id="rId3"/>
          </a:graphicData>
        </a:graphic>
      </p:graphicFrame>
      <p:sp>
        <p:nvSpPr>
          <p:cNvPr id="31" name="Isosceles Triangle 30">
            <a:extLst>
              <a:ext uri="{FF2B5EF4-FFF2-40B4-BE49-F238E27FC236}">
                <a16:creationId xmlns:a16="http://schemas.microsoft.com/office/drawing/2014/main" id="{26817D6E-1A32-4705-A22B-0BD4EF64BC57}"/>
              </a:ext>
            </a:extLst>
          </p:cNvPr>
          <p:cNvSpPr/>
          <p:nvPr/>
        </p:nvSpPr>
        <p:spPr bwMode="gray">
          <a:xfrm>
            <a:off x="6844744" y="3551670"/>
            <a:ext cx="1355883" cy="9723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813" fontAlgn="base">
              <a:spcBef>
                <a:spcPct val="0"/>
              </a:spcBef>
              <a:spcAft>
                <a:spcPct val="0"/>
              </a:spcAft>
            </a:pPr>
            <a:endParaRPr lang="en-GB" b="1" dirty="0">
              <a:solidFill>
                <a:prstClr val="white"/>
              </a:solidFill>
            </a:endParaRPr>
          </a:p>
        </p:txBody>
      </p:sp>
      <p:sp>
        <p:nvSpPr>
          <p:cNvPr id="54" name="TextBox 1">
            <a:extLst>
              <a:ext uri="{FF2B5EF4-FFF2-40B4-BE49-F238E27FC236}">
                <a16:creationId xmlns:a16="http://schemas.microsoft.com/office/drawing/2014/main" id="{DC4BED8E-0C5A-4941-8255-7C64C8039DC0}"/>
              </a:ext>
            </a:extLst>
          </p:cNvPr>
          <p:cNvSpPr txBox="1"/>
          <p:nvPr/>
        </p:nvSpPr>
        <p:spPr bwMode="gray">
          <a:xfrm>
            <a:off x="5664482" y="3619049"/>
            <a:ext cx="2565183" cy="216600"/>
          </a:xfrm>
          <a:prstGeom prst="rect">
            <a:avLst/>
          </a:prstGeom>
          <a:solidFill>
            <a:schemeClr val="tx2"/>
          </a:solidFill>
          <a:ln>
            <a:solidFill>
              <a:schemeClr val="tx2"/>
            </a:solidFill>
          </a:ln>
        </p:spPr>
        <p:txBody>
          <a:bodyPr wrap="square" lIns="54000" tIns="27000" bIns="2700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2813" fontAlgn="base">
              <a:spcBef>
                <a:spcPct val="0"/>
              </a:spcBef>
              <a:spcAft>
                <a:spcPct val="0"/>
              </a:spcAft>
            </a:pPr>
            <a:r>
              <a:rPr lang="en-GB" sz="600" b="1" dirty="0">
                <a:solidFill>
                  <a:prstClr val="white"/>
                </a:solidFill>
                <a:cs typeface="Arial" pitchFamily="34" charset="0"/>
              </a:rPr>
              <a:t>Fidelity Global Special Situations</a:t>
            </a:r>
          </a:p>
        </p:txBody>
      </p:sp>
      <p:sp>
        <p:nvSpPr>
          <p:cNvPr id="55" name="TextBox 1">
            <a:extLst>
              <a:ext uri="{FF2B5EF4-FFF2-40B4-BE49-F238E27FC236}">
                <a16:creationId xmlns:a16="http://schemas.microsoft.com/office/drawing/2014/main" id="{8C28DCA5-976C-41EC-B6B3-EA97428B8002}"/>
              </a:ext>
            </a:extLst>
          </p:cNvPr>
          <p:cNvSpPr txBox="1"/>
          <p:nvPr/>
        </p:nvSpPr>
        <p:spPr bwMode="gray">
          <a:xfrm>
            <a:off x="5664482" y="3816955"/>
            <a:ext cx="2565183" cy="462331"/>
          </a:xfrm>
          <a:prstGeom prst="rect">
            <a:avLst/>
          </a:prstGeom>
          <a:solidFill>
            <a:schemeClr val="bg1"/>
          </a:solidFill>
          <a:ln>
            <a:solidFill>
              <a:schemeClr val="tx2"/>
            </a:solidFill>
          </a:ln>
        </p:spPr>
        <p:txBody>
          <a:bodyPr wrap="square" lIns="54000" tIns="27000" rIns="0" bIns="2700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2813" fontAlgn="base">
              <a:spcBef>
                <a:spcPts val="75"/>
              </a:spcBef>
              <a:spcAft>
                <a:spcPct val="0"/>
              </a:spcAft>
              <a:tabLst>
                <a:tab pos="1750219" algn="r"/>
              </a:tabLst>
            </a:pPr>
            <a:r>
              <a:rPr lang="en-GB" sz="600" b="1" dirty="0">
                <a:solidFill>
                  <a:srgbClr val="20242B"/>
                </a:solidFill>
                <a:cs typeface="Arial" pitchFamily="34" charset="0"/>
              </a:rPr>
              <a:t>Ann. Net Excess Return vs. MSCI ACWI: 	1.0%</a:t>
            </a:r>
          </a:p>
          <a:p>
            <a:pPr defTabSz="912813" fontAlgn="base">
              <a:spcBef>
                <a:spcPts val="75"/>
              </a:spcBef>
              <a:spcAft>
                <a:spcPct val="0"/>
              </a:spcAft>
              <a:tabLst>
                <a:tab pos="1750219" algn="r"/>
              </a:tabLst>
            </a:pPr>
            <a:r>
              <a:rPr lang="en-GB" sz="600" b="1" dirty="0">
                <a:solidFill>
                  <a:srgbClr val="20242B"/>
                </a:solidFill>
                <a:cs typeface="Arial" pitchFamily="34" charset="0"/>
              </a:rPr>
              <a:t>Ann. Net Excess Return vs. MSCI World: 	0.5%</a:t>
            </a:r>
          </a:p>
          <a:p>
            <a:pPr defTabSz="912813" fontAlgn="base">
              <a:spcBef>
                <a:spcPts val="75"/>
              </a:spcBef>
              <a:spcAft>
                <a:spcPct val="0"/>
              </a:spcAft>
              <a:tabLst>
                <a:tab pos="1750219" algn="r"/>
              </a:tabLst>
            </a:pPr>
            <a:r>
              <a:rPr lang="en-GB" sz="600" b="1" dirty="0">
                <a:solidFill>
                  <a:srgbClr val="20242B"/>
                </a:solidFill>
                <a:cs typeface="Arial" pitchFamily="34" charset="0"/>
              </a:rPr>
              <a:t>Ann. Net Excess Return vs. Sector Average: 	3.0%</a:t>
            </a:r>
          </a:p>
          <a:p>
            <a:pPr defTabSz="912813" fontAlgn="base">
              <a:spcBef>
                <a:spcPts val="75"/>
              </a:spcBef>
              <a:spcAft>
                <a:spcPct val="0"/>
              </a:spcAft>
              <a:tabLst>
                <a:tab pos="1750219" algn="r"/>
              </a:tabLst>
            </a:pPr>
            <a:r>
              <a:rPr lang="en-GB" sz="600" b="1" dirty="0">
                <a:solidFill>
                  <a:srgbClr val="20242B"/>
                </a:solidFill>
                <a:cs typeface="Arial" pitchFamily="34" charset="0"/>
              </a:rPr>
              <a:t>% of Peers Beaten: 	88%</a:t>
            </a:r>
          </a:p>
        </p:txBody>
      </p:sp>
      <p:sp>
        <p:nvSpPr>
          <p:cNvPr id="35" name="Rectangle 34">
            <a:extLst>
              <a:ext uri="{FF2B5EF4-FFF2-40B4-BE49-F238E27FC236}">
                <a16:creationId xmlns:a16="http://schemas.microsoft.com/office/drawing/2014/main" id="{C91E0E80-7C01-44E6-A00A-38EA0E7E3BDA}"/>
              </a:ext>
            </a:extLst>
          </p:cNvPr>
          <p:cNvSpPr/>
          <p:nvPr/>
        </p:nvSpPr>
        <p:spPr>
          <a:xfrm>
            <a:off x="8288437" y="2970365"/>
            <a:ext cx="590226" cy="207749"/>
          </a:xfrm>
          <a:prstGeom prst="rect">
            <a:avLst/>
          </a:prstGeom>
        </p:spPr>
        <p:txBody>
          <a:bodyPr wrap="none">
            <a:spAutoFit/>
          </a:bodyPr>
          <a:lstStyle/>
          <a:p>
            <a:pPr defTabSz="912813" fontAlgn="base">
              <a:spcBef>
                <a:spcPct val="0"/>
              </a:spcBef>
              <a:spcAft>
                <a:spcPct val="0"/>
              </a:spcAft>
              <a:defRPr sz="1200" b="0" i="0" u="none" strike="noStrike" kern="1200" baseline="0">
                <a:solidFill>
                  <a:srgbClr val="000000"/>
                </a:solidFill>
                <a:latin typeface="Arial"/>
                <a:ea typeface="Arial"/>
                <a:cs typeface="Arial"/>
              </a:defRPr>
            </a:pPr>
            <a:r>
              <a:rPr lang="en-US" sz="750" dirty="0">
                <a:solidFill>
                  <a:srgbClr val="EA6A19"/>
                </a:solidFill>
                <a:ea typeface="Arial"/>
                <a:cs typeface="Arial"/>
              </a:rPr>
              <a:t>7.6% p.a.</a:t>
            </a:r>
          </a:p>
        </p:txBody>
      </p:sp>
      <p:sp>
        <p:nvSpPr>
          <p:cNvPr id="36" name="Rectangle 35">
            <a:extLst>
              <a:ext uri="{FF2B5EF4-FFF2-40B4-BE49-F238E27FC236}">
                <a16:creationId xmlns:a16="http://schemas.microsoft.com/office/drawing/2014/main" id="{F2E10E06-2E0E-45BC-A243-3A746C6EDDB5}"/>
              </a:ext>
            </a:extLst>
          </p:cNvPr>
          <p:cNvSpPr/>
          <p:nvPr/>
        </p:nvSpPr>
        <p:spPr>
          <a:xfrm>
            <a:off x="8288437" y="2818501"/>
            <a:ext cx="590226" cy="207749"/>
          </a:xfrm>
          <a:prstGeom prst="rect">
            <a:avLst/>
          </a:prstGeom>
          <a:noFill/>
        </p:spPr>
        <p:txBody>
          <a:bodyPr wrap="none">
            <a:spAutoFit/>
          </a:bodyPr>
          <a:lstStyle/>
          <a:p>
            <a:pPr defTabSz="912813" fontAlgn="base">
              <a:spcBef>
                <a:spcPct val="0"/>
              </a:spcBef>
              <a:spcAft>
                <a:spcPct val="0"/>
              </a:spcAft>
              <a:defRPr sz="1200" b="0" i="0" u="none" strike="noStrike" kern="1200" baseline="0">
                <a:solidFill>
                  <a:srgbClr val="000000"/>
                </a:solidFill>
                <a:latin typeface="Arial"/>
                <a:ea typeface="Arial"/>
                <a:cs typeface="Arial"/>
              </a:defRPr>
            </a:pPr>
            <a:r>
              <a:rPr lang="en-US" sz="750" dirty="0">
                <a:solidFill>
                  <a:srgbClr val="82C823"/>
                </a:solidFill>
                <a:ea typeface="Arial"/>
                <a:cs typeface="Arial"/>
              </a:rPr>
              <a:t>7.9% p.a.</a:t>
            </a:r>
          </a:p>
        </p:txBody>
      </p:sp>
      <p:sp>
        <p:nvSpPr>
          <p:cNvPr id="38" name="Rectangle 37">
            <a:extLst>
              <a:ext uri="{FF2B5EF4-FFF2-40B4-BE49-F238E27FC236}">
                <a16:creationId xmlns:a16="http://schemas.microsoft.com/office/drawing/2014/main" id="{1EF77BA3-21DB-42BE-AD54-6D8A43D9705F}"/>
              </a:ext>
            </a:extLst>
          </p:cNvPr>
          <p:cNvSpPr/>
          <p:nvPr/>
        </p:nvSpPr>
        <p:spPr>
          <a:xfrm>
            <a:off x="8288437" y="3268721"/>
            <a:ext cx="590226" cy="207749"/>
          </a:xfrm>
          <a:prstGeom prst="rect">
            <a:avLst/>
          </a:prstGeom>
        </p:spPr>
        <p:txBody>
          <a:bodyPr wrap="none">
            <a:spAutoFit/>
          </a:bodyPr>
          <a:lstStyle/>
          <a:p>
            <a:pPr defTabSz="912813" fontAlgn="base">
              <a:spcBef>
                <a:spcPct val="0"/>
              </a:spcBef>
              <a:spcAft>
                <a:spcPct val="0"/>
              </a:spcAft>
              <a:defRPr sz="1200" b="0" i="0" u="none" strike="noStrike" kern="1200" baseline="0">
                <a:solidFill>
                  <a:srgbClr val="000000"/>
                </a:solidFill>
                <a:latin typeface="Arial"/>
                <a:ea typeface="Arial"/>
                <a:cs typeface="Arial"/>
              </a:defRPr>
            </a:pPr>
            <a:r>
              <a:rPr lang="en-US" sz="750" dirty="0">
                <a:solidFill>
                  <a:srgbClr val="FFC000"/>
                </a:solidFill>
                <a:ea typeface="Arial"/>
                <a:cs typeface="Arial"/>
              </a:rPr>
              <a:t>6.4% p.a.</a:t>
            </a:r>
          </a:p>
        </p:txBody>
      </p:sp>
      <p:cxnSp>
        <p:nvCxnSpPr>
          <p:cNvPr id="39" name="Straight Connector 38">
            <a:extLst>
              <a:ext uri="{FF2B5EF4-FFF2-40B4-BE49-F238E27FC236}">
                <a16:creationId xmlns:a16="http://schemas.microsoft.com/office/drawing/2014/main" id="{829FC294-F419-4228-B915-2CB963C20F85}"/>
              </a:ext>
            </a:extLst>
          </p:cNvPr>
          <p:cNvCxnSpPr>
            <a:cxnSpLocks/>
          </p:cNvCxnSpPr>
          <p:nvPr/>
        </p:nvCxnSpPr>
        <p:spPr bwMode="gray">
          <a:xfrm flipV="1">
            <a:off x="3117947" y="1870472"/>
            <a:ext cx="0" cy="2403000"/>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238FBB7-E02A-45B6-BB5D-E4B835724DEA}"/>
              </a:ext>
            </a:extLst>
          </p:cNvPr>
          <p:cNvCxnSpPr>
            <a:cxnSpLocks/>
          </p:cNvCxnSpPr>
          <p:nvPr/>
        </p:nvCxnSpPr>
        <p:spPr bwMode="gray">
          <a:xfrm>
            <a:off x="5560608" y="1884760"/>
            <a:ext cx="0" cy="2430000"/>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44043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1" descr="C:\Users\a546322\AppData\Local\Microsoft\Windows\Temporary Internet Files\Content.IE5\4VFLF3ZS\world-globe[1].jpg">
            <a:extLst>
              <a:ext uri="{FF2B5EF4-FFF2-40B4-BE49-F238E27FC236}">
                <a16:creationId xmlns:a16="http://schemas.microsoft.com/office/drawing/2014/main" id="{05E370C5-C05D-2A43-B003-29858C59F4FA}"/>
              </a:ext>
            </a:extLst>
          </p:cNvPr>
          <p:cNvPicPr>
            <a:picLocks noChangeAspect="1" noChangeArrowheads="1"/>
          </p:cNvPicPr>
          <p:nvPr/>
        </p:nvPicPr>
        <p:blipFill rotWithShape="1">
          <a:blip r:embed="rId3" cstate="print"/>
          <a:srcRect t="1" b="672"/>
          <a:stretch/>
        </p:blipFill>
        <p:spPr bwMode="auto">
          <a:xfrm>
            <a:off x="1199621" y="1734700"/>
            <a:ext cx="1144154" cy="1136455"/>
          </a:xfrm>
          <a:prstGeom prst="roundRect">
            <a:avLst>
              <a:gd name="adj" fmla="val 8594"/>
            </a:avLst>
          </a:prstGeom>
          <a:solidFill>
            <a:srgbClr val="FFFFFF">
              <a:shade val="85000"/>
            </a:srgbClr>
          </a:solidFill>
          <a:ln>
            <a:noFill/>
          </a:ln>
          <a:effectLst/>
        </p:spPr>
      </p:pic>
      <p:sp>
        <p:nvSpPr>
          <p:cNvPr id="2" name="Espace réservé du texte 1">
            <a:extLst>
              <a:ext uri="{FF2B5EF4-FFF2-40B4-BE49-F238E27FC236}">
                <a16:creationId xmlns:a16="http://schemas.microsoft.com/office/drawing/2014/main" id="{5E2F9681-447F-4943-A022-23E4306462A9}"/>
              </a:ext>
            </a:extLst>
          </p:cNvPr>
          <p:cNvSpPr>
            <a:spLocks noGrp="1"/>
          </p:cNvSpPr>
          <p:nvPr>
            <p:ph type="body" sz="quarter" idx="10"/>
          </p:nvPr>
        </p:nvSpPr>
        <p:spPr/>
        <p:txBody>
          <a:bodyPr/>
          <a:lstStyle/>
          <a:p>
            <a:r>
              <a:rPr lang="fr-FR" dirty="0"/>
              <a:t>Un concentré de l’ADN de </a:t>
            </a:r>
            <a:r>
              <a:rPr lang="fr-FR" dirty="0" err="1"/>
              <a:t>Fidelity</a:t>
            </a:r>
            <a:endParaRPr lang="fr-FR" dirty="0"/>
          </a:p>
        </p:txBody>
      </p:sp>
      <p:sp>
        <p:nvSpPr>
          <p:cNvPr id="102402" name="Title 1"/>
          <p:cNvSpPr>
            <a:spLocks noGrp="1"/>
          </p:cNvSpPr>
          <p:nvPr>
            <p:ph type="title"/>
          </p:nvPr>
        </p:nvSpPr>
        <p:spPr>
          <a:prstGeom prst="rect">
            <a:avLst/>
          </a:prstGeom>
        </p:spPr>
        <p:txBody>
          <a:bodyPr/>
          <a:lstStyle/>
          <a:p>
            <a:r>
              <a:rPr lang="fr-FR" sz="2400" b="1" dirty="0"/>
              <a:t/>
            </a:r>
            <a:br>
              <a:rPr lang="fr-FR" sz="2400" b="1" dirty="0"/>
            </a:br>
            <a:r>
              <a:rPr lang="fr-FR" sz="2400" b="1" dirty="0"/>
              <a:t>Caractéristiques du fonds</a:t>
            </a:r>
          </a:p>
        </p:txBody>
      </p:sp>
      <p:sp>
        <p:nvSpPr>
          <p:cNvPr id="16" name="Content Placeholder 4">
            <a:extLst>
              <a:ext uri="{FF2B5EF4-FFF2-40B4-BE49-F238E27FC236}">
                <a16:creationId xmlns:a16="http://schemas.microsoft.com/office/drawing/2014/main" id="{23ABF649-B9CD-A447-9172-649A31584DAE}"/>
              </a:ext>
            </a:extLst>
          </p:cNvPr>
          <p:cNvSpPr txBox="1">
            <a:spLocks/>
          </p:cNvSpPr>
          <p:nvPr/>
        </p:nvSpPr>
        <p:spPr bwMode="gray">
          <a:xfrm>
            <a:off x="479238" y="3087524"/>
            <a:ext cx="2624400" cy="360000"/>
          </a:xfrm>
          <a:prstGeom prst="rect">
            <a:avLst/>
          </a:prstGeom>
          <a:solidFill>
            <a:schemeClr val="tx2"/>
          </a:solidFill>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2400" dirty="0">
                <a:solidFill>
                  <a:prstClr val="white"/>
                </a:solidFill>
              </a:rPr>
              <a:t>GLOBAL</a:t>
            </a:r>
            <a:endParaRPr lang="fr-FR" sz="2400" dirty="0">
              <a:solidFill>
                <a:prstClr val="white"/>
              </a:solidFill>
              <a:cs typeface="Arial"/>
            </a:endParaRPr>
          </a:p>
        </p:txBody>
      </p:sp>
      <p:pic>
        <p:nvPicPr>
          <p:cNvPr id="42" name="Picture 2">
            <a:extLst>
              <a:ext uri="{FF2B5EF4-FFF2-40B4-BE49-F238E27FC236}">
                <a16:creationId xmlns:a16="http://schemas.microsoft.com/office/drawing/2014/main" id="{66FCA25D-C23E-7C4B-B35E-8CE5752BC301}"/>
              </a:ext>
            </a:extLst>
          </p:cNvPr>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032000" y="1762927"/>
            <a:ext cx="1080000"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3">
            <a:extLst>
              <a:ext uri="{FF2B5EF4-FFF2-40B4-BE49-F238E27FC236}">
                <a16:creationId xmlns:a16="http://schemas.microsoft.com/office/drawing/2014/main" id="{CDBA34DD-330D-3D42-A97D-F077EEDBC3C8}"/>
              </a:ext>
            </a:extLst>
          </p:cNvPr>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840051" y="1762927"/>
            <a:ext cx="1080000"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Content Placeholder 4">
            <a:extLst>
              <a:ext uri="{FF2B5EF4-FFF2-40B4-BE49-F238E27FC236}">
                <a16:creationId xmlns:a16="http://schemas.microsoft.com/office/drawing/2014/main" id="{3DDD800F-C36D-AB4D-BB7C-C3A2A9393827}"/>
              </a:ext>
            </a:extLst>
          </p:cNvPr>
          <p:cNvSpPr txBox="1">
            <a:spLocks/>
          </p:cNvSpPr>
          <p:nvPr/>
        </p:nvSpPr>
        <p:spPr bwMode="gray">
          <a:xfrm>
            <a:off x="3265602" y="3087524"/>
            <a:ext cx="2624400" cy="360000"/>
          </a:xfrm>
          <a:prstGeom prst="rect">
            <a:avLst/>
          </a:prstGeom>
          <a:solidFill>
            <a:schemeClr val="tx2">
              <a:lumMod val="60000"/>
              <a:lumOff val="40000"/>
            </a:schemeClr>
          </a:solidFill>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2400" dirty="0">
                <a:solidFill>
                  <a:prstClr val="white"/>
                </a:solidFill>
              </a:rPr>
              <a:t>SÉLECTIF</a:t>
            </a:r>
          </a:p>
        </p:txBody>
      </p:sp>
      <p:sp>
        <p:nvSpPr>
          <p:cNvPr id="54" name="Content Placeholder 4">
            <a:extLst>
              <a:ext uri="{FF2B5EF4-FFF2-40B4-BE49-F238E27FC236}">
                <a16:creationId xmlns:a16="http://schemas.microsoft.com/office/drawing/2014/main" id="{F19BBB6B-1045-DD49-8884-9A0D5CC31DAB}"/>
              </a:ext>
            </a:extLst>
          </p:cNvPr>
          <p:cNvSpPr txBox="1">
            <a:spLocks/>
          </p:cNvSpPr>
          <p:nvPr/>
        </p:nvSpPr>
        <p:spPr bwMode="gray">
          <a:xfrm>
            <a:off x="6051966" y="3087524"/>
            <a:ext cx="2624400" cy="360000"/>
          </a:xfrm>
          <a:prstGeom prst="rect">
            <a:avLst/>
          </a:prstGeom>
          <a:solidFill>
            <a:schemeClr val="bg2"/>
          </a:solidFill>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2400" dirty="0">
                <a:solidFill>
                  <a:prstClr val="white"/>
                </a:solidFill>
              </a:rPr>
              <a:t>NON CONTRAINT</a:t>
            </a:r>
          </a:p>
        </p:txBody>
      </p:sp>
      <p:sp>
        <p:nvSpPr>
          <p:cNvPr id="5" name="Rectangle à coins arrondis 4">
            <a:extLst>
              <a:ext uri="{FF2B5EF4-FFF2-40B4-BE49-F238E27FC236}">
                <a16:creationId xmlns:a16="http://schemas.microsoft.com/office/drawing/2014/main" id="{7BC79E97-C2DE-7243-BFFF-167ECD954717}"/>
              </a:ext>
            </a:extLst>
          </p:cNvPr>
          <p:cNvSpPr/>
          <p:nvPr/>
        </p:nvSpPr>
        <p:spPr>
          <a:xfrm>
            <a:off x="469062" y="1625288"/>
            <a:ext cx="2628000" cy="3160497"/>
          </a:xfrm>
          <a:prstGeom prst="roundRect">
            <a:avLst>
              <a:gd name="adj" fmla="val 5658"/>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defRPr/>
            </a:pPr>
            <a:endParaRPr lang="fr-FR" sz="2400" b="1">
              <a:solidFill>
                <a:prstClr val="white"/>
              </a:solidFill>
            </a:endParaRPr>
          </a:p>
        </p:txBody>
      </p:sp>
      <p:sp>
        <p:nvSpPr>
          <p:cNvPr id="57" name="Rectangle à coins arrondis 56">
            <a:extLst>
              <a:ext uri="{FF2B5EF4-FFF2-40B4-BE49-F238E27FC236}">
                <a16:creationId xmlns:a16="http://schemas.microsoft.com/office/drawing/2014/main" id="{67D1CE06-99B4-4D47-BCAB-16A82BD4BDCB}"/>
              </a:ext>
            </a:extLst>
          </p:cNvPr>
          <p:cNvSpPr/>
          <p:nvPr/>
        </p:nvSpPr>
        <p:spPr>
          <a:xfrm>
            <a:off x="3260514" y="1625288"/>
            <a:ext cx="2624400" cy="3160497"/>
          </a:xfrm>
          <a:prstGeom prst="roundRect">
            <a:avLst>
              <a:gd name="adj" fmla="val 5658"/>
            </a:avLst>
          </a:prstGeom>
          <a:no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defRPr/>
            </a:pPr>
            <a:endParaRPr lang="fr-FR" sz="2400" b="1">
              <a:solidFill>
                <a:prstClr val="white"/>
              </a:solidFill>
            </a:endParaRPr>
          </a:p>
        </p:txBody>
      </p:sp>
      <p:sp>
        <p:nvSpPr>
          <p:cNvPr id="58" name="Rectangle à coins arrondis 57">
            <a:extLst>
              <a:ext uri="{FF2B5EF4-FFF2-40B4-BE49-F238E27FC236}">
                <a16:creationId xmlns:a16="http://schemas.microsoft.com/office/drawing/2014/main" id="{9D004592-EEC4-6D40-8243-1098DD8D4FD2}"/>
              </a:ext>
            </a:extLst>
          </p:cNvPr>
          <p:cNvSpPr/>
          <p:nvPr/>
        </p:nvSpPr>
        <p:spPr>
          <a:xfrm>
            <a:off x="6048366" y="1625288"/>
            <a:ext cx="2628000" cy="3160497"/>
          </a:xfrm>
          <a:prstGeom prst="roundRect">
            <a:avLst>
              <a:gd name="adj" fmla="val 5658"/>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defRPr/>
            </a:pPr>
            <a:endParaRPr lang="fr-FR" sz="2400" b="1">
              <a:solidFill>
                <a:prstClr val="white"/>
              </a:solidFill>
            </a:endParaRPr>
          </a:p>
        </p:txBody>
      </p:sp>
      <p:sp>
        <p:nvSpPr>
          <p:cNvPr id="14" name="Content Placeholder 4">
            <a:extLst>
              <a:ext uri="{FF2B5EF4-FFF2-40B4-BE49-F238E27FC236}">
                <a16:creationId xmlns:a16="http://schemas.microsoft.com/office/drawing/2014/main" id="{2D53BDFE-4FFE-FD49-8897-F52CAC3BDFC1}"/>
              </a:ext>
            </a:extLst>
          </p:cNvPr>
          <p:cNvSpPr txBox="1">
            <a:spLocks/>
          </p:cNvSpPr>
          <p:nvPr/>
        </p:nvSpPr>
        <p:spPr bwMode="gray">
          <a:xfrm>
            <a:off x="479238" y="3655221"/>
            <a:ext cx="2584920" cy="972000"/>
          </a:xfrm>
          <a:prstGeom prst="rect">
            <a:avLst/>
          </a:prstGeom>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1200" b="1" dirty="0">
                <a:solidFill>
                  <a:srgbClr val="0A4D80"/>
                </a:solidFill>
                <a:cs typeface="Arial"/>
              </a:rPr>
              <a:t>Une approche globale </a:t>
            </a:r>
            <a:br>
              <a:rPr lang="fr-FR" sz="1200" b="1" dirty="0">
                <a:solidFill>
                  <a:srgbClr val="0A4D80"/>
                </a:solidFill>
                <a:cs typeface="Arial"/>
              </a:rPr>
            </a:br>
            <a:r>
              <a:rPr lang="fr-FR" sz="1200" b="1" dirty="0">
                <a:solidFill>
                  <a:srgbClr val="0A4D80"/>
                </a:solidFill>
                <a:cs typeface="Arial"/>
              </a:rPr>
              <a:t>sur les pays développés </a:t>
            </a:r>
            <a:r>
              <a:rPr lang="fr-FR" dirty="0">
                <a:solidFill>
                  <a:srgbClr val="0A4D80"/>
                </a:solidFill>
                <a:cs typeface="Arial"/>
              </a:rPr>
              <a:t/>
            </a:r>
            <a:br>
              <a:rPr lang="fr-FR" dirty="0">
                <a:solidFill>
                  <a:srgbClr val="0A4D80"/>
                </a:solidFill>
                <a:cs typeface="Arial"/>
              </a:rPr>
            </a:br>
            <a:r>
              <a:rPr lang="fr-FR" sz="1200" dirty="0">
                <a:solidFill>
                  <a:srgbClr val="415464"/>
                </a:solidFill>
                <a:cs typeface="Arial"/>
              </a:rPr>
              <a:t>grâce à l’expertise unique des équipes de recherche de Fidelity</a:t>
            </a:r>
            <a:endParaRPr lang="fr-FR" sz="1100" dirty="0">
              <a:solidFill>
                <a:srgbClr val="415464"/>
              </a:solidFill>
              <a:cs typeface="Arial"/>
            </a:endParaRPr>
          </a:p>
        </p:txBody>
      </p:sp>
      <p:sp>
        <p:nvSpPr>
          <p:cNvPr id="18" name="Content Placeholder 4">
            <a:extLst>
              <a:ext uri="{FF2B5EF4-FFF2-40B4-BE49-F238E27FC236}">
                <a16:creationId xmlns:a16="http://schemas.microsoft.com/office/drawing/2014/main" id="{897BFD97-08B4-C64C-B928-6E677DB3D1F9}"/>
              </a:ext>
            </a:extLst>
          </p:cNvPr>
          <p:cNvSpPr txBox="1">
            <a:spLocks/>
          </p:cNvSpPr>
          <p:nvPr/>
        </p:nvSpPr>
        <p:spPr bwMode="gray">
          <a:xfrm>
            <a:off x="3279540" y="3655221"/>
            <a:ext cx="2584920" cy="972000"/>
          </a:xfrm>
          <a:prstGeom prst="rect">
            <a:avLst/>
          </a:prstGeom>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1200" dirty="0">
                <a:solidFill>
                  <a:srgbClr val="415464"/>
                </a:solidFill>
                <a:cs typeface="Arial"/>
              </a:rPr>
              <a:t>Une </a:t>
            </a:r>
            <a:r>
              <a:rPr lang="fr-FR" sz="1200" b="1" dirty="0">
                <a:solidFill>
                  <a:srgbClr val="0A4D80">
                    <a:lumMod val="60000"/>
                    <a:lumOff val="40000"/>
                  </a:srgbClr>
                </a:solidFill>
                <a:cs typeface="Arial"/>
              </a:rPr>
              <a:t>gestion active </a:t>
            </a:r>
            <a:r>
              <a:rPr lang="fr-FR" sz="1200" dirty="0">
                <a:solidFill>
                  <a:srgbClr val="415464"/>
                </a:solidFill>
                <a:cs typeface="Arial"/>
              </a:rPr>
              <a:t>&amp; </a:t>
            </a:r>
            <a:r>
              <a:rPr lang="fr-FR" sz="1600" dirty="0">
                <a:solidFill>
                  <a:srgbClr val="0A4D80"/>
                </a:solidFill>
                <a:cs typeface="Arial"/>
              </a:rPr>
              <a:t/>
            </a:r>
            <a:br>
              <a:rPr lang="fr-FR" sz="1600" dirty="0">
                <a:solidFill>
                  <a:srgbClr val="0A4D80"/>
                </a:solidFill>
                <a:cs typeface="Arial"/>
              </a:rPr>
            </a:br>
            <a:r>
              <a:rPr lang="fr-FR" sz="1200" dirty="0">
                <a:solidFill>
                  <a:srgbClr val="415464"/>
                </a:solidFill>
                <a:cs typeface="Arial"/>
              </a:rPr>
              <a:t>un budget </a:t>
            </a:r>
            <a:r>
              <a:rPr lang="fr-FR" sz="1200" b="1" dirty="0">
                <a:solidFill>
                  <a:srgbClr val="0A4D80">
                    <a:lumMod val="60000"/>
                    <a:lumOff val="40000"/>
                  </a:srgbClr>
                </a:solidFill>
                <a:cs typeface="Arial"/>
              </a:rPr>
              <a:t>d’active money</a:t>
            </a:r>
            <a:r>
              <a:rPr lang="fr-FR" sz="1050" dirty="0">
                <a:solidFill>
                  <a:srgbClr val="415464"/>
                </a:solidFill>
                <a:cs typeface="Arial"/>
              </a:rPr>
              <a:t> </a:t>
            </a:r>
            <a:r>
              <a:rPr lang="fr-FR" sz="1200" dirty="0">
                <a:solidFill>
                  <a:srgbClr val="415464"/>
                </a:solidFill>
                <a:cs typeface="Arial"/>
              </a:rPr>
              <a:t>élevé (supérieur à 75 %)</a:t>
            </a:r>
            <a:br>
              <a:rPr lang="fr-FR" sz="1200" dirty="0">
                <a:solidFill>
                  <a:srgbClr val="415464"/>
                </a:solidFill>
                <a:cs typeface="Arial"/>
              </a:rPr>
            </a:br>
            <a:r>
              <a:rPr lang="fr-FR" sz="1200" dirty="0">
                <a:solidFill>
                  <a:srgbClr val="415464"/>
                </a:solidFill>
                <a:cs typeface="Arial"/>
              </a:rPr>
              <a:t>qui démontre la forte conviction </a:t>
            </a:r>
            <a:br>
              <a:rPr lang="fr-FR" sz="1200" dirty="0">
                <a:solidFill>
                  <a:srgbClr val="415464"/>
                </a:solidFill>
                <a:cs typeface="Arial"/>
              </a:rPr>
            </a:br>
            <a:r>
              <a:rPr lang="fr-FR" sz="1200" dirty="0">
                <a:solidFill>
                  <a:srgbClr val="415464"/>
                </a:solidFill>
                <a:cs typeface="Arial"/>
              </a:rPr>
              <a:t>du gérant</a:t>
            </a:r>
          </a:p>
        </p:txBody>
      </p:sp>
      <p:sp>
        <p:nvSpPr>
          <p:cNvPr id="19" name="Content Placeholder 4">
            <a:extLst>
              <a:ext uri="{FF2B5EF4-FFF2-40B4-BE49-F238E27FC236}">
                <a16:creationId xmlns:a16="http://schemas.microsoft.com/office/drawing/2014/main" id="{61181CAC-B582-2E4F-AA37-E4AC30D9A3F3}"/>
              </a:ext>
            </a:extLst>
          </p:cNvPr>
          <p:cNvSpPr txBox="1">
            <a:spLocks/>
          </p:cNvSpPr>
          <p:nvPr/>
        </p:nvSpPr>
        <p:spPr bwMode="gray">
          <a:xfrm>
            <a:off x="6087591" y="3655221"/>
            <a:ext cx="2584920" cy="972000"/>
          </a:xfrm>
          <a:prstGeom prst="rect">
            <a:avLst/>
          </a:prstGeom>
        </p:spPr>
        <p:txBody>
          <a:bodyPr vert="horz" lIns="0" tIns="0" rIns="0" bIns="0" rtlCol="0" anchor="t" anchorCtr="0">
            <a:noAutofit/>
          </a:bodyPr>
          <a:lstStyle>
            <a:lvl1pPr marL="177800" indent="-177800" algn="l" defTabSz="914400" rtl="0" eaLnBrk="1" latinLnBrk="0" hangingPunct="1">
              <a:spcBef>
                <a:spcPts val="600"/>
              </a:spcBef>
              <a:spcAft>
                <a:spcPts val="600"/>
              </a:spcAft>
              <a:buClrTx/>
              <a:buFont typeface="Wingdings" pitchFamily="2" charset="2"/>
              <a:buChar char="§"/>
              <a:defRPr sz="1400" kern="1200">
                <a:solidFill>
                  <a:schemeClr val="tx1"/>
                </a:solidFill>
                <a:latin typeface="+mn-lt"/>
                <a:ea typeface="+mn-ea"/>
                <a:cs typeface="+mn-cs"/>
              </a:defRPr>
            </a:lvl1pPr>
            <a:lvl2pPr marL="357188" indent="-171450"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2pPr>
            <a:lvl3pPr marL="474663" indent="-10953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3pPr>
            <a:lvl4pPr marL="652463" indent="-168275"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4pPr>
            <a:lvl5pPr marL="814388" indent="-153988" algn="l" defTabSz="914400" rtl="0" eaLnBrk="1" latinLnBrk="0" hangingPunct="1">
              <a:spcBef>
                <a:spcPts val="600"/>
              </a:spcBef>
              <a:spcAft>
                <a:spcPts val="600"/>
              </a:spcAft>
              <a:buClrTx/>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900"/>
              </a:spcAft>
              <a:buFont typeface="Arial" pitchFamily="34" charset="0"/>
              <a:buNone/>
              <a:defRPr/>
            </a:pPr>
            <a:r>
              <a:rPr lang="fr-FR" sz="1200" b="1" dirty="0">
                <a:solidFill>
                  <a:srgbClr val="A61D20"/>
                </a:solidFill>
                <a:cs typeface="Arial"/>
              </a:rPr>
              <a:t>Une sélection de valeurs </a:t>
            </a:r>
            <a:br>
              <a:rPr lang="fr-FR" sz="1200" b="1" dirty="0">
                <a:solidFill>
                  <a:srgbClr val="A61D20"/>
                </a:solidFill>
                <a:cs typeface="Arial"/>
              </a:rPr>
            </a:br>
            <a:r>
              <a:rPr lang="fr-FR" sz="1200" b="1" dirty="0">
                <a:solidFill>
                  <a:srgbClr val="A61D20"/>
                </a:solidFill>
                <a:cs typeface="Arial"/>
              </a:rPr>
              <a:t>non contrainte </a:t>
            </a:r>
            <a:r>
              <a:rPr lang="fr-FR" sz="1600" dirty="0">
                <a:solidFill>
                  <a:srgbClr val="A61D20"/>
                </a:solidFill>
                <a:cs typeface="Arial"/>
              </a:rPr>
              <a:t/>
            </a:r>
            <a:br>
              <a:rPr lang="fr-FR" sz="1600" dirty="0">
                <a:solidFill>
                  <a:srgbClr val="A61D20"/>
                </a:solidFill>
                <a:cs typeface="Arial"/>
              </a:rPr>
            </a:br>
            <a:r>
              <a:rPr lang="fr-FR" sz="1200" dirty="0">
                <a:solidFill>
                  <a:srgbClr val="415464"/>
                </a:solidFill>
                <a:cs typeface="Arial"/>
              </a:rPr>
              <a:t>en termes de style, de secteur, </a:t>
            </a:r>
            <a:br>
              <a:rPr lang="fr-FR" sz="1200" dirty="0">
                <a:solidFill>
                  <a:srgbClr val="415464"/>
                </a:solidFill>
                <a:cs typeface="Arial"/>
              </a:rPr>
            </a:br>
            <a:r>
              <a:rPr lang="fr-FR" sz="1200" dirty="0">
                <a:solidFill>
                  <a:srgbClr val="415464"/>
                </a:solidFill>
                <a:cs typeface="Arial"/>
              </a:rPr>
              <a:t>de capitalisation </a:t>
            </a:r>
            <a:br>
              <a:rPr lang="fr-FR" sz="1200" dirty="0">
                <a:solidFill>
                  <a:srgbClr val="415464"/>
                </a:solidFill>
                <a:cs typeface="Arial"/>
              </a:rPr>
            </a:br>
            <a:r>
              <a:rPr lang="fr-FR" sz="1200" dirty="0">
                <a:solidFill>
                  <a:srgbClr val="415464"/>
                </a:solidFill>
                <a:cs typeface="Arial"/>
              </a:rPr>
              <a:t>ou de poids par titre </a:t>
            </a:r>
            <a:endParaRPr lang="fr-FR" sz="1100" dirty="0">
              <a:solidFill>
                <a:srgbClr val="415464"/>
              </a:solidFill>
              <a:cs typeface="Arial"/>
            </a:endParaRPr>
          </a:p>
        </p:txBody>
      </p:sp>
      <p:grpSp>
        <p:nvGrpSpPr>
          <p:cNvPr id="27" name="Groupe 26">
            <a:extLst>
              <a:ext uri="{FF2B5EF4-FFF2-40B4-BE49-F238E27FC236}">
                <a16:creationId xmlns:a16="http://schemas.microsoft.com/office/drawing/2014/main" id="{01E2699D-6E88-8147-9D35-6CD6DE817476}"/>
              </a:ext>
            </a:extLst>
          </p:cNvPr>
          <p:cNvGrpSpPr/>
          <p:nvPr/>
        </p:nvGrpSpPr>
        <p:grpSpPr>
          <a:xfrm>
            <a:off x="452852" y="4909760"/>
            <a:ext cx="8224423" cy="581817"/>
            <a:chOff x="469062" y="5261017"/>
            <a:chExt cx="12213291" cy="864000"/>
          </a:xfrm>
        </p:grpSpPr>
        <p:sp>
          <p:nvSpPr>
            <p:cNvPr id="28" name="Rectangle à coins arrondis 27">
              <a:extLst>
                <a:ext uri="{FF2B5EF4-FFF2-40B4-BE49-F238E27FC236}">
                  <a16:creationId xmlns:a16="http://schemas.microsoft.com/office/drawing/2014/main" id="{CB3A6810-6D27-2140-97EE-D0494B51898E}"/>
                </a:ext>
              </a:extLst>
            </p:cNvPr>
            <p:cNvSpPr/>
            <p:nvPr/>
          </p:nvSpPr>
          <p:spPr>
            <a:xfrm>
              <a:off x="880948" y="5261017"/>
              <a:ext cx="11801405" cy="864000"/>
            </a:xfrm>
            <a:prstGeom prst="roundRect">
              <a:avLst>
                <a:gd name="adj" fmla="val 0"/>
              </a:avLst>
            </a:prstGeom>
            <a:solidFill>
              <a:srgbClr val="E8E9EA"/>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8000" algn="ctr" defTabSz="912813" fontAlgn="base">
                <a:spcBef>
                  <a:spcPct val="0"/>
                </a:spcBef>
                <a:spcAft>
                  <a:spcPct val="0"/>
                </a:spcAft>
                <a:defRPr/>
              </a:pPr>
              <a:endParaRPr lang="fr-FR" sz="1400" b="1" dirty="0">
                <a:solidFill>
                  <a:srgbClr val="0A4D80"/>
                </a:solidFill>
              </a:endParaRPr>
            </a:p>
          </p:txBody>
        </p:sp>
        <p:pic>
          <p:nvPicPr>
            <p:cNvPr id="29" name="Image 28">
              <a:extLst>
                <a:ext uri="{FF2B5EF4-FFF2-40B4-BE49-F238E27FC236}">
                  <a16:creationId xmlns:a16="http://schemas.microsoft.com/office/drawing/2014/main" id="{EC492B5B-3135-F54D-9584-D2F7824E2C2B}"/>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69062" y="5261017"/>
              <a:ext cx="864000" cy="864000"/>
            </a:xfrm>
            <a:prstGeom prst="rect">
              <a:avLst/>
            </a:prstGeom>
            <a:effectLst>
              <a:outerShdw blurRad="88900" dist="38100" dir="2700000" sx="104000" sy="104000" algn="tl" rotWithShape="0">
                <a:prstClr val="black">
                  <a:alpha val="27000"/>
                </a:prstClr>
              </a:outerShdw>
            </a:effectLst>
          </p:spPr>
        </p:pic>
        <p:sp>
          <p:nvSpPr>
            <p:cNvPr id="30" name="Rectangle 29">
              <a:extLst>
                <a:ext uri="{FF2B5EF4-FFF2-40B4-BE49-F238E27FC236}">
                  <a16:creationId xmlns:a16="http://schemas.microsoft.com/office/drawing/2014/main" id="{09207DF1-49E9-D240-9DE0-DB41CF486FE7}"/>
                </a:ext>
              </a:extLst>
            </p:cNvPr>
            <p:cNvSpPr/>
            <p:nvPr/>
          </p:nvSpPr>
          <p:spPr>
            <a:xfrm>
              <a:off x="1374400" y="5350883"/>
              <a:ext cx="11300879" cy="696250"/>
            </a:xfrm>
            <a:prstGeom prst="rect">
              <a:avLst/>
            </a:prstGeom>
          </p:spPr>
          <p:txBody>
            <a:bodyPr wrap="none" lIns="72000" tIns="36000" rIns="36000" bIns="36000" anchor="ctr">
              <a:noAutofit/>
            </a:bodyPr>
            <a:lstStyle/>
            <a:p>
              <a:pPr defTabSz="912813" fontAlgn="base">
                <a:spcBef>
                  <a:spcPct val="0"/>
                </a:spcBef>
                <a:spcAft>
                  <a:spcPct val="0"/>
                </a:spcAft>
                <a:defRPr/>
              </a:pPr>
              <a:r>
                <a:rPr lang="fr-FR" sz="1400" b="1" dirty="0">
                  <a:solidFill>
                    <a:srgbClr val="0A4D80"/>
                  </a:solidFill>
                  <a:ea typeface="ＭＳ Ｐゴシック" charset="0"/>
                </a:rPr>
                <a:t>Une combinaison particulièrement adaptée à l’environnement des actions internationales</a:t>
              </a:r>
            </a:p>
          </p:txBody>
        </p:sp>
        <p:sp>
          <p:nvSpPr>
            <p:cNvPr id="31" name="Ellipse 30">
              <a:extLst>
                <a:ext uri="{FF2B5EF4-FFF2-40B4-BE49-F238E27FC236}">
                  <a16:creationId xmlns:a16="http://schemas.microsoft.com/office/drawing/2014/main" id="{0314CE6E-F884-B747-822C-A732A845918B}"/>
                </a:ext>
              </a:extLst>
            </p:cNvPr>
            <p:cNvSpPr/>
            <p:nvPr/>
          </p:nvSpPr>
          <p:spPr>
            <a:xfrm>
              <a:off x="469062" y="5261017"/>
              <a:ext cx="864000" cy="864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defRPr/>
              </a:pPr>
              <a:endParaRPr lang="fr-FR" sz="2400" b="1">
                <a:solidFill>
                  <a:prstClr val="white"/>
                </a:solidFill>
              </a:endParaRPr>
            </a:p>
          </p:txBody>
        </p:sp>
      </p:grpSp>
    </p:spTree>
    <p:extLst>
      <p:ext uri="{BB962C8B-B14F-4D97-AF65-F5344CB8AC3E}">
        <p14:creationId xmlns:p14="http://schemas.microsoft.com/office/powerpoint/2010/main" val="21474581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2817839E-3255-C845-88C4-4A216D7408E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217786" y="2822405"/>
            <a:ext cx="1094551" cy="740276"/>
          </a:xfrm>
          <a:prstGeom prst="rect">
            <a:avLst/>
          </a:prstGeom>
        </p:spPr>
      </p:pic>
      <p:pic>
        <p:nvPicPr>
          <p:cNvPr id="28" name="Image 27">
            <a:extLst>
              <a:ext uri="{FF2B5EF4-FFF2-40B4-BE49-F238E27FC236}">
                <a16:creationId xmlns:a16="http://schemas.microsoft.com/office/drawing/2014/main" id="{A8AE7B7A-4934-B941-BD6B-79C18026004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028906" y="2822405"/>
            <a:ext cx="1094551" cy="740276"/>
          </a:xfrm>
          <a:prstGeom prst="rect">
            <a:avLst/>
          </a:prstGeom>
        </p:spPr>
      </p:pic>
      <p:sp>
        <p:nvSpPr>
          <p:cNvPr id="10" name="Espace réservé du texte 9">
            <a:extLst>
              <a:ext uri="{FF2B5EF4-FFF2-40B4-BE49-F238E27FC236}">
                <a16:creationId xmlns:a16="http://schemas.microsoft.com/office/drawing/2014/main" id="{A05ABC3E-C49B-B74F-B465-101F0314768D}"/>
              </a:ext>
            </a:extLst>
          </p:cNvPr>
          <p:cNvSpPr>
            <a:spLocks noGrp="1"/>
          </p:cNvSpPr>
          <p:nvPr>
            <p:ph type="body" sz="quarter" idx="14"/>
          </p:nvPr>
        </p:nvSpPr>
        <p:spPr/>
        <p:txBody>
          <a:bodyPr/>
          <a:lstStyle/>
          <a:p>
            <a:r>
              <a:rPr lang="fr-FR" dirty="0"/>
              <a:t>Source : </a:t>
            </a:r>
            <a:r>
              <a:rPr lang="fr-FR" dirty="0" err="1"/>
              <a:t>Fidelity</a:t>
            </a:r>
            <a:r>
              <a:rPr lang="fr-FR" dirty="0"/>
              <a:t> International. Catégories d'investissement définies selon la philosophie d’investissement du gérant de portefeuille. La référence à des entreprises ne doit pas être interprétée comme une recommandation d’achat ou de vente. Elle est utilisée à titre d’illustration uniquement. 31 décembre 2020</a:t>
            </a:r>
          </a:p>
        </p:txBody>
      </p:sp>
      <p:sp>
        <p:nvSpPr>
          <p:cNvPr id="2" name="Espace réservé du texte 1">
            <a:extLst>
              <a:ext uri="{FF2B5EF4-FFF2-40B4-BE49-F238E27FC236}">
                <a16:creationId xmlns:a16="http://schemas.microsoft.com/office/drawing/2014/main" id="{29862953-59ED-9843-905A-FF829EBA53B8}"/>
              </a:ext>
            </a:extLst>
          </p:cNvPr>
          <p:cNvSpPr>
            <a:spLocks noGrp="1"/>
          </p:cNvSpPr>
          <p:nvPr>
            <p:ph type="body" sz="quarter" idx="10"/>
          </p:nvPr>
        </p:nvSpPr>
        <p:spPr/>
        <p:txBody>
          <a:bodyPr/>
          <a:lstStyle/>
          <a:p>
            <a:r>
              <a:rPr lang="fr-FR" dirty="0"/>
              <a:t>Trois poches flexibles pour naviguer dans les différents cycles de marchés</a:t>
            </a:r>
          </a:p>
        </p:txBody>
      </p:sp>
      <p:sp>
        <p:nvSpPr>
          <p:cNvPr id="48133" name="Rectangle 5"/>
          <p:cNvSpPr>
            <a:spLocks noGrp="1"/>
          </p:cNvSpPr>
          <p:nvPr>
            <p:ph type="title"/>
          </p:nvPr>
        </p:nvSpPr>
        <p:spPr/>
        <p:txBody>
          <a:bodyPr/>
          <a:lstStyle/>
          <a:p>
            <a:r>
              <a:rPr lang="fr-FR" dirty="0"/>
              <a:t>Une allocation dynamique du fonds</a:t>
            </a:r>
          </a:p>
        </p:txBody>
      </p:sp>
      <p:sp>
        <p:nvSpPr>
          <p:cNvPr id="22" name="Rectangle 165"/>
          <p:cNvSpPr>
            <a:spLocks noChangeArrowheads="1"/>
          </p:cNvSpPr>
          <p:nvPr>
            <p:custDataLst>
              <p:tags r:id="rId1"/>
            </p:custDataLst>
          </p:nvPr>
        </p:nvSpPr>
        <p:spPr bwMode="gray">
          <a:xfrm>
            <a:off x="478198" y="1275176"/>
            <a:ext cx="2595600" cy="612000"/>
          </a:xfrm>
          <a:prstGeom prst="rect">
            <a:avLst/>
          </a:prstGeom>
          <a:solidFill>
            <a:schemeClr val="tx2"/>
          </a:solidFill>
          <a:ln w="9525">
            <a:noFill/>
            <a:miter lim="800000"/>
            <a:headEnd/>
            <a:tailEnd/>
          </a:ln>
        </p:spPr>
        <p:txBody>
          <a:bodyPr wrap="square" lIns="0" tIns="0" rIns="0" bIns="0" anchor="ctr" anchorCtr="0">
            <a:noAutofit/>
          </a:bodyPr>
          <a:lstStyle/>
          <a:p>
            <a:pPr marL="72000" defTabSz="912813" fontAlgn="base">
              <a:spcBef>
                <a:spcPct val="0"/>
              </a:spcBef>
              <a:spcAft>
                <a:spcPct val="0"/>
              </a:spcAft>
              <a:defRPr/>
            </a:pPr>
            <a:r>
              <a:rPr lang="fr-FR" sz="1600" dirty="0">
                <a:solidFill>
                  <a:prstClr val="white"/>
                </a:solidFill>
                <a:ea typeface="ＭＳ Ｐゴシック" charset="0"/>
              </a:rPr>
              <a:t>Entreprises </a:t>
            </a:r>
            <a:br>
              <a:rPr lang="fr-FR" sz="1600" dirty="0">
                <a:solidFill>
                  <a:prstClr val="white"/>
                </a:solidFill>
                <a:ea typeface="ＭＳ Ｐゴシック" charset="0"/>
              </a:rPr>
            </a:br>
            <a:r>
              <a:rPr lang="fr-FR" sz="1600" dirty="0">
                <a:solidFill>
                  <a:prstClr val="white"/>
                </a:solidFill>
                <a:ea typeface="ＭＳ Ｐゴシック" charset="0"/>
              </a:rPr>
              <a:t>en restructuration</a:t>
            </a:r>
          </a:p>
        </p:txBody>
      </p:sp>
      <p:sp>
        <p:nvSpPr>
          <p:cNvPr id="24" name="Rectangle 165"/>
          <p:cNvSpPr>
            <a:spLocks noChangeArrowheads="1"/>
          </p:cNvSpPr>
          <p:nvPr>
            <p:custDataLst>
              <p:tags r:id="rId2"/>
            </p:custDataLst>
          </p:nvPr>
        </p:nvSpPr>
        <p:spPr bwMode="gray">
          <a:xfrm>
            <a:off x="3278382" y="1275176"/>
            <a:ext cx="2592000" cy="612000"/>
          </a:xfrm>
          <a:prstGeom prst="rect">
            <a:avLst/>
          </a:prstGeom>
          <a:solidFill>
            <a:schemeClr val="tx2"/>
          </a:solidFill>
          <a:ln w="9525">
            <a:noFill/>
            <a:miter lim="800000"/>
            <a:headEnd/>
            <a:tailEnd/>
          </a:ln>
        </p:spPr>
        <p:txBody>
          <a:bodyPr wrap="square" lIns="0" tIns="0" rIns="0" bIns="0" anchor="ctr" anchorCtr="0">
            <a:noAutofit/>
          </a:bodyPr>
          <a:lstStyle/>
          <a:p>
            <a:pPr marL="72000" defTabSz="912813" fontAlgn="base">
              <a:spcBef>
                <a:spcPct val="0"/>
              </a:spcBef>
              <a:spcAft>
                <a:spcPct val="0"/>
              </a:spcAft>
              <a:defRPr/>
            </a:pPr>
            <a:r>
              <a:rPr lang="fr-FR" sz="1600" dirty="0">
                <a:solidFill>
                  <a:prstClr val="white"/>
                </a:solidFill>
                <a:ea typeface="ＭＳ Ｐゴシック" charset="0"/>
              </a:rPr>
              <a:t>Entreprises </a:t>
            </a:r>
            <a:br>
              <a:rPr lang="fr-FR" sz="1600" dirty="0">
                <a:solidFill>
                  <a:prstClr val="white"/>
                </a:solidFill>
                <a:ea typeface="ＭＳ Ｐゴシック" charset="0"/>
              </a:rPr>
            </a:br>
            <a:r>
              <a:rPr lang="fr-FR" sz="1600" dirty="0">
                <a:solidFill>
                  <a:prstClr val="white"/>
                </a:solidFill>
                <a:ea typeface="ＭＳ Ｐゴシック" charset="0"/>
              </a:rPr>
              <a:t>sous valorisées</a:t>
            </a:r>
          </a:p>
        </p:txBody>
      </p:sp>
      <p:sp>
        <p:nvSpPr>
          <p:cNvPr id="46" name="TextBox 45"/>
          <p:cNvSpPr txBox="1"/>
          <p:nvPr/>
        </p:nvSpPr>
        <p:spPr bwMode="gray">
          <a:xfrm>
            <a:off x="476398" y="2007591"/>
            <a:ext cx="2595600" cy="807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noAutofit/>
          </a:bodyPr>
          <a:lstStyle/>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Une cible potentielle </a:t>
            </a:r>
            <a:br>
              <a:rPr lang="fr-FR" sz="1000" dirty="0">
                <a:solidFill>
                  <a:srgbClr val="415464"/>
                </a:solidFill>
                <a:ea typeface="ＭＳ Ｐゴシック" charset="0"/>
              </a:rPr>
            </a:br>
            <a:r>
              <a:rPr lang="fr-FR" sz="1000" dirty="0">
                <a:solidFill>
                  <a:srgbClr val="415464"/>
                </a:solidFill>
                <a:ea typeface="ＭＳ Ｐゴシック" charset="0"/>
              </a:rPr>
              <a:t>d'une fusion ou d’une acquisition</a:t>
            </a:r>
          </a:p>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Introduction en bourse ou scission de filiales</a:t>
            </a:r>
          </a:p>
        </p:txBody>
      </p:sp>
      <p:sp>
        <p:nvSpPr>
          <p:cNvPr id="49" name="TextBox 48"/>
          <p:cNvSpPr txBox="1"/>
          <p:nvPr/>
        </p:nvSpPr>
        <p:spPr bwMode="gray">
          <a:xfrm>
            <a:off x="3278381" y="2007592"/>
            <a:ext cx="2595600" cy="807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noAutofit/>
          </a:bodyPr>
          <a:lstStyle/>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Un potentiel d'appréciation significatif</a:t>
            </a:r>
          </a:p>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Un catalyseur qui permet une réévaluation de la valeur et une croissance des bénéfices supérieure aux anticipations</a:t>
            </a:r>
          </a:p>
        </p:txBody>
      </p:sp>
      <p:sp>
        <p:nvSpPr>
          <p:cNvPr id="52" name="TextBox 51"/>
          <p:cNvSpPr txBox="1"/>
          <p:nvPr/>
        </p:nvSpPr>
        <p:spPr bwMode="gray">
          <a:xfrm>
            <a:off x="6085275" y="2007592"/>
            <a:ext cx="2595600" cy="807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noAutofit/>
          </a:bodyPr>
          <a:lstStyle/>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Une position dominante dans le secteur et/ou un pouvoir de fixation des prix</a:t>
            </a:r>
          </a:p>
          <a:p>
            <a:pPr marL="108000" indent="-108000" defTabSz="912813" fontAlgn="base">
              <a:spcAft>
                <a:spcPts val="300"/>
              </a:spcAft>
              <a:buClr>
                <a:srgbClr val="0A4D80"/>
              </a:buClr>
              <a:buFont typeface="Wingdings"/>
              <a:buChar char="§"/>
              <a:defRPr/>
            </a:pPr>
            <a:r>
              <a:rPr lang="fr-FR" sz="1000" dirty="0">
                <a:solidFill>
                  <a:srgbClr val="415464"/>
                </a:solidFill>
                <a:ea typeface="ＭＳ Ｐゴシック" charset="0"/>
              </a:rPr>
              <a:t>Une forte croissance de la société</a:t>
            </a:r>
          </a:p>
        </p:txBody>
      </p:sp>
      <p:grpSp>
        <p:nvGrpSpPr>
          <p:cNvPr id="4" name="Groupe 3">
            <a:extLst>
              <a:ext uri="{FF2B5EF4-FFF2-40B4-BE49-F238E27FC236}">
                <a16:creationId xmlns:a16="http://schemas.microsoft.com/office/drawing/2014/main" id="{3EAA5796-13B3-4244-9B45-237A66AF9217}"/>
              </a:ext>
            </a:extLst>
          </p:cNvPr>
          <p:cNvGrpSpPr/>
          <p:nvPr/>
        </p:nvGrpSpPr>
        <p:grpSpPr>
          <a:xfrm>
            <a:off x="3170935" y="1341438"/>
            <a:ext cx="2806894" cy="3816000"/>
            <a:chOff x="3170935" y="1341438"/>
            <a:chExt cx="2806894" cy="3312000"/>
          </a:xfrm>
        </p:grpSpPr>
        <p:cxnSp>
          <p:nvCxnSpPr>
            <p:cNvPr id="32" name="Straight Connector 31"/>
            <p:cNvCxnSpPr/>
            <p:nvPr/>
          </p:nvCxnSpPr>
          <p:spPr bwMode="gray">
            <a:xfrm>
              <a:off x="3170935" y="1341438"/>
              <a:ext cx="0" cy="3312000"/>
            </a:xfrm>
            <a:prstGeom prst="line">
              <a:avLst/>
            </a:prstGeom>
            <a:ln w="31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5977829" y="1341438"/>
              <a:ext cx="0" cy="3312000"/>
            </a:xfrm>
            <a:prstGeom prst="line">
              <a:avLst/>
            </a:prstGeom>
            <a:ln w="3175">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3" name="TextBox 45">
            <a:extLst>
              <a:ext uri="{FF2B5EF4-FFF2-40B4-BE49-F238E27FC236}">
                <a16:creationId xmlns:a16="http://schemas.microsoft.com/office/drawing/2014/main" id="{D0CBEFE2-7D2C-7746-BD5A-6A8564156D81}"/>
              </a:ext>
            </a:extLst>
          </p:cNvPr>
          <p:cNvSpPr txBox="1"/>
          <p:nvPr/>
        </p:nvSpPr>
        <p:spPr bwMode="gray">
          <a:xfrm>
            <a:off x="469062" y="3721286"/>
            <a:ext cx="2592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spAutoFit/>
          </a:bodyPr>
          <a:lstStyle/>
          <a:p>
            <a:pPr algn="ctr" defTabSz="912813" fontAlgn="base">
              <a:spcBef>
                <a:spcPts val="200"/>
              </a:spcBef>
              <a:spcAft>
                <a:spcPts val="800"/>
              </a:spcAft>
              <a:buClr>
                <a:srgbClr val="0A4D80"/>
              </a:buClr>
              <a:buSzPct val="100000"/>
              <a:defRPr/>
            </a:pPr>
            <a:r>
              <a:rPr lang="fr-FR" sz="1400" dirty="0">
                <a:solidFill>
                  <a:srgbClr val="0A4D80"/>
                </a:solidFill>
                <a:ea typeface="ＭＳ Ｐゴシック" charset="0"/>
              </a:rPr>
              <a:t>Sociétés en portefeuille</a:t>
            </a:r>
          </a:p>
        </p:txBody>
      </p:sp>
      <p:sp>
        <p:nvSpPr>
          <p:cNvPr id="25" name="TextBox 48">
            <a:extLst>
              <a:ext uri="{FF2B5EF4-FFF2-40B4-BE49-F238E27FC236}">
                <a16:creationId xmlns:a16="http://schemas.microsoft.com/office/drawing/2014/main" id="{E0BB4DBA-E01B-2245-98FC-A7BCB74A3F67}"/>
              </a:ext>
            </a:extLst>
          </p:cNvPr>
          <p:cNvSpPr txBox="1"/>
          <p:nvPr/>
        </p:nvSpPr>
        <p:spPr bwMode="gray">
          <a:xfrm>
            <a:off x="3303295" y="3721286"/>
            <a:ext cx="2592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spAutoFit/>
          </a:bodyPr>
          <a:lstStyle/>
          <a:p>
            <a:pPr algn="ctr" defTabSz="912813" fontAlgn="base">
              <a:spcBef>
                <a:spcPts val="200"/>
              </a:spcBef>
              <a:spcAft>
                <a:spcPts val="800"/>
              </a:spcAft>
              <a:buClr>
                <a:srgbClr val="0A4D80"/>
              </a:buClr>
              <a:buSzPct val="100000"/>
              <a:defRPr/>
            </a:pPr>
            <a:r>
              <a:rPr lang="fr-FR" sz="1400" dirty="0">
                <a:solidFill>
                  <a:srgbClr val="0A4D80"/>
                </a:solidFill>
                <a:ea typeface="ＭＳ Ｐゴシック" charset="0"/>
              </a:rPr>
              <a:t>Sociétés en portefeuille</a:t>
            </a:r>
          </a:p>
        </p:txBody>
      </p:sp>
      <p:sp>
        <p:nvSpPr>
          <p:cNvPr id="27" name="TextBox 51">
            <a:extLst>
              <a:ext uri="{FF2B5EF4-FFF2-40B4-BE49-F238E27FC236}">
                <a16:creationId xmlns:a16="http://schemas.microsoft.com/office/drawing/2014/main" id="{99209D9E-A59C-074B-912E-7F21056AC474}"/>
              </a:ext>
            </a:extLst>
          </p:cNvPr>
          <p:cNvSpPr txBox="1"/>
          <p:nvPr/>
        </p:nvSpPr>
        <p:spPr bwMode="gray">
          <a:xfrm>
            <a:off x="6087075" y="3721286"/>
            <a:ext cx="2592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t" anchorCtr="0">
            <a:spAutoFit/>
          </a:bodyPr>
          <a:lstStyle/>
          <a:p>
            <a:pPr algn="ctr" defTabSz="912813" fontAlgn="base">
              <a:spcBef>
                <a:spcPts val="200"/>
              </a:spcBef>
              <a:spcAft>
                <a:spcPts val="800"/>
              </a:spcAft>
              <a:buClr>
                <a:srgbClr val="0A4D80"/>
              </a:buClr>
              <a:buSzPct val="100000"/>
              <a:defRPr/>
            </a:pPr>
            <a:r>
              <a:rPr lang="fr-FR" sz="1400" dirty="0">
                <a:solidFill>
                  <a:srgbClr val="0A4D80"/>
                </a:solidFill>
                <a:ea typeface="ＭＳ Ｐゴシック" charset="0"/>
              </a:rPr>
              <a:t>Sociétés en portefeuille</a:t>
            </a:r>
            <a:endParaRPr lang="fr-FR" sz="1050" dirty="0">
              <a:solidFill>
                <a:srgbClr val="0A4D80"/>
              </a:solidFill>
              <a:ea typeface="ＭＳ Ｐゴシック" charset="0"/>
            </a:endParaRPr>
          </a:p>
        </p:txBody>
      </p:sp>
      <p:sp>
        <p:nvSpPr>
          <p:cNvPr id="26" name="Rectangle 165"/>
          <p:cNvSpPr>
            <a:spLocks noChangeArrowheads="1"/>
          </p:cNvSpPr>
          <p:nvPr>
            <p:custDataLst>
              <p:tags r:id="rId3"/>
            </p:custDataLst>
          </p:nvPr>
        </p:nvSpPr>
        <p:spPr bwMode="gray">
          <a:xfrm>
            <a:off x="6085275" y="1275176"/>
            <a:ext cx="2592000" cy="612000"/>
          </a:xfrm>
          <a:prstGeom prst="rect">
            <a:avLst/>
          </a:prstGeom>
          <a:solidFill>
            <a:schemeClr val="tx2"/>
          </a:solidFill>
          <a:ln w="9525">
            <a:noFill/>
            <a:miter lim="800000"/>
            <a:headEnd/>
            <a:tailEnd/>
          </a:ln>
        </p:spPr>
        <p:txBody>
          <a:bodyPr wrap="square" lIns="0" tIns="0" rIns="0" bIns="0" anchor="ctr" anchorCtr="0">
            <a:noAutofit/>
          </a:bodyPr>
          <a:lstStyle/>
          <a:p>
            <a:pPr marL="72000" defTabSz="912813" fontAlgn="base">
              <a:spcBef>
                <a:spcPct val="0"/>
              </a:spcBef>
              <a:spcAft>
                <a:spcPct val="0"/>
              </a:spcAft>
              <a:defRPr/>
            </a:pPr>
            <a:r>
              <a:rPr lang="fr-FR" sz="1600" dirty="0">
                <a:solidFill>
                  <a:prstClr val="white"/>
                </a:solidFill>
                <a:ea typeface="ＭＳ Ｐゴシック" charset="0"/>
              </a:rPr>
              <a:t>Entreprises </a:t>
            </a:r>
            <a:br>
              <a:rPr lang="fr-FR" sz="1600" dirty="0">
                <a:solidFill>
                  <a:prstClr val="white"/>
                </a:solidFill>
                <a:ea typeface="ＭＳ Ｐゴシック" charset="0"/>
              </a:rPr>
            </a:br>
            <a:r>
              <a:rPr lang="fr-FR" sz="1600" dirty="0">
                <a:solidFill>
                  <a:prstClr val="white"/>
                </a:solidFill>
                <a:ea typeface="ＭＳ Ｐゴシック" charset="0"/>
              </a:rPr>
              <a:t>leaders</a:t>
            </a:r>
          </a:p>
        </p:txBody>
      </p:sp>
      <p:cxnSp>
        <p:nvCxnSpPr>
          <p:cNvPr id="48138" name="Connecteur droit 48137">
            <a:extLst>
              <a:ext uri="{FF2B5EF4-FFF2-40B4-BE49-F238E27FC236}">
                <a16:creationId xmlns:a16="http://schemas.microsoft.com/office/drawing/2014/main" id="{70453616-F70A-374D-AB74-7A50436F55DC}"/>
              </a:ext>
            </a:extLst>
          </p:cNvPr>
          <p:cNvCxnSpPr/>
          <p:nvPr/>
        </p:nvCxnSpPr>
        <p:spPr>
          <a:xfrm>
            <a:off x="478121" y="36833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Connecteur droit 74">
            <a:extLst>
              <a:ext uri="{FF2B5EF4-FFF2-40B4-BE49-F238E27FC236}">
                <a16:creationId xmlns:a16="http://schemas.microsoft.com/office/drawing/2014/main" id="{8904F940-795F-2648-B1BB-DA4A8BAC7CFB}"/>
              </a:ext>
            </a:extLst>
          </p:cNvPr>
          <p:cNvCxnSpPr/>
          <p:nvPr/>
        </p:nvCxnSpPr>
        <p:spPr>
          <a:xfrm>
            <a:off x="3274200" y="36833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4C84D649-EE78-1740-8E4B-0969998FF910}"/>
              </a:ext>
            </a:extLst>
          </p:cNvPr>
          <p:cNvCxnSpPr/>
          <p:nvPr/>
        </p:nvCxnSpPr>
        <p:spPr>
          <a:xfrm>
            <a:off x="6088652" y="36833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Connecteur droit 76">
            <a:extLst>
              <a:ext uri="{FF2B5EF4-FFF2-40B4-BE49-F238E27FC236}">
                <a16:creationId xmlns:a16="http://schemas.microsoft.com/office/drawing/2014/main" id="{09B6F0F4-3401-114B-A31C-6F1047ABE518}"/>
              </a:ext>
            </a:extLst>
          </p:cNvPr>
          <p:cNvCxnSpPr/>
          <p:nvPr/>
        </p:nvCxnSpPr>
        <p:spPr>
          <a:xfrm>
            <a:off x="478121" y="51191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Connecteur droit 77">
            <a:extLst>
              <a:ext uri="{FF2B5EF4-FFF2-40B4-BE49-F238E27FC236}">
                <a16:creationId xmlns:a16="http://schemas.microsoft.com/office/drawing/2014/main" id="{6B8BF344-4E9B-D34C-B990-6461BE77D390}"/>
              </a:ext>
            </a:extLst>
          </p:cNvPr>
          <p:cNvCxnSpPr/>
          <p:nvPr/>
        </p:nvCxnSpPr>
        <p:spPr>
          <a:xfrm>
            <a:off x="3274200" y="51191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Connecteur droit 78">
            <a:extLst>
              <a:ext uri="{FF2B5EF4-FFF2-40B4-BE49-F238E27FC236}">
                <a16:creationId xmlns:a16="http://schemas.microsoft.com/office/drawing/2014/main" id="{96A7A806-7767-C64C-ACCC-84A9CED69757}"/>
              </a:ext>
            </a:extLst>
          </p:cNvPr>
          <p:cNvCxnSpPr/>
          <p:nvPr/>
        </p:nvCxnSpPr>
        <p:spPr>
          <a:xfrm>
            <a:off x="6088652" y="5119167"/>
            <a:ext cx="2595600" cy="0"/>
          </a:xfrm>
          <a:prstGeom prst="line">
            <a:avLst/>
          </a:prstGeom>
          <a:ln>
            <a:solidFill>
              <a:schemeClr val="tx1">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 name="Image 6">
            <a:extLst>
              <a:ext uri="{FF2B5EF4-FFF2-40B4-BE49-F238E27FC236}">
                <a16:creationId xmlns:a16="http://schemas.microsoft.com/office/drawing/2014/main" id="{8F854B8B-42A7-E246-BCA3-39D9E5BA9F1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01683" y="1329176"/>
            <a:ext cx="504000" cy="504000"/>
          </a:xfrm>
          <a:prstGeom prst="rect">
            <a:avLst/>
          </a:prstGeom>
        </p:spPr>
      </p:pic>
      <p:pic>
        <p:nvPicPr>
          <p:cNvPr id="12" name="Image 11">
            <a:extLst>
              <a:ext uri="{FF2B5EF4-FFF2-40B4-BE49-F238E27FC236}">
                <a16:creationId xmlns:a16="http://schemas.microsoft.com/office/drawing/2014/main" id="{7001B5C9-FADD-DE41-A3AF-DB180C6B3BF1}"/>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2496147" y="1329176"/>
            <a:ext cx="504000" cy="504000"/>
          </a:xfrm>
          <a:prstGeom prst="rect">
            <a:avLst/>
          </a:prstGeom>
        </p:spPr>
      </p:pic>
      <p:pic>
        <p:nvPicPr>
          <p:cNvPr id="14" name="Image 13">
            <a:extLst>
              <a:ext uri="{FF2B5EF4-FFF2-40B4-BE49-F238E27FC236}">
                <a16:creationId xmlns:a16="http://schemas.microsoft.com/office/drawing/2014/main" id="{1DDC4DC1-C734-9741-B559-0F78A2BAB81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89897" y="1329176"/>
            <a:ext cx="432727" cy="504000"/>
          </a:xfrm>
          <a:prstGeom prst="rect">
            <a:avLst/>
          </a:prstGeom>
        </p:spPr>
      </p:pic>
      <p:sp>
        <p:nvSpPr>
          <p:cNvPr id="70" name="Rectangle 165">
            <a:extLst>
              <a:ext uri="{FF2B5EF4-FFF2-40B4-BE49-F238E27FC236}">
                <a16:creationId xmlns:a16="http://schemas.microsoft.com/office/drawing/2014/main" id="{A28A8166-8DF7-4F4A-97BA-BC34C1B0F78E}"/>
              </a:ext>
            </a:extLst>
          </p:cNvPr>
          <p:cNvSpPr>
            <a:spLocks noChangeArrowheads="1"/>
          </p:cNvSpPr>
          <p:nvPr>
            <p:custDataLst>
              <p:tags r:id="rId4"/>
            </p:custDataLst>
          </p:nvPr>
        </p:nvSpPr>
        <p:spPr bwMode="gray">
          <a:xfrm>
            <a:off x="894274" y="2896378"/>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15 % </a:t>
            </a:r>
          </a:p>
        </p:txBody>
      </p:sp>
      <p:sp>
        <p:nvSpPr>
          <p:cNvPr id="62" name="Rectangle 165">
            <a:extLst>
              <a:ext uri="{FF2B5EF4-FFF2-40B4-BE49-F238E27FC236}">
                <a16:creationId xmlns:a16="http://schemas.microsoft.com/office/drawing/2014/main" id="{931DDC87-E810-E246-ABB8-911D01EAC8CC}"/>
              </a:ext>
            </a:extLst>
          </p:cNvPr>
          <p:cNvSpPr>
            <a:spLocks noChangeArrowheads="1"/>
          </p:cNvSpPr>
          <p:nvPr>
            <p:custDataLst>
              <p:tags r:id="rId5"/>
            </p:custDataLst>
          </p:nvPr>
        </p:nvSpPr>
        <p:spPr bwMode="gray">
          <a:xfrm>
            <a:off x="1282310" y="2576605"/>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35 %</a:t>
            </a:r>
          </a:p>
        </p:txBody>
      </p:sp>
      <p:sp>
        <p:nvSpPr>
          <p:cNvPr id="63" name="Rectangle 165">
            <a:extLst>
              <a:ext uri="{FF2B5EF4-FFF2-40B4-BE49-F238E27FC236}">
                <a16:creationId xmlns:a16="http://schemas.microsoft.com/office/drawing/2014/main" id="{AEF9E76C-1573-2E43-9510-5FF12B783286}"/>
              </a:ext>
            </a:extLst>
          </p:cNvPr>
          <p:cNvSpPr>
            <a:spLocks noChangeArrowheads="1"/>
          </p:cNvSpPr>
          <p:nvPr>
            <p:custDataLst>
              <p:tags r:id="rId6"/>
            </p:custDataLst>
          </p:nvPr>
        </p:nvSpPr>
        <p:spPr bwMode="gray">
          <a:xfrm>
            <a:off x="3744720" y="2835428"/>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30 % </a:t>
            </a:r>
          </a:p>
        </p:txBody>
      </p:sp>
      <p:sp>
        <p:nvSpPr>
          <p:cNvPr id="67" name="Rectangle 165">
            <a:extLst>
              <a:ext uri="{FF2B5EF4-FFF2-40B4-BE49-F238E27FC236}">
                <a16:creationId xmlns:a16="http://schemas.microsoft.com/office/drawing/2014/main" id="{17963964-E5E0-6844-BDE2-BC648D9C9956}"/>
              </a:ext>
            </a:extLst>
          </p:cNvPr>
          <p:cNvSpPr>
            <a:spLocks noChangeArrowheads="1"/>
          </p:cNvSpPr>
          <p:nvPr>
            <p:custDataLst>
              <p:tags r:id="rId7"/>
            </p:custDataLst>
          </p:nvPr>
        </p:nvSpPr>
        <p:spPr bwMode="gray">
          <a:xfrm>
            <a:off x="4919517" y="2835428"/>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70 % </a:t>
            </a:r>
          </a:p>
        </p:txBody>
      </p:sp>
      <p:pic>
        <p:nvPicPr>
          <p:cNvPr id="68" name="Image 67">
            <a:extLst>
              <a:ext uri="{FF2B5EF4-FFF2-40B4-BE49-F238E27FC236}">
                <a16:creationId xmlns:a16="http://schemas.microsoft.com/office/drawing/2014/main" id="{03A16FB5-9154-4849-BED5-0805AFF59E2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98453" y="2822405"/>
            <a:ext cx="1094551" cy="740276"/>
          </a:xfrm>
          <a:prstGeom prst="rect">
            <a:avLst/>
          </a:prstGeom>
        </p:spPr>
      </p:pic>
      <p:sp>
        <p:nvSpPr>
          <p:cNvPr id="73" name="Rectangle 165">
            <a:extLst>
              <a:ext uri="{FF2B5EF4-FFF2-40B4-BE49-F238E27FC236}">
                <a16:creationId xmlns:a16="http://schemas.microsoft.com/office/drawing/2014/main" id="{C596C156-F985-9449-BA0A-09D94B1BC0D8}"/>
              </a:ext>
            </a:extLst>
          </p:cNvPr>
          <p:cNvSpPr>
            <a:spLocks noChangeArrowheads="1"/>
          </p:cNvSpPr>
          <p:nvPr>
            <p:custDataLst>
              <p:tags r:id="rId8"/>
            </p:custDataLst>
          </p:nvPr>
        </p:nvSpPr>
        <p:spPr bwMode="gray">
          <a:xfrm>
            <a:off x="6474941" y="2967402"/>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15 % </a:t>
            </a:r>
          </a:p>
        </p:txBody>
      </p:sp>
      <p:sp>
        <p:nvSpPr>
          <p:cNvPr id="74" name="Rectangle 165">
            <a:extLst>
              <a:ext uri="{FF2B5EF4-FFF2-40B4-BE49-F238E27FC236}">
                <a16:creationId xmlns:a16="http://schemas.microsoft.com/office/drawing/2014/main" id="{4EA2FD72-2EE1-4A42-8C7C-502CB3A76DC2}"/>
              </a:ext>
            </a:extLst>
          </p:cNvPr>
          <p:cNvSpPr>
            <a:spLocks noChangeArrowheads="1"/>
          </p:cNvSpPr>
          <p:nvPr>
            <p:custDataLst>
              <p:tags r:id="rId9"/>
            </p:custDataLst>
          </p:nvPr>
        </p:nvSpPr>
        <p:spPr bwMode="gray">
          <a:xfrm>
            <a:off x="6862977" y="2625629"/>
            <a:ext cx="476395" cy="251645"/>
          </a:xfrm>
          <a:prstGeom prst="rect">
            <a:avLst/>
          </a:prstGeom>
          <a:noFill/>
          <a:ln w="9525">
            <a:noFill/>
            <a:miter lim="800000"/>
            <a:headEnd/>
            <a:tailEnd/>
          </a:ln>
        </p:spPr>
        <p:txBody>
          <a:bodyPr wrap="square" lIns="0" tIns="0" rIns="0" bIns="0" anchor="ctr" anchorCtr="0">
            <a:noAutofit/>
          </a:bodyPr>
          <a:lstStyle/>
          <a:p>
            <a:pPr algn="ctr" defTabSz="912813" fontAlgn="base">
              <a:spcBef>
                <a:spcPct val="0"/>
              </a:spcBef>
              <a:spcAft>
                <a:spcPct val="0"/>
              </a:spcAft>
              <a:defRPr/>
            </a:pPr>
            <a:r>
              <a:rPr lang="fr-FR" sz="1100" dirty="0">
                <a:solidFill>
                  <a:srgbClr val="0A4D80"/>
                </a:solidFill>
                <a:ea typeface="ＭＳ Ｐゴシック" charset="0"/>
              </a:rPr>
              <a:t>35 %</a:t>
            </a:r>
          </a:p>
        </p:txBody>
      </p:sp>
      <p:grpSp>
        <p:nvGrpSpPr>
          <p:cNvPr id="64" name="Groupe 63">
            <a:extLst>
              <a:ext uri="{FF2B5EF4-FFF2-40B4-BE49-F238E27FC236}">
                <a16:creationId xmlns:a16="http://schemas.microsoft.com/office/drawing/2014/main" id="{CBA4B742-17A4-DF41-8FE5-66C742EB5C8F}"/>
              </a:ext>
            </a:extLst>
          </p:cNvPr>
          <p:cNvGrpSpPr/>
          <p:nvPr/>
        </p:nvGrpSpPr>
        <p:grpSpPr>
          <a:xfrm>
            <a:off x="452852" y="5249321"/>
            <a:ext cx="8224423" cy="581817"/>
            <a:chOff x="469062" y="5261017"/>
            <a:chExt cx="12213291" cy="864000"/>
          </a:xfrm>
        </p:grpSpPr>
        <p:sp>
          <p:nvSpPr>
            <p:cNvPr id="65" name="Rectangle à coins arrondis 64">
              <a:extLst>
                <a:ext uri="{FF2B5EF4-FFF2-40B4-BE49-F238E27FC236}">
                  <a16:creationId xmlns:a16="http://schemas.microsoft.com/office/drawing/2014/main" id="{87E37F4A-EF07-CF44-9DC0-FF452963A8B3}"/>
                </a:ext>
              </a:extLst>
            </p:cNvPr>
            <p:cNvSpPr/>
            <p:nvPr/>
          </p:nvSpPr>
          <p:spPr>
            <a:xfrm>
              <a:off x="880948" y="5261017"/>
              <a:ext cx="11801405" cy="864000"/>
            </a:xfrm>
            <a:prstGeom prst="roundRect">
              <a:avLst>
                <a:gd name="adj" fmla="val 0"/>
              </a:avLst>
            </a:prstGeom>
            <a:solidFill>
              <a:srgbClr val="E8E9EA"/>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8000" algn="ctr" defTabSz="912813" fontAlgn="base">
                <a:spcBef>
                  <a:spcPct val="0"/>
                </a:spcBef>
                <a:spcAft>
                  <a:spcPct val="0"/>
                </a:spcAft>
                <a:defRPr/>
              </a:pPr>
              <a:endParaRPr lang="fr-FR" sz="1400" b="1" dirty="0">
                <a:solidFill>
                  <a:srgbClr val="0A4D80"/>
                </a:solidFill>
              </a:endParaRPr>
            </a:p>
          </p:txBody>
        </p:sp>
        <p:pic>
          <p:nvPicPr>
            <p:cNvPr id="66" name="Image 65">
              <a:extLst>
                <a:ext uri="{FF2B5EF4-FFF2-40B4-BE49-F238E27FC236}">
                  <a16:creationId xmlns:a16="http://schemas.microsoft.com/office/drawing/2014/main" id="{D8D49A03-63D2-6840-96DB-A7D63C2AD8FE}"/>
                </a:ext>
              </a:extLst>
            </p:cNvPr>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469062" y="5261017"/>
              <a:ext cx="864000" cy="864000"/>
            </a:xfrm>
            <a:prstGeom prst="rect">
              <a:avLst/>
            </a:prstGeom>
            <a:effectLst>
              <a:outerShdw blurRad="88900" dist="38100" dir="2700000" sx="104000" sy="104000" algn="tl" rotWithShape="0">
                <a:prstClr val="black">
                  <a:alpha val="27000"/>
                </a:prstClr>
              </a:outerShdw>
            </a:effectLst>
          </p:spPr>
        </p:pic>
        <p:sp>
          <p:nvSpPr>
            <p:cNvPr id="72" name="Rectangle 71">
              <a:extLst>
                <a:ext uri="{FF2B5EF4-FFF2-40B4-BE49-F238E27FC236}">
                  <a16:creationId xmlns:a16="http://schemas.microsoft.com/office/drawing/2014/main" id="{9ED3E445-3F22-A140-A911-53B23436A153}"/>
                </a:ext>
              </a:extLst>
            </p:cNvPr>
            <p:cNvSpPr/>
            <p:nvPr/>
          </p:nvSpPr>
          <p:spPr>
            <a:xfrm>
              <a:off x="1374400" y="5350883"/>
              <a:ext cx="11300879" cy="696250"/>
            </a:xfrm>
            <a:prstGeom prst="rect">
              <a:avLst/>
            </a:prstGeom>
          </p:spPr>
          <p:txBody>
            <a:bodyPr wrap="none" lIns="72000" tIns="36000" rIns="36000" bIns="36000" anchor="ctr">
              <a:noAutofit/>
            </a:bodyPr>
            <a:lstStyle/>
            <a:p>
              <a:pPr defTabSz="912813" fontAlgn="base">
                <a:spcBef>
                  <a:spcPct val="0"/>
                </a:spcBef>
                <a:spcAft>
                  <a:spcPct val="0"/>
                </a:spcAft>
                <a:defRPr/>
              </a:pPr>
              <a:r>
                <a:rPr lang="fr-FR" sz="1400" b="1" dirty="0">
                  <a:solidFill>
                    <a:srgbClr val="0A4D80"/>
                  </a:solidFill>
                  <a:ea typeface="ＭＳ Ｐゴシック" charset="0"/>
                </a:rPr>
                <a:t>Une capacité à s’adapter à chaque cycle de marchés </a:t>
              </a:r>
            </a:p>
          </p:txBody>
        </p:sp>
        <p:sp>
          <p:nvSpPr>
            <p:cNvPr id="80" name="Ellipse 79">
              <a:extLst>
                <a:ext uri="{FF2B5EF4-FFF2-40B4-BE49-F238E27FC236}">
                  <a16:creationId xmlns:a16="http://schemas.microsoft.com/office/drawing/2014/main" id="{59ED2C91-C04D-5349-A859-AFB43567F71C}"/>
                </a:ext>
              </a:extLst>
            </p:cNvPr>
            <p:cNvSpPr/>
            <p:nvPr/>
          </p:nvSpPr>
          <p:spPr>
            <a:xfrm>
              <a:off x="469062" y="5261017"/>
              <a:ext cx="864000" cy="864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defRPr/>
              </a:pPr>
              <a:endParaRPr lang="fr-FR" sz="2400" b="1">
                <a:solidFill>
                  <a:prstClr val="white"/>
                </a:solidFill>
              </a:endParaRPr>
            </a:p>
          </p:txBody>
        </p:sp>
      </p:grpSp>
      <p:sp>
        <p:nvSpPr>
          <p:cNvPr id="5" name="TextBox 4"/>
          <p:cNvSpPr txBox="1"/>
          <p:nvPr/>
        </p:nvSpPr>
        <p:spPr bwMode="auto">
          <a:xfrm>
            <a:off x="1073381" y="3519864"/>
            <a:ext cx="159649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800" dirty="0">
                <a:solidFill>
                  <a:srgbClr val="415464"/>
                </a:solidFill>
                <a:ea typeface="ＭＳ Ｐゴシック" charset="0"/>
              </a:rPr>
              <a:t>Fourchette d’exposition indicative</a:t>
            </a:r>
          </a:p>
        </p:txBody>
      </p:sp>
      <p:sp>
        <p:nvSpPr>
          <p:cNvPr id="69" name="TextBox 68"/>
          <p:cNvSpPr txBox="1"/>
          <p:nvPr/>
        </p:nvSpPr>
        <p:spPr bwMode="auto">
          <a:xfrm>
            <a:off x="3801047" y="3519864"/>
            <a:ext cx="159649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800" dirty="0">
                <a:solidFill>
                  <a:srgbClr val="415464"/>
                </a:solidFill>
                <a:ea typeface="ＭＳ Ｐゴシック" charset="0"/>
              </a:rPr>
              <a:t>Fourchette d’exposition indicative</a:t>
            </a:r>
          </a:p>
        </p:txBody>
      </p:sp>
      <p:sp>
        <p:nvSpPr>
          <p:cNvPr id="71" name="TextBox 70"/>
          <p:cNvSpPr txBox="1"/>
          <p:nvPr/>
        </p:nvSpPr>
        <p:spPr bwMode="auto">
          <a:xfrm>
            <a:off x="6541124" y="3519864"/>
            <a:ext cx="159649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800" dirty="0">
                <a:solidFill>
                  <a:srgbClr val="415464"/>
                </a:solidFill>
                <a:ea typeface="ＭＳ Ｐゴシック" charset="0"/>
              </a:rPr>
              <a:t>Fourchette d’exposition indicative</a:t>
            </a:r>
          </a:p>
        </p:txBody>
      </p:sp>
      <p:sp>
        <p:nvSpPr>
          <p:cNvPr id="3" name="TextBox 2">
            <a:extLst>
              <a:ext uri="{FF2B5EF4-FFF2-40B4-BE49-F238E27FC236}">
                <a16:creationId xmlns:a16="http://schemas.microsoft.com/office/drawing/2014/main" id="{0A2691BD-BEFF-4EBF-A2D1-46847C96462F}"/>
              </a:ext>
            </a:extLst>
          </p:cNvPr>
          <p:cNvSpPr txBox="1"/>
          <p:nvPr/>
        </p:nvSpPr>
        <p:spPr bwMode="auto">
          <a:xfrm>
            <a:off x="2595978" y="2962772"/>
            <a:ext cx="5802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1600" b="1" dirty="0">
                <a:solidFill>
                  <a:srgbClr val="415464"/>
                </a:solidFill>
                <a:ea typeface="ＭＳ Ｐゴシック" charset="0"/>
              </a:rPr>
              <a:t>28 %</a:t>
            </a:r>
            <a:endParaRPr lang="en-US" sz="1600" b="1" dirty="0">
              <a:solidFill>
                <a:srgbClr val="415464"/>
              </a:solidFill>
              <a:ea typeface="ＭＳ Ｐゴシック" charset="0"/>
            </a:endParaRPr>
          </a:p>
        </p:txBody>
      </p:sp>
      <p:sp>
        <p:nvSpPr>
          <p:cNvPr id="59" name="TextBox 58">
            <a:extLst>
              <a:ext uri="{FF2B5EF4-FFF2-40B4-BE49-F238E27FC236}">
                <a16:creationId xmlns:a16="http://schemas.microsoft.com/office/drawing/2014/main" id="{B2833A4C-B8D2-440F-9FE3-79DFA9017322}"/>
              </a:ext>
            </a:extLst>
          </p:cNvPr>
          <p:cNvSpPr txBox="1"/>
          <p:nvPr/>
        </p:nvSpPr>
        <p:spPr bwMode="auto">
          <a:xfrm>
            <a:off x="5471719" y="2998309"/>
            <a:ext cx="5802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1600" b="1" dirty="0">
                <a:solidFill>
                  <a:srgbClr val="415464"/>
                </a:solidFill>
                <a:ea typeface="ＭＳ Ｐゴシック" charset="0"/>
              </a:rPr>
              <a:t>35 %</a:t>
            </a:r>
            <a:endParaRPr lang="en-US" sz="1600" b="1" dirty="0">
              <a:solidFill>
                <a:srgbClr val="415464"/>
              </a:solidFill>
              <a:ea typeface="ＭＳ Ｐゴシック" charset="0"/>
            </a:endParaRPr>
          </a:p>
        </p:txBody>
      </p:sp>
      <p:sp>
        <p:nvSpPr>
          <p:cNvPr id="60" name="TextBox 59">
            <a:extLst>
              <a:ext uri="{FF2B5EF4-FFF2-40B4-BE49-F238E27FC236}">
                <a16:creationId xmlns:a16="http://schemas.microsoft.com/office/drawing/2014/main" id="{A9958259-6892-4FED-AD76-E0607321F566}"/>
              </a:ext>
            </a:extLst>
          </p:cNvPr>
          <p:cNvSpPr txBox="1"/>
          <p:nvPr/>
        </p:nvSpPr>
        <p:spPr bwMode="auto">
          <a:xfrm>
            <a:off x="8135384" y="2975796"/>
            <a:ext cx="5802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nchor="b" anchorCtr="0">
            <a:spAutoFit/>
          </a:bodyPr>
          <a:lstStyle/>
          <a:p>
            <a:pPr defTabSz="912813" fontAlgn="base">
              <a:spcBef>
                <a:spcPct val="0"/>
              </a:spcBef>
              <a:spcAft>
                <a:spcPct val="0"/>
              </a:spcAft>
              <a:buClr>
                <a:srgbClr val="01286D"/>
              </a:buClr>
              <a:buSzPct val="80000"/>
              <a:buFont typeface="Wingdings" pitchFamily="2" charset="2"/>
              <a:buNone/>
              <a:defRPr/>
            </a:pPr>
            <a:r>
              <a:rPr lang="fr-FR" sz="1600" b="1" dirty="0">
                <a:solidFill>
                  <a:srgbClr val="415464"/>
                </a:solidFill>
                <a:ea typeface="ＭＳ Ｐゴシック" charset="0"/>
              </a:rPr>
              <a:t>32 %</a:t>
            </a:r>
            <a:endParaRPr lang="en-US" sz="1600" b="1" dirty="0">
              <a:solidFill>
                <a:srgbClr val="415464"/>
              </a:solidFill>
              <a:ea typeface="ＭＳ Ｐゴシック" charset="0"/>
            </a:endParaRPr>
          </a:p>
        </p:txBody>
      </p:sp>
      <p:pic>
        <p:nvPicPr>
          <p:cNvPr id="58" name="Picture 57" descr="Tesco plc Logos">
            <a:extLst>
              <a:ext uri="{FF2B5EF4-FFF2-40B4-BE49-F238E27FC236}">
                <a16:creationId xmlns:a16="http://schemas.microsoft.com/office/drawing/2014/main" id="{58406553-822B-4937-A001-55F8B058DE4E}"/>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2074818" y="4710362"/>
            <a:ext cx="701467" cy="350734"/>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descr="Moody's assigns first time Ba1 rating to Jde Peet's, outlook positive">
            <a:extLst>
              <a:ext uri="{FF2B5EF4-FFF2-40B4-BE49-F238E27FC236}">
                <a16:creationId xmlns:a16="http://schemas.microsoft.com/office/drawing/2014/main" id="{BA91211A-10D5-4C05-99CC-66073D16B293}"/>
              </a:ext>
            </a:extLst>
          </p:cNvPr>
          <p:cNvPicPr>
            <a:picLocks noChangeAspect="1" noChangeArrowheads="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1189671" y="4357845"/>
            <a:ext cx="933055" cy="49762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91" descr="Brand New: New Logo and Identity for Capgemini by BrandPie">
            <a:extLst>
              <a:ext uri="{FF2B5EF4-FFF2-40B4-BE49-F238E27FC236}">
                <a16:creationId xmlns:a16="http://schemas.microsoft.com/office/drawing/2014/main" id="{770810B7-7943-4307-B488-648C218EA5E5}"/>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83392" y="4098025"/>
            <a:ext cx="1413903" cy="32794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descr="Voya Financial to Sell Individual Life Business and Other Closed ...">
            <a:extLst>
              <a:ext uri="{FF2B5EF4-FFF2-40B4-BE49-F238E27FC236}">
                <a16:creationId xmlns:a16="http://schemas.microsoft.com/office/drawing/2014/main" id="{7B94DED6-3AFC-434D-90E4-25BE041B405C}"/>
              </a:ext>
            </a:extLst>
          </p:cNvPr>
          <p:cNvPicPr>
            <a:picLocks noChangeAspect="1" noChangeArrowheads="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24490" y="4596593"/>
            <a:ext cx="793249" cy="39662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AmerisourceBergen (ABC)">
            <a:extLst>
              <a:ext uri="{FF2B5EF4-FFF2-40B4-BE49-F238E27FC236}">
                <a16:creationId xmlns:a16="http://schemas.microsoft.com/office/drawing/2014/main" id="{D57A3C65-0BB6-4658-8E1E-AA42203DB0BB}"/>
              </a:ext>
            </a:extLst>
          </p:cNvPr>
          <p:cNvPicPr>
            <a:picLocks noChangeAspect="1" noChangeArrowheads="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4043534" y="3897986"/>
            <a:ext cx="1335723" cy="63478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Car Logo Volkswagen Stock Illustrations – 127 Car Logo Volkswagen ...">
            <a:extLst>
              <a:ext uri="{FF2B5EF4-FFF2-40B4-BE49-F238E27FC236}">
                <a16:creationId xmlns:a16="http://schemas.microsoft.com/office/drawing/2014/main" id="{54179014-39DE-4569-A8C1-7FB672A195E7}"/>
              </a:ext>
            </a:extLst>
          </p:cNvPr>
          <p:cNvPicPr>
            <a:picLocks noChangeAspect="1" noChangeArrowheads="1"/>
          </p:cNvPicPr>
          <p:nvPr/>
        </p:nvPicPr>
        <p:blipFill>
          <a:blip r:embed="rId23" cstate="email">
            <a:extLst>
              <a:ext uri="{28A0092B-C50C-407E-A947-70E740481C1C}">
                <a14:useLocalDpi xmlns:a14="http://schemas.microsoft.com/office/drawing/2010/main" val="0"/>
              </a:ext>
            </a:extLst>
          </a:blip>
          <a:srcRect/>
          <a:stretch>
            <a:fillRect/>
          </a:stretch>
        </p:blipFill>
        <p:spPr bwMode="auto">
          <a:xfrm flipH="1">
            <a:off x="3313466" y="4101046"/>
            <a:ext cx="590381" cy="43171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D2B88F67-3AD4-44C6-A3D2-BCDF59185F9E}"/>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935658" y="4351367"/>
            <a:ext cx="829211" cy="46006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a:extLst>
              <a:ext uri="{FF2B5EF4-FFF2-40B4-BE49-F238E27FC236}">
                <a16:creationId xmlns:a16="http://schemas.microsoft.com/office/drawing/2014/main" id="{B5971A45-B9C2-48B1-B8D0-8FE332E5BB2E}"/>
              </a:ext>
            </a:extLst>
          </p:cNvPr>
          <p:cNvPicPr>
            <a:picLocks noChangeAspect="1" noChangeArrowheads="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7424918" y="4600616"/>
            <a:ext cx="780645" cy="35495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descr="PTC (software company) - Wikipedia">
            <a:extLst>
              <a:ext uri="{FF2B5EF4-FFF2-40B4-BE49-F238E27FC236}">
                <a16:creationId xmlns:a16="http://schemas.microsoft.com/office/drawing/2014/main" id="{33728454-BD09-4745-BCFE-F9719EA5E030}"/>
              </a:ext>
            </a:extLst>
          </p:cNvPr>
          <p:cNvPicPr>
            <a:picLocks noChangeAspect="1" noChangeArrowheads="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6354639" y="4055090"/>
            <a:ext cx="855832" cy="33239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descr="Download Amazon Logo Png Transparent Background - Transparent PNG ...">
            <a:extLst>
              <a:ext uri="{FF2B5EF4-FFF2-40B4-BE49-F238E27FC236}">
                <a16:creationId xmlns:a16="http://schemas.microsoft.com/office/drawing/2014/main" id="{A56CE045-4DDA-479B-93F2-0DF07CA67B1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410626" y="4060004"/>
            <a:ext cx="918991" cy="449475"/>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Altice USA Raises $1.9 Billion in IPO - Variety">
            <a:extLst>
              <a:ext uri="{FF2B5EF4-FFF2-40B4-BE49-F238E27FC236}">
                <a16:creationId xmlns:a16="http://schemas.microsoft.com/office/drawing/2014/main" id="{BF7DF99B-6FE1-4650-B5A4-96DA0CF940C1}"/>
              </a:ext>
            </a:extLst>
          </p:cNvPr>
          <p:cNvPicPr>
            <a:picLocks noChangeAspect="1" noChangeArrowheads="1"/>
          </p:cNvPicPr>
          <p:nvPr/>
        </p:nvPicPr>
        <p:blipFill>
          <a:blip r:embed="rId28" cstate="email">
            <a:extLst>
              <a:ext uri="{28A0092B-C50C-407E-A947-70E740481C1C}">
                <a14:useLocalDpi xmlns:a14="http://schemas.microsoft.com/office/drawing/2010/main" val="0"/>
              </a:ext>
            </a:extLst>
          </a:blip>
          <a:srcRect/>
          <a:stretch>
            <a:fillRect/>
          </a:stretch>
        </p:blipFill>
        <p:spPr bwMode="auto">
          <a:xfrm>
            <a:off x="6430555" y="4577046"/>
            <a:ext cx="770571" cy="4357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descr="Vodafone Group Plc Distributor | Authorized Partner | Arrow.com">
            <a:extLst>
              <a:ext uri="{FF2B5EF4-FFF2-40B4-BE49-F238E27FC236}">
                <a16:creationId xmlns:a16="http://schemas.microsoft.com/office/drawing/2014/main" id="{533FF2DD-47BA-4DA9-8C67-8168D05971B1}"/>
              </a:ext>
            </a:extLst>
          </p:cNvPr>
          <p:cNvPicPr>
            <a:picLocks noChangeAspect="1" noChangeArrowheads="1"/>
          </p:cNvPicPr>
          <p:nvPr/>
        </p:nvPicPr>
        <p:blipFill>
          <a:blip r:embed="rId29" cstate="email">
            <a:extLst>
              <a:ext uri="{28A0092B-C50C-407E-A947-70E740481C1C}">
                <a14:useLocalDpi xmlns:a14="http://schemas.microsoft.com/office/drawing/2010/main" val="0"/>
              </a:ext>
            </a:extLst>
          </a:blip>
          <a:srcRect/>
          <a:stretch>
            <a:fillRect/>
          </a:stretch>
        </p:blipFill>
        <p:spPr bwMode="auto">
          <a:xfrm>
            <a:off x="2230510" y="4075705"/>
            <a:ext cx="797894" cy="576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2725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86" y="1062143"/>
            <a:ext cx="8423864" cy="332399"/>
          </a:xfrm>
        </p:spPr>
        <p:txBody>
          <a:bodyPr vert="horz" lIns="0" tIns="0" rIns="0" bIns="0" rtlCol="0" anchor="b" anchorCtr="0">
            <a:spAutoFit/>
          </a:bodyPr>
          <a:lstStyle/>
          <a:p>
            <a:pPr>
              <a:lnSpc>
                <a:spcPct val="90000"/>
              </a:lnSpc>
            </a:pPr>
            <a:r>
              <a:rPr lang="en-GB" dirty="0" err="1">
                <a:latin typeface="Arial" panose="020B0604020202020204" pitchFamily="34" charset="0"/>
                <a:cs typeface="Arial" charset="0"/>
              </a:rPr>
              <a:t>Positionnement</a:t>
            </a:r>
            <a:r>
              <a:rPr lang="en-GB" dirty="0">
                <a:latin typeface="Arial" panose="020B0604020202020204" pitchFamily="34" charset="0"/>
                <a:cs typeface="Arial" charset="0"/>
              </a:rPr>
              <a:t> </a:t>
            </a:r>
            <a:endParaRPr lang="en-GB" dirty="0">
              <a:latin typeface="Arial" panose="020B0604020202020204" pitchFamily="34" charset="0"/>
            </a:endParaRPr>
          </a:p>
        </p:txBody>
      </p:sp>
      <p:sp>
        <p:nvSpPr>
          <p:cNvPr id="20" name="TextBox 171"/>
          <p:cNvSpPr txBox="1">
            <a:spLocks noChangeArrowheads="1"/>
          </p:cNvSpPr>
          <p:nvPr/>
        </p:nvSpPr>
        <p:spPr bwMode="auto">
          <a:xfrm>
            <a:off x="359905" y="5162779"/>
            <a:ext cx="8423864" cy="332399"/>
          </a:xfrm>
          <a:prstGeom prst="rect">
            <a:avLst/>
          </a:prstGeom>
          <a:noFill/>
          <a:ln w="9525">
            <a:noFill/>
            <a:miter lim="800000"/>
            <a:headEnd/>
            <a:tailEnd/>
          </a:ln>
        </p:spPr>
        <p:txBody>
          <a:bodyPr wrap="square" lIns="0" tIns="0" rIns="0" bIns="0" anchor="b" anchorCtr="0">
            <a:spAutoFit/>
          </a:bodyPr>
          <a:lstStyle/>
          <a:p>
            <a:pPr defTabSz="912813" fontAlgn="base">
              <a:lnSpc>
                <a:spcPct val="90000"/>
              </a:lnSpc>
              <a:spcBef>
                <a:spcPct val="0"/>
              </a:spcBef>
              <a:spcAft>
                <a:spcPct val="0"/>
              </a:spcAft>
              <a:buClr>
                <a:srgbClr val="01286D"/>
              </a:buClr>
              <a:buSzPct val="80000"/>
            </a:pPr>
            <a:r>
              <a:rPr lang="en-GB" sz="600" b="1" dirty="0">
                <a:solidFill>
                  <a:srgbClr val="20242B"/>
                </a:solidFill>
                <a:ea typeface="MS PGothic" pitchFamily="34" charset="-128"/>
              </a:rPr>
              <a:t>Source: </a:t>
            </a:r>
            <a:r>
              <a:rPr lang="en-GB" sz="600" b="1" dirty="0">
                <a:solidFill>
                  <a:srgbClr val="20242B"/>
                </a:solidFill>
                <a:ea typeface="MS PGothic" pitchFamily="34" charset="-128"/>
                <a:cs typeface="Arial" charset="0"/>
              </a:rPr>
              <a:t>Fidelity International</a:t>
            </a:r>
            <a:r>
              <a:rPr lang="en-GB" sz="600" b="1" dirty="0">
                <a:solidFill>
                  <a:srgbClr val="20242B"/>
                </a:solidFill>
                <a:ea typeface="MS PGothic" pitchFamily="34" charset="-128"/>
              </a:rPr>
              <a:t>, as at 31 October 2022. Index for comparison is the MSCI World. </a:t>
            </a:r>
            <a:r>
              <a:rPr lang="en-GB" sz="600" b="1" dirty="0">
                <a:solidFill>
                  <a:srgbClr val="20242B"/>
                </a:solidFill>
                <a:ea typeface="ＭＳ Ｐゴシック" charset="0"/>
              </a:rPr>
              <a:t>Continental Europe exposure also includes exposure to Middle East. W.e.f 28 September 2018, MSCI reconstituted the Telecommunications Services sector to Communication Services and included select sub-industries previously included in I.T. and Consumer Discretionary sector. </a:t>
            </a:r>
            <a:r>
              <a:rPr lang="en-GB" sz="600" b="1" dirty="0">
                <a:solidFill>
                  <a:srgbClr val="20242B"/>
                </a:solidFill>
                <a:ea typeface="MS PGothic" pitchFamily="34" charset="-128"/>
              </a:rPr>
              <a:t>The data is purely representative and holdings in the fund may vary. The comparative index is used for reference only. Holdings can vary from those in the index quoted. Numbers may not sum due to rounding. Market Capitalisation bands are in USD. Fund weight and Relative weight are in percentage terms.</a:t>
            </a:r>
            <a:endParaRPr lang="en-GB" sz="600" b="1" dirty="0">
              <a:solidFill>
                <a:srgbClr val="20242B"/>
              </a:solidFill>
              <a:ea typeface="ＭＳ Ｐゴシック" charset="0"/>
              <a:cs typeface="Arial" charset="0"/>
            </a:endParaRPr>
          </a:p>
        </p:txBody>
      </p:sp>
      <p:sp>
        <p:nvSpPr>
          <p:cNvPr id="23" name="Rectangle 22"/>
          <p:cNvSpPr/>
          <p:nvPr/>
        </p:nvSpPr>
        <p:spPr>
          <a:xfrm>
            <a:off x="359904" y="1432342"/>
            <a:ext cx="2154436" cy="276999"/>
          </a:xfrm>
          <a:prstGeom prst="rect">
            <a:avLst/>
          </a:prstGeom>
        </p:spPr>
        <p:txBody>
          <a:bodyPr wrap="none" lIns="0" tIns="0" rIns="0" bIns="0" anchor="t">
            <a:spAutoFit/>
          </a:bodyPr>
          <a:lstStyle/>
          <a:p>
            <a:pPr defTabSz="912813" fontAlgn="base">
              <a:spcBef>
                <a:spcPct val="0"/>
              </a:spcBef>
              <a:spcAft>
                <a:spcPct val="0"/>
              </a:spcAft>
            </a:pPr>
            <a:r>
              <a:rPr lang="en-GB" b="1" dirty="0">
                <a:solidFill>
                  <a:srgbClr val="525C6C"/>
                </a:solidFill>
                <a:ea typeface="ＭＳ Ｐゴシック" charset="0"/>
                <a:cs typeface="Arial" charset="0"/>
              </a:rPr>
              <a:t>Au 31 </a:t>
            </a:r>
            <a:r>
              <a:rPr lang="en-GB" b="1" dirty="0" err="1">
                <a:solidFill>
                  <a:srgbClr val="525C6C"/>
                </a:solidFill>
                <a:ea typeface="ＭＳ Ｐゴシック" charset="0"/>
                <a:cs typeface="Arial" charset="0"/>
              </a:rPr>
              <a:t>Octobre</a:t>
            </a:r>
            <a:r>
              <a:rPr lang="en-GB" b="1" dirty="0">
                <a:solidFill>
                  <a:srgbClr val="525C6C"/>
                </a:solidFill>
                <a:ea typeface="ＭＳ Ｐゴシック" charset="0"/>
                <a:cs typeface="Arial" charset="0"/>
              </a:rPr>
              <a:t> 2022</a:t>
            </a:r>
            <a:endParaRPr lang="en-GB" b="1" dirty="0">
              <a:solidFill>
                <a:srgbClr val="525C6C"/>
              </a:solidFill>
              <a:ea typeface="ＭＳ Ｐゴシック" charset="0"/>
            </a:endParaRPr>
          </a:p>
        </p:txBody>
      </p:sp>
      <p:pic>
        <p:nvPicPr>
          <p:cNvPr id="4" name="Picture 3">
            <a:extLst>
              <a:ext uri="{FF2B5EF4-FFF2-40B4-BE49-F238E27FC236}">
                <a16:creationId xmlns:a16="http://schemas.microsoft.com/office/drawing/2014/main" id="{6CEAF764-C89B-4E8A-96A6-79133DA41542}"/>
              </a:ext>
            </a:extLst>
          </p:cNvPr>
          <p:cNvPicPr>
            <a:picLocks/>
          </p:cNvPicPr>
          <p:nvPr/>
        </p:nvPicPr>
        <p:blipFill>
          <a:blip r:embed="rId3"/>
          <a:stretch>
            <a:fillRect/>
          </a:stretch>
        </p:blipFill>
        <p:spPr>
          <a:xfrm>
            <a:off x="357188" y="1762125"/>
            <a:ext cx="8429625" cy="3333750"/>
          </a:xfrm>
          <a:prstGeom prst="rect">
            <a:avLst/>
          </a:prstGeom>
        </p:spPr>
      </p:pic>
    </p:spTree>
    <p:extLst>
      <p:ext uri="{BB962C8B-B14F-4D97-AF65-F5344CB8AC3E}">
        <p14:creationId xmlns:p14="http://schemas.microsoft.com/office/powerpoint/2010/main" val="307176125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993" y="383988"/>
            <a:ext cx="8207867" cy="332399"/>
          </a:xfrm>
        </p:spPr>
        <p:txBody>
          <a:bodyPr lIns="0" tIns="0" rIns="0" bIns="0" anchor="b">
            <a:spAutoFit/>
          </a:bodyPr>
          <a:lstStyle/>
          <a:p>
            <a:pPr>
              <a:lnSpc>
                <a:spcPct val="90000"/>
              </a:lnSpc>
            </a:pPr>
            <a:r>
              <a:rPr lang="fr-FR" sz="2400" b="1" dirty="0">
                <a:solidFill>
                  <a:schemeClr val="tx2"/>
                </a:solidFill>
                <a:latin typeface="Arial"/>
              </a:rPr>
              <a:t>Performances du FF World Fund (nettes de frais)</a:t>
            </a:r>
          </a:p>
        </p:txBody>
      </p:sp>
      <p:sp>
        <p:nvSpPr>
          <p:cNvPr id="18" name="Rectangle 26"/>
          <p:cNvSpPr>
            <a:spLocks noChangeArrowheads="1"/>
          </p:cNvSpPr>
          <p:nvPr/>
        </p:nvSpPr>
        <p:spPr bwMode="auto">
          <a:xfrm>
            <a:off x="467992" y="5904142"/>
            <a:ext cx="8200668" cy="332399"/>
          </a:xfrm>
          <a:prstGeom prst="rect">
            <a:avLst/>
          </a:prstGeom>
          <a:noFill/>
          <a:ln w="9525">
            <a:noFill/>
            <a:miter lim="800000"/>
            <a:headEnd/>
            <a:tailEnd/>
          </a:ln>
        </p:spPr>
        <p:txBody>
          <a:bodyPr wrap="square" lIns="0" tIns="0" rIns="0" bIns="0" anchor="b">
            <a:spAutoFit/>
          </a:bodyPr>
          <a:lstStyle/>
          <a:p>
            <a:pPr defTabSz="912813" fontAlgn="base">
              <a:lnSpc>
                <a:spcPct val="90000"/>
              </a:lnSpc>
              <a:spcBef>
                <a:spcPct val="0"/>
              </a:spcBef>
              <a:spcAft>
                <a:spcPct val="0"/>
              </a:spcAft>
              <a:buClr>
                <a:srgbClr val="007CC1"/>
              </a:buClr>
              <a:buSzPct val="130000"/>
              <a:defRPr/>
            </a:pPr>
            <a:r>
              <a:rPr lang="fr-FR" sz="600" dirty="0">
                <a:solidFill>
                  <a:srgbClr val="415464"/>
                </a:solidFill>
                <a:ea typeface="ＭＳ Ｐゴシック" charset="0"/>
              </a:rPr>
              <a:t>Source : Fidelity International, 31 octobre 2022. Toutes les performances de FF World Fund – A ACC Euro sont exprimées en Euros, nettes de frais, de VL à VL, revenus bruts réinvestis et arrondies à une décimale. Indicateur de comparaison :  indice MSCI World depuis le 16 juin 2014. Le fonds était géré par rapport au MSCI World Custom Composite (60 % MSCI World ; 40 % MSCI Europe ex UK) entre les 1er janvier 1998 et 11 juin 2014, et par rapport au FTSE World avant cela. Date de lancement du fonds : 6 septembre 1996 Jeremy Podger est le gérant du fonds depuis le : 16 juin 2014. Les positions diffèreront de celles de l'indicateur mentionné. Pour cette raison, l'indicateur de comparaison n'est utilisé qu'à titre de référence uniquement. La somme des chiffres peut ne pas être exacte en raison des arrondis. performances exprimées sans prise en compte des éventuels droits d’entrée.</a:t>
            </a:r>
          </a:p>
        </p:txBody>
      </p:sp>
      <p:graphicFrame>
        <p:nvGraphicFramePr>
          <p:cNvPr id="15" name="Table 14"/>
          <p:cNvGraphicFramePr>
            <a:graphicFrameLocks noGrp="1"/>
          </p:cNvGraphicFramePr>
          <p:nvPr>
            <p:extLst>
              <p:ext uri="{D42A27DB-BD31-4B8C-83A1-F6EECF244321}">
                <p14:modId xmlns:p14="http://schemas.microsoft.com/office/powerpoint/2010/main" val="1475105607"/>
              </p:ext>
            </p:extLst>
          </p:nvPr>
        </p:nvGraphicFramePr>
        <p:xfrm>
          <a:off x="575582" y="2432060"/>
          <a:ext cx="8093078" cy="1635429"/>
        </p:xfrm>
        <a:graphic>
          <a:graphicData uri="http://schemas.openxmlformats.org/drawingml/2006/table">
            <a:tbl>
              <a:tblPr firstRow="1" bandRow="1">
                <a:tableStyleId>{6E25E649-3F16-4E02-A733-19D2CDBF48F0}</a:tableStyleId>
              </a:tblPr>
              <a:tblGrid>
                <a:gridCol w="1974386">
                  <a:extLst>
                    <a:ext uri="{9D8B030D-6E8A-4147-A177-3AD203B41FA5}">
                      <a16:colId xmlns:a16="http://schemas.microsoft.com/office/drawing/2014/main" val="20000"/>
                    </a:ext>
                  </a:extLst>
                </a:gridCol>
                <a:gridCol w="1529673">
                  <a:extLst>
                    <a:ext uri="{9D8B030D-6E8A-4147-A177-3AD203B41FA5}">
                      <a16:colId xmlns:a16="http://schemas.microsoft.com/office/drawing/2014/main" val="3991573240"/>
                    </a:ext>
                  </a:extLst>
                </a:gridCol>
                <a:gridCol w="1529673">
                  <a:extLst>
                    <a:ext uri="{9D8B030D-6E8A-4147-A177-3AD203B41FA5}">
                      <a16:colId xmlns:a16="http://schemas.microsoft.com/office/drawing/2014/main" val="1791598008"/>
                    </a:ext>
                  </a:extLst>
                </a:gridCol>
                <a:gridCol w="1529673">
                  <a:extLst>
                    <a:ext uri="{9D8B030D-6E8A-4147-A177-3AD203B41FA5}">
                      <a16:colId xmlns:a16="http://schemas.microsoft.com/office/drawing/2014/main" val="20003"/>
                    </a:ext>
                  </a:extLst>
                </a:gridCol>
                <a:gridCol w="1529673">
                  <a:extLst>
                    <a:ext uri="{9D8B030D-6E8A-4147-A177-3AD203B41FA5}">
                      <a16:colId xmlns:a16="http://schemas.microsoft.com/office/drawing/2014/main" val="20004"/>
                    </a:ext>
                  </a:extLst>
                </a:gridCol>
              </a:tblGrid>
              <a:tr h="918525">
                <a:tc>
                  <a:txBody>
                    <a:bodyPr/>
                    <a:lstStyle/>
                    <a:p>
                      <a:pPr marL="0" algn="l" defTabSz="914239" rtl="0" eaLnBrk="1" fontAlgn="b" latinLnBrk="0" hangingPunct="1"/>
                      <a:r>
                        <a:rPr lang="fr-FR" sz="1100" b="1" i="0" u="none" strike="noStrike" kern="1200" dirty="0">
                          <a:solidFill>
                            <a:schemeClr val="bg1"/>
                          </a:solidFill>
                          <a:latin typeface="Arial"/>
                          <a:cs typeface="Arial"/>
                        </a:rPr>
                        <a:t>Données </a:t>
                      </a:r>
                      <a:br>
                        <a:rPr lang="fr-FR" sz="1100" b="1" i="0" u="none" strike="noStrike" kern="1200" dirty="0">
                          <a:solidFill>
                            <a:schemeClr val="bg1"/>
                          </a:solidFill>
                          <a:latin typeface="Arial"/>
                          <a:cs typeface="Arial"/>
                        </a:rPr>
                      </a:br>
                      <a:r>
                        <a:rPr lang="fr-FR" sz="1100" b="1" i="0" u="none" strike="noStrike" kern="1200" dirty="0">
                          <a:solidFill>
                            <a:schemeClr val="bg1"/>
                          </a:solidFill>
                          <a:latin typeface="Arial"/>
                          <a:cs typeface="Arial"/>
                        </a:rPr>
                        <a:t>nettes de frais (%)</a:t>
                      </a:r>
                    </a:p>
                  </a:txBody>
                  <a:tcPr marL="71998" marR="0" marT="71998" marB="71998" anchor="ctr">
                    <a:lnL>
                      <a:noFill/>
                    </a:lnL>
                    <a:lnR>
                      <a:noFill/>
                    </a:lnR>
                    <a:lnT w="25400" cmpd="sng">
                      <a:noFill/>
                    </a:lnT>
                    <a:lnB w="6350" cmpd="sng">
                      <a:noFill/>
                    </a:lnB>
                    <a:lnTlToBr w="12700" cmpd="sng">
                      <a:noFill/>
                      <a:prstDash val="solid"/>
                    </a:lnTlToBr>
                    <a:lnBlToTr w="12700" cmpd="sng">
                      <a:noFill/>
                      <a:prstDash val="solid"/>
                    </a:lnBlToTr>
                    <a:solidFill>
                      <a:schemeClr val="tx2"/>
                    </a:solidFill>
                  </a:tcPr>
                </a:tc>
                <a:tc>
                  <a:txBody>
                    <a:bodyPr/>
                    <a:lstStyle/>
                    <a:p>
                      <a:pPr marL="0" algn="ctr" defTabSz="914239" rtl="0" eaLnBrk="1" fontAlgn="b" latinLnBrk="0" hangingPunct="1"/>
                      <a:r>
                        <a:rPr lang="fr-FR" sz="1100" b="1" i="0" u="none" strike="noStrike" kern="1200" dirty="0">
                          <a:solidFill>
                            <a:schemeClr val="bg1"/>
                          </a:solidFill>
                          <a:latin typeface="Arial"/>
                          <a:cs typeface="Arial"/>
                        </a:rPr>
                        <a:t>Depuis le début de l’année</a:t>
                      </a:r>
                    </a:p>
                  </a:txBody>
                  <a:tcPr marL="0" marR="0" marT="71998" marB="71998" anchor="ctr">
                    <a:lnL>
                      <a:noFill/>
                    </a:lnL>
                    <a:lnR>
                      <a:noFill/>
                    </a:lnR>
                    <a:lnT w="25400" cmpd="sng">
                      <a:noFill/>
                    </a:lnT>
                    <a:lnB w="6350" cmpd="sng">
                      <a:noFill/>
                    </a:lnB>
                    <a:lnTlToBr w="12700" cmpd="sng">
                      <a:noFill/>
                      <a:prstDash val="solid"/>
                    </a:lnTlToBr>
                    <a:lnBlToTr w="12700" cmpd="sng">
                      <a:noFill/>
                      <a:prstDash val="solid"/>
                    </a:lnBlToTr>
                    <a:solidFill>
                      <a:schemeClr val="tx2"/>
                    </a:solidFill>
                  </a:tcPr>
                </a:tc>
                <a:tc>
                  <a:txBody>
                    <a:bodyPr/>
                    <a:lstStyle/>
                    <a:p>
                      <a:pPr marL="0" algn="ctr" defTabSz="914239" rtl="0" eaLnBrk="1" fontAlgn="b" latinLnBrk="0" hangingPunct="1"/>
                      <a:r>
                        <a:rPr lang="fr-FR" sz="1100" b="1" i="0" u="none" strike="noStrike" kern="1200" dirty="0">
                          <a:solidFill>
                            <a:schemeClr val="bg1"/>
                          </a:solidFill>
                          <a:latin typeface="Arial"/>
                          <a:cs typeface="Arial"/>
                        </a:rPr>
                        <a:t>1 an</a:t>
                      </a:r>
                    </a:p>
                  </a:txBody>
                  <a:tcPr marL="0" marR="0" marT="71998" marB="71998" anchor="ctr">
                    <a:lnL>
                      <a:noFill/>
                    </a:lnL>
                    <a:lnR>
                      <a:noFill/>
                    </a:lnR>
                    <a:lnT w="25400" cmpd="sng">
                      <a:noFill/>
                    </a:lnT>
                    <a:lnB w="6350" cmpd="sng">
                      <a:noFill/>
                    </a:lnB>
                    <a:lnTlToBr w="12700" cmpd="sng">
                      <a:noFill/>
                      <a:prstDash val="solid"/>
                    </a:lnTlToBr>
                    <a:lnBlToTr w="12700" cmpd="sng">
                      <a:noFill/>
                      <a:prstDash val="solid"/>
                    </a:lnBlToTr>
                    <a:solidFill>
                      <a:schemeClr val="tx2"/>
                    </a:solidFill>
                  </a:tcPr>
                </a:tc>
                <a:tc>
                  <a:txBody>
                    <a:bodyPr/>
                    <a:lstStyle/>
                    <a:p>
                      <a:pPr marL="0" algn="ctr" defTabSz="914239" rtl="0" eaLnBrk="1" fontAlgn="b" latinLnBrk="0" hangingPunct="1"/>
                      <a:r>
                        <a:rPr lang="fr-FR" sz="1100" b="1" i="0" u="none" strike="noStrike" kern="1200" dirty="0">
                          <a:solidFill>
                            <a:schemeClr val="bg1"/>
                          </a:solidFill>
                          <a:latin typeface="Arial"/>
                          <a:cs typeface="Arial"/>
                        </a:rPr>
                        <a:t>3 ans </a:t>
                      </a:r>
                      <a:r>
                        <a:rPr sz="1100" dirty="0">
                          <a:latin typeface="Arial"/>
                          <a:cs typeface="Arial"/>
                        </a:rPr>
                        <a:t/>
                      </a:r>
                      <a:br>
                        <a:rPr sz="1100" dirty="0">
                          <a:latin typeface="Arial"/>
                          <a:cs typeface="Arial"/>
                        </a:rPr>
                      </a:br>
                      <a:r>
                        <a:rPr lang="fr-FR" sz="1100" b="1" i="0" u="none" strike="noStrike" kern="1200" dirty="0">
                          <a:solidFill>
                            <a:schemeClr val="bg1"/>
                          </a:solidFill>
                          <a:latin typeface="+mn-lt"/>
                          <a:cs typeface="Arial"/>
                        </a:rPr>
                        <a:t>cumulés</a:t>
                      </a:r>
                      <a:endParaRPr lang="fr-FR" sz="1100" b="1" i="0" u="none" strike="noStrike" kern="1200" dirty="0">
                        <a:solidFill>
                          <a:schemeClr val="bg1"/>
                        </a:solidFill>
                        <a:latin typeface="Arial"/>
                        <a:cs typeface="Arial"/>
                      </a:endParaRPr>
                    </a:p>
                  </a:txBody>
                  <a:tcPr marL="0" marR="0" marT="71998" marB="71998" anchor="ctr">
                    <a:lnL>
                      <a:noFill/>
                    </a:lnL>
                    <a:lnR>
                      <a:noFill/>
                    </a:lnR>
                    <a:lnT w="25400" cmpd="sng">
                      <a:noFill/>
                    </a:lnT>
                    <a:lnB w="6350" cmpd="sng">
                      <a:noFill/>
                    </a:lnB>
                    <a:lnTlToBr w="12700" cmpd="sng">
                      <a:noFill/>
                      <a:prstDash val="solid"/>
                    </a:lnTlToBr>
                    <a:lnBlToTr w="12700" cmpd="sng">
                      <a:noFill/>
                      <a:prstDash val="solid"/>
                    </a:lnBlToTr>
                    <a:solidFill>
                      <a:schemeClr val="tx2"/>
                    </a:solidFill>
                  </a:tcPr>
                </a:tc>
                <a:tc>
                  <a:txBody>
                    <a:bodyPr/>
                    <a:lstStyle/>
                    <a:p>
                      <a:pPr marL="0" algn="ctr" defTabSz="914239" rtl="0" eaLnBrk="1" fontAlgn="b" latinLnBrk="0" hangingPunct="1"/>
                      <a:r>
                        <a:rPr lang="fr-FR" sz="1100" b="1" i="0" u="none" strike="noStrike" kern="1200" dirty="0">
                          <a:solidFill>
                            <a:schemeClr val="bg1"/>
                          </a:solidFill>
                          <a:latin typeface="Arial"/>
                          <a:cs typeface="Arial"/>
                        </a:rPr>
                        <a:t>5 ans </a:t>
                      </a:r>
                      <a:r>
                        <a:rPr sz="1100" dirty="0">
                          <a:latin typeface="Arial"/>
                          <a:cs typeface="Arial"/>
                        </a:rPr>
                        <a:t/>
                      </a:r>
                      <a:br>
                        <a:rPr sz="1100" dirty="0">
                          <a:latin typeface="Arial"/>
                          <a:cs typeface="Arial"/>
                        </a:rPr>
                      </a:br>
                      <a:r>
                        <a:rPr lang="fr-FR" sz="1100" b="1" i="0" u="none" strike="noStrike" kern="1200" dirty="0">
                          <a:solidFill>
                            <a:schemeClr val="bg1"/>
                          </a:solidFill>
                          <a:latin typeface="+mn-lt"/>
                          <a:cs typeface="Arial"/>
                        </a:rPr>
                        <a:t>cumulés</a:t>
                      </a:r>
                      <a:endParaRPr lang="fr-FR" sz="1100" b="1" i="0" u="none" strike="noStrike" kern="1200" dirty="0">
                        <a:solidFill>
                          <a:schemeClr val="bg1"/>
                        </a:solidFill>
                        <a:latin typeface="Arial"/>
                        <a:cs typeface="Arial"/>
                      </a:endParaRPr>
                    </a:p>
                  </a:txBody>
                  <a:tcPr marL="0" marR="0" marT="71998" marB="71998" anchor="ctr">
                    <a:lnL>
                      <a:noFill/>
                    </a:lnL>
                    <a:lnR>
                      <a:noFill/>
                    </a:lnR>
                    <a:lnT w="25400" cmpd="sng">
                      <a:noFill/>
                    </a:lnT>
                    <a:lnB w="635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58452">
                <a:tc>
                  <a:txBody>
                    <a:bodyPr/>
                    <a:lstStyle/>
                    <a:p>
                      <a:pPr algn="l" rtl="0" fontAlgn="ctr"/>
                      <a:r>
                        <a:rPr lang="fr-FR" sz="1100" b="1" i="0" u="none" strike="noStrike" dirty="0">
                          <a:solidFill>
                            <a:schemeClr val="tx1"/>
                          </a:solidFill>
                          <a:latin typeface="Arial"/>
                          <a:cs typeface="Arial"/>
                        </a:rPr>
                        <a:t>Fonds </a:t>
                      </a:r>
                    </a:p>
                  </a:txBody>
                  <a:tcPr marL="71998" marR="0" marT="0" marB="0" anchor="ctr">
                    <a:lnL>
                      <a:noFill/>
                    </a:lnL>
                    <a:lnR>
                      <a:noFill/>
                    </a:lnR>
                    <a:lnT w="6350" cmpd="sng">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100" b="1" i="0" u="none" strike="noStrike" dirty="0">
                          <a:solidFill>
                            <a:srgbClr val="415464"/>
                          </a:solidFill>
                          <a:effectLst/>
                          <a:latin typeface="Arial" panose="020B0604020202020204" pitchFamily="34" charset="0"/>
                        </a:rPr>
                        <a:t>-11.4</a:t>
                      </a:r>
                      <a:endParaRPr lang="en-GB" sz="1100" b="1" i="0" u="none" strike="noStrike" dirty="0">
                        <a:solidFill>
                          <a:srgbClr val="415464"/>
                        </a:solidFill>
                        <a:effectLst/>
                        <a:latin typeface="Arial" panose="020B0604020202020204" pitchFamily="34" charset="0"/>
                      </a:endParaRPr>
                    </a:p>
                  </a:txBody>
                  <a:tcPr marL="9525" marR="9525" marT="9525" marB="0" anchor="ctr">
                    <a:lnL>
                      <a:noFill/>
                    </a:lnL>
                    <a:lnR>
                      <a:noFill/>
                    </a:lnR>
                    <a:lnT w="6350" cmpd="sng">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100" b="1" i="0" u="none" strike="noStrike" dirty="0">
                          <a:solidFill>
                            <a:srgbClr val="415464"/>
                          </a:solidFill>
                          <a:effectLst/>
                          <a:latin typeface="Arial" panose="020B0604020202020204" pitchFamily="34" charset="0"/>
                        </a:rPr>
                        <a:t>-8.3</a:t>
                      </a:r>
                    </a:p>
                  </a:txBody>
                  <a:tcPr marL="9525" marR="9525" marT="9525" marB="0" anchor="ctr">
                    <a:lnL>
                      <a:noFill/>
                    </a:lnL>
                    <a:lnR>
                      <a:noFill/>
                    </a:lnR>
                    <a:lnT w="6350" cmpd="sng">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100" b="1" i="0" u="none" strike="noStrike" dirty="0">
                          <a:solidFill>
                            <a:srgbClr val="415464"/>
                          </a:solidFill>
                          <a:effectLst/>
                          <a:latin typeface="Arial" panose="020B0604020202020204" pitchFamily="34" charset="0"/>
                        </a:rPr>
                        <a:t>2</a:t>
                      </a:r>
                      <a:r>
                        <a:rPr lang="en-US" sz="1100" b="1" i="0" u="none" strike="noStrike" dirty="0">
                          <a:solidFill>
                            <a:srgbClr val="415464"/>
                          </a:solidFill>
                          <a:effectLst/>
                          <a:latin typeface="Arial" panose="020B0604020202020204" pitchFamily="34" charset="0"/>
                        </a:rPr>
                        <a:t>6.8</a:t>
                      </a:r>
                      <a:endParaRPr lang="en-GB" sz="1100" b="1" i="0" u="none" strike="noStrike" dirty="0">
                        <a:solidFill>
                          <a:srgbClr val="415464"/>
                        </a:solidFill>
                        <a:effectLst/>
                        <a:latin typeface="Arial" panose="020B0604020202020204" pitchFamily="34" charset="0"/>
                      </a:endParaRPr>
                    </a:p>
                  </a:txBody>
                  <a:tcPr marL="9525" marR="9525" marT="9525" marB="0" anchor="ctr">
                    <a:lnL>
                      <a:noFill/>
                    </a:lnL>
                    <a:lnR>
                      <a:noFill/>
                    </a:lnR>
                    <a:lnT w="6350" cmpd="sng">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100" b="1" i="0" u="none" strike="noStrike" dirty="0">
                          <a:solidFill>
                            <a:srgbClr val="415464"/>
                          </a:solidFill>
                          <a:effectLst/>
                          <a:latin typeface="Arial" panose="020B0604020202020204" pitchFamily="34" charset="0"/>
                        </a:rPr>
                        <a:t>43.6</a:t>
                      </a:r>
                      <a:endParaRPr lang="en-GB" sz="1100" b="1" i="0" u="none" strike="noStrike" dirty="0">
                        <a:solidFill>
                          <a:srgbClr val="415464"/>
                        </a:solidFill>
                        <a:effectLst/>
                        <a:latin typeface="Arial" panose="020B0604020202020204" pitchFamily="34" charset="0"/>
                      </a:endParaRPr>
                    </a:p>
                  </a:txBody>
                  <a:tcPr marL="9525" marR="9525" marT="9525" marB="0" anchor="ctr">
                    <a:lnL>
                      <a:noFill/>
                    </a:lnL>
                    <a:lnR>
                      <a:noFill/>
                    </a:lnR>
                    <a:lnT w="6350" cmpd="sng">
                      <a:noFill/>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8452">
                <a:tc>
                  <a:txBody>
                    <a:bodyPr/>
                    <a:lstStyle/>
                    <a:p>
                      <a:pPr algn="l" rtl="0" fontAlgn="ctr"/>
                      <a:r>
                        <a:rPr lang="fr-FR" sz="1100" b="0" i="0" u="none" strike="noStrike" dirty="0">
                          <a:solidFill>
                            <a:schemeClr val="tx1"/>
                          </a:solidFill>
                          <a:latin typeface="Arial"/>
                          <a:cs typeface="Arial"/>
                        </a:rPr>
                        <a:t>Indicateur</a:t>
                      </a:r>
                    </a:p>
                  </a:txBody>
                  <a:tcPr marL="71998" marR="0" marT="0" marB="0" anchor="ctr">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100" b="0" i="0" u="none" strike="noStrike" dirty="0">
                          <a:solidFill>
                            <a:srgbClr val="415464"/>
                          </a:solidFill>
                          <a:effectLst/>
                          <a:latin typeface="Arial" panose="020B0604020202020204" pitchFamily="34" charset="0"/>
                        </a:rPr>
                        <a:t>-8.0</a:t>
                      </a:r>
                      <a:endParaRPr lang="en-GB" sz="1100" b="0" i="0" u="none" strike="noStrike" dirty="0">
                        <a:solidFill>
                          <a:srgbClr val="415464"/>
                        </a:solidFill>
                        <a:effectLst/>
                        <a:latin typeface="Arial" panose="020B0604020202020204" pitchFamily="34" charset="0"/>
                      </a:endParaRP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100" b="0" i="0" u="none" strike="noStrike" dirty="0">
                          <a:solidFill>
                            <a:srgbClr val="415464"/>
                          </a:solidFill>
                          <a:effectLst/>
                          <a:latin typeface="Arial" panose="020B0604020202020204" pitchFamily="34" charset="0"/>
                        </a:rPr>
                        <a:t>-4.5</a:t>
                      </a:r>
                      <a:endParaRPr lang="en-GB" sz="1100" b="0" i="0" u="none" strike="noStrike" dirty="0">
                        <a:solidFill>
                          <a:srgbClr val="415464"/>
                        </a:solidFill>
                        <a:effectLst/>
                        <a:latin typeface="Arial" panose="020B0604020202020204" pitchFamily="34" charset="0"/>
                      </a:endParaRP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100" b="0" i="0" u="none" strike="noStrike" dirty="0">
                          <a:solidFill>
                            <a:srgbClr val="415464"/>
                          </a:solidFill>
                          <a:effectLst/>
                          <a:latin typeface="Arial" panose="020B0604020202020204" pitchFamily="34" charset="0"/>
                        </a:rPr>
                        <a:t>34.9</a:t>
                      </a: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100" b="0" i="0" u="none" strike="noStrike" dirty="0">
                          <a:solidFill>
                            <a:srgbClr val="415464"/>
                          </a:solidFill>
                          <a:effectLst/>
                          <a:latin typeface="Arial" panose="020B0604020202020204" pitchFamily="34" charset="0"/>
                        </a:rPr>
                        <a:t>60.5</a:t>
                      </a:r>
                      <a:endParaRPr lang="en-GB" sz="1100" b="0" i="0" u="none" strike="noStrike" dirty="0">
                        <a:solidFill>
                          <a:srgbClr val="415464"/>
                        </a:solidFill>
                        <a:effectLst/>
                        <a:latin typeface="Arial" panose="020B0604020202020204" pitchFamily="34" charset="0"/>
                      </a:endParaRPr>
                    </a:p>
                  </a:txBody>
                  <a:tcPr marL="9525" marR="9525" marT="9525" marB="0" anchor="ctr">
                    <a:lnL>
                      <a:noFill/>
                    </a:lnL>
                    <a:lnR>
                      <a:noFill/>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0" name="Rectangle 19">
            <a:extLst>
              <a:ext uri="{FF2B5EF4-FFF2-40B4-BE49-F238E27FC236}">
                <a16:creationId xmlns:a16="http://schemas.microsoft.com/office/drawing/2014/main" id="{0B54BD4B-107C-4143-80AE-1EA78760EED4}"/>
              </a:ext>
            </a:extLst>
          </p:cNvPr>
          <p:cNvSpPr/>
          <p:nvPr/>
        </p:nvSpPr>
        <p:spPr>
          <a:xfrm>
            <a:off x="372982" y="5394198"/>
            <a:ext cx="8566475" cy="507831"/>
          </a:xfrm>
          <a:prstGeom prst="rect">
            <a:avLst/>
          </a:prstGeom>
        </p:spPr>
        <p:txBody>
          <a:bodyPr wrap="square">
            <a:spAutoFit/>
          </a:bodyPr>
          <a:lstStyle/>
          <a:p>
            <a:pPr defTabSz="912813" fontAlgn="base">
              <a:lnSpc>
                <a:spcPct val="90000"/>
              </a:lnSpc>
              <a:spcBef>
                <a:spcPct val="0"/>
              </a:spcBef>
              <a:spcAft>
                <a:spcPct val="0"/>
              </a:spcAft>
              <a:defRPr/>
            </a:pPr>
            <a:r>
              <a:rPr lang="fr-FR" sz="1000" b="1" dirty="0">
                <a:solidFill>
                  <a:srgbClr val="415464"/>
                </a:solidFill>
                <a:ea typeface="ＭＳ Ｐゴシック" charset="0"/>
              </a:rPr>
              <a:t>Les performances passées ne préjugent pas des performances futures. Les performances peuvent évoluer à la hausse comme à la baisse en raison des fluctuations de change. Pour les fonds qui investissent sur des marchés étrangers, la valeur des investissements est susceptible de varier en fonction des fluctuations des taux de change des devises.</a:t>
            </a:r>
          </a:p>
        </p:txBody>
      </p:sp>
      <p:sp>
        <p:nvSpPr>
          <p:cNvPr id="7" name="Rectangle 6">
            <a:extLst>
              <a:ext uri="{FF2B5EF4-FFF2-40B4-BE49-F238E27FC236}">
                <a16:creationId xmlns:a16="http://schemas.microsoft.com/office/drawing/2014/main" id="{AEEA6709-B387-4836-ABC7-6D51A3D33030}"/>
              </a:ext>
            </a:extLst>
          </p:cNvPr>
          <p:cNvSpPr/>
          <p:nvPr/>
        </p:nvSpPr>
        <p:spPr>
          <a:xfrm>
            <a:off x="467992" y="817471"/>
            <a:ext cx="7680926" cy="276999"/>
          </a:xfrm>
          <a:prstGeom prst="rect">
            <a:avLst/>
          </a:prstGeom>
        </p:spPr>
        <p:txBody>
          <a:bodyPr wrap="square" lIns="0" tIns="0" rIns="0" bIns="0" anchor="t">
            <a:spAutoFit/>
          </a:bodyPr>
          <a:lstStyle/>
          <a:p>
            <a:pPr defTabSz="912813" fontAlgn="base">
              <a:spcBef>
                <a:spcPct val="0"/>
              </a:spcBef>
              <a:spcAft>
                <a:spcPct val="0"/>
              </a:spcAft>
              <a:defRPr/>
            </a:pPr>
            <a:r>
              <a:rPr lang="fr-FR" b="1" dirty="0">
                <a:solidFill>
                  <a:srgbClr val="415464"/>
                </a:solidFill>
                <a:ea typeface="ＭＳ Ｐゴシック" charset="0"/>
              </a:rPr>
              <a:t>Au 31 Octobre 2022</a:t>
            </a:r>
          </a:p>
        </p:txBody>
      </p:sp>
    </p:spTree>
    <p:extLst>
      <p:ext uri="{BB962C8B-B14F-4D97-AF65-F5344CB8AC3E}">
        <p14:creationId xmlns:p14="http://schemas.microsoft.com/office/powerpoint/2010/main" val="41763512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p:cNvGraphicFramePr>
            <a:graphicFrameLocks noChangeAspect="1"/>
          </p:cNvGraphicFramePr>
          <p:nvPr>
            <p:extLst>
              <p:ext uri="{D42A27DB-BD31-4B8C-83A1-F6EECF244321}">
                <p14:modId xmlns:p14="http://schemas.microsoft.com/office/powerpoint/2010/main" val="356744623"/>
              </p:ext>
            </p:extLst>
          </p:nvPr>
        </p:nvGraphicFramePr>
        <p:xfrm>
          <a:off x="323528" y="188641"/>
          <a:ext cx="8424936" cy="6552727"/>
        </p:xfrm>
        <a:graphic>
          <a:graphicData uri="http://schemas.openxmlformats.org/presentationml/2006/ole">
            <mc:AlternateContent xmlns:mc="http://schemas.openxmlformats.org/markup-compatibility/2006">
              <mc:Choice xmlns:v="urn:schemas-microsoft-com:vml" Requires="v">
                <p:oleObj spid="_x0000_s2051" name="Acrobat Document" r:id="rId3" imgW="5667149" imgH="8020004" progId="Acrobat.Document.DC">
                  <p:embed/>
                </p:oleObj>
              </mc:Choice>
              <mc:Fallback>
                <p:oleObj name="Acrobat Document" r:id="rId3" imgW="5667149" imgH="8020004" progId="Acrobat.Document.DC">
                  <p:embed/>
                  <p:pic>
                    <p:nvPicPr>
                      <p:cNvPr id="0" name=""/>
                      <p:cNvPicPr/>
                      <p:nvPr/>
                    </p:nvPicPr>
                    <p:blipFill>
                      <a:blip r:embed="rId4"/>
                      <a:stretch>
                        <a:fillRect/>
                      </a:stretch>
                    </p:blipFill>
                    <p:spPr>
                      <a:xfrm>
                        <a:off x="323528" y="188641"/>
                        <a:ext cx="8424936" cy="6552727"/>
                      </a:xfrm>
                      <a:prstGeom prst="rect">
                        <a:avLst/>
                      </a:prstGeom>
                    </p:spPr>
                  </p:pic>
                </p:oleObj>
              </mc:Fallback>
            </mc:AlternateContent>
          </a:graphicData>
        </a:graphic>
      </p:graphicFrame>
    </p:spTree>
    <p:extLst>
      <p:ext uri="{BB962C8B-B14F-4D97-AF65-F5344CB8AC3E}">
        <p14:creationId xmlns:p14="http://schemas.microsoft.com/office/powerpoint/2010/main" val="1524687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882759" y="260648"/>
            <a:ext cx="6778459" cy="584775"/>
          </a:xfrm>
          <a:prstGeom prst="rect">
            <a:avLst/>
          </a:prstGeom>
          <a:noFill/>
        </p:spPr>
        <p:txBody>
          <a:bodyPr wrap="none" rtlCol="0">
            <a:spAutoFit/>
          </a:bodyPr>
          <a:lstStyle/>
          <a:p>
            <a:pPr algn="ctr"/>
            <a:r>
              <a:rPr lang="fr-FR" sz="3200" u="sng" dirty="0" smtClean="0"/>
              <a:t>Contexte marché : Un Krach obligataire </a:t>
            </a:r>
            <a:endParaRPr lang="fr-FR" sz="3200" u="sng" dirty="0"/>
          </a:p>
        </p:txBody>
      </p:sp>
      <p:pic>
        <p:nvPicPr>
          <p:cNvPr id="5" name="Image 4" descr="Image"/>
          <p:cNvPicPr/>
          <p:nvPr/>
        </p:nvPicPr>
        <p:blipFill>
          <a:blip r:embed="rId2">
            <a:extLst>
              <a:ext uri="{28A0092B-C50C-407E-A947-70E740481C1C}">
                <a14:useLocalDpi xmlns:a14="http://schemas.microsoft.com/office/drawing/2010/main" val="0"/>
              </a:ext>
            </a:extLst>
          </a:blip>
          <a:srcRect/>
          <a:stretch>
            <a:fillRect/>
          </a:stretch>
        </p:blipFill>
        <p:spPr bwMode="auto">
          <a:xfrm>
            <a:off x="383556" y="1700808"/>
            <a:ext cx="8580932" cy="4968552"/>
          </a:xfrm>
          <a:prstGeom prst="rect">
            <a:avLst/>
          </a:prstGeom>
          <a:noFill/>
          <a:ln>
            <a:noFill/>
          </a:ln>
        </p:spPr>
      </p:pic>
    </p:spTree>
    <p:extLst>
      <p:ext uri="{BB962C8B-B14F-4D97-AF65-F5344CB8AC3E}">
        <p14:creationId xmlns:p14="http://schemas.microsoft.com/office/powerpoint/2010/main" val="27092975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7638" y="1062445"/>
            <a:ext cx="8205467" cy="5016137"/>
          </a:xfrm>
        </p:spPr>
        <p:txBody>
          <a:bodyPr/>
          <a:lstStyle/>
          <a:p>
            <a:pPr algn="just"/>
            <a:r>
              <a:rPr lang="fr-FR" sz="1200" dirty="0"/>
              <a:t>Ce document ne peut être reproduit ou distribué sans autorisation préalable. Fidelity fournit uniquement des informations sur ses produits et n’émet pas de recommandations d’investissement fondées sur des circonstances spécifiques, ce document ne constitue ni une offre de souscription, ni un conseil personnalisé. </a:t>
            </a:r>
          </a:p>
          <a:p>
            <a:pPr algn="just"/>
            <a:r>
              <a:rPr lang="fr-FR" sz="1200" dirty="0"/>
              <a:t>Fidelity International fait référence au groupe de sociétés qui forme la structure globale de gestion de placements qui fournit l'information sur les produits et services dans les juridictions désignées à l'exception de l'Amérique du Nord.                                                                                                                           Cette information n’est pas destinée et ne peut être utilisée par des résidents au Royaume Uni ou aux Etats-Unis ; Ce document est destiné uniquement aux investisseurs résidant en France. </a:t>
            </a:r>
          </a:p>
          <a:p>
            <a:pPr algn="just"/>
            <a:r>
              <a:rPr lang="fr-FR" sz="1200" dirty="0"/>
              <a:t>Sauf cas contraire, toutes les informations communiquées sont celles de Fidelity International, et tous les points de vue exprimés sont ceux de Fidelity International. Fidelity, Fidelity International, le logo Fidelity International ainsi que le symbole F sont des marques déposées de FIL Limited. Actifs et ressources de FIL Limited au 31/12/2018 - Chiffres non audités. Les spécialistes d’investissement inclus à la fois des analystes et associés. Les calculs de performance présentés ne tiennent pas compte des droits d’entrée prélevés lors d’un investissement. Par exemple, si les droits d’entrées prélevés sont de 5.25%, ceci équivaut à réduire le taux de croissance de 6% à 4.9% par an sur une période de 5 ans. Cet exemple représente les droits d’entrée les plus élevés applicables, si les droits d’entrée payés sont inférieurs à 5.25%, l’impact sur la performance totale sera moindre. Nous vous recommandons de vous informer soigneusement avant toute décision d’investissement. Tout investissement doit se faire sur la base du prospectus/document d'information clé (DICI) pour l'investisseur et des rapports annuels ou périodiques actuellement en vigueur, disponibles sur simple demande auprès de FIL Gestion. Fidelity Funds “FF“ est une société d’investissement à capital variable (OPCVM) de droit  luxembourgeois , avec différentes classes d’actions. Le présent document a été établi par FIL Gestion, SGP agréée par l'AMF sous le N°GP03-004, 21 Avenue Kléber, 75016 Paris. </a:t>
            </a:r>
            <a:r>
              <a:rPr lang="en-GB" sz="1200" dirty="0"/>
              <a:t>GLEMUS2867-0919. P</a:t>
            </a:r>
            <a:r>
              <a:rPr lang="fr-FR" sz="1200" dirty="0"/>
              <a:t>M 2788.</a:t>
            </a:r>
          </a:p>
        </p:txBody>
      </p:sp>
    </p:spTree>
    <p:extLst>
      <p:ext uri="{BB962C8B-B14F-4D97-AF65-F5344CB8AC3E}">
        <p14:creationId xmlns:p14="http://schemas.microsoft.com/office/powerpoint/2010/main" val="40512386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3200" u="sng" dirty="0" smtClean="0"/>
              <a:t>Contexte marchés actions</a:t>
            </a:r>
            <a:endParaRPr lang="fr-FR" sz="3200" u="sng" dirty="0"/>
          </a:p>
        </p:txBody>
      </p:sp>
      <p:pic>
        <p:nvPicPr>
          <p:cNvPr id="7" name="Espace réservé du contenu 6"/>
          <p:cNvPicPr>
            <a:picLocks noGrp="1"/>
          </p:cNvPicPr>
          <p:nvPr>
            <p:ph idx="1"/>
          </p:nvPr>
        </p:nvPicPr>
        <p:blipFill>
          <a:blip r:embed="rId2"/>
          <a:stretch>
            <a:fillRect/>
          </a:stretch>
        </p:blipFill>
        <p:spPr>
          <a:xfrm>
            <a:off x="251521" y="1268760"/>
            <a:ext cx="8274340" cy="5328592"/>
          </a:xfrm>
          <a:prstGeom prst="rect">
            <a:avLst/>
          </a:prstGeom>
        </p:spPr>
      </p:pic>
    </p:spTree>
    <p:extLst>
      <p:ext uri="{BB962C8B-B14F-4D97-AF65-F5344CB8AC3E}">
        <p14:creationId xmlns:p14="http://schemas.microsoft.com/office/powerpoint/2010/main" val="3001779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p:nvPr/>
        </p:nvPicPr>
        <p:blipFill>
          <a:blip r:embed="rId2"/>
          <a:stretch>
            <a:fillRect/>
          </a:stretch>
        </p:blipFill>
        <p:spPr>
          <a:xfrm>
            <a:off x="467544" y="908721"/>
            <a:ext cx="8424936" cy="4680520"/>
          </a:xfrm>
          <a:prstGeom prst="rect">
            <a:avLst/>
          </a:prstGeom>
        </p:spPr>
      </p:pic>
    </p:spTree>
    <p:extLst>
      <p:ext uri="{BB962C8B-B14F-4D97-AF65-F5344CB8AC3E}">
        <p14:creationId xmlns:p14="http://schemas.microsoft.com/office/powerpoint/2010/main" val="39747231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874713"/>
            <a:ext cx="9058275" cy="511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07423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869950"/>
            <a:ext cx="9134475" cy="512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65846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963" y="936625"/>
            <a:ext cx="8982075" cy="499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7928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755576" y="476672"/>
            <a:ext cx="7128792" cy="8340745"/>
          </a:xfrm>
          <a:prstGeom prst="rect">
            <a:avLst/>
          </a:prstGeom>
          <a:noFill/>
        </p:spPr>
        <p:txBody>
          <a:bodyPr wrap="square" rtlCol="0">
            <a:spAutoFit/>
          </a:bodyPr>
          <a:lstStyle/>
          <a:p>
            <a:r>
              <a:rPr lang="fr-FR" dirty="0" smtClean="0"/>
              <a:t> 			</a:t>
            </a:r>
            <a:r>
              <a:rPr lang="fr-FR" sz="2800" dirty="0" smtClean="0"/>
              <a:t>Synthèse </a:t>
            </a:r>
          </a:p>
          <a:p>
            <a:endParaRPr lang="fr-FR" sz="2800" dirty="0"/>
          </a:p>
          <a:p>
            <a:r>
              <a:rPr lang="fr-FR" sz="2800" dirty="0" smtClean="0"/>
              <a:t>On constate donc Un monde profondément bouleversé par le </a:t>
            </a:r>
            <a:r>
              <a:rPr lang="fr-FR" sz="2800" dirty="0" err="1" smtClean="0"/>
              <a:t>Covid</a:t>
            </a:r>
            <a:r>
              <a:rPr lang="fr-FR" sz="2800" dirty="0" smtClean="0"/>
              <a:t>  l’invasion Russe, l’interdépendance des économies et un retour de l’inflation sans parler des enjeux d’avenir de plus en plus urgents en raison de l’aggravation du changement climatique</a:t>
            </a:r>
          </a:p>
          <a:p>
            <a:endParaRPr lang="fr-FR" sz="2800" dirty="0"/>
          </a:p>
          <a:p>
            <a:r>
              <a:rPr lang="fr-FR" sz="2800" dirty="0" smtClean="0"/>
              <a:t>Mais nous sommes de retour dans un  cycle économique plus traditionnel certes   avec de nouvelles menaces mais qui offrent  également  de nouvelles opportunités avec la normalisation des politiques monétaires </a:t>
            </a:r>
            <a:endParaRPr lang="fr-FR" sz="2800" dirty="0"/>
          </a:p>
          <a:p>
            <a:endParaRPr lang="fr-FR" dirty="0" smtClean="0"/>
          </a:p>
          <a:p>
            <a:endParaRPr lang="fr-FR" dirty="0" smtClean="0"/>
          </a:p>
          <a:p>
            <a:endParaRPr lang="fr-FR" dirty="0"/>
          </a:p>
          <a:p>
            <a:endParaRPr lang="fr-FR" dirty="0" smtClean="0"/>
          </a:p>
          <a:p>
            <a:endParaRPr lang="fr-FR" dirty="0"/>
          </a:p>
          <a:p>
            <a:endParaRPr lang="fr-FR" dirty="0" smtClean="0"/>
          </a:p>
          <a:p>
            <a:endParaRPr lang="fr-FR" dirty="0"/>
          </a:p>
          <a:p>
            <a:r>
              <a:rPr lang="fr-FR" dirty="0" smtClean="0"/>
              <a:t>1</a:t>
            </a:r>
            <a:endParaRPr lang="fr-FR" dirty="0"/>
          </a:p>
        </p:txBody>
      </p:sp>
    </p:spTree>
    <p:extLst>
      <p:ext uri="{BB962C8B-B14F-4D97-AF65-F5344CB8AC3E}">
        <p14:creationId xmlns:p14="http://schemas.microsoft.com/office/powerpoint/2010/main" val="2541990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F3OJfi9XEafskTyCQ5oFA"/>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4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11.xml><?xml version="1.0" encoding="utf-8"?>
<a:theme xmlns:a="http://schemas.openxmlformats.org/drawingml/2006/main" name="Fidelity_Institutional_Template">
  <a:themeElements>
    <a:clrScheme name="Fidelity_MicrosoftRGB_Colour_Palette">
      <a:dk1>
        <a:srgbClr val="415464"/>
      </a:dk1>
      <a:lt1>
        <a:sysClr val="window" lastClr="FFFFFF"/>
      </a:lt1>
      <a:dk2>
        <a:srgbClr val="0A4D80"/>
      </a:dk2>
      <a:lt2>
        <a:srgbClr val="A61D20"/>
      </a:lt2>
      <a:accent1>
        <a:srgbClr val="0A4D80"/>
      </a:accent1>
      <a:accent2>
        <a:srgbClr val="7EBCE1"/>
      </a:accent2>
      <a:accent3>
        <a:srgbClr val="927865"/>
      </a:accent3>
      <a:accent4>
        <a:srgbClr val="D15F27"/>
      </a:accent4>
      <a:accent5>
        <a:srgbClr val="415464"/>
      </a:accent5>
      <a:accent6>
        <a:srgbClr val="E8A123"/>
      </a:accent6>
      <a:hlink>
        <a:srgbClr val="0A4D80"/>
      </a:hlink>
      <a:folHlink>
        <a:srgbClr val="415464"/>
      </a:folHlink>
    </a:clrScheme>
    <a:fontScheme name="Fidelity">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lIns="0" tIns="0" rIns="0" bIns="0" anchor="b" anchorCtr="0">
        <a:spAutoFit/>
      </a:bodyPr>
      <a:lstStyle>
        <a:defPPr algn="l">
          <a:spcBef>
            <a:spcPct val="0"/>
          </a:spcBef>
          <a:buClr>
            <a:srgbClr val="01286D"/>
          </a:buClr>
          <a:buSzPct val="80000"/>
          <a:buFont typeface="Wingdings" pitchFamily="2" charset="2"/>
          <a:buNone/>
          <a:defRPr sz="800" b="0" dirty="0" smtClean="0">
            <a:solidFill>
              <a:schemeClr val="tx1"/>
            </a:solidFill>
          </a:defRPr>
        </a:defPPr>
      </a:lstStyle>
    </a:txDef>
  </a:objectDefaults>
  <a:extraClrSchemeLst/>
</a:theme>
</file>

<file path=ppt/theme/theme12.xml><?xml version="1.0" encoding="utf-8"?>
<a:theme xmlns:a="http://schemas.openxmlformats.org/drawingml/2006/main" name="15_Fidelity 4:3">
  <a:themeElements>
    <a:clrScheme name="Fidelity_2019">
      <a:dk1>
        <a:srgbClr val="20242B"/>
      </a:dk1>
      <a:lt1>
        <a:srgbClr val="FFFFFF"/>
      </a:lt1>
      <a:dk2>
        <a:srgbClr val="525C6C"/>
      </a:dk2>
      <a:lt2>
        <a:srgbClr val="F0F0F1"/>
      </a:lt2>
      <a:accent1>
        <a:srgbClr val="2190C2"/>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 ">
      <a:srgbClr val="ECF9FD"/>
    </a:custClr>
    <a:custClr name=" ">
      <a:srgbClr val="C7EAF7"/>
    </a:custClr>
    <a:custClr name=" ">
      <a:srgbClr val="FFF2D9"/>
    </a:custClr>
    <a:custClr name=" ">
      <a:srgbClr val="FFFAE3"/>
    </a:custClr>
    <a:custClr name=" ">
      <a:srgbClr val="F1F9E0"/>
    </a:custClr>
    <a:custClr name=" ">
      <a:srgbClr val="DBF9F0"/>
    </a:custClr>
    <a:custClr name=" ">
      <a:srgbClr val="F7E4F9"/>
    </a:custClr>
    <a:custClr name=" ">
      <a:srgbClr val="F7F7F8"/>
    </a:custClr>
    <a:custClr name=" ">
      <a:srgbClr val="EEEFF0"/>
    </a:custClr>
    <a:custClr name=" ">
      <a:srgbClr val="B72F2A"/>
    </a:custClr>
    <a:custClr name=" ">
      <a:srgbClr val="94D6EF"/>
    </a:custClr>
    <a:custClr name=" ">
      <a:srgbClr val="62C2E6"/>
    </a:custClr>
    <a:custClr name=" ">
      <a:srgbClr val="FFC24D"/>
    </a:custClr>
    <a:custClr name=" ">
      <a:srgbClr val="FFE57C"/>
    </a:custClr>
    <a:custClr name=" ">
      <a:srgbClr val="BEE46E"/>
    </a:custClr>
    <a:custClr name=" ">
      <a:srgbClr val="54E0E0"/>
    </a:custClr>
    <a:custClr name=" ">
      <a:srgbClr val="D881E2"/>
    </a:custClr>
    <a:custClr name=" ">
      <a:srgbClr val="DCDEE1"/>
    </a:custClr>
    <a:custClr name=" ">
      <a:srgbClr val="B9BDC4"/>
    </a:custClr>
    <a:custClr name=" ">
      <a:srgbClr val="E4E1DE"/>
    </a:custClr>
    <a:custClr name=" ">
      <a:srgbClr val="31AAD9"/>
    </a:custClr>
    <a:custClr name=" ">
      <a:srgbClr val="2190C2"/>
    </a:custClr>
    <a:custClr name=" ">
      <a:srgbClr val="FF9B19"/>
    </a:custClr>
    <a:custClr name=" ">
      <a:srgbClr val="FFCD22"/>
    </a:custClr>
    <a:custClr name=" ">
      <a:srgbClr val="61B815"/>
    </a:custClr>
    <a:custClr name=" ">
      <a:srgbClr val="17B8B8"/>
    </a:custClr>
    <a:custClr name=" ">
      <a:srgbClr val="9514A3"/>
    </a:custClr>
    <a:custClr name=" ">
      <a:srgbClr val="979DA6"/>
    </a:custClr>
    <a:custClr name=" ">
      <a:srgbClr val="747C89"/>
    </a:custClr>
    <a:custClr name=" ">
      <a:srgbClr val="BAB4AE"/>
    </a:custClr>
    <a:custClr name=" ">
      <a:srgbClr val="006193"/>
    </a:custClr>
    <a:custClr name=" ">
      <a:srgbClr val="00517B"/>
    </a:custClr>
    <a:custClr name=" ">
      <a:srgbClr val="D14905"/>
    </a:custClr>
    <a:custClr name=" ">
      <a:srgbClr val="D99F00"/>
    </a:custClr>
    <a:custClr name=" ">
      <a:srgbClr val="338808"/>
    </a:custClr>
    <a:custClr name=" ">
      <a:srgbClr val="028080"/>
    </a:custClr>
    <a:custClr name=" ">
      <a:srgbClr val="72217B"/>
    </a:custClr>
    <a:custClr name=" ">
      <a:srgbClr val="515B6B"/>
    </a:custClr>
    <a:custClr name=" ">
      <a:srgbClr val="414956"/>
    </a:custClr>
    <a:custClr name=" ">
      <a:srgbClr val="9F968D"/>
    </a:custClr>
    <a:custClr name=" ">
      <a:srgbClr val="004162"/>
    </a:custClr>
    <a:custClr name=" ">
      <a:srgbClr val="00314A"/>
    </a:custClr>
    <a:custClr name=" ">
      <a:srgbClr val="7F2A00"/>
    </a:custClr>
    <a:custClr name=" ">
      <a:srgbClr val="AE7400"/>
    </a:custClr>
    <a:custClr name=" ">
      <a:srgbClr val="1F5205"/>
    </a:custClr>
    <a:custClr name=" ">
      <a:srgbClr val="014D4D"/>
    </a:custClr>
    <a:custClr name=" ">
      <a:srgbClr val="44144A"/>
    </a:custClr>
    <a:custClr name=" ">
      <a:srgbClr val="313740"/>
    </a:custClr>
    <a:custClr name=" ">
      <a:srgbClr val="101215"/>
    </a:custClr>
    <a:custClr name=" ">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13.xml><?xml version="1.0" encoding="utf-8"?>
<a:theme xmlns:a="http://schemas.openxmlformats.org/drawingml/2006/main" name="16_Fidelity 4:3">
  <a:themeElements>
    <a:clrScheme name="Fidelity_2019">
      <a:dk1>
        <a:srgbClr val="20242B"/>
      </a:dk1>
      <a:lt1>
        <a:srgbClr val="FFFFFF"/>
      </a:lt1>
      <a:dk2>
        <a:srgbClr val="525C6C"/>
      </a:dk2>
      <a:lt2>
        <a:srgbClr val="F0F0F1"/>
      </a:lt2>
      <a:accent1>
        <a:srgbClr val="2190C2"/>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 ">
      <a:srgbClr val="ECF9FD"/>
    </a:custClr>
    <a:custClr name=" ">
      <a:srgbClr val="C7EAF7"/>
    </a:custClr>
    <a:custClr name=" ">
      <a:srgbClr val="FFF2D9"/>
    </a:custClr>
    <a:custClr name=" ">
      <a:srgbClr val="FFFAE3"/>
    </a:custClr>
    <a:custClr name=" ">
      <a:srgbClr val="F1F9E0"/>
    </a:custClr>
    <a:custClr name=" ">
      <a:srgbClr val="DBF9F0"/>
    </a:custClr>
    <a:custClr name=" ">
      <a:srgbClr val="F7E4F9"/>
    </a:custClr>
    <a:custClr name=" ">
      <a:srgbClr val="F7F7F8"/>
    </a:custClr>
    <a:custClr name=" ">
      <a:srgbClr val="EEEFF0"/>
    </a:custClr>
    <a:custClr name=" ">
      <a:srgbClr val="B72F2A"/>
    </a:custClr>
    <a:custClr name=" ">
      <a:srgbClr val="94D6EF"/>
    </a:custClr>
    <a:custClr name=" ">
      <a:srgbClr val="62C2E6"/>
    </a:custClr>
    <a:custClr name=" ">
      <a:srgbClr val="FFC24D"/>
    </a:custClr>
    <a:custClr name=" ">
      <a:srgbClr val="FFE57C"/>
    </a:custClr>
    <a:custClr name=" ">
      <a:srgbClr val="BEE46E"/>
    </a:custClr>
    <a:custClr name=" ">
      <a:srgbClr val="54E0E0"/>
    </a:custClr>
    <a:custClr name=" ">
      <a:srgbClr val="D881E2"/>
    </a:custClr>
    <a:custClr name=" ">
      <a:srgbClr val="DCDEE1"/>
    </a:custClr>
    <a:custClr name=" ">
      <a:srgbClr val="B9BDC4"/>
    </a:custClr>
    <a:custClr name=" ">
      <a:srgbClr val="E4E1DE"/>
    </a:custClr>
    <a:custClr name=" ">
      <a:srgbClr val="31AAD9"/>
    </a:custClr>
    <a:custClr name=" ">
      <a:srgbClr val="2190C2"/>
    </a:custClr>
    <a:custClr name=" ">
      <a:srgbClr val="FF9B19"/>
    </a:custClr>
    <a:custClr name=" ">
      <a:srgbClr val="FFCD22"/>
    </a:custClr>
    <a:custClr name=" ">
      <a:srgbClr val="61B815"/>
    </a:custClr>
    <a:custClr name=" ">
      <a:srgbClr val="17B8B8"/>
    </a:custClr>
    <a:custClr name=" ">
      <a:srgbClr val="9514A3"/>
    </a:custClr>
    <a:custClr name=" ">
      <a:srgbClr val="979DA6"/>
    </a:custClr>
    <a:custClr name=" ">
      <a:srgbClr val="747C89"/>
    </a:custClr>
    <a:custClr name=" ">
      <a:srgbClr val="BAB4AE"/>
    </a:custClr>
    <a:custClr name=" ">
      <a:srgbClr val="006193"/>
    </a:custClr>
    <a:custClr name=" ">
      <a:srgbClr val="00517B"/>
    </a:custClr>
    <a:custClr name=" ">
      <a:srgbClr val="D14905"/>
    </a:custClr>
    <a:custClr name=" ">
      <a:srgbClr val="D99F00"/>
    </a:custClr>
    <a:custClr name=" ">
      <a:srgbClr val="338808"/>
    </a:custClr>
    <a:custClr name=" ">
      <a:srgbClr val="028080"/>
    </a:custClr>
    <a:custClr name=" ">
      <a:srgbClr val="72217B"/>
    </a:custClr>
    <a:custClr name=" ">
      <a:srgbClr val="515B6B"/>
    </a:custClr>
    <a:custClr name=" ">
      <a:srgbClr val="414956"/>
    </a:custClr>
    <a:custClr name=" ">
      <a:srgbClr val="9F968D"/>
    </a:custClr>
    <a:custClr name=" ">
      <a:srgbClr val="004162"/>
    </a:custClr>
    <a:custClr name=" ">
      <a:srgbClr val="00314A"/>
    </a:custClr>
    <a:custClr name=" ">
      <a:srgbClr val="7F2A00"/>
    </a:custClr>
    <a:custClr name=" ">
      <a:srgbClr val="AE7400"/>
    </a:custClr>
    <a:custClr name=" ">
      <a:srgbClr val="1F5205"/>
    </a:custClr>
    <a:custClr name=" ">
      <a:srgbClr val="014D4D"/>
    </a:custClr>
    <a:custClr name=" ">
      <a:srgbClr val="44144A"/>
    </a:custClr>
    <a:custClr name=" ">
      <a:srgbClr val="313740"/>
    </a:custClr>
    <a:custClr name=" ">
      <a:srgbClr val="101215"/>
    </a:custClr>
    <a:custClr name=" ">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14.xml><?xml version="1.0" encoding="utf-8"?>
<a:theme xmlns:a="http://schemas.openxmlformats.org/drawingml/2006/main" name="17_Fidelity 4:3">
  <a:themeElements>
    <a:clrScheme name="Fidelity_2019">
      <a:dk1>
        <a:srgbClr val="20242B"/>
      </a:dk1>
      <a:lt1>
        <a:srgbClr val="FFFFFF"/>
      </a:lt1>
      <a:dk2>
        <a:srgbClr val="525C6C"/>
      </a:dk2>
      <a:lt2>
        <a:srgbClr val="F0F0F1"/>
      </a:lt2>
      <a:accent1>
        <a:srgbClr val="2190C2"/>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 ">
      <a:srgbClr val="ECF9FD"/>
    </a:custClr>
    <a:custClr name=" ">
      <a:srgbClr val="C7EAF7"/>
    </a:custClr>
    <a:custClr name=" ">
      <a:srgbClr val="FFF2D9"/>
    </a:custClr>
    <a:custClr name=" ">
      <a:srgbClr val="FFFAE3"/>
    </a:custClr>
    <a:custClr name=" ">
      <a:srgbClr val="F1F9E0"/>
    </a:custClr>
    <a:custClr name=" ">
      <a:srgbClr val="DBF9F0"/>
    </a:custClr>
    <a:custClr name=" ">
      <a:srgbClr val="F7E4F9"/>
    </a:custClr>
    <a:custClr name=" ">
      <a:srgbClr val="F7F7F8"/>
    </a:custClr>
    <a:custClr name=" ">
      <a:srgbClr val="EEEFF0"/>
    </a:custClr>
    <a:custClr name=" ">
      <a:srgbClr val="B72F2A"/>
    </a:custClr>
    <a:custClr name=" ">
      <a:srgbClr val="94D6EF"/>
    </a:custClr>
    <a:custClr name=" ">
      <a:srgbClr val="62C2E6"/>
    </a:custClr>
    <a:custClr name=" ">
      <a:srgbClr val="FFC24D"/>
    </a:custClr>
    <a:custClr name=" ">
      <a:srgbClr val="FFE57C"/>
    </a:custClr>
    <a:custClr name=" ">
      <a:srgbClr val="BEE46E"/>
    </a:custClr>
    <a:custClr name=" ">
      <a:srgbClr val="54E0E0"/>
    </a:custClr>
    <a:custClr name=" ">
      <a:srgbClr val="D881E2"/>
    </a:custClr>
    <a:custClr name=" ">
      <a:srgbClr val="DCDEE1"/>
    </a:custClr>
    <a:custClr name=" ">
      <a:srgbClr val="B9BDC4"/>
    </a:custClr>
    <a:custClr name=" ">
      <a:srgbClr val="E4E1DE"/>
    </a:custClr>
    <a:custClr name=" ">
      <a:srgbClr val="31AAD9"/>
    </a:custClr>
    <a:custClr name=" ">
      <a:srgbClr val="2190C2"/>
    </a:custClr>
    <a:custClr name=" ">
      <a:srgbClr val="FF9B19"/>
    </a:custClr>
    <a:custClr name=" ">
      <a:srgbClr val="FFCD22"/>
    </a:custClr>
    <a:custClr name=" ">
      <a:srgbClr val="61B815"/>
    </a:custClr>
    <a:custClr name=" ">
      <a:srgbClr val="17B8B8"/>
    </a:custClr>
    <a:custClr name=" ">
      <a:srgbClr val="9514A3"/>
    </a:custClr>
    <a:custClr name=" ">
      <a:srgbClr val="979DA6"/>
    </a:custClr>
    <a:custClr name=" ">
      <a:srgbClr val="747C89"/>
    </a:custClr>
    <a:custClr name=" ">
      <a:srgbClr val="BAB4AE"/>
    </a:custClr>
    <a:custClr name=" ">
      <a:srgbClr val="006193"/>
    </a:custClr>
    <a:custClr name=" ">
      <a:srgbClr val="00517B"/>
    </a:custClr>
    <a:custClr name=" ">
      <a:srgbClr val="D14905"/>
    </a:custClr>
    <a:custClr name=" ">
      <a:srgbClr val="D99F00"/>
    </a:custClr>
    <a:custClr name=" ">
      <a:srgbClr val="338808"/>
    </a:custClr>
    <a:custClr name=" ">
      <a:srgbClr val="028080"/>
    </a:custClr>
    <a:custClr name=" ">
      <a:srgbClr val="72217B"/>
    </a:custClr>
    <a:custClr name=" ">
      <a:srgbClr val="515B6B"/>
    </a:custClr>
    <a:custClr name=" ">
      <a:srgbClr val="414956"/>
    </a:custClr>
    <a:custClr name=" ">
      <a:srgbClr val="9F968D"/>
    </a:custClr>
    <a:custClr name=" ">
      <a:srgbClr val="004162"/>
    </a:custClr>
    <a:custClr name=" ">
      <a:srgbClr val="00314A"/>
    </a:custClr>
    <a:custClr name=" ">
      <a:srgbClr val="7F2A00"/>
    </a:custClr>
    <a:custClr name=" ">
      <a:srgbClr val="AE7400"/>
    </a:custClr>
    <a:custClr name=" ">
      <a:srgbClr val="1F5205"/>
    </a:custClr>
    <a:custClr name=" ">
      <a:srgbClr val="014D4D"/>
    </a:custClr>
    <a:custClr name=" ">
      <a:srgbClr val="44144A"/>
    </a:custClr>
    <a:custClr name=" ">
      <a:srgbClr val="313740"/>
    </a:custClr>
    <a:custClr name=" ">
      <a:srgbClr val="101215"/>
    </a:custClr>
    <a:custClr name=" ">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15.xml><?xml version="1.0" encoding="utf-8"?>
<a:theme xmlns:a="http://schemas.openxmlformats.org/drawingml/2006/main" name="Fidelity_RGB_Palette_NEW">
  <a:themeElements>
    <a:clrScheme name="Fidelity International">
      <a:dk1>
        <a:srgbClr val="415464"/>
      </a:dk1>
      <a:lt1>
        <a:sysClr val="window" lastClr="FFFFFF"/>
      </a:lt1>
      <a:dk2>
        <a:srgbClr val="0A4D80"/>
      </a:dk2>
      <a:lt2>
        <a:srgbClr val="A61D20"/>
      </a:lt2>
      <a:accent1>
        <a:srgbClr val="0A4D80"/>
      </a:accent1>
      <a:accent2>
        <a:srgbClr val="7EBCE1"/>
      </a:accent2>
      <a:accent3>
        <a:srgbClr val="927865"/>
      </a:accent3>
      <a:accent4>
        <a:srgbClr val="D15F27"/>
      </a:accent4>
      <a:accent5>
        <a:srgbClr val="415464"/>
      </a:accent5>
      <a:accent6>
        <a:srgbClr val="E8A123"/>
      </a:accent6>
      <a:hlink>
        <a:srgbClr val="0A4D80"/>
      </a:hlink>
      <a:folHlink>
        <a:srgbClr val="415464"/>
      </a:folHlink>
    </a:clrScheme>
    <a:fontScheme name="Fidelity">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lIns="0" tIns="0" rIns="0" bIns="0" anchor="b" anchorCtr="0">
        <a:spAutoFit/>
      </a:bodyPr>
      <a:lstStyle>
        <a:defPPr algn="l">
          <a:spcBef>
            <a:spcPct val="0"/>
          </a:spcBef>
          <a:buClr>
            <a:srgbClr val="01286D"/>
          </a:buClr>
          <a:buSzPct val="80000"/>
          <a:buFont typeface="Wingdings" pitchFamily="2" charset="2"/>
          <a:buNone/>
          <a:defRPr sz="800" b="0" dirty="0" smtClean="0">
            <a:solidFill>
              <a:schemeClr val="tx1"/>
            </a:solidFill>
          </a:defRPr>
        </a:defPPr>
      </a:lstStyle>
    </a:txDef>
  </a:objectDefaults>
  <a:extraClrSchemeLst/>
</a:theme>
</file>

<file path=ppt/theme/theme1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Fidelity 4:3">
  <a:themeElements>
    <a:clrScheme name="Fidelity_2019">
      <a:dk1>
        <a:srgbClr val="20242B"/>
      </a:dk1>
      <a:lt1>
        <a:srgbClr val="FFFFFF"/>
      </a:lt1>
      <a:dk2>
        <a:srgbClr val="525C6C"/>
      </a:dk2>
      <a:lt2>
        <a:srgbClr val="F0F0F1"/>
      </a:lt2>
      <a:accent1>
        <a:srgbClr val="2190C2"/>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 ">
      <a:srgbClr val="ECF9FD"/>
    </a:custClr>
    <a:custClr name=" ">
      <a:srgbClr val="C7EAF7"/>
    </a:custClr>
    <a:custClr name=" ">
      <a:srgbClr val="FFF2D9"/>
    </a:custClr>
    <a:custClr name=" ">
      <a:srgbClr val="FFFAE3"/>
    </a:custClr>
    <a:custClr name=" ">
      <a:srgbClr val="F1F9E0"/>
    </a:custClr>
    <a:custClr name=" ">
      <a:srgbClr val="DBF9F0"/>
    </a:custClr>
    <a:custClr name=" ">
      <a:srgbClr val="F7E4F9"/>
    </a:custClr>
    <a:custClr name=" ">
      <a:srgbClr val="F7F7F8"/>
    </a:custClr>
    <a:custClr name=" ">
      <a:srgbClr val="EEEFF0"/>
    </a:custClr>
    <a:custClr name=" ">
      <a:srgbClr val="B72F2A"/>
    </a:custClr>
    <a:custClr name=" ">
      <a:srgbClr val="94D6EF"/>
    </a:custClr>
    <a:custClr name=" ">
      <a:srgbClr val="62C2E6"/>
    </a:custClr>
    <a:custClr name=" ">
      <a:srgbClr val="FFC24D"/>
    </a:custClr>
    <a:custClr name=" ">
      <a:srgbClr val="FFE57C"/>
    </a:custClr>
    <a:custClr name=" ">
      <a:srgbClr val="BEE46E"/>
    </a:custClr>
    <a:custClr name=" ">
      <a:srgbClr val="54E0E0"/>
    </a:custClr>
    <a:custClr name=" ">
      <a:srgbClr val="D881E2"/>
    </a:custClr>
    <a:custClr name=" ">
      <a:srgbClr val="DCDEE1"/>
    </a:custClr>
    <a:custClr name=" ">
      <a:srgbClr val="B9BDC4"/>
    </a:custClr>
    <a:custClr name=" ">
      <a:srgbClr val="E4E1DE"/>
    </a:custClr>
    <a:custClr name=" ">
      <a:srgbClr val="31AAD9"/>
    </a:custClr>
    <a:custClr name=" ">
      <a:srgbClr val="2190C2"/>
    </a:custClr>
    <a:custClr name=" ">
      <a:srgbClr val="FF9B19"/>
    </a:custClr>
    <a:custClr name=" ">
      <a:srgbClr val="FFCD22"/>
    </a:custClr>
    <a:custClr name=" ">
      <a:srgbClr val="61B815"/>
    </a:custClr>
    <a:custClr name=" ">
      <a:srgbClr val="17B8B8"/>
    </a:custClr>
    <a:custClr name=" ">
      <a:srgbClr val="9514A3"/>
    </a:custClr>
    <a:custClr name=" ">
      <a:srgbClr val="979DA6"/>
    </a:custClr>
    <a:custClr name=" ">
      <a:srgbClr val="747C89"/>
    </a:custClr>
    <a:custClr name=" ">
      <a:srgbClr val="BAB4AE"/>
    </a:custClr>
    <a:custClr name=" ">
      <a:srgbClr val="006193"/>
    </a:custClr>
    <a:custClr name=" ">
      <a:srgbClr val="00517B"/>
    </a:custClr>
    <a:custClr name=" ">
      <a:srgbClr val="D14905"/>
    </a:custClr>
    <a:custClr name=" ">
      <a:srgbClr val="D99F00"/>
    </a:custClr>
    <a:custClr name=" ">
      <a:srgbClr val="338808"/>
    </a:custClr>
    <a:custClr name=" ">
      <a:srgbClr val="028080"/>
    </a:custClr>
    <a:custClr name=" ">
      <a:srgbClr val="72217B"/>
    </a:custClr>
    <a:custClr name=" ">
      <a:srgbClr val="515B6B"/>
    </a:custClr>
    <a:custClr name=" ">
      <a:srgbClr val="414956"/>
    </a:custClr>
    <a:custClr name=" ">
      <a:srgbClr val="9F968D"/>
    </a:custClr>
    <a:custClr name=" ">
      <a:srgbClr val="004162"/>
    </a:custClr>
    <a:custClr name=" ">
      <a:srgbClr val="00314A"/>
    </a:custClr>
    <a:custClr name=" ">
      <a:srgbClr val="7F2A00"/>
    </a:custClr>
    <a:custClr name=" ">
      <a:srgbClr val="AE7400"/>
    </a:custClr>
    <a:custClr name=" ">
      <a:srgbClr val="1F5205"/>
    </a:custClr>
    <a:custClr name=" ">
      <a:srgbClr val="014D4D"/>
    </a:custClr>
    <a:custClr name=" ">
      <a:srgbClr val="44144A"/>
    </a:custClr>
    <a:custClr name=" ">
      <a:srgbClr val="313740"/>
    </a:custClr>
    <a:custClr name=" ">
      <a:srgbClr val="101215"/>
    </a:custClr>
    <a:custClr name=" ">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3.xml><?xml version="1.0" encoding="utf-8"?>
<a:theme xmlns:a="http://schemas.openxmlformats.org/drawingml/2006/main" name="33_Fidelity_Institutional_Template">
  <a:themeElements>
    <a:clrScheme name="Fidelity_MicrosoftRGB_Colour_Palette">
      <a:dk1>
        <a:srgbClr val="415464"/>
      </a:dk1>
      <a:lt1>
        <a:sysClr val="window" lastClr="FFFFFF"/>
      </a:lt1>
      <a:dk2>
        <a:srgbClr val="0A4D80"/>
      </a:dk2>
      <a:lt2>
        <a:srgbClr val="A61D20"/>
      </a:lt2>
      <a:accent1>
        <a:srgbClr val="0A4D80"/>
      </a:accent1>
      <a:accent2>
        <a:srgbClr val="7EBCE1"/>
      </a:accent2>
      <a:accent3>
        <a:srgbClr val="927865"/>
      </a:accent3>
      <a:accent4>
        <a:srgbClr val="D15F27"/>
      </a:accent4>
      <a:accent5>
        <a:srgbClr val="415464"/>
      </a:accent5>
      <a:accent6>
        <a:srgbClr val="E8A123"/>
      </a:accent6>
      <a:hlink>
        <a:srgbClr val="0A4D80"/>
      </a:hlink>
      <a:folHlink>
        <a:srgbClr val="415464"/>
      </a:folHlink>
    </a:clrScheme>
    <a:fontScheme name="Fidelity">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lIns="0" tIns="0" rIns="0" bIns="0" anchor="b" anchorCtr="0">
        <a:spAutoFit/>
      </a:bodyPr>
      <a:lstStyle>
        <a:defPPr algn="l">
          <a:spcBef>
            <a:spcPct val="0"/>
          </a:spcBef>
          <a:buClr>
            <a:srgbClr val="01286D"/>
          </a:buClr>
          <a:buSzPct val="80000"/>
          <a:buFont typeface="Wingdings" pitchFamily="2" charset="2"/>
          <a:buNone/>
          <a:defRPr sz="800" b="0" dirty="0" smtClean="0">
            <a:solidFill>
              <a:schemeClr val="tx1"/>
            </a:solidFill>
          </a:defRPr>
        </a:defPPr>
      </a:lstStyle>
    </a:txDef>
  </a:objectDefaults>
  <a:extraClrSchemeLst/>
  <a:extLst>
    <a:ext uri="{05A4C25C-085E-4340-85A3-A5531E510DB2}">
      <thm15:themeFamily xmlns:thm15="http://schemas.microsoft.com/office/thememl/2012/main" name="Blank.potx" id="{900C8227-304E-4213-A910-A4C31642E8F5}" vid="{23282CBD-D0F5-4722-B5F5-4789C2F4CBE3}"/>
    </a:ext>
  </a:extLst>
</a:theme>
</file>

<file path=ppt/theme/theme4.xml><?xml version="1.0" encoding="utf-8"?>
<a:theme xmlns:a="http://schemas.openxmlformats.org/drawingml/2006/main" name="8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5.xml><?xml version="1.0" encoding="utf-8"?>
<a:theme xmlns:a="http://schemas.openxmlformats.org/drawingml/2006/main" name="9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6.xml><?xml version="1.0" encoding="utf-8"?>
<a:theme xmlns:a="http://schemas.openxmlformats.org/drawingml/2006/main" name="10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7.xml><?xml version="1.0" encoding="utf-8"?>
<a:theme xmlns:a="http://schemas.openxmlformats.org/drawingml/2006/main" name="11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8.xml><?xml version="1.0" encoding="utf-8"?>
<a:theme xmlns:a="http://schemas.openxmlformats.org/drawingml/2006/main" name="12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9.xml><?xml version="1.0" encoding="utf-8"?>
<a:theme xmlns:a="http://schemas.openxmlformats.org/drawingml/2006/main" name="13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239270405816934","enableDocumentContentUpdater":true,"version":"1.5"}]]></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239270405816934","enableDocumentContentUpdater":true,"version":"1.5"}]]></TemplafySlideTemplateConfiguration>
</file>

<file path=customXml/itemProps1.xml><?xml version="1.0" encoding="utf-8"?>
<ds:datastoreItem xmlns:ds="http://schemas.openxmlformats.org/officeDocument/2006/customXml" ds:itemID="{119ED981-EA30-4179-94B5-3CFB55201459}">
  <ds:schemaRefs/>
</ds:datastoreItem>
</file>

<file path=customXml/itemProps2.xml><?xml version="1.0" encoding="utf-8"?>
<ds:datastoreItem xmlns:ds="http://schemas.openxmlformats.org/officeDocument/2006/customXml" ds:itemID="{6EEA6429-9144-466E-99EF-20EE4D59F08B}">
  <ds:schemaRefs/>
</ds:datastoreItem>
</file>

<file path=customXml/itemProps3.xml><?xml version="1.0" encoding="utf-8"?>
<ds:datastoreItem xmlns:ds="http://schemas.openxmlformats.org/officeDocument/2006/customXml" ds:itemID="{D5871F36-9AB5-4D12-BAD8-8F796EF6C1EF}">
  <ds:schemaRefs/>
</ds:datastoreItem>
</file>

<file path=customXml/itemProps4.xml><?xml version="1.0" encoding="utf-8"?>
<ds:datastoreItem xmlns:ds="http://schemas.openxmlformats.org/officeDocument/2006/customXml" ds:itemID="{4E1FF919-2AC0-4A31-8D5E-62AA9E34ED7B}">
  <ds:schemaRefs/>
</ds:datastoreItem>
</file>

<file path=docProps/app.xml><?xml version="1.0" encoding="utf-8"?>
<Properties xmlns="http://schemas.openxmlformats.org/officeDocument/2006/extended-properties" xmlns:vt="http://schemas.openxmlformats.org/officeDocument/2006/docPropsVTypes">
  <TotalTime>168</TotalTime>
  <Words>3655</Words>
  <Application>Microsoft Office PowerPoint</Application>
  <PresentationFormat>Affichage à l'écran (4:3)</PresentationFormat>
  <Paragraphs>434</Paragraphs>
  <Slides>30</Slides>
  <Notes>12</Notes>
  <HiddenSlides>0</HiddenSlides>
  <MMClips>0</MMClips>
  <ScaleCrop>false</ScaleCrop>
  <HeadingPairs>
    <vt:vector size="8" baseType="variant">
      <vt:variant>
        <vt:lpstr>Polices utilisées</vt:lpstr>
      </vt:variant>
      <vt:variant>
        <vt:i4>8</vt:i4>
      </vt:variant>
      <vt:variant>
        <vt:lpstr>Thème</vt:lpstr>
      </vt:variant>
      <vt:variant>
        <vt:i4>15</vt:i4>
      </vt:variant>
      <vt:variant>
        <vt:lpstr>Serveurs OLE incorporés</vt:lpstr>
      </vt:variant>
      <vt:variant>
        <vt:i4>2</vt:i4>
      </vt:variant>
      <vt:variant>
        <vt:lpstr>Titres des diapositives</vt:lpstr>
      </vt:variant>
      <vt:variant>
        <vt:i4>30</vt:i4>
      </vt:variant>
    </vt:vector>
  </HeadingPairs>
  <TitlesOfParts>
    <vt:vector size="55" baseType="lpstr">
      <vt:lpstr>ＭＳ Ｐゴシック</vt:lpstr>
      <vt:lpstr>ＭＳ Ｐゴシック</vt:lpstr>
      <vt:lpstr>Arial</vt:lpstr>
      <vt:lpstr>Arial Unicode MS</vt:lpstr>
      <vt:lpstr>Calibri</vt:lpstr>
      <vt:lpstr>Century Gothic</vt:lpstr>
      <vt:lpstr>SimHei</vt:lpstr>
      <vt:lpstr>Wingdings</vt:lpstr>
      <vt:lpstr>Thème Office</vt:lpstr>
      <vt:lpstr>7_Fidelity 4:3</vt:lpstr>
      <vt:lpstr>33_Fidelity_Institutional_Template</vt:lpstr>
      <vt:lpstr>8_Fidelity 4:3</vt:lpstr>
      <vt:lpstr>9_Fidelity 4:3</vt:lpstr>
      <vt:lpstr>10_Fidelity 4:3</vt:lpstr>
      <vt:lpstr>11_Fidelity 4:3</vt:lpstr>
      <vt:lpstr>12_Fidelity 4:3</vt:lpstr>
      <vt:lpstr>13_Fidelity 4:3</vt:lpstr>
      <vt:lpstr>14_Fidelity 4:3</vt:lpstr>
      <vt:lpstr>Fidelity_Institutional_Template</vt:lpstr>
      <vt:lpstr>15_Fidelity 4:3</vt:lpstr>
      <vt:lpstr>16_Fidelity 4:3</vt:lpstr>
      <vt:lpstr>17_Fidelity 4:3</vt:lpstr>
      <vt:lpstr>Fidelity_RGB_Palette_NEW</vt:lpstr>
      <vt:lpstr>think-cell Slide</vt:lpstr>
      <vt:lpstr>Adobe Acrobat Document</vt:lpstr>
      <vt:lpstr>1er décembre 2022 </vt:lpstr>
      <vt:lpstr>Présentation PowerPoint</vt:lpstr>
      <vt:lpstr>Présentation PowerPoint</vt:lpstr>
      <vt:lpstr>Contexte marchés actions</vt:lpstr>
      <vt:lpstr>Présentation PowerPoint</vt:lpstr>
      <vt:lpstr>Présentation PowerPoint</vt:lpstr>
      <vt:lpstr>Présentation PowerPoint</vt:lpstr>
      <vt:lpstr>Présentation PowerPoint</vt:lpstr>
      <vt:lpstr>Présentation PowerPoint</vt:lpstr>
      <vt:lpstr>Intervention de Mr Philippe TAUVEL</vt:lpstr>
      <vt:lpstr>Présentation PowerPoint</vt:lpstr>
      <vt:lpstr>Présentation PowerPoint</vt:lpstr>
      <vt:lpstr>Présentation PowerPoint</vt:lpstr>
      <vt:lpstr>Présentation PowerPoint</vt:lpstr>
      <vt:lpstr>Informations sur les risques</vt:lpstr>
      <vt:lpstr>Fidelity International</vt:lpstr>
      <vt:lpstr>Fidelity International et Fidelity Investments </vt:lpstr>
      <vt:lpstr>Un leader mondial des services d’investissement</vt:lpstr>
      <vt:lpstr>Une véritable présence mondiale</vt:lpstr>
      <vt:lpstr>Fidelity en France : la « French touch »  des sociétés de gestion internationales </vt:lpstr>
      <vt:lpstr>Présentation PowerPoint</vt:lpstr>
      <vt:lpstr>Pourquoi Fidelity sur les actions internationales ? </vt:lpstr>
      <vt:lpstr>Jeremy Podger – Gérant de Portefeuille</vt:lpstr>
      <vt:lpstr>Historique de performances de Jérémy Podger – au 31 Octobre 2022</vt:lpstr>
      <vt:lpstr> Caractéristiques du fonds</vt:lpstr>
      <vt:lpstr>Une allocation dynamique du fonds</vt:lpstr>
      <vt:lpstr>Positionnement </vt:lpstr>
      <vt:lpstr>Performances du FF World Fund (nettes de frai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INDEL2</dc:creator>
  <cp:lastModifiedBy>Phil Sindel</cp:lastModifiedBy>
  <cp:revision>19</cp:revision>
  <dcterms:created xsi:type="dcterms:W3CDTF">2022-11-29T11:30:28Z</dcterms:created>
  <dcterms:modified xsi:type="dcterms:W3CDTF">2022-11-30T09:52:25Z</dcterms:modified>
</cp:coreProperties>
</file>